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86" r:id="rId4"/>
  </p:sldMasterIdLst>
  <p:notesMasterIdLst>
    <p:notesMasterId r:id="rId9"/>
  </p:notesMasterIdLst>
  <p:sldIdLst>
    <p:sldId id="2147377549" r:id="rId5"/>
    <p:sldId id="2147377649" r:id="rId6"/>
    <p:sldId id="2147377862" r:id="rId7"/>
    <p:sldId id="2147377651" r:id="rId8"/>
  </p:sldIdLst>
  <p:sldSz cx="9906000" cy="6858000" type="A4"/>
  <p:notesSz cx="10234613" cy="7099300"/>
  <p:defaultTextStyle>
    <a:defPPr>
      <a:defRPr kern="0"/>
    </a:defPPr>
  </p:defaultTextStyle>
  <p:extLst>
    <p:ext uri="{EFAFB233-063F-42B5-8137-9DF3F51BA10A}">
      <p15:sldGuideLst xmlns:p15="http://schemas.microsoft.com/office/powerpoint/2012/main">
        <p15:guide id="5" orient="horz" pos="323" userDrawn="1">
          <p15:clr>
            <a:srgbClr val="A4A3A4"/>
          </p15:clr>
        </p15:guide>
        <p15:guide id="9" orient="horz" pos="4042" userDrawn="1">
          <p15:clr>
            <a:srgbClr val="A4A3A4"/>
          </p15:clr>
        </p15:guide>
        <p15:guide id="10" pos="312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833399D-24CA-0C9F-5594-99F0F91A34B1}" name="佐藤 学" initials="佐藤" userId="S::sato.manabu@prezen.jp::413cc9b9-5238-4e47-9dd2-6f14a7a0450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66143"/>
    <a:srgbClr val="AE7A5D"/>
    <a:srgbClr val="685C5C"/>
    <a:srgbClr val="DAF3C5"/>
    <a:srgbClr val="B2D4EC"/>
    <a:srgbClr val="0070C0"/>
    <a:srgbClr val="07BED7"/>
    <a:srgbClr val="D22C25"/>
    <a:srgbClr val="FEE6E6"/>
    <a:srgbClr val="7030A0"/>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3264B4-39D0-1B60-FB6A-010470862CF3}" v="3" dt="2024-06-07T08:17:18.908"/>
    <p1510:client id="{D06C22DB-AC65-64C6-B7B7-B7CFA04F321D}" v="3" dt="2024-06-07T08:16:53.795"/>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85" autoAdjust="0"/>
    <p:restoredTop sz="94660"/>
  </p:normalViewPr>
  <p:slideViewPr>
    <p:cSldViewPr snapToGrid="0">
      <p:cViewPr varScale="1">
        <p:scale>
          <a:sx n="92" d="100"/>
          <a:sy n="92" d="100"/>
        </p:scale>
        <p:origin x="494" y="62"/>
      </p:cViewPr>
      <p:guideLst>
        <p:guide orient="horz" pos="323"/>
        <p:guide orient="horz" pos="4042"/>
        <p:guide pos="312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83"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82" Type="http://schemas.microsoft.com/office/2018/10/relationships/authors" Target="authors.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4434999" cy="356609"/>
          </a:xfrm>
          <a:prstGeom prst="rect">
            <a:avLst/>
          </a:prstGeom>
        </p:spPr>
        <p:txBody>
          <a:bodyPr vert="horz" lIns="94537" tIns="47269" rIns="94537" bIns="47269" rtlCol="0"/>
          <a:lstStyle>
            <a:lvl1pPr algn="l">
              <a:defRPr sz="1300"/>
            </a:lvl1pPr>
          </a:lstStyle>
          <a:p>
            <a:endParaRPr kumimoji="1" lang="ja-JP" altLang="en-US"/>
          </a:p>
        </p:txBody>
      </p:sp>
      <p:sp>
        <p:nvSpPr>
          <p:cNvPr id="3" name="日付プレースホルダー 2"/>
          <p:cNvSpPr>
            <a:spLocks noGrp="1"/>
          </p:cNvSpPr>
          <p:nvPr>
            <p:ph type="dt" idx="1"/>
          </p:nvPr>
        </p:nvSpPr>
        <p:spPr>
          <a:xfrm>
            <a:off x="5797974" y="0"/>
            <a:ext cx="4434999" cy="356609"/>
          </a:xfrm>
          <a:prstGeom prst="rect">
            <a:avLst/>
          </a:prstGeom>
        </p:spPr>
        <p:txBody>
          <a:bodyPr vert="horz" lIns="94537" tIns="47269" rIns="94537" bIns="47269" rtlCol="0"/>
          <a:lstStyle>
            <a:lvl1pPr algn="r">
              <a:defRPr sz="1300"/>
            </a:lvl1pPr>
          </a:lstStyle>
          <a:p>
            <a:fld id="{BADA3CFA-C3A8-1946-9FE9-13010DE32B83}" type="datetimeFigureOut">
              <a:rPr kumimoji="1" lang="ja-JP" altLang="en-US" smtClean="0"/>
              <a:t>2024/7/1</a:t>
            </a:fld>
            <a:endParaRPr kumimoji="1" lang="ja-JP" altLang="en-US"/>
          </a:p>
        </p:txBody>
      </p:sp>
      <p:sp>
        <p:nvSpPr>
          <p:cNvPr id="4" name="スライド イメージ プレースホルダー 3"/>
          <p:cNvSpPr>
            <a:spLocks noGrp="1" noRot="1" noChangeAspect="1"/>
          </p:cNvSpPr>
          <p:nvPr>
            <p:ph type="sldImg" idx="2"/>
          </p:nvPr>
        </p:nvSpPr>
        <p:spPr>
          <a:xfrm>
            <a:off x="3387725" y="887413"/>
            <a:ext cx="3459163" cy="2395537"/>
          </a:xfrm>
          <a:prstGeom prst="rect">
            <a:avLst/>
          </a:prstGeom>
          <a:noFill/>
          <a:ln w="12700">
            <a:solidFill>
              <a:prstClr val="black"/>
            </a:solidFill>
          </a:ln>
        </p:spPr>
        <p:txBody>
          <a:bodyPr vert="horz" lIns="94537" tIns="47269" rIns="94537" bIns="47269" rtlCol="0" anchor="ctr"/>
          <a:lstStyle/>
          <a:p>
            <a:endParaRPr lang="ja-JP" altLang="en-US"/>
          </a:p>
        </p:txBody>
      </p:sp>
      <p:sp>
        <p:nvSpPr>
          <p:cNvPr id="5" name="ノート プレースホルダー 4"/>
          <p:cNvSpPr>
            <a:spLocks noGrp="1"/>
          </p:cNvSpPr>
          <p:nvPr>
            <p:ph type="body" sz="quarter" idx="3"/>
          </p:nvPr>
        </p:nvSpPr>
        <p:spPr>
          <a:xfrm>
            <a:off x="1023462" y="3416539"/>
            <a:ext cx="8187690" cy="2795349"/>
          </a:xfrm>
          <a:prstGeom prst="rect">
            <a:avLst/>
          </a:prstGeom>
        </p:spPr>
        <p:txBody>
          <a:bodyPr vert="horz" lIns="94537" tIns="47269" rIns="94537" bIns="47269"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6742694"/>
            <a:ext cx="4434999" cy="356608"/>
          </a:xfrm>
          <a:prstGeom prst="rect">
            <a:avLst/>
          </a:prstGeom>
        </p:spPr>
        <p:txBody>
          <a:bodyPr vert="horz" lIns="94537" tIns="47269" rIns="94537" bIns="4726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5797974" y="6742694"/>
            <a:ext cx="4434999" cy="356608"/>
          </a:xfrm>
          <a:prstGeom prst="rect">
            <a:avLst/>
          </a:prstGeom>
        </p:spPr>
        <p:txBody>
          <a:bodyPr vert="horz" lIns="94537" tIns="47269" rIns="94537" bIns="47269" rtlCol="0" anchor="b"/>
          <a:lstStyle>
            <a:lvl1pPr algn="r">
              <a:defRPr sz="1300"/>
            </a:lvl1pPr>
          </a:lstStyle>
          <a:p>
            <a:fld id="{B6A48377-457D-1944-90DA-9AAAD0463782}" type="slidenum">
              <a:rPr kumimoji="1" lang="ja-JP" altLang="en-US" smtClean="0"/>
              <a:t>‹#›</a:t>
            </a:fld>
            <a:endParaRPr kumimoji="1" lang="ja-JP" altLang="en-US"/>
          </a:p>
        </p:txBody>
      </p:sp>
    </p:spTree>
    <p:extLst>
      <p:ext uri="{BB962C8B-B14F-4D97-AF65-F5344CB8AC3E}">
        <p14:creationId xmlns:p14="http://schemas.microsoft.com/office/powerpoint/2010/main" val="109866953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sv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F2D99DE-84A6-B5F7-4BCE-26CA1E841FC5}"/>
              </a:ext>
            </a:extLst>
          </p:cNvPr>
          <p:cNvSpPr>
            <a:spLocks noGrp="1"/>
          </p:cNvSpPr>
          <p:nvPr>
            <p:ph type="title"/>
          </p:nvPr>
        </p:nvSpPr>
        <p:spPr>
          <a:xfrm>
            <a:off x="477203" y="4266344"/>
            <a:ext cx="8543925" cy="613580"/>
          </a:xfrm>
        </p:spPr>
        <p:txBody>
          <a:bodyPr wrap="none">
            <a:noAutofit/>
          </a:bodyPr>
          <a:lstStyle>
            <a:lvl1pPr>
              <a:defRPr lang="ja-JP" altLang="en-US" sz="3700" b="1">
                <a:latin typeface="+mj-ea"/>
              </a:defRPr>
            </a:lvl1pPr>
          </a:lstStyle>
          <a:p>
            <a:pPr lvl="0"/>
            <a:r>
              <a:rPr kumimoji="1" lang="ja-JP" altLang="en-US"/>
              <a:t>マスター タイトルの書式設定</a:t>
            </a:r>
          </a:p>
        </p:txBody>
      </p:sp>
      <p:pic>
        <p:nvPicPr>
          <p:cNvPr id="6" name="グラフィックス 5">
            <a:extLst>
              <a:ext uri="{FF2B5EF4-FFF2-40B4-BE49-F238E27FC236}">
                <a16:creationId xmlns:a16="http://schemas.microsoft.com/office/drawing/2014/main" id="{659FA21A-8E13-7A3E-DDA3-6351D2997E6B}"/>
              </a:ext>
            </a:extLst>
          </p:cNvPr>
          <p:cNvPicPr>
            <a:picLocks noChangeAspect="1"/>
          </p:cNvPicPr>
          <p:nvPr userDrawn="1"/>
        </p:nvPicPr>
        <p:blipFill>
          <a:blip r:embed="rId2" cstate="hqprint">
            <a:alphaModFix amt="76000"/>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rot="16994123">
            <a:off x="6393090" y="5057047"/>
            <a:ext cx="1449676" cy="1722430"/>
          </a:xfrm>
          <a:prstGeom prst="rect">
            <a:avLst/>
          </a:prstGeom>
        </p:spPr>
      </p:pic>
      <p:pic>
        <p:nvPicPr>
          <p:cNvPr id="7" name="グラフィックス 6">
            <a:extLst>
              <a:ext uri="{FF2B5EF4-FFF2-40B4-BE49-F238E27FC236}">
                <a16:creationId xmlns:a16="http://schemas.microsoft.com/office/drawing/2014/main" id="{71D22019-AC90-D3DC-152D-FA599C593C48}"/>
              </a:ext>
            </a:extLst>
          </p:cNvPr>
          <p:cNvPicPr>
            <a:picLocks noChangeAspect="1"/>
          </p:cNvPicPr>
          <p:nvPr userDrawn="1"/>
        </p:nvPicPr>
        <p:blipFill>
          <a:blip r:embed="rId4" cstate="hqprint">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7152777" y="3890931"/>
            <a:ext cx="1445579" cy="1661846"/>
          </a:xfrm>
          <a:prstGeom prst="rect">
            <a:avLst/>
          </a:prstGeom>
        </p:spPr>
      </p:pic>
      <p:sp>
        <p:nvSpPr>
          <p:cNvPr id="8" name="グラフィックス 15">
            <a:extLst>
              <a:ext uri="{FF2B5EF4-FFF2-40B4-BE49-F238E27FC236}">
                <a16:creationId xmlns:a16="http://schemas.microsoft.com/office/drawing/2014/main" id="{184E0C8F-E032-3041-5D9B-7CC9793D742F}"/>
              </a:ext>
            </a:extLst>
          </p:cNvPr>
          <p:cNvSpPr/>
          <p:nvPr userDrawn="1"/>
        </p:nvSpPr>
        <p:spPr>
          <a:xfrm flipH="1">
            <a:off x="-248002" y="5294051"/>
            <a:ext cx="4585047" cy="2607198"/>
          </a:xfrm>
          <a:custGeom>
            <a:avLst/>
            <a:gdLst>
              <a:gd name="connsiteX0" fmla="*/ 10501911 w 10501910"/>
              <a:gd name="connsiteY0" fmla="*/ 0 h 5971706"/>
              <a:gd name="connsiteX1" fmla="*/ 10483416 w 10501910"/>
              <a:gd name="connsiteY1" fmla="*/ 259321 h 5971706"/>
              <a:gd name="connsiteX2" fmla="*/ 9174037 w 10501910"/>
              <a:gd name="connsiteY2" fmla="*/ 2345600 h 5971706"/>
              <a:gd name="connsiteX3" fmla="*/ 4761053 w 10501910"/>
              <a:gd name="connsiteY3" fmla="*/ 3982025 h 5971706"/>
              <a:gd name="connsiteX4" fmla="*/ 1717853 w 10501910"/>
              <a:gd name="connsiteY4" fmla="*/ 4850199 h 5971706"/>
              <a:gd name="connsiteX5" fmla="*/ 0 w 10501910"/>
              <a:gd name="connsiteY5" fmla="*/ 5971707 h 5971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1910" h="5971706">
                <a:moveTo>
                  <a:pt x="10501911" y="0"/>
                </a:moveTo>
                <a:lnTo>
                  <a:pt x="10483416" y="259321"/>
                </a:lnTo>
                <a:cubicBezTo>
                  <a:pt x="10370055" y="1105142"/>
                  <a:pt x="9896384" y="1868603"/>
                  <a:pt x="9174037" y="2345600"/>
                </a:cubicBezTo>
                <a:cubicBezTo>
                  <a:pt x="9174037" y="2345600"/>
                  <a:pt x="7983874" y="3268592"/>
                  <a:pt x="4761053" y="3982025"/>
                </a:cubicBezTo>
                <a:cubicBezTo>
                  <a:pt x="3728691" y="4204490"/>
                  <a:pt x="2712162" y="4494547"/>
                  <a:pt x="1717853" y="4850199"/>
                </a:cubicBezTo>
                <a:cubicBezTo>
                  <a:pt x="1241788" y="5054569"/>
                  <a:pt x="567739" y="5323603"/>
                  <a:pt x="0" y="5971707"/>
                </a:cubicBezTo>
              </a:path>
            </a:pathLst>
          </a:custGeom>
          <a:noFill/>
          <a:ln w="25400" cap="rnd">
            <a:solidFill>
              <a:schemeClr val="accent1"/>
            </a:solidFill>
            <a:prstDash val="solid"/>
            <a:miter/>
          </a:ln>
        </p:spPr>
        <p:txBody>
          <a:bodyPr rtlCol="0" anchor="ctr"/>
          <a:lstStyle/>
          <a:p>
            <a:endParaRPr lang="ja-JP" altLang="en-US"/>
          </a:p>
        </p:txBody>
      </p:sp>
      <p:grpSp>
        <p:nvGrpSpPr>
          <p:cNvPr id="9" name="グループ化 8">
            <a:extLst>
              <a:ext uri="{FF2B5EF4-FFF2-40B4-BE49-F238E27FC236}">
                <a16:creationId xmlns:a16="http://schemas.microsoft.com/office/drawing/2014/main" id="{743B0569-785E-8AFF-7381-EDF69D3F4C20}"/>
              </a:ext>
            </a:extLst>
          </p:cNvPr>
          <p:cNvGrpSpPr/>
          <p:nvPr userDrawn="1"/>
        </p:nvGrpSpPr>
        <p:grpSpPr>
          <a:xfrm>
            <a:off x="-1132939" y="3911491"/>
            <a:ext cx="10722022" cy="6470917"/>
            <a:chOff x="-1001759" y="3670228"/>
            <a:chExt cx="10877091" cy="6564504"/>
          </a:xfrm>
        </p:grpSpPr>
        <p:sp>
          <p:nvSpPr>
            <p:cNvPr id="10" name="グラフィックス 6">
              <a:extLst>
                <a:ext uri="{FF2B5EF4-FFF2-40B4-BE49-F238E27FC236}">
                  <a16:creationId xmlns:a16="http://schemas.microsoft.com/office/drawing/2014/main" id="{A2770E77-84FD-AF89-3D24-167AC1D5134D}"/>
                </a:ext>
              </a:extLst>
            </p:cNvPr>
            <p:cNvSpPr/>
            <p:nvPr/>
          </p:nvSpPr>
          <p:spPr>
            <a:xfrm>
              <a:off x="5891761" y="3670228"/>
              <a:ext cx="3983571" cy="2719130"/>
            </a:xfrm>
            <a:custGeom>
              <a:avLst/>
              <a:gdLst>
                <a:gd name="connsiteX0" fmla="*/ 0 w 5200442"/>
                <a:gd name="connsiteY0" fmla="*/ 2449673 h 3191446"/>
                <a:gd name="connsiteX1" fmla="*/ 375228 w 5200442"/>
                <a:gd name="connsiteY1" fmla="*/ 2455786 h 3191446"/>
                <a:gd name="connsiteX2" fmla="*/ 727439 w 5200442"/>
                <a:gd name="connsiteY2" fmla="*/ 2531855 h 3191446"/>
                <a:gd name="connsiteX3" fmla="*/ 1030807 w 5200442"/>
                <a:gd name="connsiteY3" fmla="*/ 2575539 h 3191446"/>
                <a:gd name="connsiteX4" fmla="*/ 1330896 w 5200442"/>
                <a:gd name="connsiteY4" fmla="*/ 2561915 h 3191446"/>
                <a:gd name="connsiteX5" fmla="*/ 1537062 w 5200442"/>
                <a:gd name="connsiteY5" fmla="*/ 2509792 h 3191446"/>
                <a:gd name="connsiteX6" fmla="*/ 1609852 w 5200442"/>
                <a:gd name="connsiteY6" fmla="*/ 2472223 h 3191446"/>
                <a:gd name="connsiteX7" fmla="*/ 1442673 w 5200442"/>
                <a:gd name="connsiteY7" fmla="*/ 2452021 h 3191446"/>
                <a:gd name="connsiteX8" fmla="*/ 1139771 w 5200442"/>
                <a:gd name="connsiteY8" fmla="*/ 2495216 h 3191446"/>
                <a:gd name="connsiteX9" fmla="*/ 864581 w 5200442"/>
                <a:gd name="connsiteY9" fmla="*/ 2467970 h 3191446"/>
                <a:gd name="connsiteX10" fmla="*/ 620846 w 5200442"/>
                <a:gd name="connsiteY10" fmla="*/ 2425704 h 3191446"/>
                <a:gd name="connsiteX11" fmla="*/ 580463 w 5200442"/>
                <a:gd name="connsiteY11" fmla="*/ 2490985 h 3191446"/>
                <a:gd name="connsiteX12" fmla="*/ 596900 w 5200442"/>
                <a:gd name="connsiteY12" fmla="*/ 2650190 h 3191446"/>
                <a:gd name="connsiteX13" fmla="*/ 551821 w 5200442"/>
                <a:gd name="connsiteY13" fmla="*/ 2845080 h 3191446"/>
                <a:gd name="connsiteX14" fmla="*/ 530688 w 5200442"/>
                <a:gd name="connsiteY14" fmla="*/ 3005215 h 3191446"/>
                <a:gd name="connsiteX15" fmla="*/ 649510 w 5200442"/>
                <a:gd name="connsiteY15" fmla="*/ 3049363 h 3191446"/>
                <a:gd name="connsiteX16" fmla="*/ 840657 w 5200442"/>
                <a:gd name="connsiteY16" fmla="*/ 2993475 h 3191446"/>
                <a:gd name="connsiteX17" fmla="*/ 1074069 w 5200442"/>
                <a:gd name="connsiteY17" fmla="*/ 2954022 h 3191446"/>
                <a:gd name="connsiteX18" fmla="*/ 1409379 w 5200442"/>
                <a:gd name="connsiteY18" fmla="*/ 2879814 h 3191446"/>
                <a:gd name="connsiteX19" fmla="*/ 1679409 w 5200442"/>
                <a:gd name="connsiteY19" fmla="*/ 2879814 h 3191446"/>
                <a:gd name="connsiteX20" fmla="*/ 1794930 w 5200442"/>
                <a:gd name="connsiteY20" fmla="*/ 2964345 h 3191446"/>
                <a:gd name="connsiteX21" fmla="*/ 1938628 w 5200442"/>
                <a:gd name="connsiteY21" fmla="*/ 3061081 h 3191446"/>
                <a:gd name="connsiteX22" fmla="*/ 2090788 w 5200442"/>
                <a:gd name="connsiteY22" fmla="*/ 3104765 h 3191446"/>
                <a:gd name="connsiteX23" fmla="*/ 2215701 w 5200442"/>
                <a:gd name="connsiteY23" fmla="*/ 3107578 h 3191446"/>
                <a:gd name="connsiteX24" fmla="*/ 2345311 w 5200442"/>
                <a:gd name="connsiteY24" fmla="*/ 3139986 h 3191446"/>
                <a:gd name="connsiteX25" fmla="*/ 2424680 w 5200442"/>
                <a:gd name="connsiteY25" fmla="*/ 3178485 h 3191446"/>
                <a:gd name="connsiteX26" fmla="*/ 2465063 w 5200442"/>
                <a:gd name="connsiteY26" fmla="*/ 3188808 h 3191446"/>
                <a:gd name="connsiteX27" fmla="*/ 2461651 w 5200442"/>
                <a:gd name="connsiteY27" fmla="*/ 3145125 h 3191446"/>
                <a:gd name="connsiteX28" fmla="*/ 2425588 w 5200442"/>
                <a:gd name="connsiteY28" fmla="*/ 3102505 h 3191446"/>
                <a:gd name="connsiteX29" fmla="*/ 2365358 w 5200442"/>
                <a:gd name="connsiteY29" fmla="*/ 3088771 h 3191446"/>
                <a:gd name="connsiteX30" fmla="*/ 2374883 w 5200442"/>
                <a:gd name="connsiteY30" fmla="*/ 3120825 h 3191446"/>
                <a:gd name="connsiteX31" fmla="*/ 2478199 w 5200442"/>
                <a:gd name="connsiteY31" fmla="*/ 3169071 h 3191446"/>
                <a:gd name="connsiteX32" fmla="*/ 2484312 w 5200442"/>
                <a:gd name="connsiteY32" fmla="*/ 3084540 h 3191446"/>
                <a:gd name="connsiteX33" fmla="*/ 2424680 w 5200442"/>
                <a:gd name="connsiteY33" fmla="*/ 3000940 h 3191446"/>
                <a:gd name="connsiteX34" fmla="*/ 2308206 w 5200442"/>
                <a:gd name="connsiteY34" fmla="*/ 2944121 h 3191446"/>
                <a:gd name="connsiteX35" fmla="*/ 2152281 w 5200442"/>
                <a:gd name="connsiteY35" fmla="*/ 2916409 h 3191446"/>
                <a:gd name="connsiteX36" fmla="*/ 2070098 w 5200442"/>
                <a:gd name="connsiteY36" fmla="*/ 2842201 h 3191446"/>
                <a:gd name="connsiteX37" fmla="*/ 2079313 w 5200442"/>
                <a:gd name="connsiteY37" fmla="*/ 2723512 h 3191446"/>
                <a:gd name="connsiteX38" fmla="*/ 1968887 w 5200442"/>
                <a:gd name="connsiteY38" fmla="*/ 2598488 h 3191446"/>
                <a:gd name="connsiteX39" fmla="*/ 1961444 w 5200442"/>
                <a:gd name="connsiteY39" fmla="*/ 2546476 h 3191446"/>
                <a:gd name="connsiteX40" fmla="*/ 2222723 w 5200442"/>
                <a:gd name="connsiteY40" fmla="*/ 2645449 h 3191446"/>
                <a:gd name="connsiteX41" fmla="*/ 2481965 w 5200442"/>
                <a:gd name="connsiteY41" fmla="*/ 2760040 h 3191446"/>
                <a:gd name="connsiteX42" fmla="*/ 2654792 w 5200442"/>
                <a:gd name="connsiteY42" fmla="*/ 2773198 h 3191446"/>
                <a:gd name="connsiteX43" fmla="*/ 2829968 w 5200442"/>
                <a:gd name="connsiteY43" fmla="*/ 2753948 h 3191446"/>
                <a:gd name="connsiteX44" fmla="*/ 2992450 w 5200442"/>
                <a:gd name="connsiteY44" fmla="*/ 2746904 h 3191446"/>
                <a:gd name="connsiteX45" fmla="*/ 3101880 w 5200442"/>
                <a:gd name="connsiteY45" fmla="*/ 2726702 h 3191446"/>
                <a:gd name="connsiteX46" fmla="*/ 3163860 w 5200442"/>
                <a:gd name="connsiteY46" fmla="*/ 2743603 h 3191446"/>
                <a:gd name="connsiteX47" fmla="*/ 3141310 w 5200442"/>
                <a:gd name="connsiteY47" fmla="*/ 2790100 h 3191446"/>
                <a:gd name="connsiteX48" fmla="*/ 2998077 w 5200442"/>
                <a:gd name="connsiteY48" fmla="*/ 2819694 h 3191446"/>
                <a:gd name="connsiteX49" fmla="*/ 2881138 w 5200442"/>
                <a:gd name="connsiteY49" fmla="*/ 2844593 h 3191446"/>
                <a:gd name="connsiteX50" fmla="*/ 2737440 w 5200442"/>
                <a:gd name="connsiteY50" fmla="*/ 2869491 h 3191446"/>
                <a:gd name="connsiteX51" fmla="*/ 2625197 w 5200442"/>
                <a:gd name="connsiteY51" fmla="*/ 2919266 h 3191446"/>
                <a:gd name="connsiteX52" fmla="*/ 2758573 w 5200442"/>
                <a:gd name="connsiteY52" fmla="*/ 2930076 h 3191446"/>
                <a:gd name="connsiteX53" fmla="*/ 2989637 w 5200442"/>
                <a:gd name="connsiteY53" fmla="*/ 2860564 h 3191446"/>
                <a:gd name="connsiteX54" fmla="*/ 3106576 w 5200442"/>
                <a:gd name="connsiteY54" fmla="*/ 2830504 h 3191446"/>
                <a:gd name="connsiteX55" fmla="*/ 3108459 w 5200442"/>
                <a:gd name="connsiteY55" fmla="*/ 2879349 h 3191446"/>
                <a:gd name="connsiteX56" fmla="*/ 3016884 w 5200442"/>
                <a:gd name="connsiteY56" fmla="*/ 2947908 h 3191446"/>
                <a:gd name="connsiteX57" fmla="*/ 2830920 w 5200442"/>
                <a:gd name="connsiteY57" fmla="*/ 3039949 h 3191446"/>
                <a:gd name="connsiteX58" fmla="*/ 2650583 w 5200442"/>
                <a:gd name="connsiteY58" fmla="*/ 3096768 h 3191446"/>
                <a:gd name="connsiteX59" fmla="*/ 2548685 w 5200442"/>
                <a:gd name="connsiteY59" fmla="*/ 3072357 h 3191446"/>
                <a:gd name="connsiteX60" fmla="*/ 2457110 w 5200442"/>
                <a:gd name="connsiteY60" fmla="*/ 2980316 h 3191446"/>
                <a:gd name="connsiteX61" fmla="*/ 2308716 w 5200442"/>
                <a:gd name="connsiteY61" fmla="*/ 2897668 h 3191446"/>
                <a:gd name="connsiteX62" fmla="*/ 2135889 w 5200442"/>
                <a:gd name="connsiteY62" fmla="*/ 2855403 h 3191446"/>
                <a:gd name="connsiteX63" fmla="*/ 1950390 w 5200442"/>
                <a:gd name="connsiteY63" fmla="*/ 2833340 h 3191446"/>
                <a:gd name="connsiteX64" fmla="*/ 1783211 w 5200442"/>
                <a:gd name="connsiteY64" fmla="*/ 2792957 h 3191446"/>
                <a:gd name="connsiteX65" fmla="*/ 1703377 w 5200442"/>
                <a:gd name="connsiteY65" fmla="*/ 2664743 h 3191446"/>
                <a:gd name="connsiteX66" fmla="*/ 1689288 w 5200442"/>
                <a:gd name="connsiteY66" fmla="*/ 2536529 h 3191446"/>
                <a:gd name="connsiteX67" fmla="*/ 1739063 w 5200442"/>
                <a:gd name="connsiteY67" fmla="*/ 2455277 h 3191446"/>
                <a:gd name="connsiteX68" fmla="*/ 1913286 w 5200442"/>
                <a:gd name="connsiteY68" fmla="*/ 2443537 h 3191446"/>
                <a:gd name="connsiteX69" fmla="*/ 2161252 w 5200442"/>
                <a:gd name="connsiteY69" fmla="*/ 2523371 h 3191446"/>
                <a:gd name="connsiteX70" fmla="*/ 2389481 w 5200442"/>
                <a:gd name="connsiteY70" fmla="*/ 2660512 h 3191446"/>
                <a:gd name="connsiteX71" fmla="*/ 2597065 w 5200442"/>
                <a:gd name="connsiteY71" fmla="*/ 2731420 h 3191446"/>
                <a:gd name="connsiteX72" fmla="*/ 2739832 w 5200442"/>
                <a:gd name="connsiteY72" fmla="*/ 2734698 h 3191446"/>
                <a:gd name="connsiteX73" fmla="*/ 2792421 w 5200442"/>
                <a:gd name="connsiteY73" fmla="*/ 2704639 h 3191446"/>
                <a:gd name="connsiteX74" fmla="*/ 2766592 w 5200442"/>
                <a:gd name="connsiteY74" fmla="*/ 2669882 h 3191446"/>
                <a:gd name="connsiteX75" fmla="*/ 2693801 w 5200442"/>
                <a:gd name="connsiteY75" fmla="*/ 2654864 h 3191446"/>
                <a:gd name="connsiteX76" fmla="*/ 2577815 w 5200442"/>
                <a:gd name="connsiteY76" fmla="*/ 2628570 h 3191446"/>
                <a:gd name="connsiteX77" fmla="*/ 2462294 w 5200442"/>
                <a:gd name="connsiteY77" fmla="*/ 2586304 h 3191446"/>
                <a:gd name="connsiteX78" fmla="*/ 2473104 w 5200442"/>
                <a:gd name="connsiteY78" fmla="*/ 2574099 h 3191446"/>
                <a:gd name="connsiteX79" fmla="*/ 2657672 w 5200442"/>
                <a:gd name="connsiteY79" fmla="*/ 2622943 h 3191446"/>
                <a:gd name="connsiteX80" fmla="*/ 2826268 w 5200442"/>
                <a:gd name="connsiteY80" fmla="*/ 2650655 h 3191446"/>
                <a:gd name="connsiteX81" fmla="*/ 2966223 w 5200442"/>
                <a:gd name="connsiteY81" fmla="*/ 2699499 h 3191446"/>
                <a:gd name="connsiteX82" fmla="*/ 3067190 w 5200442"/>
                <a:gd name="connsiteY82" fmla="*/ 2697151 h 3191446"/>
                <a:gd name="connsiteX83" fmla="*/ 3064377 w 5200442"/>
                <a:gd name="connsiteY83" fmla="*/ 2661930 h 3191446"/>
                <a:gd name="connsiteX84" fmla="*/ 2979381 w 5200442"/>
                <a:gd name="connsiteY84" fmla="*/ 2611690 h 3191446"/>
                <a:gd name="connsiteX85" fmla="*/ 2864325 w 5200442"/>
                <a:gd name="connsiteY85" fmla="*/ 2582583 h 3191446"/>
                <a:gd name="connsiteX86" fmla="*/ 2692450 w 5200442"/>
                <a:gd name="connsiteY86" fmla="*/ 2549244 h 3191446"/>
                <a:gd name="connsiteX87" fmla="*/ 2628586 w 5200442"/>
                <a:gd name="connsiteY87" fmla="*/ 2521068 h 3191446"/>
                <a:gd name="connsiteX88" fmla="*/ 2828639 w 5200442"/>
                <a:gd name="connsiteY88" fmla="*/ 2553476 h 3191446"/>
                <a:gd name="connsiteX89" fmla="*/ 3036687 w 5200442"/>
                <a:gd name="connsiteY89" fmla="*/ 2609829 h 3191446"/>
                <a:gd name="connsiteX90" fmla="*/ 3157370 w 5200442"/>
                <a:gd name="connsiteY90" fmla="*/ 2655861 h 3191446"/>
                <a:gd name="connsiteX91" fmla="*/ 3251758 w 5200442"/>
                <a:gd name="connsiteY91" fmla="*/ 2646468 h 3191446"/>
                <a:gd name="connsiteX92" fmla="*/ 3244249 w 5200442"/>
                <a:gd name="connsiteY92" fmla="*/ 2584000 h 3191446"/>
                <a:gd name="connsiteX93" fmla="*/ 3135306 w 5200442"/>
                <a:gd name="connsiteY93" fmla="*/ 2532808 h 3191446"/>
                <a:gd name="connsiteX94" fmla="*/ 2954970 w 5200442"/>
                <a:gd name="connsiteY94" fmla="*/ 2499935 h 3191446"/>
                <a:gd name="connsiteX95" fmla="*/ 2797183 w 5200442"/>
                <a:gd name="connsiteY95" fmla="*/ 2458135 h 3191446"/>
                <a:gd name="connsiteX96" fmla="*/ 2759614 w 5200442"/>
                <a:gd name="connsiteY96" fmla="*/ 2429027 h 3191446"/>
                <a:gd name="connsiteX97" fmla="*/ 2923979 w 5200442"/>
                <a:gd name="connsiteY97" fmla="*/ 2469875 h 3191446"/>
                <a:gd name="connsiteX98" fmla="*/ 3177107 w 5200442"/>
                <a:gd name="connsiteY98" fmla="*/ 2526694 h 3191446"/>
                <a:gd name="connsiteX99" fmla="*/ 3279492 w 5200442"/>
                <a:gd name="connsiteY99" fmla="*/ 2489590 h 3191446"/>
                <a:gd name="connsiteX100" fmla="*/ 3248967 w 5200442"/>
                <a:gd name="connsiteY100" fmla="*/ 2420565 h 3191446"/>
                <a:gd name="connsiteX101" fmla="*/ 3114661 w 5200442"/>
                <a:gd name="connsiteY101" fmla="*/ 2366560 h 3191446"/>
                <a:gd name="connsiteX102" fmla="*/ 2868578 w 5200442"/>
                <a:gd name="connsiteY102" fmla="*/ 2344962 h 3191446"/>
                <a:gd name="connsiteX103" fmla="*/ 2666178 w 5200442"/>
                <a:gd name="connsiteY103" fmla="*/ 2293304 h 3191446"/>
                <a:gd name="connsiteX104" fmla="*/ 2580229 w 5200442"/>
                <a:gd name="connsiteY104" fmla="*/ 2206890 h 3191446"/>
                <a:gd name="connsiteX105" fmla="*/ 2541730 w 5200442"/>
                <a:gd name="connsiteY105" fmla="*/ 2102157 h 3191446"/>
                <a:gd name="connsiteX106" fmla="*/ 2611242 w 5200442"/>
                <a:gd name="connsiteY106" fmla="*/ 2090416 h 3191446"/>
                <a:gd name="connsiteX107" fmla="*/ 2863439 w 5200442"/>
                <a:gd name="connsiteY107" fmla="*/ 2147701 h 3191446"/>
                <a:gd name="connsiteX108" fmla="*/ 3018412 w 5200442"/>
                <a:gd name="connsiteY108" fmla="*/ 2144422 h 3191446"/>
                <a:gd name="connsiteX109" fmla="*/ 3037197 w 5200442"/>
                <a:gd name="connsiteY109" fmla="*/ 2062705 h 3191446"/>
                <a:gd name="connsiteX110" fmla="*/ 2989305 w 5200442"/>
                <a:gd name="connsiteY110" fmla="*/ 2004003 h 3191446"/>
                <a:gd name="connsiteX111" fmla="*/ 2858743 w 5200442"/>
                <a:gd name="connsiteY111" fmla="*/ 1978639 h 3191446"/>
                <a:gd name="connsiteX112" fmla="*/ 2691564 w 5200442"/>
                <a:gd name="connsiteY112" fmla="*/ 1902570 h 3191446"/>
                <a:gd name="connsiteX113" fmla="*/ 2540821 w 5200442"/>
                <a:gd name="connsiteY113" fmla="*/ 1854191 h 3191446"/>
                <a:gd name="connsiteX114" fmla="*/ 2363298 w 5200442"/>
                <a:gd name="connsiteY114" fmla="*/ 1858422 h 3191446"/>
                <a:gd name="connsiteX115" fmla="*/ 2228527 w 5200442"/>
                <a:gd name="connsiteY115" fmla="*/ 1851843 h 3191446"/>
                <a:gd name="connsiteX116" fmla="*/ 2109240 w 5200442"/>
                <a:gd name="connsiteY116" fmla="*/ 1886133 h 3191446"/>
                <a:gd name="connsiteX117" fmla="*/ 2003576 w 5200442"/>
                <a:gd name="connsiteY117" fmla="*/ 1992728 h 3191446"/>
                <a:gd name="connsiteX118" fmla="*/ 2053816 w 5200442"/>
                <a:gd name="connsiteY118" fmla="*/ 2092277 h 3191446"/>
                <a:gd name="connsiteX119" fmla="*/ 2183426 w 5200442"/>
                <a:gd name="connsiteY119" fmla="*/ 2148166 h 3191446"/>
                <a:gd name="connsiteX120" fmla="*/ 2359532 w 5200442"/>
                <a:gd name="connsiteY120" fmla="*/ 2196058 h 3191446"/>
                <a:gd name="connsiteX121" fmla="*/ 2384896 w 5200442"/>
                <a:gd name="connsiteY121" fmla="*/ 2215773 h 3191446"/>
                <a:gd name="connsiteX122" fmla="*/ 2257169 w 5200442"/>
                <a:gd name="connsiteY122" fmla="*/ 2221887 h 3191446"/>
                <a:gd name="connsiteX123" fmla="*/ 2080598 w 5200442"/>
                <a:gd name="connsiteY123" fmla="*/ 2157558 h 3191446"/>
                <a:gd name="connsiteX124" fmla="*/ 1948153 w 5200442"/>
                <a:gd name="connsiteY124" fmla="*/ 2063170 h 3191446"/>
                <a:gd name="connsiteX125" fmla="*/ 1844372 w 5200442"/>
                <a:gd name="connsiteY125" fmla="*/ 2045316 h 3191446"/>
                <a:gd name="connsiteX126" fmla="*/ 1767351 w 5200442"/>
                <a:gd name="connsiteY126" fmla="*/ 2128916 h 3191446"/>
                <a:gd name="connsiteX127" fmla="*/ 1772512 w 5200442"/>
                <a:gd name="connsiteY127" fmla="*/ 2264174 h 3191446"/>
                <a:gd name="connsiteX128" fmla="*/ 1811012 w 5200442"/>
                <a:gd name="connsiteY128" fmla="*/ 2335547 h 3191446"/>
                <a:gd name="connsiteX129" fmla="*/ 1733525 w 5200442"/>
                <a:gd name="connsiteY129" fmla="*/ 2308788 h 3191446"/>
                <a:gd name="connsiteX130" fmla="*/ 1553653 w 5200442"/>
                <a:gd name="connsiteY130" fmla="*/ 2276845 h 3191446"/>
                <a:gd name="connsiteX131" fmla="*/ 1255447 w 5200442"/>
                <a:gd name="connsiteY131" fmla="*/ 2275427 h 3191446"/>
                <a:gd name="connsiteX132" fmla="*/ 1002320 w 5200442"/>
                <a:gd name="connsiteY132" fmla="*/ 2167416 h 3191446"/>
                <a:gd name="connsiteX133" fmla="*/ 860970 w 5200442"/>
                <a:gd name="connsiteY133" fmla="*/ 2056126 h 3191446"/>
                <a:gd name="connsiteX134" fmla="*/ 775509 w 5200442"/>
                <a:gd name="connsiteY134" fmla="*/ 1935908 h 3191446"/>
                <a:gd name="connsiteX135" fmla="*/ 825284 w 5200442"/>
                <a:gd name="connsiteY135" fmla="*/ 1899270 h 3191446"/>
                <a:gd name="connsiteX136" fmla="*/ 1000459 w 5200442"/>
                <a:gd name="connsiteY136" fmla="*/ 1751806 h 3191446"/>
                <a:gd name="connsiteX137" fmla="*/ 1108006 w 5200442"/>
                <a:gd name="connsiteY137" fmla="*/ 1579443 h 3191446"/>
                <a:gd name="connsiteX138" fmla="*/ 1213204 w 5200442"/>
                <a:gd name="connsiteY138" fmla="*/ 1574747 h 3191446"/>
                <a:gd name="connsiteX139" fmla="*/ 1506714 w 5200442"/>
                <a:gd name="connsiteY139" fmla="*/ 1784679 h 3191446"/>
                <a:gd name="connsiteX140" fmla="*/ 1807047 w 5200442"/>
                <a:gd name="connsiteY140" fmla="*/ 1867327 h 3191446"/>
                <a:gd name="connsiteX141" fmla="*/ 2100335 w 5200442"/>
                <a:gd name="connsiteY141" fmla="*/ 1895038 h 3191446"/>
                <a:gd name="connsiteX142" fmla="*/ 2380000 w 5200442"/>
                <a:gd name="connsiteY142" fmla="*/ 1910545 h 3191446"/>
                <a:gd name="connsiteX143" fmla="*/ 2687377 w 5200442"/>
                <a:gd name="connsiteY143" fmla="*/ 1802533 h 3191446"/>
                <a:gd name="connsiteX144" fmla="*/ 2878635 w 5200442"/>
                <a:gd name="connsiteY144" fmla="*/ 1811859 h 3191446"/>
                <a:gd name="connsiteX145" fmla="*/ 3151366 w 5200442"/>
                <a:gd name="connsiteY145" fmla="*/ 1820609 h 3191446"/>
                <a:gd name="connsiteX146" fmla="*/ 3604081 w 5200442"/>
                <a:gd name="connsiteY146" fmla="*/ 1657993 h 3191446"/>
                <a:gd name="connsiteX147" fmla="*/ 3847927 w 5200442"/>
                <a:gd name="connsiteY147" fmla="*/ 1362202 h 3191446"/>
                <a:gd name="connsiteX148" fmla="*/ 3942204 w 5200442"/>
                <a:gd name="connsiteY148" fmla="*/ 1008749 h 3191446"/>
                <a:gd name="connsiteX149" fmla="*/ 3912853 w 5200442"/>
                <a:gd name="connsiteY149" fmla="*/ 611680 h 3191446"/>
                <a:gd name="connsiteX150" fmla="*/ 3690716 w 5200442"/>
                <a:gd name="connsiteY150" fmla="*/ 239266 h 3191446"/>
                <a:gd name="connsiteX151" fmla="*/ 3305520 w 5200442"/>
                <a:gd name="connsiteY151" fmla="*/ 36445 h 3191446"/>
                <a:gd name="connsiteX152" fmla="*/ 2888160 w 5200442"/>
                <a:gd name="connsiteY152" fmla="*/ 13607 h 3191446"/>
                <a:gd name="connsiteX153" fmla="*/ 2474765 w 5200442"/>
                <a:gd name="connsiteY153" fmla="*/ 187187 h 3191446"/>
                <a:gd name="connsiteX154" fmla="*/ 2225404 w 5200442"/>
                <a:gd name="connsiteY154" fmla="*/ 506991 h 3191446"/>
                <a:gd name="connsiteX155" fmla="*/ 2135844 w 5200442"/>
                <a:gd name="connsiteY155" fmla="*/ 850941 h 3191446"/>
                <a:gd name="connsiteX156" fmla="*/ 2206619 w 5200442"/>
                <a:gd name="connsiteY156" fmla="*/ 1253703 h 3191446"/>
                <a:gd name="connsiteX157" fmla="*/ 2625529 w 5200442"/>
                <a:gd name="connsiteY157" fmla="*/ 1667430 h 3191446"/>
                <a:gd name="connsiteX158" fmla="*/ 3222429 w 5200442"/>
                <a:gd name="connsiteY158" fmla="*/ 1747973 h 3191446"/>
                <a:gd name="connsiteX159" fmla="*/ 3307314 w 5200442"/>
                <a:gd name="connsiteY159" fmla="*/ 1686037 h 3191446"/>
                <a:gd name="connsiteX160" fmla="*/ 3266467 w 5200442"/>
                <a:gd name="connsiteY160" fmla="*/ 1570051 h 3191446"/>
                <a:gd name="connsiteX161" fmla="*/ 3375896 w 5200442"/>
                <a:gd name="connsiteY161" fmla="*/ 1458761 h 3191446"/>
                <a:gd name="connsiteX162" fmla="*/ 3467006 w 5200442"/>
                <a:gd name="connsiteY162" fmla="*/ 1369999 h 3191446"/>
                <a:gd name="connsiteX163" fmla="*/ 3543075 w 5200442"/>
                <a:gd name="connsiteY163" fmla="*/ 1277494 h 3191446"/>
                <a:gd name="connsiteX164" fmla="*/ 3673150 w 5200442"/>
                <a:gd name="connsiteY164" fmla="*/ 1255896 h 3191446"/>
                <a:gd name="connsiteX165" fmla="*/ 3759763 w 5200442"/>
                <a:gd name="connsiteY165" fmla="*/ 1331034 h 3191446"/>
                <a:gd name="connsiteX166" fmla="*/ 3770218 w 5200442"/>
                <a:gd name="connsiteY166" fmla="*/ 1418378 h 3191446"/>
                <a:gd name="connsiteX167" fmla="*/ 3684624 w 5200442"/>
                <a:gd name="connsiteY167" fmla="*/ 1450321 h 3191446"/>
                <a:gd name="connsiteX168" fmla="*/ 3589106 w 5200442"/>
                <a:gd name="connsiteY168" fmla="*/ 1435302 h 3191446"/>
                <a:gd name="connsiteX169" fmla="*/ 3545423 w 5200442"/>
                <a:gd name="connsiteY169" fmla="*/ 1574769 h 3191446"/>
                <a:gd name="connsiteX170" fmla="*/ 3474515 w 5200442"/>
                <a:gd name="connsiteY170" fmla="*/ 1681851 h 3191446"/>
                <a:gd name="connsiteX171" fmla="*/ 3389054 w 5200442"/>
                <a:gd name="connsiteY171" fmla="*/ 1687477 h 3191446"/>
                <a:gd name="connsiteX172" fmla="*/ 3309219 w 5200442"/>
                <a:gd name="connsiteY172" fmla="*/ 1615152 h 3191446"/>
                <a:gd name="connsiteX173" fmla="*/ 3297014 w 5200442"/>
                <a:gd name="connsiteY173" fmla="*/ 1503374 h 3191446"/>
                <a:gd name="connsiteX174" fmla="*/ 3255679 w 5200442"/>
                <a:gd name="connsiteY174" fmla="*/ 1430119 h 3191446"/>
                <a:gd name="connsiteX175" fmla="*/ 3184771 w 5200442"/>
                <a:gd name="connsiteY175" fmla="*/ 1405220 h 3191446"/>
                <a:gd name="connsiteX176" fmla="*/ 3118095 w 5200442"/>
                <a:gd name="connsiteY176" fmla="*/ 1359189 h 3191446"/>
                <a:gd name="connsiteX177" fmla="*/ 3062671 w 5200442"/>
                <a:gd name="connsiteY177" fmla="*/ 1300952 h 3191446"/>
                <a:gd name="connsiteX178" fmla="*/ 2965935 w 5200442"/>
                <a:gd name="connsiteY178" fmla="*/ 1250225 h 3191446"/>
                <a:gd name="connsiteX179" fmla="*/ 2941036 w 5200442"/>
                <a:gd name="connsiteY179" fmla="*/ 1147375 h 3191446"/>
                <a:gd name="connsiteX180" fmla="*/ 2993159 w 5200442"/>
                <a:gd name="connsiteY180" fmla="*/ 1068470 h 3191446"/>
                <a:gd name="connsiteX181" fmla="*/ 3167382 w 5200442"/>
                <a:gd name="connsiteY181" fmla="*/ 1051923 h 3191446"/>
                <a:gd name="connsiteX182" fmla="*/ 3248147 w 5200442"/>
                <a:gd name="connsiteY182" fmla="*/ 972199 h 3191446"/>
                <a:gd name="connsiteX183" fmla="*/ 3280555 w 5200442"/>
                <a:gd name="connsiteY183" fmla="*/ 865007 h 3191446"/>
                <a:gd name="connsiteX184" fmla="*/ 3336444 w 5200442"/>
                <a:gd name="connsiteY184" fmla="*/ 762267 h 3191446"/>
                <a:gd name="connsiteX185" fmla="*/ 3384336 w 5200442"/>
                <a:gd name="connsiteY185" fmla="*/ 634519 h 3191446"/>
                <a:gd name="connsiteX186" fmla="*/ 3452895 w 5200442"/>
                <a:gd name="connsiteY186" fmla="*/ 554684 h 3191446"/>
                <a:gd name="connsiteX187" fmla="*/ 3498927 w 5200442"/>
                <a:gd name="connsiteY187" fmla="*/ 491286 h 3191446"/>
                <a:gd name="connsiteX188" fmla="*/ 3386219 w 5200442"/>
                <a:gd name="connsiteY188" fmla="*/ 390784 h 3191446"/>
                <a:gd name="connsiteX189" fmla="*/ 3279137 w 5200442"/>
                <a:gd name="connsiteY189" fmla="*/ 343822 h 3191446"/>
                <a:gd name="connsiteX190" fmla="*/ 3210113 w 5200442"/>
                <a:gd name="connsiteY190" fmla="*/ 333012 h 3191446"/>
                <a:gd name="connsiteX191" fmla="*/ 3151411 w 5200442"/>
                <a:gd name="connsiteY191" fmla="*/ 315645 h 3191446"/>
                <a:gd name="connsiteX192" fmla="*/ 3146250 w 5200442"/>
                <a:gd name="connsiteY192" fmla="*/ 380461 h 3191446"/>
                <a:gd name="connsiteX193" fmla="*/ 3168313 w 5200442"/>
                <a:gd name="connsiteY193" fmla="*/ 468270 h 3191446"/>
                <a:gd name="connsiteX194" fmla="*/ 3129813 w 5200442"/>
                <a:gd name="connsiteY194" fmla="*/ 478128 h 3191446"/>
                <a:gd name="connsiteX195" fmla="*/ 3032124 w 5200442"/>
                <a:gd name="connsiteY195" fmla="*/ 426470 h 3191446"/>
                <a:gd name="connsiteX196" fmla="*/ 2993137 w 5200442"/>
                <a:gd name="connsiteY196" fmla="*/ 387970 h 3191446"/>
                <a:gd name="connsiteX197" fmla="*/ 3028358 w 5200442"/>
                <a:gd name="connsiteY197" fmla="*/ 331616 h 3191446"/>
                <a:gd name="connsiteX198" fmla="*/ 3040098 w 5200442"/>
                <a:gd name="connsiteY198" fmla="*/ 279959 h 3191446"/>
                <a:gd name="connsiteX199" fmla="*/ 3029288 w 5200442"/>
                <a:gd name="connsiteY199" fmla="*/ 225953 h 3191446"/>
                <a:gd name="connsiteX200" fmla="*/ 3008621 w 5200442"/>
                <a:gd name="connsiteY200" fmla="*/ 199659 h 3191446"/>
                <a:gd name="connsiteX201" fmla="*/ 2955080 w 5200442"/>
                <a:gd name="connsiteY201" fmla="*/ 216095 h 3191446"/>
                <a:gd name="connsiteX202" fmla="*/ 2867736 w 5200442"/>
                <a:gd name="connsiteY202" fmla="*/ 225022 h 3191446"/>
                <a:gd name="connsiteX203" fmla="*/ 2776626 w 5200442"/>
                <a:gd name="connsiteY203" fmla="*/ 195915 h 3191446"/>
                <a:gd name="connsiteX204" fmla="*/ 2706184 w 5200442"/>
                <a:gd name="connsiteY204" fmla="*/ 171969 h 3191446"/>
                <a:gd name="connsiteX205" fmla="*/ 2622118 w 5200442"/>
                <a:gd name="connsiteY205" fmla="*/ 170086 h 3191446"/>
                <a:gd name="connsiteX206" fmla="*/ 2535239 w 5200442"/>
                <a:gd name="connsiteY206" fmla="*/ 214235 h 3191446"/>
                <a:gd name="connsiteX207" fmla="*/ 2498135 w 5200442"/>
                <a:gd name="connsiteY207" fmla="*/ 270589 h 3191446"/>
                <a:gd name="connsiteX208" fmla="*/ 2542749 w 5200442"/>
                <a:gd name="connsiteY208" fmla="*/ 337265 h 3191446"/>
                <a:gd name="connsiteX209" fmla="*/ 2559650 w 5200442"/>
                <a:gd name="connsiteY209" fmla="*/ 385157 h 3191446"/>
                <a:gd name="connsiteX210" fmla="*/ 2542749 w 5200442"/>
                <a:gd name="connsiteY210" fmla="*/ 451368 h 3191446"/>
                <a:gd name="connsiteX211" fmla="*/ 2544632 w 5200442"/>
                <a:gd name="connsiteY211" fmla="*/ 519463 h 3191446"/>
                <a:gd name="connsiteX212" fmla="*/ 2541353 w 5200442"/>
                <a:gd name="connsiteY212" fmla="*/ 580048 h 3191446"/>
                <a:gd name="connsiteX213" fmla="*/ 2497670 w 5200442"/>
                <a:gd name="connsiteY213" fmla="*/ 654256 h 3191446"/>
                <a:gd name="connsiteX214" fmla="*/ 2479816 w 5200442"/>
                <a:gd name="connsiteY214" fmla="*/ 732673 h 3191446"/>
                <a:gd name="connsiteX215" fmla="*/ 2515037 w 5200442"/>
                <a:gd name="connsiteY215" fmla="*/ 819552 h 3191446"/>
                <a:gd name="connsiteX216" fmla="*/ 2555885 w 5200442"/>
                <a:gd name="connsiteY216" fmla="*/ 913475 h 3191446"/>
                <a:gd name="connsiteX217" fmla="*/ 2558698 w 5200442"/>
                <a:gd name="connsiteY217" fmla="*/ 1007863 h 3191446"/>
                <a:gd name="connsiteX218" fmla="*/ 2582179 w 5200442"/>
                <a:gd name="connsiteY218" fmla="*/ 1098021 h 3191446"/>
                <a:gd name="connsiteX219" fmla="*/ 2646995 w 5200442"/>
                <a:gd name="connsiteY219" fmla="*/ 1155792 h 3191446"/>
                <a:gd name="connsiteX220" fmla="*/ 2715089 w 5200442"/>
                <a:gd name="connsiteY220" fmla="*/ 1188200 h 3191446"/>
                <a:gd name="connsiteX221" fmla="*/ 2774721 w 5200442"/>
                <a:gd name="connsiteY221" fmla="*/ 1206985 h 3191446"/>
                <a:gd name="connsiteX222" fmla="*/ 2787392 w 5200442"/>
                <a:gd name="connsiteY222" fmla="*/ 1256760 h 3191446"/>
                <a:gd name="connsiteX223" fmla="*/ 2807594 w 5200442"/>
                <a:gd name="connsiteY223" fmla="*/ 1314044 h 3191446"/>
                <a:gd name="connsiteX224" fmla="*/ 2894008 w 5200442"/>
                <a:gd name="connsiteY224" fmla="*/ 1337525 h 3191446"/>
                <a:gd name="connsiteX225" fmla="*/ 2974308 w 5200442"/>
                <a:gd name="connsiteY225" fmla="*/ 1351148 h 3191446"/>
                <a:gd name="connsiteX226" fmla="*/ 3044750 w 5200442"/>
                <a:gd name="connsiteY226" fmla="*/ 1385904 h 3191446"/>
                <a:gd name="connsiteX227" fmla="*/ 3112845 w 5200442"/>
                <a:gd name="connsiteY227" fmla="*/ 1413616 h 3191446"/>
                <a:gd name="connsiteX228" fmla="*/ 3161689 w 5200442"/>
                <a:gd name="connsiteY228" fmla="*/ 1400945 h 3191446"/>
                <a:gd name="connsiteX229" fmla="*/ 3234480 w 5200442"/>
                <a:gd name="connsiteY229" fmla="*/ 1365259 h 3191446"/>
                <a:gd name="connsiteX230" fmla="*/ 3327472 w 5200442"/>
                <a:gd name="connsiteY230" fmla="*/ 1419730 h 3191446"/>
                <a:gd name="connsiteX231" fmla="*/ 3366659 w 5200442"/>
                <a:gd name="connsiteY231" fmla="*/ 1568368 h 3191446"/>
                <a:gd name="connsiteX232" fmla="*/ 3444278 w 5200442"/>
                <a:gd name="connsiteY232" fmla="*/ 1721679 h 3191446"/>
                <a:gd name="connsiteX233" fmla="*/ 3659216 w 5200442"/>
                <a:gd name="connsiteY233" fmla="*/ 1773603 h 3191446"/>
                <a:gd name="connsiteX234" fmla="*/ 3992909 w 5200442"/>
                <a:gd name="connsiteY234" fmla="*/ 1722654 h 3191446"/>
                <a:gd name="connsiteX235" fmla="*/ 4287837 w 5200442"/>
                <a:gd name="connsiteY235" fmla="*/ 1835362 h 3191446"/>
                <a:gd name="connsiteX236" fmla="*/ 4701830 w 5200442"/>
                <a:gd name="connsiteY236" fmla="*/ 1845042 h 3191446"/>
                <a:gd name="connsiteX237" fmla="*/ 5200443 w 5200442"/>
                <a:gd name="connsiteY237" fmla="*/ 1755394 h 3191446"/>
                <a:gd name="connsiteX0" fmla="*/ 0 w 4825216"/>
                <a:gd name="connsiteY0" fmla="*/ 2455786 h 3191446"/>
                <a:gd name="connsiteX1" fmla="*/ 352211 w 4825216"/>
                <a:gd name="connsiteY1" fmla="*/ 2531855 h 3191446"/>
                <a:gd name="connsiteX2" fmla="*/ 655579 w 4825216"/>
                <a:gd name="connsiteY2" fmla="*/ 2575539 h 3191446"/>
                <a:gd name="connsiteX3" fmla="*/ 955668 w 4825216"/>
                <a:gd name="connsiteY3" fmla="*/ 2561915 h 3191446"/>
                <a:gd name="connsiteX4" fmla="*/ 1161834 w 4825216"/>
                <a:gd name="connsiteY4" fmla="*/ 2509792 h 3191446"/>
                <a:gd name="connsiteX5" fmla="*/ 1234624 w 4825216"/>
                <a:gd name="connsiteY5" fmla="*/ 2472223 h 3191446"/>
                <a:gd name="connsiteX6" fmla="*/ 1067445 w 4825216"/>
                <a:gd name="connsiteY6" fmla="*/ 2452021 h 3191446"/>
                <a:gd name="connsiteX7" fmla="*/ 764543 w 4825216"/>
                <a:gd name="connsiteY7" fmla="*/ 2495216 h 3191446"/>
                <a:gd name="connsiteX8" fmla="*/ 489353 w 4825216"/>
                <a:gd name="connsiteY8" fmla="*/ 2467970 h 3191446"/>
                <a:gd name="connsiteX9" fmla="*/ 245618 w 4825216"/>
                <a:gd name="connsiteY9" fmla="*/ 2425704 h 3191446"/>
                <a:gd name="connsiteX10" fmla="*/ 205235 w 4825216"/>
                <a:gd name="connsiteY10" fmla="*/ 2490985 h 3191446"/>
                <a:gd name="connsiteX11" fmla="*/ 221672 w 4825216"/>
                <a:gd name="connsiteY11" fmla="*/ 2650190 h 3191446"/>
                <a:gd name="connsiteX12" fmla="*/ 176593 w 4825216"/>
                <a:gd name="connsiteY12" fmla="*/ 2845080 h 3191446"/>
                <a:gd name="connsiteX13" fmla="*/ 155460 w 4825216"/>
                <a:gd name="connsiteY13" fmla="*/ 3005215 h 3191446"/>
                <a:gd name="connsiteX14" fmla="*/ 274282 w 4825216"/>
                <a:gd name="connsiteY14" fmla="*/ 3049363 h 3191446"/>
                <a:gd name="connsiteX15" fmla="*/ 465429 w 4825216"/>
                <a:gd name="connsiteY15" fmla="*/ 2993475 h 3191446"/>
                <a:gd name="connsiteX16" fmla="*/ 698841 w 4825216"/>
                <a:gd name="connsiteY16" fmla="*/ 2954022 h 3191446"/>
                <a:gd name="connsiteX17" fmla="*/ 1034151 w 4825216"/>
                <a:gd name="connsiteY17" fmla="*/ 2879814 h 3191446"/>
                <a:gd name="connsiteX18" fmla="*/ 1304181 w 4825216"/>
                <a:gd name="connsiteY18" fmla="*/ 2879814 h 3191446"/>
                <a:gd name="connsiteX19" fmla="*/ 1419702 w 4825216"/>
                <a:gd name="connsiteY19" fmla="*/ 2964345 h 3191446"/>
                <a:gd name="connsiteX20" fmla="*/ 1563400 w 4825216"/>
                <a:gd name="connsiteY20" fmla="*/ 3061081 h 3191446"/>
                <a:gd name="connsiteX21" fmla="*/ 1715560 w 4825216"/>
                <a:gd name="connsiteY21" fmla="*/ 3104765 h 3191446"/>
                <a:gd name="connsiteX22" fmla="*/ 1840473 w 4825216"/>
                <a:gd name="connsiteY22" fmla="*/ 3107578 h 3191446"/>
                <a:gd name="connsiteX23" fmla="*/ 1970083 w 4825216"/>
                <a:gd name="connsiteY23" fmla="*/ 3139986 h 3191446"/>
                <a:gd name="connsiteX24" fmla="*/ 2049452 w 4825216"/>
                <a:gd name="connsiteY24" fmla="*/ 3178485 h 3191446"/>
                <a:gd name="connsiteX25" fmla="*/ 2089835 w 4825216"/>
                <a:gd name="connsiteY25" fmla="*/ 3188808 h 3191446"/>
                <a:gd name="connsiteX26" fmla="*/ 2086423 w 4825216"/>
                <a:gd name="connsiteY26" fmla="*/ 3145125 h 3191446"/>
                <a:gd name="connsiteX27" fmla="*/ 2050360 w 4825216"/>
                <a:gd name="connsiteY27" fmla="*/ 3102505 h 3191446"/>
                <a:gd name="connsiteX28" fmla="*/ 1990130 w 4825216"/>
                <a:gd name="connsiteY28" fmla="*/ 3088771 h 3191446"/>
                <a:gd name="connsiteX29" fmla="*/ 1999655 w 4825216"/>
                <a:gd name="connsiteY29" fmla="*/ 3120825 h 3191446"/>
                <a:gd name="connsiteX30" fmla="*/ 2102971 w 4825216"/>
                <a:gd name="connsiteY30" fmla="*/ 3169071 h 3191446"/>
                <a:gd name="connsiteX31" fmla="*/ 2109084 w 4825216"/>
                <a:gd name="connsiteY31" fmla="*/ 3084540 h 3191446"/>
                <a:gd name="connsiteX32" fmla="*/ 2049452 w 4825216"/>
                <a:gd name="connsiteY32" fmla="*/ 3000940 h 3191446"/>
                <a:gd name="connsiteX33" fmla="*/ 1932978 w 4825216"/>
                <a:gd name="connsiteY33" fmla="*/ 2944121 h 3191446"/>
                <a:gd name="connsiteX34" fmla="*/ 1777053 w 4825216"/>
                <a:gd name="connsiteY34" fmla="*/ 2916409 h 3191446"/>
                <a:gd name="connsiteX35" fmla="*/ 1694870 w 4825216"/>
                <a:gd name="connsiteY35" fmla="*/ 2842201 h 3191446"/>
                <a:gd name="connsiteX36" fmla="*/ 1704085 w 4825216"/>
                <a:gd name="connsiteY36" fmla="*/ 2723512 h 3191446"/>
                <a:gd name="connsiteX37" fmla="*/ 1593659 w 4825216"/>
                <a:gd name="connsiteY37" fmla="*/ 2598488 h 3191446"/>
                <a:gd name="connsiteX38" fmla="*/ 1586216 w 4825216"/>
                <a:gd name="connsiteY38" fmla="*/ 2546476 h 3191446"/>
                <a:gd name="connsiteX39" fmla="*/ 1847495 w 4825216"/>
                <a:gd name="connsiteY39" fmla="*/ 2645449 h 3191446"/>
                <a:gd name="connsiteX40" fmla="*/ 2106737 w 4825216"/>
                <a:gd name="connsiteY40" fmla="*/ 2760040 h 3191446"/>
                <a:gd name="connsiteX41" fmla="*/ 2279564 w 4825216"/>
                <a:gd name="connsiteY41" fmla="*/ 2773198 h 3191446"/>
                <a:gd name="connsiteX42" fmla="*/ 2454740 w 4825216"/>
                <a:gd name="connsiteY42" fmla="*/ 2753948 h 3191446"/>
                <a:gd name="connsiteX43" fmla="*/ 2617222 w 4825216"/>
                <a:gd name="connsiteY43" fmla="*/ 2746904 h 3191446"/>
                <a:gd name="connsiteX44" fmla="*/ 2726652 w 4825216"/>
                <a:gd name="connsiteY44" fmla="*/ 2726702 h 3191446"/>
                <a:gd name="connsiteX45" fmla="*/ 2788632 w 4825216"/>
                <a:gd name="connsiteY45" fmla="*/ 2743603 h 3191446"/>
                <a:gd name="connsiteX46" fmla="*/ 2766082 w 4825216"/>
                <a:gd name="connsiteY46" fmla="*/ 2790100 h 3191446"/>
                <a:gd name="connsiteX47" fmla="*/ 2622849 w 4825216"/>
                <a:gd name="connsiteY47" fmla="*/ 2819694 h 3191446"/>
                <a:gd name="connsiteX48" fmla="*/ 2505910 w 4825216"/>
                <a:gd name="connsiteY48" fmla="*/ 2844593 h 3191446"/>
                <a:gd name="connsiteX49" fmla="*/ 2362212 w 4825216"/>
                <a:gd name="connsiteY49" fmla="*/ 2869491 h 3191446"/>
                <a:gd name="connsiteX50" fmla="*/ 2249969 w 4825216"/>
                <a:gd name="connsiteY50" fmla="*/ 2919266 h 3191446"/>
                <a:gd name="connsiteX51" fmla="*/ 2383345 w 4825216"/>
                <a:gd name="connsiteY51" fmla="*/ 2930076 h 3191446"/>
                <a:gd name="connsiteX52" fmla="*/ 2614409 w 4825216"/>
                <a:gd name="connsiteY52" fmla="*/ 2860564 h 3191446"/>
                <a:gd name="connsiteX53" fmla="*/ 2731348 w 4825216"/>
                <a:gd name="connsiteY53" fmla="*/ 2830504 h 3191446"/>
                <a:gd name="connsiteX54" fmla="*/ 2733231 w 4825216"/>
                <a:gd name="connsiteY54" fmla="*/ 2879349 h 3191446"/>
                <a:gd name="connsiteX55" fmla="*/ 2641656 w 4825216"/>
                <a:gd name="connsiteY55" fmla="*/ 2947908 h 3191446"/>
                <a:gd name="connsiteX56" fmla="*/ 2455692 w 4825216"/>
                <a:gd name="connsiteY56" fmla="*/ 3039949 h 3191446"/>
                <a:gd name="connsiteX57" fmla="*/ 2275355 w 4825216"/>
                <a:gd name="connsiteY57" fmla="*/ 3096768 h 3191446"/>
                <a:gd name="connsiteX58" fmla="*/ 2173457 w 4825216"/>
                <a:gd name="connsiteY58" fmla="*/ 3072357 h 3191446"/>
                <a:gd name="connsiteX59" fmla="*/ 2081882 w 4825216"/>
                <a:gd name="connsiteY59" fmla="*/ 2980316 h 3191446"/>
                <a:gd name="connsiteX60" fmla="*/ 1933488 w 4825216"/>
                <a:gd name="connsiteY60" fmla="*/ 2897668 h 3191446"/>
                <a:gd name="connsiteX61" fmla="*/ 1760661 w 4825216"/>
                <a:gd name="connsiteY61" fmla="*/ 2855403 h 3191446"/>
                <a:gd name="connsiteX62" fmla="*/ 1575162 w 4825216"/>
                <a:gd name="connsiteY62" fmla="*/ 2833340 h 3191446"/>
                <a:gd name="connsiteX63" fmla="*/ 1407983 w 4825216"/>
                <a:gd name="connsiteY63" fmla="*/ 2792957 h 3191446"/>
                <a:gd name="connsiteX64" fmla="*/ 1328149 w 4825216"/>
                <a:gd name="connsiteY64" fmla="*/ 2664743 h 3191446"/>
                <a:gd name="connsiteX65" fmla="*/ 1314060 w 4825216"/>
                <a:gd name="connsiteY65" fmla="*/ 2536529 h 3191446"/>
                <a:gd name="connsiteX66" fmla="*/ 1363835 w 4825216"/>
                <a:gd name="connsiteY66" fmla="*/ 2455277 h 3191446"/>
                <a:gd name="connsiteX67" fmla="*/ 1538058 w 4825216"/>
                <a:gd name="connsiteY67" fmla="*/ 2443537 h 3191446"/>
                <a:gd name="connsiteX68" fmla="*/ 1786024 w 4825216"/>
                <a:gd name="connsiteY68" fmla="*/ 2523371 h 3191446"/>
                <a:gd name="connsiteX69" fmla="*/ 2014253 w 4825216"/>
                <a:gd name="connsiteY69" fmla="*/ 2660512 h 3191446"/>
                <a:gd name="connsiteX70" fmla="*/ 2221837 w 4825216"/>
                <a:gd name="connsiteY70" fmla="*/ 2731420 h 3191446"/>
                <a:gd name="connsiteX71" fmla="*/ 2364604 w 4825216"/>
                <a:gd name="connsiteY71" fmla="*/ 2734698 h 3191446"/>
                <a:gd name="connsiteX72" fmla="*/ 2417193 w 4825216"/>
                <a:gd name="connsiteY72" fmla="*/ 2704639 h 3191446"/>
                <a:gd name="connsiteX73" fmla="*/ 2391364 w 4825216"/>
                <a:gd name="connsiteY73" fmla="*/ 2669882 h 3191446"/>
                <a:gd name="connsiteX74" fmla="*/ 2318573 w 4825216"/>
                <a:gd name="connsiteY74" fmla="*/ 2654864 h 3191446"/>
                <a:gd name="connsiteX75" fmla="*/ 2202587 w 4825216"/>
                <a:gd name="connsiteY75" fmla="*/ 2628570 h 3191446"/>
                <a:gd name="connsiteX76" fmla="*/ 2087066 w 4825216"/>
                <a:gd name="connsiteY76" fmla="*/ 2586304 h 3191446"/>
                <a:gd name="connsiteX77" fmla="*/ 2097876 w 4825216"/>
                <a:gd name="connsiteY77" fmla="*/ 2574099 h 3191446"/>
                <a:gd name="connsiteX78" fmla="*/ 2282444 w 4825216"/>
                <a:gd name="connsiteY78" fmla="*/ 2622943 h 3191446"/>
                <a:gd name="connsiteX79" fmla="*/ 2451040 w 4825216"/>
                <a:gd name="connsiteY79" fmla="*/ 2650655 h 3191446"/>
                <a:gd name="connsiteX80" fmla="*/ 2590995 w 4825216"/>
                <a:gd name="connsiteY80" fmla="*/ 2699499 h 3191446"/>
                <a:gd name="connsiteX81" fmla="*/ 2691962 w 4825216"/>
                <a:gd name="connsiteY81" fmla="*/ 2697151 h 3191446"/>
                <a:gd name="connsiteX82" fmla="*/ 2689149 w 4825216"/>
                <a:gd name="connsiteY82" fmla="*/ 2661930 h 3191446"/>
                <a:gd name="connsiteX83" fmla="*/ 2604153 w 4825216"/>
                <a:gd name="connsiteY83" fmla="*/ 2611690 h 3191446"/>
                <a:gd name="connsiteX84" fmla="*/ 2489097 w 4825216"/>
                <a:gd name="connsiteY84" fmla="*/ 2582583 h 3191446"/>
                <a:gd name="connsiteX85" fmla="*/ 2317222 w 4825216"/>
                <a:gd name="connsiteY85" fmla="*/ 2549244 h 3191446"/>
                <a:gd name="connsiteX86" fmla="*/ 2253358 w 4825216"/>
                <a:gd name="connsiteY86" fmla="*/ 2521068 h 3191446"/>
                <a:gd name="connsiteX87" fmla="*/ 2453411 w 4825216"/>
                <a:gd name="connsiteY87" fmla="*/ 2553476 h 3191446"/>
                <a:gd name="connsiteX88" fmla="*/ 2661459 w 4825216"/>
                <a:gd name="connsiteY88" fmla="*/ 2609829 h 3191446"/>
                <a:gd name="connsiteX89" fmla="*/ 2782142 w 4825216"/>
                <a:gd name="connsiteY89" fmla="*/ 2655861 h 3191446"/>
                <a:gd name="connsiteX90" fmla="*/ 2876530 w 4825216"/>
                <a:gd name="connsiteY90" fmla="*/ 2646468 h 3191446"/>
                <a:gd name="connsiteX91" fmla="*/ 2869021 w 4825216"/>
                <a:gd name="connsiteY91" fmla="*/ 2584000 h 3191446"/>
                <a:gd name="connsiteX92" fmla="*/ 2760078 w 4825216"/>
                <a:gd name="connsiteY92" fmla="*/ 2532808 h 3191446"/>
                <a:gd name="connsiteX93" fmla="*/ 2579742 w 4825216"/>
                <a:gd name="connsiteY93" fmla="*/ 2499935 h 3191446"/>
                <a:gd name="connsiteX94" fmla="*/ 2421955 w 4825216"/>
                <a:gd name="connsiteY94" fmla="*/ 2458135 h 3191446"/>
                <a:gd name="connsiteX95" fmla="*/ 2384386 w 4825216"/>
                <a:gd name="connsiteY95" fmla="*/ 2429027 h 3191446"/>
                <a:gd name="connsiteX96" fmla="*/ 2548751 w 4825216"/>
                <a:gd name="connsiteY96" fmla="*/ 2469875 h 3191446"/>
                <a:gd name="connsiteX97" fmla="*/ 2801879 w 4825216"/>
                <a:gd name="connsiteY97" fmla="*/ 2526694 h 3191446"/>
                <a:gd name="connsiteX98" fmla="*/ 2904264 w 4825216"/>
                <a:gd name="connsiteY98" fmla="*/ 2489590 h 3191446"/>
                <a:gd name="connsiteX99" fmla="*/ 2873739 w 4825216"/>
                <a:gd name="connsiteY99" fmla="*/ 2420565 h 3191446"/>
                <a:gd name="connsiteX100" fmla="*/ 2739433 w 4825216"/>
                <a:gd name="connsiteY100" fmla="*/ 2366560 h 3191446"/>
                <a:gd name="connsiteX101" fmla="*/ 2493350 w 4825216"/>
                <a:gd name="connsiteY101" fmla="*/ 2344962 h 3191446"/>
                <a:gd name="connsiteX102" fmla="*/ 2290950 w 4825216"/>
                <a:gd name="connsiteY102" fmla="*/ 2293304 h 3191446"/>
                <a:gd name="connsiteX103" fmla="*/ 2205001 w 4825216"/>
                <a:gd name="connsiteY103" fmla="*/ 2206890 h 3191446"/>
                <a:gd name="connsiteX104" fmla="*/ 2166502 w 4825216"/>
                <a:gd name="connsiteY104" fmla="*/ 2102157 h 3191446"/>
                <a:gd name="connsiteX105" fmla="*/ 2236014 w 4825216"/>
                <a:gd name="connsiteY105" fmla="*/ 2090416 h 3191446"/>
                <a:gd name="connsiteX106" fmla="*/ 2488211 w 4825216"/>
                <a:gd name="connsiteY106" fmla="*/ 2147701 h 3191446"/>
                <a:gd name="connsiteX107" fmla="*/ 2643184 w 4825216"/>
                <a:gd name="connsiteY107" fmla="*/ 2144422 h 3191446"/>
                <a:gd name="connsiteX108" fmla="*/ 2661969 w 4825216"/>
                <a:gd name="connsiteY108" fmla="*/ 2062705 h 3191446"/>
                <a:gd name="connsiteX109" fmla="*/ 2614077 w 4825216"/>
                <a:gd name="connsiteY109" fmla="*/ 2004003 h 3191446"/>
                <a:gd name="connsiteX110" fmla="*/ 2483515 w 4825216"/>
                <a:gd name="connsiteY110" fmla="*/ 1978639 h 3191446"/>
                <a:gd name="connsiteX111" fmla="*/ 2316336 w 4825216"/>
                <a:gd name="connsiteY111" fmla="*/ 1902570 h 3191446"/>
                <a:gd name="connsiteX112" fmla="*/ 2165593 w 4825216"/>
                <a:gd name="connsiteY112" fmla="*/ 1854191 h 3191446"/>
                <a:gd name="connsiteX113" fmla="*/ 1988070 w 4825216"/>
                <a:gd name="connsiteY113" fmla="*/ 1858422 h 3191446"/>
                <a:gd name="connsiteX114" fmla="*/ 1853299 w 4825216"/>
                <a:gd name="connsiteY114" fmla="*/ 1851843 h 3191446"/>
                <a:gd name="connsiteX115" fmla="*/ 1734012 w 4825216"/>
                <a:gd name="connsiteY115" fmla="*/ 1886133 h 3191446"/>
                <a:gd name="connsiteX116" fmla="*/ 1628348 w 4825216"/>
                <a:gd name="connsiteY116" fmla="*/ 1992728 h 3191446"/>
                <a:gd name="connsiteX117" fmla="*/ 1678588 w 4825216"/>
                <a:gd name="connsiteY117" fmla="*/ 2092277 h 3191446"/>
                <a:gd name="connsiteX118" fmla="*/ 1808198 w 4825216"/>
                <a:gd name="connsiteY118" fmla="*/ 2148166 h 3191446"/>
                <a:gd name="connsiteX119" fmla="*/ 1984304 w 4825216"/>
                <a:gd name="connsiteY119" fmla="*/ 2196058 h 3191446"/>
                <a:gd name="connsiteX120" fmla="*/ 2009668 w 4825216"/>
                <a:gd name="connsiteY120" fmla="*/ 2215773 h 3191446"/>
                <a:gd name="connsiteX121" fmla="*/ 1881941 w 4825216"/>
                <a:gd name="connsiteY121" fmla="*/ 2221887 h 3191446"/>
                <a:gd name="connsiteX122" fmla="*/ 1705370 w 4825216"/>
                <a:gd name="connsiteY122" fmla="*/ 2157558 h 3191446"/>
                <a:gd name="connsiteX123" fmla="*/ 1572925 w 4825216"/>
                <a:gd name="connsiteY123" fmla="*/ 2063170 h 3191446"/>
                <a:gd name="connsiteX124" fmla="*/ 1469144 w 4825216"/>
                <a:gd name="connsiteY124" fmla="*/ 2045316 h 3191446"/>
                <a:gd name="connsiteX125" fmla="*/ 1392123 w 4825216"/>
                <a:gd name="connsiteY125" fmla="*/ 2128916 h 3191446"/>
                <a:gd name="connsiteX126" fmla="*/ 1397284 w 4825216"/>
                <a:gd name="connsiteY126" fmla="*/ 2264174 h 3191446"/>
                <a:gd name="connsiteX127" fmla="*/ 1435784 w 4825216"/>
                <a:gd name="connsiteY127" fmla="*/ 2335547 h 3191446"/>
                <a:gd name="connsiteX128" fmla="*/ 1358297 w 4825216"/>
                <a:gd name="connsiteY128" fmla="*/ 2308788 h 3191446"/>
                <a:gd name="connsiteX129" fmla="*/ 1178425 w 4825216"/>
                <a:gd name="connsiteY129" fmla="*/ 2276845 h 3191446"/>
                <a:gd name="connsiteX130" fmla="*/ 880219 w 4825216"/>
                <a:gd name="connsiteY130" fmla="*/ 2275427 h 3191446"/>
                <a:gd name="connsiteX131" fmla="*/ 627092 w 4825216"/>
                <a:gd name="connsiteY131" fmla="*/ 2167416 h 3191446"/>
                <a:gd name="connsiteX132" fmla="*/ 485742 w 4825216"/>
                <a:gd name="connsiteY132" fmla="*/ 2056126 h 3191446"/>
                <a:gd name="connsiteX133" fmla="*/ 400281 w 4825216"/>
                <a:gd name="connsiteY133" fmla="*/ 1935908 h 3191446"/>
                <a:gd name="connsiteX134" fmla="*/ 450056 w 4825216"/>
                <a:gd name="connsiteY134" fmla="*/ 1899270 h 3191446"/>
                <a:gd name="connsiteX135" fmla="*/ 625231 w 4825216"/>
                <a:gd name="connsiteY135" fmla="*/ 1751806 h 3191446"/>
                <a:gd name="connsiteX136" fmla="*/ 732778 w 4825216"/>
                <a:gd name="connsiteY136" fmla="*/ 1579443 h 3191446"/>
                <a:gd name="connsiteX137" fmla="*/ 837976 w 4825216"/>
                <a:gd name="connsiteY137" fmla="*/ 1574747 h 3191446"/>
                <a:gd name="connsiteX138" fmla="*/ 1131486 w 4825216"/>
                <a:gd name="connsiteY138" fmla="*/ 1784679 h 3191446"/>
                <a:gd name="connsiteX139" fmla="*/ 1431819 w 4825216"/>
                <a:gd name="connsiteY139" fmla="*/ 1867327 h 3191446"/>
                <a:gd name="connsiteX140" fmla="*/ 1725107 w 4825216"/>
                <a:gd name="connsiteY140" fmla="*/ 1895038 h 3191446"/>
                <a:gd name="connsiteX141" fmla="*/ 2004772 w 4825216"/>
                <a:gd name="connsiteY141" fmla="*/ 1910545 h 3191446"/>
                <a:gd name="connsiteX142" fmla="*/ 2312149 w 4825216"/>
                <a:gd name="connsiteY142" fmla="*/ 1802533 h 3191446"/>
                <a:gd name="connsiteX143" fmla="*/ 2503407 w 4825216"/>
                <a:gd name="connsiteY143" fmla="*/ 1811859 h 3191446"/>
                <a:gd name="connsiteX144" fmla="*/ 2776138 w 4825216"/>
                <a:gd name="connsiteY144" fmla="*/ 1820609 h 3191446"/>
                <a:gd name="connsiteX145" fmla="*/ 3228853 w 4825216"/>
                <a:gd name="connsiteY145" fmla="*/ 1657993 h 3191446"/>
                <a:gd name="connsiteX146" fmla="*/ 3472699 w 4825216"/>
                <a:gd name="connsiteY146" fmla="*/ 1362202 h 3191446"/>
                <a:gd name="connsiteX147" fmla="*/ 3566976 w 4825216"/>
                <a:gd name="connsiteY147" fmla="*/ 1008749 h 3191446"/>
                <a:gd name="connsiteX148" fmla="*/ 3537625 w 4825216"/>
                <a:gd name="connsiteY148" fmla="*/ 611680 h 3191446"/>
                <a:gd name="connsiteX149" fmla="*/ 3315488 w 4825216"/>
                <a:gd name="connsiteY149" fmla="*/ 239266 h 3191446"/>
                <a:gd name="connsiteX150" fmla="*/ 2930292 w 4825216"/>
                <a:gd name="connsiteY150" fmla="*/ 36445 h 3191446"/>
                <a:gd name="connsiteX151" fmla="*/ 2512932 w 4825216"/>
                <a:gd name="connsiteY151" fmla="*/ 13607 h 3191446"/>
                <a:gd name="connsiteX152" fmla="*/ 2099537 w 4825216"/>
                <a:gd name="connsiteY152" fmla="*/ 187187 h 3191446"/>
                <a:gd name="connsiteX153" fmla="*/ 1850176 w 4825216"/>
                <a:gd name="connsiteY153" fmla="*/ 506991 h 3191446"/>
                <a:gd name="connsiteX154" fmla="*/ 1760616 w 4825216"/>
                <a:gd name="connsiteY154" fmla="*/ 850941 h 3191446"/>
                <a:gd name="connsiteX155" fmla="*/ 1831391 w 4825216"/>
                <a:gd name="connsiteY155" fmla="*/ 1253703 h 3191446"/>
                <a:gd name="connsiteX156" fmla="*/ 2250301 w 4825216"/>
                <a:gd name="connsiteY156" fmla="*/ 1667430 h 3191446"/>
                <a:gd name="connsiteX157" fmla="*/ 2847201 w 4825216"/>
                <a:gd name="connsiteY157" fmla="*/ 1747973 h 3191446"/>
                <a:gd name="connsiteX158" fmla="*/ 2932086 w 4825216"/>
                <a:gd name="connsiteY158" fmla="*/ 1686037 h 3191446"/>
                <a:gd name="connsiteX159" fmla="*/ 2891239 w 4825216"/>
                <a:gd name="connsiteY159" fmla="*/ 1570051 h 3191446"/>
                <a:gd name="connsiteX160" fmla="*/ 3000668 w 4825216"/>
                <a:gd name="connsiteY160" fmla="*/ 1458761 h 3191446"/>
                <a:gd name="connsiteX161" fmla="*/ 3091778 w 4825216"/>
                <a:gd name="connsiteY161" fmla="*/ 1369999 h 3191446"/>
                <a:gd name="connsiteX162" fmla="*/ 3167847 w 4825216"/>
                <a:gd name="connsiteY162" fmla="*/ 1277494 h 3191446"/>
                <a:gd name="connsiteX163" fmla="*/ 3297922 w 4825216"/>
                <a:gd name="connsiteY163" fmla="*/ 1255896 h 3191446"/>
                <a:gd name="connsiteX164" fmla="*/ 3384535 w 4825216"/>
                <a:gd name="connsiteY164" fmla="*/ 1331034 h 3191446"/>
                <a:gd name="connsiteX165" fmla="*/ 3394990 w 4825216"/>
                <a:gd name="connsiteY165" fmla="*/ 1418378 h 3191446"/>
                <a:gd name="connsiteX166" fmla="*/ 3309396 w 4825216"/>
                <a:gd name="connsiteY166" fmla="*/ 1450321 h 3191446"/>
                <a:gd name="connsiteX167" fmla="*/ 3213878 w 4825216"/>
                <a:gd name="connsiteY167" fmla="*/ 1435302 h 3191446"/>
                <a:gd name="connsiteX168" fmla="*/ 3170195 w 4825216"/>
                <a:gd name="connsiteY168" fmla="*/ 1574769 h 3191446"/>
                <a:gd name="connsiteX169" fmla="*/ 3099287 w 4825216"/>
                <a:gd name="connsiteY169" fmla="*/ 1681851 h 3191446"/>
                <a:gd name="connsiteX170" fmla="*/ 3013826 w 4825216"/>
                <a:gd name="connsiteY170" fmla="*/ 1687477 h 3191446"/>
                <a:gd name="connsiteX171" fmla="*/ 2933991 w 4825216"/>
                <a:gd name="connsiteY171" fmla="*/ 1615152 h 3191446"/>
                <a:gd name="connsiteX172" fmla="*/ 2921786 w 4825216"/>
                <a:gd name="connsiteY172" fmla="*/ 1503374 h 3191446"/>
                <a:gd name="connsiteX173" fmla="*/ 2880451 w 4825216"/>
                <a:gd name="connsiteY173" fmla="*/ 1430119 h 3191446"/>
                <a:gd name="connsiteX174" fmla="*/ 2809543 w 4825216"/>
                <a:gd name="connsiteY174" fmla="*/ 1405220 h 3191446"/>
                <a:gd name="connsiteX175" fmla="*/ 2742867 w 4825216"/>
                <a:gd name="connsiteY175" fmla="*/ 1359189 h 3191446"/>
                <a:gd name="connsiteX176" fmla="*/ 2687443 w 4825216"/>
                <a:gd name="connsiteY176" fmla="*/ 1300952 h 3191446"/>
                <a:gd name="connsiteX177" fmla="*/ 2590707 w 4825216"/>
                <a:gd name="connsiteY177" fmla="*/ 1250225 h 3191446"/>
                <a:gd name="connsiteX178" fmla="*/ 2565808 w 4825216"/>
                <a:gd name="connsiteY178" fmla="*/ 1147375 h 3191446"/>
                <a:gd name="connsiteX179" fmla="*/ 2617931 w 4825216"/>
                <a:gd name="connsiteY179" fmla="*/ 1068470 h 3191446"/>
                <a:gd name="connsiteX180" fmla="*/ 2792154 w 4825216"/>
                <a:gd name="connsiteY180" fmla="*/ 1051923 h 3191446"/>
                <a:gd name="connsiteX181" fmla="*/ 2872919 w 4825216"/>
                <a:gd name="connsiteY181" fmla="*/ 972199 h 3191446"/>
                <a:gd name="connsiteX182" fmla="*/ 2905327 w 4825216"/>
                <a:gd name="connsiteY182" fmla="*/ 865007 h 3191446"/>
                <a:gd name="connsiteX183" fmla="*/ 2961216 w 4825216"/>
                <a:gd name="connsiteY183" fmla="*/ 762267 h 3191446"/>
                <a:gd name="connsiteX184" fmla="*/ 3009108 w 4825216"/>
                <a:gd name="connsiteY184" fmla="*/ 634519 h 3191446"/>
                <a:gd name="connsiteX185" fmla="*/ 3077667 w 4825216"/>
                <a:gd name="connsiteY185" fmla="*/ 554684 h 3191446"/>
                <a:gd name="connsiteX186" fmla="*/ 3123699 w 4825216"/>
                <a:gd name="connsiteY186" fmla="*/ 491286 h 3191446"/>
                <a:gd name="connsiteX187" fmla="*/ 3010991 w 4825216"/>
                <a:gd name="connsiteY187" fmla="*/ 390784 h 3191446"/>
                <a:gd name="connsiteX188" fmla="*/ 2903909 w 4825216"/>
                <a:gd name="connsiteY188" fmla="*/ 343822 h 3191446"/>
                <a:gd name="connsiteX189" fmla="*/ 2834885 w 4825216"/>
                <a:gd name="connsiteY189" fmla="*/ 333012 h 3191446"/>
                <a:gd name="connsiteX190" fmla="*/ 2776183 w 4825216"/>
                <a:gd name="connsiteY190" fmla="*/ 315645 h 3191446"/>
                <a:gd name="connsiteX191" fmla="*/ 2771022 w 4825216"/>
                <a:gd name="connsiteY191" fmla="*/ 380461 h 3191446"/>
                <a:gd name="connsiteX192" fmla="*/ 2793085 w 4825216"/>
                <a:gd name="connsiteY192" fmla="*/ 468270 h 3191446"/>
                <a:gd name="connsiteX193" fmla="*/ 2754585 w 4825216"/>
                <a:gd name="connsiteY193" fmla="*/ 478128 h 3191446"/>
                <a:gd name="connsiteX194" fmla="*/ 2656896 w 4825216"/>
                <a:gd name="connsiteY194" fmla="*/ 426470 h 3191446"/>
                <a:gd name="connsiteX195" fmla="*/ 2617909 w 4825216"/>
                <a:gd name="connsiteY195" fmla="*/ 387970 h 3191446"/>
                <a:gd name="connsiteX196" fmla="*/ 2653130 w 4825216"/>
                <a:gd name="connsiteY196" fmla="*/ 331616 h 3191446"/>
                <a:gd name="connsiteX197" fmla="*/ 2664870 w 4825216"/>
                <a:gd name="connsiteY197" fmla="*/ 279959 h 3191446"/>
                <a:gd name="connsiteX198" fmla="*/ 2654060 w 4825216"/>
                <a:gd name="connsiteY198" fmla="*/ 225953 h 3191446"/>
                <a:gd name="connsiteX199" fmla="*/ 2633393 w 4825216"/>
                <a:gd name="connsiteY199" fmla="*/ 199659 h 3191446"/>
                <a:gd name="connsiteX200" fmla="*/ 2579852 w 4825216"/>
                <a:gd name="connsiteY200" fmla="*/ 216095 h 3191446"/>
                <a:gd name="connsiteX201" fmla="*/ 2492508 w 4825216"/>
                <a:gd name="connsiteY201" fmla="*/ 225022 h 3191446"/>
                <a:gd name="connsiteX202" fmla="*/ 2401398 w 4825216"/>
                <a:gd name="connsiteY202" fmla="*/ 195915 h 3191446"/>
                <a:gd name="connsiteX203" fmla="*/ 2330956 w 4825216"/>
                <a:gd name="connsiteY203" fmla="*/ 171969 h 3191446"/>
                <a:gd name="connsiteX204" fmla="*/ 2246890 w 4825216"/>
                <a:gd name="connsiteY204" fmla="*/ 170086 h 3191446"/>
                <a:gd name="connsiteX205" fmla="*/ 2160011 w 4825216"/>
                <a:gd name="connsiteY205" fmla="*/ 214235 h 3191446"/>
                <a:gd name="connsiteX206" fmla="*/ 2122907 w 4825216"/>
                <a:gd name="connsiteY206" fmla="*/ 270589 h 3191446"/>
                <a:gd name="connsiteX207" fmla="*/ 2167521 w 4825216"/>
                <a:gd name="connsiteY207" fmla="*/ 337265 h 3191446"/>
                <a:gd name="connsiteX208" fmla="*/ 2184422 w 4825216"/>
                <a:gd name="connsiteY208" fmla="*/ 385157 h 3191446"/>
                <a:gd name="connsiteX209" fmla="*/ 2167521 w 4825216"/>
                <a:gd name="connsiteY209" fmla="*/ 451368 h 3191446"/>
                <a:gd name="connsiteX210" fmla="*/ 2169404 w 4825216"/>
                <a:gd name="connsiteY210" fmla="*/ 519463 h 3191446"/>
                <a:gd name="connsiteX211" fmla="*/ 2166125 w 4825216"/>
                <a:gd name="connsiteY211" fmla="*/ 580048 h 3191446"/>
                <a:gd name="connsiteX212" fmla="*/ 2122442 w 4825216"/>
                <a:gd name="connsiteY212" fmla="*/ 654256 h 3191446"/>
                <a:gd name="connsiteX213" fmla="*/ 2104588 w 4825216"/>
                <a:gd name="connsiteY213" fmla="*/ 732673 h 3191446"/>
                <a:gd name="connsiteX214" fmla="*/ 2139809 w 4825216"/>
                <a:gd name="connsiteY214" fmla="*/ 819552 h 3191446"/>
                <a:gd name="connsiteX215" fmla="*/ 2180657 w 4825216"/>
                <a:gd name="connsiteY215" fmla="*/ 913475 h 3191446"/>
                <a:gd name="connsiteX216" fmla="*/ 2183470 w 4825216"/>
                <a:gd name="connsiteY216" fmla="*/ 1007863 h 3191446"/>
                <a:gd name="connsiteX217" fmla="*/ 2206951 w 4825216"/>
                <a:gd name="connsiteY217" fmla="*/ 1098021 h 3191446"/>
                <a:gd name="connsiteX218" fmla="*/ 2271767 w 4825216"/>
                <a:gd name="connsiteY218" fmla="*/ 1155792 h 3191446"/>
                <a:gd name="connsiteX219" fmla="*/ 2339861 w 4825216"/>
                <a:gd name="connsiteY219" fmla="*/ 1188200 h 3191446"/>
                <a:gd name="connsiteX220" fmla="*/ 2399493 w 4825216"/>
                <a:gd name="connsiteY220" fmla="*/ 1206985 h 3191446"/>
                <a:gd name="connsiteX221" fmla="*/ 2412164 w 4825216"/>
                <a:gd name="connsiteY221" fmla="*/ 1256760 h 3191446"/>
                <a:gd name="connsiteX222" fmla="*/ 2432366 w 4825216"/>
                <a:gd name="connsiteY222" fmla="*/ 1314044 h 3191446"/>
                <a:gd name="connsiteX223" fmla="*/ 2518780 w 4825216"/>
                <a:gd name="connsiteY223" fmla="*/ 1337525 h 3191446"/>
                <a:gd name="connsiteX224" fmla="*/ 2599080 w 4825216"/>
                <a:gd name="connsiteY224" fmla="*/ 1351148 h 3191446"/>
                <a:gd name="connsiteX225" fmla="*/ 2669522 w 4825216"/>
                <a:gd name="connsiteY225" fmla="*/ 1385904 h 3191446"/>
                <a:gd name="connsiteX226" fmla="*/ 2737617 w 4825216"/>
                <a:gd name="connsiteY226" fmla="*/ 1413616 h 3191446"/>
                <a:gd name="connsiteX227" fmla="*/ 2786461 w 4825216"/>
                <a:gd name="connsiteY227" fmla="*/ 1400945 h 3191446"/>
                <a:gd name="connsiteX228" fmla="*/ 2859252 w 4825216"/>
                <a:gd name="connsiteY228" fmla="*/ 1365259 h 3191446"/>
                <a:gd name="connsiteX229" fmla="*/ 2952244 w 4825216"/>
                <a:gd name="connsiteY229" fmla="*/ 1419730 h 3191446"/>
                <a:gd name="connsiteX230" fmla="*/ 2991431 w 4825216"/>
                <a:gd name="connsiteY230" fmla="*/ 1568368 h 3191446"/>
                <a:gd name="connsiteX231" fmla="*/ 3069050 w 4825216"/>
                <a:gd name="connsiteY231" fmla="*/ 1721679 h 3191446"/>
                <a:gd name="connsiteX232" fmla="*/ 3283988 w 4825216"/>
                <a:gd name="connsiteY232" fmla="*/ 1773603 h 3191446"/>
                <a:gd name="connsiteX233" fmla="*/ 3617681 w 4825216"/>
                <a:gd name="connsiteY233" fmla="*/ 1722654 h 3191446"/>
                <a:gd name="connsiteX234" fmla="*/ 3912609 w 4825216"/>
                <a:gd name="connsiteY234" fmla="*/ 1835362 h 3191446"/>
                <a:gd name="connsiteX235" fmla="*/ 4326602 w 4825216"/>
                <a:gd name="connsiteY235" fmla="*/ 1845042 h 3191446"/>
                <a:gd name="connsiteX236" fmla="*/ 4825215 w 4825216"/>
                <a:gd name="connsiteY236" fmla="*/ 1755394 h 3191446"/>
                <a:gd name="connsiteX0" fmla="*/ 202518 w 4675522"/>
                <a:gd name="connsiteY0" fmla="*/ 2531855 h 3191446"/>
                <a:gd name="connsiteX1" fmla="*/ 505886 w 4675522"/>
                <a:gd name="connsiteY1" fmla="*/ 2575539 h 3191446"/>
                <a:gd name="connsiteX2" fmla="*/ 805975 w 4675522"/>
                <a:gd name="connsiteY2" fmla="*/ 2561915 h 3191446"/>
                <a:gd name="connsiteX3" fmla="*/ 1012141 w 4675522"/>
                <a:gd name="connsiteY3" fmla="*/ 2509792 h 3191446"/>
                <a:gd name="connsiteX4" fmla="*/ 1084931 w 4675522"/>
                <a:gd name="connsiteY4" fmla="*/ 2472223 h 3191446"/>
                <a:gd name="connsiteX5" fmla="*/ 917752 w 4675522"/>
                <a:gd name="connsiteY5" fmla="*/ 2452021 h 3191446"/>
                <a:gd name="connsiteX6" fmla="*/ 614850 w 4675522"/>
                <a:gd name="connsiteY6" fmla="*/ 2495216 h 3191446"/>
                <a:gd name="connsiteX7" fmla="*/ 339660 w 4675522"/>
                <a:gd name="connsiteY7" fmla="*/ 2467970 h 3191446"/>
                <a:gd name="connsiteX8" fmla="*/ 95925 w 4675522"/>
                <a:gd name="connsiteY8" fmla="*/ 2425704 h 3191446"/>
                <a:gd name="connsiteX9" fmla="*/ 55542 w 4675522"/>
                <a:gd name="connsiteY9" fmla="*/ 2490985 h 3191446"/>
                <a:gd name="connsiteX10" fmla="*/ 71979 w 4675522"/>
                <a:gd name="connsiteY10" fmla="*/ 2650190 h 3191446"/>
                <a:gd name="connsiteX11" fmla="*/ 26900 w 4675522"/>
                <a:gd name="connsiteY11" fmla="*/ 2845080 h 3191446"/>
                <a:gd name="connsiteX12" fmla="*/ 5767 w 4675522"/>
                <a:gd name="connsiteY12" fmla="*/ 3005215 h 3191446"/>
                <a:gd name="connsiteX13" fmla="*/ 124589 w 4675522"/>
                <a:gd name="connsiteY13" fmla="*/ 3049363 h 3191446"/>
                <a:gd name="connsiteX14" fmla="*/ 315736 w 4675522"/>
                <a:gd name="connsiteY14" fmla="*/ 2993475 h 3191446"/>
                <a:gd name="connsiteX15" fmla="*/ 549148 w 4675522"/>
                <a:gd name="connsiteY15" fmla="*/ 2954022 h 3191446"/>
                <a:gd name="connsiteX16" fmla="*/ 884458 w 4675522"/>
                <a:gd name="connsiteY16" fmla="*/ 2879814 h 3191446"/>
                <a:gd name="connsiteX17" fmla="*/ 1154488 w 4675522"/>
                <a:gd name="connsiteY17" fmla="*/ 2879814 h 3191446"/>
                <a:gd name="connsiteX18" fmla="*/ 1270009 w 4675522"/>
                <a:gd name="connsiteY18" fmla="*/ 2964345 h 3191446"/>
                <a:gd name="connsiteX19" fmla="*/ 1413707 w 4675522"/>
                <a:gd name="connsiteY19" fmla="*/ 3061081 h 3191446"/>
                <a:gd name="connsiteX20" fmla="*/ 1565867 w 4675522"/>
                <a:gd name="connsiteY20" fmla="*/ 3104765 h 3191446"/>
                <a:gd name="connsiteX21" fmla="*/ 1690780 w 4675522"/>
                <a:gd name="connsiteY21" fmla="*/ 3107578 h 3191446"/>
                <a:gd name="connsiteX22" fmla="*/ 1820390 w 4675522"/>
                <a:gd name="connsiteY22" fmla="*/ 3139986 h 3191446"/>
                <a:gd name="connsiteX23" fmla="*/ 1899759 w 4675522"/>
                <a:gd name="connsiteY23" fmla="*/ 3178485 h 3191446"/>
                <a:gd name="connsiteX24" fmla="*/ 1940142 w 4675522"/>
                <a:gd name="connsiteY24" fmla="*/ 3188808 h 3191446"/>
                <a:gd name="connsiteX25" fmla="*/ 1936730 w 4675522"/>
                <a:gd name="connsiteY25" fmla="*/ 3145125 h 3191446"/>
                <a:gd name="connsiteX26" fmla="*/ 1900667 w 4675522"/>
                <a:gd name="connsiteY26" fmla="*/ 3102505 h 3191446"/>
                <a:gd name="connsiteX27" fmla="*/ 1840437 w 4675522"/>
                <a:gd name="connsiteY27" fmla="*/ 3088771 h 3191446"/>
                <a:gd name="connsiteX28" fmla="*/ 1849962 w 4675522"/>
                <a:gd name="connsiteY28" fmla="*/ 3120825 h 3191446"/>
                <a:gd name="connsiteX29" fmla="*/ 1953278 w 4675522"/>
                <a:gd name="connsiteY29" fmla="*/ 3169071 h 3191446"/>
                <a:gd name="connsiteX30" fmla="*/ 1959391 w 4675522"/>
                <a:gd name="connsiteY30" fmla="*/ 3084540 h 3191446"/>
                <a:gd name="connsiteX31" fmla="*/ 1899759 w 4675522"/>
                <a:gd name="connsiteY31" fmla="*/ 3000940 h 3191446"/>
                <a:gd name="connsiteX32" fmla="*/ 1783285 w 4675522"/>
                <a:gd name="connsiteY32" fmla="*/ 2944121 h 3191446"/>
                <a:gd name="connsiteX33" fmla="*/ 1627360 w 4675522"/>
                <a:gd name="connsiteY33" fmla="*/ 2916409 h 3191446"/>
                <a:gd name="connsiteX34" fmla="*/ 1545177 w 4675522"/>
                <a:gd name="connsiteY34" fmla="*/ 2842201 h 3191446"/>
                <a:gd name="connsiteX35" fmla="*/ 1554392 w 4675522"/>
                <a:gd name="connsiteY35" fmla="*/ 2723512 h 3191446"/>
                <a:gd name="connsiteX36" fmla="*/ 1443966 w 4675522"/>
                <a:gd name="connsiteY36" fmla="*/ 2598488 h 3191446"/>
                <a:gd name="connsiteX37" fmla="*/ 1436523 w 4675522"/>
                <a:gd name="connsiteY37" fmla="*/ 2546476 h 3191446"/>
                <a:gd name="connsiteX38" fmla="*/ 1697802 w 4675522"/>
                <a:gd name="connsiteY38" fmla="*/ 2645449 h 3191446"/>
                <a:gd name="connsiteX39" fmla="*/ 1957044 w 4675522"/>
                <a:gd name="connsiteY39" fmla="*/ 2760040 h 3191446"/>
                <a:gd name="connsiteX40" fmla="*/ 2129871 w 4675522"/>
                <a:gd name="connsiteY40" fmla="*/ 2773198 h 3191446"/>
                <a:gd name="connsiteX41" fmla="*/ 2305047 w 4675522"/>
                <a:gd name="connsiteY41" fmla="*/ 2753948 h 3191446"/>
                <a:gd name="connsiteX42" fmla="*/ 2467529 w 4675522"/>
                <a:gd name="connsiteY42" fmla="*/ 2746904 h 3191446"/>
                <a:gd name="connsiteX43" fmla="*/ 2576959 w 4675522"/>
                <a:gd name="connsiteY43" fmla="*/ 2726702 h 3191446"/>
                <a:gd name="connsiteX44" fmla="*/ 2638939 w 4675522"/>
                <a:gd name="connsiteY44" fmla="*/ 2743603 h 3191446"/>
                <a:gd name="connsiteX45" fmla="*/ 2616389 w 4675522"/>
                <a:gd name="connsiteY45" fmla="*/ 2790100 h 3191446"/>
                <a:gd name="connsiteX46" fmla="*/ 2473156 w 4675522"/>
                <a:gd name="connsiteY46" fmla="*/ 2819694 h 3191446"/>
                <a:gd name="connsiteX47" fmla="*/ 2356217 w 4675522"/>
                <a:gd name="connsiteY47" fmla="*/ 2844593 h 3191446"/>
                <a:gd name="connsiteX48" fmla="*/ 2212519 w 4675522"/>
                <a:gd name="connsiteY48" fmla="*/ 2869491 h 3191446"/>
                <a:gd name="connsiteX49" fmla="*/ 2100276 w 4675522"/>
                <a:gd name="connsiteY49" fmla="*/ 2919266 h 3191446"/>
                <a:gd name="connsiteX50" fmla="*/ 2233652 w 4675522"/>
                <a:gd name="connsiteY50" fmla="*/ 2930076 h 3191446"/>
                <a:gd name="connsiteX51" fmla="*/ 2464716 w 4675522"/>
                <a:gd name="connsiteY51" fmla="*/ 2860564 h 3191446"/>
                <a:gd name="connsiteX52" fmla="*/ 2581655 w 4675522"/>
                <a:gd name="connsiteY52" fmla="*/ 2830504 h 3191446"/>
                <a:gd name="connsiteX53" fmla="*/ 2583538 w 4675522"/>
                <a:gd name="connsiteY53" fmla="*/ 2879349 h 3191446"/>
                <a:gd name="connsiteX54" fmla="*/ 2491963 w 4675522"/>
                <a:gd name="connsiteY54" fmla="*/ 2947908 h 3191446"/>
                <a:gd name="connsiteX55" fmla="*/ 2305999 w 4675522"/>
                <a:gd name="connsiteY55" fmla="*/ 3039949 h 3191446"/>
                <a:gd name="connsiteX56" fmla="*/ 2125662 w 4675522"/>
                <a:gd name="connsiteY56" fmla="*/ 3096768 h 3191446"/>
                <a:gd name="connsiteX57" fmla="*/ 2023764 w 4675522"/>
                <a:gd name="connsiteY57" fmla="*/ 3072357 h 3191446"/>
                <a:gd name="connsiteX58" fmla="*/ 1932189 w 4675522"/>
                <a:gd name="connsiteY58" fmla="*/ 2980316 h 3191446"/>
                <a:gd name="connsiteX59" fmla="*/ 1783795 w 4675522"/>
                <a:gd name="connsiteY59" fmla="*/ 2897668 h 3191446"/>
                <a:gd name="connsiteX60" fmla="*/ 1610968 w 4675522"/>
                <a:gd name="connsiteY60" fmla="*/ 2855403 h 3191446"/>
                <a:gd name="connsiteX61" fmla="*/ 1425469 w 4675522"/>
                <a:gd name="connsiteY61" fmla="*/ 2833340 h 3191446"/>
                <a:gd name="connsiteX62" fmla="*/ 1258290 w 4675522"/>
                <a:gd name="connsiteY62" fmla="*/ 2792957 h 3191446"/>
                <a:gd name="connsiteX63" fmla="*/ 1178456 w 4675522"/>
                <a:gd name="connsiteY63" fmla="*/ 2664743 h 3191446"/>
                <a:gd name="connsiteX64" fmla="*/ 1164367 w 4675522"/>
                <a:gd name="connsiteY64" fmla="*/ 2536529 h 3191446"/>
                <a:gd name="connsiteX65" fmla="*/ 1214142 w 4675522"/>
                <a:gd name="connsiteY65" fmla="*/ 2455277 h 3191446"/>
                <a:gd name="connsiteX66" fmla="*/ 1388365 w 4675522"/>
                <a:gd name="connsiteY66" fmla="*/ 2443537 h 3191446"/>
                <a:gd name="connsiteX67" fmla="*/ 1636331 w 4675522"/>
                <a:gd name="connsiteY67" fmla="*/ 2523371 h 3191446"/>
                <a:gd name="connsiteX68" fmla="*/ 1864560 w 4675522"/>
                <a:gd name="connsiteY68" fmla="*/ 2660512 h 3191446"/>
                <a:gd name="connsiteX69" fmla="*/ 2072144 w 4675522"/>
                <a:gd name="connsiteY69" fmla="*/ 2731420 h 3191446"/>
                <a:gd name="connsiteX70" fmla="*/ 2214911 w 4675522"/>
                <a:gd name="connsiteY70" fmla="*/ 2734698 h 3191446"/>
                <a:gd name="connsiteX71" fmla="*/ 2267500 w 4675522"/>
                <a:gd name="connsiteY71" fmla="*/ 2704639 h 3191446"/>
                <a:gd name="connsiteX72" fmla="*/ 2241671 w 4675522"/>
                <a:gd name="connsiteY72" fmla="*/ 2669882 h 3191446"/>
                <a:gd name="connsiteX73" fmla="*/ 2168880 w 4675522"/>
                <a:gd name="connsiteY73" fmla="*/ 2654864 h 3191446"/>
                <a:gd name="connsiteX74" fmla="*/ 2052894 w 4675522"/>
                <a:gd name="connsiteY74" fmla="*/ 2628570 h 3191446"/>
                <a:gd name="connsiteX75" fmla="*/ 1937373 w 4675522"/>
                <a:gd name="connsiteY75" fmla="*/ 2586304 h 3191446"/>
                <a:gd name="connsiteX76" fmla="*/ 1948183 w 4675522"/>
                <a:gd name="connsiteY76" fmla="*/ 2574099 h 3191446"/>
                <a:gd name="connsiteX77" fmla="*/ 2132751 w 4675522"/>
                <a:gd name="connsiteY77" fmla="*/ 2622943 h 3191446"/>
                <a:gd name="connsiteX78" fmla="*/ 2301347 w 4675522"/>
                <a:gd name="connsiteY78" fmla="*/ 2650655 h 3191446"/>
                <a:gd name="connsiteX79" fmla="*/ 2441302 w 4675522"/>
                <a:gd name="connsiteY79" fmla="*/ 2699499 h 3191446"/>
                <a:gd name="connsiteX80" fmla="*/ 2542269 w 4675522"/>
                <a:gd name="connsiteY80" fmla="*/ 2697151 h 3191446"/>
                <a:gd name="connsiteX81" fmla="*/ 2539456 w 4675522"/>
                <a:gd name="connsiteY81" fmla="*/ 2661930 h 3191446"/>
                <a:gd name="connsiteX82" fmla="*/ 2454460 w 4675522"/>
                <a:gd name="connsiteY82" fmla="*/ 2611690 h 3191446"/>
                <a:gd name="connsiteX83" fmla="*/ 2339404 w 4675522"/>
                <a:gd name="connsiteY83" fmla="*/ 2582583 h 3191446"/>
                <a:gd name="connsiteX84" fmla="*/ 2167529 w 4675522"/>
                <a:gd name="connsiteY84" fmla="*/ 2549244 h 3191446"/>
                <a:gd name="connsiteX85" fmla="*/ 2103665 w 4675522"/>
                <a:gd name="connsiteY85" fmla="*/ 2521068 h 3191446"/>
                <a:gd name="connsiteX86" fmla="*/ 2303718 w 4675522"/>
                <a:gd name="connsiteY86" fmla="*/ 2553476 h 3191446"/>
                <a:gd name="connsiteX87" fmla="*/ 2511766 w 4675522"/>
                <a:gd name="connsiteY87" fmla="*/ 2609829 h 3191446"/>
                <a:gd name="connsiteX88" fmla="*/ 2632449 w 4675522"/>
                <a:gd name="connsiteY88" fmla="*/ 2655861 h 3191446"/>
                <a:gd name="connsiteX89" fmla="*/ 2726837 w 4675522"/>
                <a:gd name="connsiteY89" fmla="*/ 2646468 h 3191446"/>
                <a:gd name="connsiteX90" fmla="*/ 2719328 w 4675522"/>
                <a:gd name="connsiteY90" fmla="*/ 2584000 h 3191446"/>
                <a:gd name="connsiteX91" fmla="*/ 2610385 w 4675522"/>
                <a:gd name="connsiteY91" fmla="*/ 2532808 h 3191446"/>
                <a:gd name="connsiteX92" fmla="*/ 2430049 w 4675522"/>
                <a:gd name="connsiteY92" fmla="*/ 2499935 h 3191446"/>
                <a:gd name="connsiteX93" fmla="*/ 2272262 w 4675522"/>
                <a:gd name="connsiteY93" fmla="*/ 2458135 h 3191446"/>
                <a:gd name="connsiteX94" fmla="*/ 2234693 w 4675522"/>
                <a:gd name="connsiteY94" fmla="*/ 2429027 h 3191446"/>
                <a:gd name="connsiteX95" fmla="*/ 2399058 w 4675522"/>
                <a:gd name="connsiteY95" fmla="*/ 2469875 h 3191446"/>
                <a:gd name="connsiteX96" fmla="*/ 2652186 w 4675522"/>
                <a:gd name="connsiteY96" fmla="*/ 2526694 h 3191446"/>
                <a:gd name="connsiteX97" fmla="*/ 2754571 w 4675522"/>
                <a:gd name="connsiteY97" fmla="*/ 2489590 h 3191446"/>
                <a:gd name="connsiteX98" fmla="*/ 2724046 w 4675522"/>
                <a:gd name="connsiteY98" fmla="*/ 2420565 h 3191446"/>
                <a:gd name="connsiteX99" fmla="*/ 2589740 w 4675522"/>
                <a:gd name="connsiteY99" fmla="*/ 2366560 h 3191446"/>
                <a:gd name="connsiteX100" fmla="*/ 2343657 w 4675522"/>
                <a:gd name="connsiteY100" fmla="*/ 2344962 h 3191446"/>
                <a:gd name="connsiteX101" fmla="*/ 2141257 w 4675522"/>
                <a:gd name="connsiteY101" fmla="*/ 2293304 h 3191446"/>
                <a:gd name="connsiteX102" fmla="*/ 2055308 w 4675522"/>
                <a:gd name="connsiteY102" fmla="*/ 2206890 h 3191446"/>
                <a:gd name="connsiteX103" fmla="*/ 2016809 w 4675522"/>
                <a:gd name="connsiteY103" fmla="*/ 2102157 h 3191446"/>
                <a:gd name="connsiteX104" fmla="*/ 2086321 w 4675522"/>
                <a:gd name="connsiteY104" fmla="*/ 2090416 h 3191446"/>
                <a:gd name="connsiteX105" fmla="*/ 2338518 w 4675522"/>
                <a:gd name="connsiteY105" fmla="*/ 2147701 h 3191446"/>
                <a:gd name="connsiteX106" fmla="*/ 2493491 w 4675522"/>
                <a:gd name="connsiteY106" fmla="*/ 2144422 h 3191446"/>
                <a:gd name="connsiteX107" fmla="*/ 2512276 w 4675522"/>
                <a:gd name="connsiteY107" fmla="*/ 2062705 h 3191446"/>
                <a:gd name="connsiteX108" fmla="*/ 2464384 w 4675522"/>
                <a:gd name="connsiteY108" fmla="*/ 2004003 h 3191446"/>
                <a:gd name="connsiteX109" fmla="*/ 2333822 w 4675522"/>
                <a:gd name="connsiteY109" fmla="*/ 1978639 h 3191446"/>
                <a:gd name="connsiteX110" fmla="*/ 2166643 w 4675522"/>
                <a:gd name="connsiteY110" fmla="*/ 1902570 h 3191446"/>
                <a:gd name="connsiteX111" fmla="*/ 2015900 w 4675522"/>
                <a:gd name="connsiteY111" fmla="*/ 1854191 h 3191446"/>
                <a:gd name="connsiteX112" fmla="*/ 1838377 w 4675522"/>
                <a:gd name="connsiteY112" fmla="*/ 1858422 h 3191446"/>
                <a:gd name="connsiteX113" fmla="*/ 1703606 w 4675522"/>
                <a:gd name="connsiteY113" fmla="*/ 1851843 h 3191446"/>
                <a:gd name="connsiteX114" fmla="*/ 1584319 w 4675522"/>
                <a:gd name="connsiteY114" fmla="*/ 1886133 h 3191446"/>
                <a:gd name="connsiteX115" fmla="*/ 1478655 w 4675522"/>
                <a:gd name="connsiteY115" fmla="*/ 1992728 h 3191446"/>
                <a:gd name="connsiteX116" fmla="*/ 1528895 w 4675522"/>
                <a:gd name="connsiteY116" fmla="*/ 2092277 h 3191446"/>
                <a:gd name="connsiteX117" fmla="*/ 1658505 w 4675522"/>
                <a:gd name="connsiteY117" fmla="*/ 2148166 h 3191446"/>
                <a:gd name="connsiteX118" fmla="*/ 1834611 w 4675522"/>
                <a:gd name="connsiteY118" fmla="*/ 2196058 h 3191446"/>
                <a:gd name="connsiteX119" fmla="*/ 1859975 w 4675522"/>
                <a:gd name="connsiteY119" fmla="*/ 2215773 h 3191446"/>
                <a:gd name="connsiteX120" fmla="*/ 1732248 w 4675522"/>
                <a:gd name="connsiteY120" fmla="*/ 2221887 h 3191446"/>
                <a:gd name="connsiteX121" fmla="*/ 1555677 w 4675522"/>
                <a:gd name="connsiteY121" fmla="*/ 2157558 h 3191446"/>
                <a:gd name="connsiteX122" fmla="*/ 1423232 w 4675522"/>
                <a:gd name="connsiteY122" fmla="*/ 2063170 h 3191446"/>
                <a:gd name="connsiteX123" fmla="*/ 1319451 w 4675522"/>
                <a:gd name="connsiteY123" fmla="*/ 2045316 h 3191446"/>
                <a:gd name="connsiteX124" fmla="*/ 1242430 w 4675522"/>
                <a:gd name="connsiteY124" fmla="*/ 2128916 h 3191446"/>
                <a:gd name="connsiteX125" fmla="*/ 1247591 w 4675522"/>
                <a:gd name="connsiteY125" fmla="*/ 2264174 h 3191446"/>
                <a:gd name="connsiteX126" fmla="*/ 1286091 w 4675522"/>
                <a:gd name="connsiteY126" fmla="*/ 2335547 h 3191446"/>
                <a:gd name="connsiteX127" fmla="*/ 1208604 w 4675522"/>
                <a:gd name="connsiteY127" fmla="*/ 2308788 h 3191446"/>
                <a:gd name="connsiteX128" fmla="*/ 1028732 w 4675522"/>
                <a:gd name="connsiteY128" fmla="*/ 2276845 h 3191446"/>
                <a:gd name="connsiteX129" fmla="*/ 730526 w 4675522"/>
                <a:gd name="connsiteY129" fmla="*/ 2275427 h 3191446"/>
                <a:gd name="connsiteX130" fmla="*/ 477399 w 4675522"/>
                <a:gd name="connsiteY130" fmla="*/ 2167416 h 3191446"/>
                <a:gd name="connsiteX131" fmla="*/ 336049 w 4675522"/>
                <a:gd name="connsiteY131" fmla="*/ 2056126 h 3191446"/>
                <a:gd name="connsiteX132" fmla="*/ 250588 w 4675522"/>
                <a:gd name="connsiteY132" fmla="*/ 1935908 h 3191446"/>
                <a:gd name="connsiteX133" fmla="*/ 300363 w 4675522"/>
                <a:gd name="connsiteY133" fmla="*/ 1899270 h 3191446"/>
                <a:gd name="connsiteX134" fmla="*/ 475538 w 4675522"/>
                <a:gd name="connsiteY134" fmla="*/ 1751806 h 3191446"/>
                <a:gd name="connsiteX135" fmla="*/ 583085 w 4675522"/>
                <a:gd name="connsiteY135" fmla="*/ 1579443 h 3191446"/>
                <a:gd name="connsiteX136" fmla="*/ 688283 w 4675522"/>
                <a:gd name="connsiteY136" fmla="*/ 1574747 h 3191446"/>
                <a:gd name="connsiteX137" fmla="*/ 981793 w 4675522"/>
                <a:gd name="connsiteY137" fmla="*/ 1784679 h 3191446"/>
                <a:gd name="connsiteX138" fmla="*/ 1282126 w 4675522"/>
                <a:gd name="connsiteY138" fmla="*/ 1867327 h 3191446"/>
                <a:gd name="connsiteX139" fmla="*/ 1575414 w 4675522"/>
                <a:gd name="connsiteY139" fmla="*/ 1895038 h 3191446"/>
                <a:gd name="connsiteX140" fmla="*/ 1855079 w 4675522"/>
                <a:gd name="connsiteY140" fmla="*/ 1910545 h 3191446"/>
                <a:gd name="connsiteX141" fmla="*/ 2162456 w 4675522"/>
                <a:gd name="connsiteY141" fmla="*/ 1802533 h 3191446"/>
                <a:gd name="connsiteX142" fmla="*/ 2353714 w 4675522"/>
                <a:gd name="connsiteY142" fmla="*/ 1811859 h 3191446"/>
                <a:gd name="connsiteX143" fmla="*/ 2626445 w 4675522"/>
                <a:gd name="connsiteY143" fmla="*/ 1820609 h 3191446"/>
                <a:gd name="connsiteX144" fmla="*/ 3079160 w 4675522"/>
                <a:gd name="connsiteY144" fmla="*/ 1657993 h 3191446"/>
                <a:gd name="connsiteX145" fmla="*/ 3323006 w 4675522"/>
                <a:gd name="connsiteY145" fmla="*/ 1362202 h 3191446"/>
                <a:gd name="connsiteX146" fmla="*/ 3417283 w 4675522"/>
                <a:gd name="connsiteY146" fmla="*/ 1008749 h 3191446"/>
                <a:gd name="connsiteX147" fmla="*/ 3387932 w 4675522"/>
                <a:gd name="connsiteY147" fmla="*/ 611680 h 3191446"/>
                <a:gd name="connsiteX148" fmla="*/ 3165795 w 4675522"/>
                <a:gd name="connsiteY148" fmla="*/ 239266 h 3191446"/>
                <a:gd name="connsiteX149" fmla="*/ 2780599 w 4675522"/>
                <a:gd name="connsiteY149" fmla="*/ 36445 h 3191446"/>
                <a:gd name="connsiteX150" fmla="*/ 2363239 w 4675522"/>
                <a:gd name="connsiteY150" fmla="*/ 13607 h 3191446"/>
                <a:gd name="connsiteX151" fmla="*/ 1949844 w 4675522"/>
                <a:gd name="connsiteY151" fmla="*/ 187187 h 3191446"/>
                <a:gd name="connsiteX152" fmla="*/ 1700483 w 4675522"/>
                <a:gd name="connsiteY152" fmla="*/ 506991 h 3191446"/>
                <a:gd name="connsiteX153" fmla="*/ 1610923 w 4675522"/>
                <a:gd name="connsiteY153" fmla="*/ 850941 h 3191446"/>
                <a:gd name="connsiteX154" fmla="*/ 1681698 w 4675522"/>
                <a:gd name="connsiteY154" fmla="*/ 1253703 h 3191446"/>
                <a:gd name="connsiteX155" fmla="*/ 2100608 w 4675522"/>
                <a:gd name="connsiteY155" fmla="*/ 1667430 h 3191446"/>
                <a:gd name="connsiteX156" fmla="*/ 2697508 w 4675522"/>
                <a:gd name="connsiteY156" fmla="*/ 1747973 h 3191446"/>
                <a:gd name="connsiteX157" fmla="*/ 2782393 w 4675522"/>
                <a:gd name="connsiteY157" fmla="*/ 1686037 h 3191446"/>
                <a:gd name="connsiteX158" fmla="*/ 2741546 w 4675522"/>
                <a:gd name="connsiteY158" fmla="*/ 1570051 h 3191446"/>
                <a:gd name="connsiteX159" fmla="*/ 2850975 w 4675522"/>
                <a:gd name="connsiteY159" fmla="*/ 1458761 h 3191446"/>
                <a:gd name="connsiteX160" fmla="*/ 2942085 w 4675522"/>
                <a:gd name="connsiteY160" fmla="*/ 1369999 h 3191446"/>
                <a:gd name="connsiteX161" fmla="*/ 3018154 w 4675522"/>
                <a:gd name="connsiteY161" fmla="*/ 1277494 h 3191446"/>
                <a:gd name="connsiteX162" fmla="*/ 3148229 w 4675522"/>
                <a:gd name="connsiteY162" fmla="*/ 1255896 h 3191446"/>
                <a:gd name="connsiteX163" fmla="*/ 3234842 w 4675522"/>
                <a:gd name="connsiteY163" fmla="*/ 1331034 h 3191446"/>
                <a:gd name="connsiteX164" fmla="*/ 3245297 w 4675522"/>
                <a:gd name="connsiteY164" fmla="*/ 1418378 h 3191446"/>
                <a:gd name="connsiteX165" fmla="*/ 3159703 w 4675522"/>
                <a:gd name="connsiteY165" fmla="*/ 1450321 h 3191446"/>
                <a:gd name="connsiteX166" fmla="*/ 3064185 w 4675522"/>
                <a:gd name="connsiteY166" fmla="*/ 1435302 h 3191446"/>
                <a:gd name="connsiteX167" fmla="*/ 3020502 w 4675522"/>
                <a:gd name="connsiteY167" fmla="*/ 1574769 h 3191446"/>
                <a:gd name="connsiteX168" fmla="*/ 2949594 w 4675522"/>
                <a:gd name="connsiteY168" fmla="*/ 1681851 h 3191446"/>
                <a:gd name="connsiteX169" fmla="*/ 2864133 w 4675522"/>
                <a:gd name="connsiteY169" fmla="*/ 1687477 h 3191446"/>
                <a:gd name="connsiteX170" fmla="*/ 2784298 w 4675522"/>
                <a:gd name="connsiteY170" fmla="*/ 1615152 h 3191446"/>
                <a:gd name="connsiteX171" fmla="*/ 2772093 w 4675522"/>
                <a:gd name="connsiteY171" fmla="*/ 1503374 h 3191446"/>
                <a:gd name="connsiteX172" fmla="*/ 2730758 w 4675522"/>
                <a:gd name="connsiteY172" fmla="*/ 1430119 h 3191446"/>
                <a:gd name="connsiteX173" fmla="*/ 2659850 w 4675522"/>
                <a:gd name="connsiteY173" fmla="*/ 1405220 h 3191446"/>
                <a:gd name="connsiteX174" fmla="*/ 2593174 w 4675522"/>
                <a:gd name="connsiteY174" fmla="*/ 1359189 h 3191446"/>
                <a:gd name="connsiteX175" fmla="*/ 2537750 w 4675522"/>
                <a:gd name="connsiteY175" fmla="*/ 1300952 h 3191446"/>
                <a:gd name="connsiteX176" fmla="*/ 2441014 w 4675522"/>
                <a:gd name="connsiteY176" fmla="*/ 1250225 h 3191446"/>
                <a:gd name="connsiteX177" fmla="*/ 2416115 w 4675522"/>
                <a:gd name="connsiteY177" fmla="*/ 1147375 h 3191446"/>
                <a:gd name="connsiteX178" fmla="*/ 2468238 w 4675522"/>
                <a:gd name="connsiteY178" fmla="*/ 1068470 h 3191446"/>
                <a:gd name="connsiteX179" fmla="*/ 2642461 w 4675522"/>
                <a:gd name="connsiteY179" fmla="*/ 1051923 h 3191446"/>
                <a:gd name="connsiteX180" fmla="*/ 2723226 w 4675522"/>
                <a:gd name="connsiteY180" fmla="*/ 972199 h 3191446"/>
                <a:gd name="connsiteX181" fmla="*/ 2755634 w 4675522"/>
                <a:gd name="connsiteY181" fmla="*/ 865007 h 3191446"/>
                <a:gd name="connsiteX182" fmla="*/ 2811523 w 4675522"/>
                <a:gd name="connsiteY182" fmla="*/ 762267 h 3191446"/>
                <a:gd name="connsiteX183" fmla="*/ 2859415 w 4675522"/>
                <a:gd name="connsiteY183" fmla="*/ 634519 h 3191446"/>
                <a:gd name="connsiteX184" fmla="*/ 2927974 w 4675522"/>
                <a:gd name="connsiteY184" fmla="*/ 554684 h 3191446"/>
                <a:gd name="connsiteX185" fmla="*/ 2974006 w 4675522"/>
                <a:gd name="connsiteY185" fmla="*/ 491286 h 3191446"/>
                <a:gd name="connsiteX186" fmla="*/ 2861298 w 4675522"/>
                <a:gd name="connsiteY186" fmla="*/ 390784 h 3191446"/>
                <a:gd name="connsiteX187" fmla="*/ 2754216 w 4675522"/>
                <a:gd name="connsiteY187" fmla="*/ 343822 h 3191446"/>
                <a:gd name="connsiteX188" fmla="*/ 2685192 w 4675522"/>
                <a:gd name="connsiteY188" fmla="*/ 333012 h 3191446"/>
                <a:gd name="connsiteX189" fmla="*/ 2626490 w 4675522"/>
                <a:gd name="connsiteY189" fmla="*/ 315645 h 3191446"/>
                <a:gd name="connsiteX190" fmla="*/ 2621329 w 4675522"/>
                <a:gd name="connsiteY190" fmla="*/ 380461 h 3191446"/>
                <a:gd name="connsiteX191" fmla="*/ 2643392 w 4675522"/>
                <a:gd name="connsiteY191" fmla="*/ 468270 h 3191446"/>
                <a:gd name="connsiteX192" fmla="*/ 2604892 w 4675522"/>
                <a:gd name="connsiteY192" fmla="*/ 478128 h 3191446"/>
                <a:gd name="connsiteX193" fmla="*/ 2507203 w 4675522"/>
                <a:gd name="connsiteY193" fmla="*/ 426470 h 3191446"/>
                <a:gd name="connsiteX194" fmla="*/ 2468216 w 4675522"/>
                <a:gd name="connsiteY194" fmla="*/ 387970 h 3191446"/>
                <a:gd name="connsiteX195" fmla="*/ 2503437 w 4675522"/>
                <a:gd name="connsiteY195" fmla="*/ 331616 h 3191446"/>
                <a:gd name="connsiteX196" fmla="*/ 2515177 w 4675522"/>
                <a:gd name="connsiteY196" fmla="*/ 279959 h 3191446"/>
                <a:gd name="connsiteX197" fmla="*/ 2504367 w 4675522"/>
                <a:gd name="connsiteY197" fmla="*/ 225953 h 3191446"/>
                <a:gd name="connsiteX198" fmla="*/ 2483700 w 4675522"/>
                <a:gd name="connsiteY198" fmla="*/ 199659 h 3191446"/>
                <a:gd name="connsiteX199" fmla="*/ 2430159 w 4675522"/>
                <a:gd name="connsiteY199" fmla="*/ 216095 h 3191446"/>
                <a:gd name="connsiteX200" fmla="*/ 2342815 w 4675522"/>
                <a:gd name="connsiteY200" fmla="*/ 225022 h 3191446"/>
                <a:gd name="connsiteX201" fmla="*/ 2251705 w 4675522"/>
                <a:gd name="connsiteY201" fmla="*/ 195915 h 3191446"/>
                <a:gd name="connsiteX202" fmla="*/ 2181263 w 4675522"/>
                <a:gd name="connsiteY202" fmla="*/ 171969 h 3191446"/>
                <a:gd name="connsiteX203" fmla="*/ 2097197 w 4675522"/>
                <a:gd name="connsiteY203" fmla="*/ 170086 h 3191446"/>
                <a:gd name="connsiteX204" fmla="*/ 2010318 w 4675522"/>
                <a:gd name="connsiteY204" fmla="*/ 214235 h 3191446"/>
                <a:gd name="connsiteX205" fmla="*/ 1973214 w 4675522"/>
                <a:gd name="connsiteY205" fmla="*/ 270589 h 3191446"/>
                <a:gd name="connsiteX206" fmla="*/ 2017828 w 4675522"/>
                <a:gd name="connsiteY206" fmla="*/ 337265 h 3191446"/>
                <a:gd name="connsiteX207" fmla="*/ 2034729 w 4675522"/>
                <a:gd name="connsiteY207" fmla="*/ 385157 h 3191446"/>
                <a:gd name="connsiteX208" fmla="*/ 2017828 w 4675522"/>
                <a:gd name="connsiteY208" fmla="*/ 451368 h 3191446"/>
                <a:gd name="connsiteX209" fmla="*/ 2019711 w 4675522"/>
                <a:gd name="connsiteY209" fmla="*/ 519463 h 3191446"/>
                <a:gd name="connsiteX210" fmla="*/ 2016432 w 4675522"/>
                <a:gd name="connsiteY210" fmla="*/ 580048 h 3191446"/>
                <a:gd name="connsiteX211" fmla="*/ 1972749 w 4675522"/>
                <a:gd name="connsiteY211" fmla="*/ 654256 h 3191446"/>
                <a:gd name="connsiteX212" fmla="*/ 1954895 w 4675522"/>
                <a:gd name="connsiteY212" fmla="*/ 732673 h 3191446"/>
                <a:gd name="connsiteX213" fmla="*/ 1990116 w 4675522"/>
                <a:gd name="connsiteY213" fmla="*/ 819552 h 3191446"/>
                <a:gd name="connsiteX214" fmla="*/ 2030964 w 4675522"/>
                <a:gd name="connsiteY214" fmla="*/ 913475 h 3191446"/>
                <a:gd name="connsiteX215" fmla="*/ 2033777 w 4675522"/>
                <a:gd name="connsiteY215" fmla="*/ 1007863 h 3191446"/>
                <a:gd name="connsiteX216" fmla="*/ 2057258 w 4675522"/>
                <a:gd name="connsiteY216" fmla="*/ 1098021 h 3191446"/>
                <a:gd name="connsiteX217" fmla="*/ 2122074 w 4675522"/>
                <a:gd name="connsiteY217" fmla="*/ 1155792 h 3191446"/>
                <a:gd name="connsiteX218" fmla="*/ 2190168 w 4675522"/>
                <a:gd name="connsiteY218" fmla="*/ 1188200 h 3191446"/>
                <a:gd name="connsiteX219" fmla="*/ 2249800 w 4675522"/>
                <a:gd name="connsiteY219" fmla="*/ 1206985 h 3191446"/>
                <a:gd name="connsiteX220" fmla="*/ 2262471 w 4675522"/>
                <a:gd name="connsiteY220" fmla="*/ 1256760 h 3191446"/>
                <a:gd name="connsiteX221" fmla="*/ 2282673 w 4675522"/>
                <a:gd name="connsiteY221" fmla="*/ 1314044 h 3191446"/>
                <a:gd name="connsiteX222" fmla="*/ 2369087 w 4675522"/>
                <a:gd name="connsiteY222" fmla="*/ 1337525 h 3191446"/>
                <a:gd name="connsiteX223" fmla="*/ 2449387 w 4675522"/>
                <a:gd name="connsiteY223" fmla="*/ 1351148 h 3191446"/>
                <a:gd name="connsiteX224" fmla="*/ 2519829 w 4675522"/>
                <a:gd name="connsiteY224" fmla="*/ 1385904 h 3191446"/>
                <a:gd name="connsiteX225" fmla="*/ 2587924 w 4675522"/>
                <a:gd name="connsiteY225" fmla="*/ 1413616 h 3191446"/>
                <a:gd name="connsiteX226" fmla="*/ 2636768 w 4675522"/>
                <a:gd name="connsiteY226" fmla="*/ 1400945 h 3191446"/>
                <a:gd name="connsiteX227" fmla="*/ 2709559 w 4675522"/>
                <a:gd name="connsiteY227" fmla="*/ 1365259 h 3191446"/>
                <a:gd name="connsiteX228" fmla="*/ 2802551 w 4675522"/>
                <a:gd name="connsiteY228" fmla="*/ 1419730 h 3191446"/>
                <a:gd name="connsiteX229" fmla="*/ 2841738 w 4675522"/>
                <a:gd name="connsiteY229" fmla="*/ 1568368 h 3191446"/>
                <a:gd name="connsiteX230" fmla="*/ 2919357 w 4675522"/>
                <a:gd name="connsiteY230" fmla="*/ 1721679 h 3191446"/>
                <a:gd name="connsiteX231" fmla="*/ 3134295 w 4675522"/>
                <a:gd name="connsiteY231" fmla="*/ 1773603 h 3191446"/>
                <a:gd name="connsiteX232" fmla="*/ 3467988 w 4675522"/>
                <a:gd name="connsiteY232" fmla="*/ 1722654 h 3191446"/>
                <a:gd name="connsiteX233" fmla="*/ 3762916 w 4675522"/>
                <a:gd name="connsiteY233" fmla="*/ 1835362 h 3191446"/>
                <a:gd name="connsiteX234" fmla="*/ 4176909 w 4675522"/>
                <a:gd name="connsiteY234" fmla="*/ 1845042 h 3191446"/>
                <a:gd name="connsiteX235" fmla="*/ 4675522 w 4675522"/>
                <a:gd name="connsiteY235" fmla="*/ 1755394 h 3191446"/>
                <a:gd name="connsiteX0" fmla="*/ 505886 w 4675522"/>
                <a:gd name="connsiteY0" fmla="*/ 2575539 h 3191446"/>
                <a:gd name="connsiteX1" fmla="*/ 805975 w 4675522"/>
                <a:gd name="connsiteY1" fmla="*/ 2561915 h 3191446"/>
                <a:gd name="connsiteX2" fmla="*/ 1012141 w 4675522"/>
                <a:gd name="connsiteY2" fmla="*/ 2509792 h 3191446"/>
                <a:gd name="connsiteX3" fmla="*/ 1084931 w 4675522"/>
                <a:gd name="connsiteY3" fmla="*/ 2472223 h 3191446"/>
                <a:gd name="connsiteX4" fmla="*/ 917752 w 4675522"/>
                <a:gd name="connsiteY4" fmla="*/ 2452021 h 3191446"/>
                <a:gd name="connsiteX5" fmla="*/ 614850 w 4675522"/>
                <a:gd name="connsiteY5" fmla="*/ 2495216 h 3191446"/>
                <a:gd name="connsiteX6" fmla="*/ 339660 w 4675522"/>
                <a:gd name="connsiteY6" fmla="*/ 2467970 h 3191446"/>
                <a:gd name="connsiteX7" fmla="*/ 95925 w 4675522"/>
                <a:gd name="connsiteY7" fmla="*/ 2425704 h 3191446"/>
                <a:gd name="connsiteX8" fmla="*/ 55542 w 4675522"/>
                <a:gd name="connsiteY8" fmla="*/ 2490985 h 3191446"/>
                <a:gd name="connsiteX9" fmla="*/ 71979 w 4675522"/>
                <a:gd name="connsiteY9" fmla="*/ 2650190 h 3191446"/>
                <a:gd name="connsiteX10" fmla="*/ 26900 w 4675522"/>
                <a:gd name="connsiteY10" fmla="*/ 2845080 h 3191446"/>
                <a:gd name="connsiteX11" fmla="*/ 5767 w 4675522"/>
                <a:gd name="connsiteY11" fmla="*/ 3005215 h 3191446"/>
                <a:gd name="connsiteX12" fmla="*/ 124589 w 4675522"/>
                <a:gd name="connsiteY12" fmla="*/ 3049363 h 3191446"/>
                <a:gd name="connsiteX13" fmla="*/ 315736 w 4675522"/>
                <a:gd name="connsiteY13" fmla="*/ 2993475 h 3191446"/>
                <a:gd name="connsiteX14" fmla="*/ 549148 w 4675522"/>
                <a:gd name="connsiteY14" fmla="*/ 2954022 h 3191446"/>
                <a:gd name="connsiteX15" fmla="*/ 884458 w 4675522"/>
                <a:gd name="connsiteY15" fmla="*/ 2879814 h 3191446"/>
                <a:gd name="connsiteX16" fmla="*/ 1154488 w 4675522"/>
                <a:gd name="connsiteY16" fmla="*/ 2879814 h 3191446"/>
                <a:gd name="connsiteX17" fmla="*/ 1270009 w 4675522"/>
                <a:gd name="connsiteY17" fmla="*/ 2964345 h 3191446"/>
                <a:gd name="connsiteX18" fmla="*/ 1413707 w 4675522"/>
                <a:gd name="connsiteY18" fmla="*/ 3061081 h 3191446"/>
                <a:gd name="connsiteX19" fmla="*/ 1565867 w 4675522"/>
                <a:gd name="connsiteY19" fmla="*/ 3104765 h 3191446"/>
                <a:gd name="connsiteX20" fmla="*/ 1690780 w 4675522"/>
                <a:gd name="connsiteY20" fmla="*/ 3107578 h 3191446"/>
                <a:gd name="connsiteX21" fmla="*/ 1820390 w 4675522"/>
                <a:gd name="connsiteY21" fmla="*/ 3139986 h 3191446"/>
                <a:gd name="connsiteX22" fmla="*/ 1899759 w 4675522"/>
                <a:gd name="connsiteY22" fmla="*/ 3178485 h 3191446"/>
                <a:gd name="connsiteX23" fmla="*/ 1940142 w 4675522"/>
                <a:gd name="connsiteY23" fmla="*/ 3188808 h 3191446"/>
                <a:gd name="connsiteX24" fmla="*/ 1936730 w 4675522"/>
                <a:gd name="connsiteY24" fmla="*/ 3145125 h 3191446"/>
                <a:gd name="connsiteX25" fmla="*/ 1900667 w 4675522"/>
                <a:gd name="connsiteY25" fmla="*/ 3102505 h 3191446"/>
                <a:gd name="connsiteX26" fmla="*/ 1840437 w 4675522"/>
                <a:gd name="connsiteY26" fmla="*/ 3088771 h 3191446"/>
                <a:gd name="connsiteX27" fmla="*/ 1849962 w 4675522"/>
                <a:gd name="connsiteY27" fmla="*/ 3120825 h 3191446"/>
                <a:gd name="connsiteX28" fmla="*/ 1953278 w 4675522"/>
                <a:gd name="connsiteY28" fmla="*/ 3169071 h 3191446"/>
                <a:gd name="connsiteX29" fmla="*/ 1959391 w 4675522"/>
                <a:gd name="connsiteY29" fmla="*/ 3084540 h 3191446"/>
                <a:gd name="connsiteX30" fmla="*/ 1899759 w 4675522"/>
                <a:gd name="connsiteY30" fmla="*/ 3000940 h 3191446"/>
                <a:gd name="connsiteX31" fmla="*/ 1783285 w 4675522"/>
                <a:gd name="connsiteY31" fmla="*/ 2944121 h 3191446"/>
                <a:gd name="connsiteX32" fmla="*/ 1627360 w 4675522"/>
                <a:gd name="connsiteY32" fmla="*/ 2916409 h 3191446"/>
                <a:gd name="connsiteX33" fmla="*/ 1545177 w 4675522"/>
                <a:gd name="connsiteY33" fmla="*/ 2842201 h 3191446"/>
                <a:gd name="connsiteX34" fmla="*/ 1554392 w 4675522"/>
                <a:gd name="connsiteY34" fmla="*/ 2723512 h 3191446"/>
                <a:gd name="connsiteX35" fmla="*/ 1443966 w 4675522"/>
                <a:gd name="connsiteY35" fmla="*/ 2598488 h 3191446"/>
                <a:gd name="connsiteX36" fmla="*/ 1436523 w 4675522"/>
                <a:gd name="connsiteY36" fmla="*/ 2546476 h 3191446"/>
                <a:gd name="connsiteX37" fmla="*/ 1697802 w 4675522"/>
                <a:gd name="connsiteY37" fmla="*/ 2645449 h 3191446"/>
                <a:gd name="connsiteX38" fmla="*/ 1957044 w 4675522"/>
                <a:gd name="connsiteY38" fmla="*/ 2760040 h 3191446"/>
                <a:gd name="connsiteX39" fmla="*/ 2129871 w 4675522"/>
                <a:gd name="connsiteY39" fmla="*/ 2773198 h 3191446"/>
                <a:gd name="connsiteX40" fmla="*/ 2305047 w 4675522"/>
                <a:gd name="connsiteY40" fmla="*/ 2753948 h 3191446"/>
                <a:gd name="connsiteX41" fmla="*/ 2467529 w 4675522"/>
                <a:gd name="connsiteY41" fmla="*/ 2746904 h 3191446"/>
                <a:gd name="connsiteX42" fmla="*/ 2576959 w 4675522"/>
                <a:gd name="connsiteY42" fmla="*/ 2726702 h 3191446"/>
                <a:gd name="connsiteX43" fmla="*/ 2638939 w 4675522"/>
                <a:gd name="connsiteY43" fmla="*/ 2743603 h 3191446"/>
                <a:gd name="connsiteX44" fmla="*/ 2616389 w 4675522"/>
                <a:gd name="connsiteY44" fmla="*/ 2790100 h 3191446"/>
                <a:gd name="connsiteX45" fmla="*/ 2473156 w 4675522"/>
                <a:gd name="connsiteY45" fmla="*/ 2819694 h 3191446"/>
                <a:gd name="connsiteX46" fmla="*/ 2356217 w 4675522"/>
                <a:gd name="connsiteY46" fmla="*/ 2844593 h 3191446"/>
                <a:gd name="connsiteX47" fmla="*/ 2212519 w 4675522"/>
                <a:gd name="connsiteY47" fmla="*/ 2869491 h 3191446"/>
                <a:gd name="connsiteX48" fmla="*/ 2100276 w 4675522"/>
                <a:gd name="connsiteY48" fmla="*/ 2919266 h 3191446"/>
                <a:gd name="connsiteX49" fmla="*/ 2233652 w 4675522"/>
                <a:gd name="connsiteY49" fmla="*/ 2930076 h 3191446"/>
                <a:gd name="connsiteX50" fmla="*/ 2464716 w 4675522"/>
                <a:gd name="connsiteY50" fmla="*/ 2860564 h 3191446"/>
                <a:gd name="connsiteX51" fmla="*/ 2581655 w 4675522"/>
                <a:gd name="connsiteY51" fmla="*/ 2830504 h 3191446"/>
                <a:gd name="connsiteX52" fmla="*/ 2583538 w 4675522"/>
                <a:gd name="connsiteY52" fmla="*/ 2879349 h 3191446"/>
                <a:gd name="connsiteX53" fmla="*/ 2491963 w 4675522"/>
                <a:gd name="connsiteY53" fmla="*/ 2947908 h 3191446"/>
                <a:gd name="connsiteX54" fmla="*/ 2305999 w 4675522"/>
                <a:gd name="connsiteY54" fmla="*/ 3039949 h 3191446"/>
                <a:gd name="connsiteX55" fmla="*/ 2125662 w 4675522"/>
                <a:gd name="connsiteY55" fmla="*/ 3096768 h 3191446"/>
                <a:gd name="connsiteX56" fmla="*/ 2023764 w 4675522"/>
                <a:gd name="connsiteY56" fmla="*/ 3072357 h 3191446"/>
                <a:gd name="connsiteX57" fmla="*/ 1932189 w 4675522"/>
                <a:gd name="connsiteY57" fmla="*/ 2980316 h 3191446"/>
                <a:gd name="connsiteX58" fmla="*/ 1783795 w 4675522"/>
                <a:gd name="connsiteY58" fmla="*/ 2897668 h 3191446"/>
                <a:gd name="connsiteX59" fmla="*/ 1610968 w 4675522"/>
                <a:gd name="connsiteY59" fmla="*/ 2855403 h 3191446"/>
                <a:gd name="connsiteX60" fmla="*/ 1425469 w 4675522"/>
                <a:gd name="connsiteY60" fmla="*/ 2833340 h 3191446"/>
                <a:gd name="connsiteX61" fmla="*/ 1258290 w 4675522"/>
                <a:gd name="connsiteY61" fmla="*/ 2792957 h 3191446"/>
                <a:gd name="connsiteX62" fmla="*/ 1178456 w 4675522"/>
                <a:gd name="connsiteY62" fmla="*/ 2664743 h 3191446"/>
                <a:gd name="connsiteX63" fmla="*/ 1164367 w 4675522"/>
                <a:gd name="connsiteY63" fmla="*/ 2536529 h 3191446"/>
                <a:gd name="connsiteX64" fmla="*/ 1214142 w 4675522"/>
                <a:gd name="connsiteY64" fmla="*/ 2455277 h 3191446"/>
                <a:gd name="connsiteX65" fmla="*/ 1388365 w 4675522"/>
                <a:gd name="connsiteY65" fmla="*/ 2443537 h 3191446"/>
                <a:gd name="connsiteX66" fmla="*/ 1636331 w 4675522"/>
                <a:gd name="connsiteY66" fmla="*/ 2523371 h 3191446"/>
                <a:gd name="connsiteX67" fmla="*/ 1864560 w 4675522"/>
                <a:gd name="connsiteY67" fmla="*/ 2660512 h 3191446"/>
                <a:gd name="connsiteX68" fmla="*/ 2072144 w 4675522"/>
                <a:gd name="connsiteY68" fmla="*/ 2731420 h 3191446"/>
                <a:gd name="connsiteX69" fmla="*/ 2214911 w 4675522"/>
                <a:gd name="connsiteY69" fmla="*/ 2734698 h 3191446"/>
                <a:gd name="connsiteX70" fmla="*/ 2267500 w 4675522"/>
                <a:gd name="connsiteY70" fmla="*/ 2704639 h 3191446"/>
                <a:gd name="connsiteX71" fmla="*/ 2241671 w 4675522"/>
                <a:gd name="connsiteY71" fmla="*/ 2669882 h 3191446"/>
                <a:gd name="connsiteX72" fmla="*/ 2168880 w 4675522"/>
                <a:gd name="connsiteY72" fmla="*/ 2654864 h 3191446"/>
                <a:gd name="connsiteX73" fmla="*/ 2052894 w 4675522"/>
                <a:gd name="connsiteY73" fmla="*/ 2628570 h 3191446"/>
                <a:gd name="connsiteX74" fmla="*/ 1937373 w 4675522"/>
                <a:gd name="connsiteY74" fmla="*/ 2586304 h 3191446"/>
                <a:gd name="connsiteX75" fmla="*/ 1948183 w 4675522"/>
                <a:gd name="connsiteY75" fmla="*/ 2574099 h 3191446"/>
                <a:gd name="connsiteX76" fmla="*/ 2132751 w 4675522"/>
                <a:gd name="connsiteY76" fmla="*/ 2622943 h 3191446"/>
                <a:gd name="connsiteX77" fmla="*/ 2301347 w 4675522"/>
                <a:gd name="connsiteY77" fmla="*/ 2650655 h 3191446"/>
                <a:gd name="connsiteX78" fmla="*/ 2441302 w 4675522"/>
                <a:gd name="connsiteY78" fmla="*/ 2699499 h 3191446"/>
                <a:gd name="connsiteX79" fmla="*/ 2542269 w 4675522"/>
                <a:gd name="connsiteY79" fmla="*/ 2697151 h 3191446"/>
                <a:gd name="connsiteX80" fmla="*/ 2539456 w 4675522"/>
                <a:gd name="connsiteY80" fmla="*/ 2661930 h 3191446"/>
                <a:gd name="connsiteX81" fmla="*/ 2454460 w 4675522"/>
                <a:gd name="connsiteY81" fmla="*/ 2611690 h 3191446"/>
                <a:gd name="connsiteX82" fmla="*/ 2339404 w 4675522"/>
                <a:gd name="connsiteY82" fmla="*/ 2582583 h 3191446"/>
                <a:gd name="connsiteX83" fmla="*/ 2167529 w 4675522"/>
                <a:gd name="connsiteY83" fmla="*/ 2549244 h 3191446"/>
                <a:gd name="connsiteX84" fmla="*/ 2103665 w 4675522"/>
                <a:gd name="connsiteY84" fmla="*/ 2521068 h 3191446"/>
                <a:gd name="connsiteX85" fmla="*/ 2303718 w 4675522"/>
                <a:gd name="connsiteY85" fmla="*/ 2553476 h 3191446"/>
                <a:gd name="connsiteX86" fmla="*/ 2511766 w 4675522"/>
                <a:gd name="connsiteY86" fmla="*/ 2609829 h 3191446"/>
                <a:gd name="connsiteX87" fmla="*/ 2632449 w 4675522"/>
                <a:gd name="connsiteY87" fmla="*/ 2655861 h 3191446"/>
                <a:gd name="connsiteX88" fmla="*/ 2726837 w 4675522"/>
                <a:gd name="connsiteY88" fmla="*/ 2646468 h 3191446"/>
                <a:gd name="connsiteX89" fmla="*/ 2719328 w 4675522"/>
                <a:gd name="connsiteY89" fmla="*/ 2584000 h 3191446"/>
                <a:gd name="connsiteX90" fmla="*/ 2610385 w 4675522"/>
                <a:gd name="connsiteY90" fmla="*/ 2532808 h 3191446"/>
                <a:gd name="connsiteX91" fmla="*/ 2430049 w 4675522"/>
                <a:gd name="connsiteY91" fmla="*/ 2499935 h 3191446"/>
                <a:gd name="connsiteX92" fmla="*/ 2272262 w 4675522"/>
                <a:gd name="connsiteY92" fmla="*/ 2458135 h 3191446"/>
                <a:gd name="connsiteX93" fmla="*/ 2234693 w 4675522"/>
                <a:gd name="connsiteY93" fmla="*/ 2429027 h 3191446"/>
                <a:gd name="connsiteX94" fmla="*/ 2399058 w 4675522"/>
                <a:gd name="connsiteY94" fmla="*/ 2469875 h 3191446"/>
                <a:gd name="connsiteX95" fmla="*/ 2652186 w 4675522"/>
                <a:gd name="connsiteY95" fmla="*/ 2526694 h 3191446"/>
                <a:gd name="connsiteX96" fmla="*/ 2754571 w 4675522"/>
                <a:gd name="connsiteY96" fmla="*/ 2489590 h 3191446"/>
                <a:gd name="connsiteX97" fmla="*/ 2724046 w 4675522"/>
                <a:gd name="connsiteY97" fmla="*/ 2420565 h 3191446"/>
                <a:gd name="connsiteX98" fmla="*/ 2589740 w 4675522"/>
                <a:gd name="connsiteY98" fmla="*/ 2366560 h 3191446"/>
                <a:gd name="connsiteX99" fmla="*/ 2343657 w 4675522"/>
                <a:gd name="connsiteY99" fmla="*/ 2344962 h 3191446"/>
                <a:gd name="connsiteX100" fmla="*/ 2141257 w 4675522"/>
                <a:gd name="connsiteY100" fmla="*/ 2293304 h 3191446"/>
                <a:gd name="connsiteX101" fmla="*/ 2055308 w 4675522"/>
                <a:gd name="connsiteY101" fmla="*/ 2206890 h 3191446"/>
                <a:gd name="connsiteX102" fmla="*/ 2016809 w 4675522"/>
                <a:gd name="connsiteY102" fmla="*/ 2102157 h 3191446"/>
                <a:gd name="connsiteX103" fmla="*/ 2086321 w 4675522"/>
                <a:gd name="connsiteY103" fmla="*/ 2090416 h 3191446"/>
                <a:gd name="connsiteX104" fmla="*/ 2338518 w 4675522"/>
                <a:gd name="connsiteY104" fmla="*/ 2147701 h 3191446"/>
                <a:gd name="connsiteX105" fmla="*/ 2493491 w 4675522"/>
                <a:gd name="connsiteY105" fmla="*/ 2144422 h 3191446"/>
                <a:gd name="connsiteX106" fmla="*/ 2512276 w 4675522"/>
                <a:gd name="connsiteY106" fmla="*/ 2062705 h 3191446"/>
                <a:gd name="connsiteX107" fmla="*/ 2464384 w 4675522"/>
                <a:gd name="connsiteY107" fmla="*/ 2004003 h 3191446"/>
                <a:gd name="connsiteX108" fmla="*/ 2333822 w 4675522"/>
                <a:gd name="connsiteY108" fmla="*/ 1978639 h 3191446"/>
                <a:gd name="connsiteX109" fmla="*/ 2166643 w 4675522"/>
                <a:gd name="connsiteY109" fmla="*/ 1902570 h 3191446"/>
                <a:gd name="connsiteX110" fmla="*/ 2015900 w 4675522"/>
                <a:gd name="connsiteY110" fmla="*/ 1854191 h 3191446"/>
                <a:gd name="connsiteX111" fmla="*/ 1838377 w 4675522"/>
                <a:gd name="connsiteY111" fmla="*/ 1858422 h 3191446"/>
                <a:gd name="connsiteX112" fmla="*/ 1703606 w 4675522"/>
                <a:gd name="connsiteY112" fmla="*/ 1851843 h 3191446"/>
                <a:gd name="connsiteX113" fmla="*/ 1584319 w 4675522"/>
                <a:gd name="connsiteY113" fmla="*/ 1886133 h 3191446"/>
                <a:gd name="connsiteX114" fmla="*/ 1478655 w 4675522"/>
                <a:gd name="connsiteY114" fmla="*/ 1992728 h 3191446"/>
                <a:gd name="connsiteX115" fmla="*/ 1528895 w 4675522"/>
                <a:gd name="connsiteY115" fmla="*/ 2092277 h 3191446"/>
                <a:gd name="connsiteX116" fmla="*/ 1658505 w 4675522"/>
                <a:gd name="connsiteY116" fmla="*/ 2148166 h 3191446"/>
                <a:gd name="connsiteX117" fmla="*/ 1834611 w 4675522"/>
                <a:gd name="connsiteY117" fmla="*/ 2196058 h 3191446"/>
                <a:gd name="connsiteX118" fmla="*/ 1859975 w 4675522"/>
                <a:gd name="connsiteY118" fmla="*/ 2215773 h 3191446"/>
                <a:gd name="connsiteX119" fmla="*/ 1732248 w 4675522"/>
                <a:gd name="connsiteY119" fmla="*/ 2221887 h 3191446"/>
                <a:gd name="connsiteX120" fmla="*/ 1555677 w 4675522"/>
                <a:gd name="connsiteY120" fmla="*/ 2157558 h 3191446"/>
                <a:gd name="connsiteX121" fmla="*/ 1423232 w 4675522"/>
                <a:gd name="connsiteY121" fmla="*/ 2063170 h 3191446"/>
                <a:gd name="connsiteX122" fmla="*/ 1319451 w 4675522"/>
                <a:gd name="connsiteY122" fmla="*/ 2045316 h 3191446"/>
                <a:gd name="connsiteX123" fmla="*/ 1242430 w 4675522"/>
                <a:gd name="connsiteY123" fmla="*/ 2128916 h 3191446"/>
                <a:gd name="connsiteX124" fmla="*/ 1247591 w 4675522"/>
                <a:gd name="connsiteY124" fmla="*/ 2264174 h 3191446"/>
                <a:gd name="connsiteX125" fmla="*/ 1286091 w 4675522"/>
                <a:gd name="connsiteY125" fmla="*/ 2335547 h 3191446"/>
                <a:gd name="connsiteX126" fmla="*/ 1208604 w 4675522"/>
                <a:gd name="connsiteY126" fmla="*/ 2308788 h 3191446"/>
                <a:gd name="connsiteX127" fmla="*/ 1028732 w 4675522"/>
                <a:gd name="connsiteY127" fmla="*/ 2276845 h 3191446"/>
                <a:gd name="connsiteX128" fmla="*/ 730526 w 4675522"/>
                <a:gd name="connsiteY128" fmla="*/ 2275427 h 3191446"/>
                <a:gd name="connsiteX129" fmla="*/ 477399 w 4675522"/>
                <a:gd name="connsiteY129" fmla="*/ 2167416 h 3191446"/>
                <a:gd name="connsiteX130" fmla="*/ 336049 w 4675522"/>
                <a:gd name="connsiteY130" fmla="*/ 2056126 h 3191446"/>
                <a:gd name="connsiteX131" fmla="*/ 250588 w 4675522"/>
                <a:gd name="connsiteY131" fmla="*/ 1935908 h 3191446"/>
                <a:gd name="connsiteX132" fmla="*/ 300363 w 4675522"/>
                <a:gd name="connsiteY132" fmla="*/ 1899270 h 3191446"/>
                <a:gd name="connsiteX133" fmla="*/ 475538 w 4675522"/>
                <a:gd name="connsiteY133" fmla="*/ 1751806 h 3191446"/>
                <a:gd name="connsiteX134" fmla="*/ 583085 w 4675522"/>
                <a:gd name="connsiteY134" fmla="*/ 1579443 h 3191446"/>
                <a:gd name="connsiteX135" fmla="*/ 688283 w 4675522"/>
                <a:gd name="connsiteY135" fmla="*/ 1574747 h 3191446"/>
                <a:gd name="connsiteX136" fmla="*/ 981793 w 4675522"/>
                <a:gd name="connsiteY136" fmla="*/ 1784679 h 3191446"/>
                <a:gd name="connsiteX137" fmla="*/ 1282126 w 4675522"/>
                <a:gd name="connsiteY137" fmla="*/ 1867327 h 3191446"/>
                <a:gd name="connsiteX138" fmla="*/ 1575414 w 4675522"/>
                <a:gd name="connsiteY138" fmla="*/ 1895038 h 3191446"/>
                <a:gd name="connsiteX139" fmla="*/ 1855079 w 4675522"/>
                <a:gd name="connsiteY139" fmla="*/ 1910545 h 3191446"/>
                <a:gd name="connsiteX140" fmla="*/ 2162456 w 4675522"/>
                <a:gd name="connsiteY140" fmla="*/ 1802533 h 3191446"/>
                <a:gd name="connsiteX141" fmla="*/ 2353714 w 4675522"/>
                <a:gd name="connsiteY141" fmla="*/ 1811859 h 3191446"/>
                <a:gd name="connsiteX142" fmla="*/ 2626445 w 4675522"/>
                <a:gd name="connsiteY142" fmla="*/ 1820609 h 3191446"/>
                <a:gd name="connsiteX143" fmla="*/ 3079160 w 4675522"/>
                <a:gd name="connsiteY143" fmla="*/ 1657993 h 3191446"/>
                <a:gd name="connsiteX144" fmla="*/ 3323006 w 4675522"/>
                <a:gd name="connsiteY144" fmla="*/ 1362202 h 3191446"/>
                <a:gd name="connsiteX145" fmla="*/ 3417283 w 4675522"/>
                <a:gd name="connsiteY145" fmla="*/ 1008749 h 3191446"/>
                <a:gd name="connsiteX146" fmla="*/ 3387932 w 4675522"/>
                <a:gd name="connsiteY146" fmla="*/ 611680 h 3191446"/>
                <a:gd name="connsiteX147" fmla="*/ 3165795 w 4675522"/>
                <a:gd name="connsiteY147" fmla="*/ 239266 h 3191446"/>
                <a:gd name="connsiteX148" fmla="*/ 2780599 w 4675522"/>
                <a:gd name="connsiteY148" fmla="*/ 36445 h 3191446"/>
                <a:gd name="connsiteX149" fmla="*/ 2363239 w 4675522"/>
                <a:gd name="connsiteY149" fmla="*/ 13607 h 3191446"/>
                <a:gd name="connsiteX150" fmla="*/ 1949844 w 4675522"/>
                <a:gd name="connsiteY150" fmla="*/ 187187 h 3191446"/>
                <a:gd name="connsiteX151" fmla="*/ 1700483 w 4675522"/>
                <a:gd name="connsiteY151" fmla="*/ 506991 h 3191446"/>
                <a:gd name="connsiteX152" fmla="*/ 1610923 w 4675522"/>
                <a:gd name="connsiteY152" fmla="*/ 850941 h 3191446"/>
                <a:gd name="connsiteX153" fmla="*/ 1681698 w 4675522"/>
                <a:gd name="connsiteY153" fmla="*/ 1253703 h 3191446"/>
                <a:gd name="connsiteX154" fmla="*/ 2100608 w 4675522"/>
                <a:gd name="connsiteY154" fmla="*/ 1667430 h 3191446"/>
                <a:gd name="connsiteX155" fmla="*/ 2697508 w 4675522"/>
                <a:gd name="connsiteY155" fmla="*/ 1747973 h 3191446"/>
                <a:gd name="connsiteX156" fmla="*/ 2782393 w 4675522"/>
                <a:gd name="connsiteY156" fmla="*/ 1686037 h 3191446"/>
                <a:gd name="connsiteX157" fmla="*/ 2741546 w 4675522"/>
                <a:gd name="connsiteY157" fmla="*/ 1570051 h 3191446"/>
                <a:gd name="connsiteX158" fmla="*/ 2850975 w 4675522"/>
                <a:gd name="connsiteY158" fmla="*/ 1458761 h 3191446"/>
                <a:gd name="connsiteX159" fmla="*/ 2942085 w 4675522"/>
                <a:gd name="connsiteY159" fmla="*/ 1369999 h 3191446"/>
                <a:gd name="connsiteX160" fmla="*/ 3018154 w 4675522"/>
                <a:gd name="connsiteY160" fmla="*/ 1277494 h 3191446"/>
                <a:gd name="connsiteX161" fmla="*/ 3148229 w 4675522"/>
                <a:gd name="connsiteY161" fmla="*/ 1255896 h 3191446"/>
                <a:gd name="connsiteX162" fmla="*/ 3234842 w 4675522"/>
                <a:gd name="connsiteY162" fmla="*/ 1331034 h 3191446"/>
                <a:gd name="connsiteX163" fmla="*/ 3245297 w 4675522"/>
                <a:gd name="connsiteY163" fmla="*/ 1418378 h 3191446"/>
                <a:gd name="connsiteX164" fmla="*/ 3159703 w 4675522"/>
                <a:gd name="connsiteY164" fmla="*/ 1450321 h 3191446"/>
                <a:gd name="connsiteX165" fmla="*/ 3064185 w 4675522"/>
                <a:gd name="connsiteY165" fmla="*/ 1435302 h 3191446"/>
                <a:gd name="connsiteX166" fmla="*/ 3020502 w 4675522"/>
                <a:gd name="connsiteY166" fmla="*/ 1574769 h 3191446"/>
                <a:gd name="connsiteX167" fmla="*/ 2949594 w 4675522"/>
                <a:gd name="connsiteY167" fmla="*/ 1681851 h 3191446"/>
                <a:gd name="connsiteX168" fmla="*/ 2864133 w 4675522"/>
                <a:gd name="connsiteY168" fmla="*/ 1687477 h 3191446"/>
                <a:gd name="connsiteX169" fmla="*/ 2784298 w 4675522"/>
                <a:gd name="connsiteY169" fmla="*/ 1615152 h 3191446"/>
                <a:gd name="connsiteX170" fmla="*/ 2772093 w 4675522"/>
                <a:gd name="connsiteY170" fmla="*/ 1503374 h 3191446"/>
                <a:gd name="connsiteX171" fmla="*/ 2730758 w 4675522"/>
                <a:gd name="connsiteY171" fmla="*/ 1430119 h 3191446"/>
                <a:gd name="connsiteX172" fmla="*/ 2659850 w 4675522"/>
                <a:gd name="connsiteY172" fmla="*/ 1405220 h 3191446"/>
                <a:gd name="connsiteX173" fmla="*/ 2593174 w 4675522"/>
                <a:gd name="connsiteY173" fmla="*/ 1359189 h 3191446"/>
                <a:gd name="connsiteX174" fmla="*/ 2537750 w 4675522"/>
                <a:gd name="connsiteY174" fmla="*/ 1300952 h 3191446"/>
                <a:gd name="connsiteX175" fmla="*/ 2441014 w 4675522"/>
                <a:gd name="connsiteY175" fmla="*/ 1250225 h 3191446"/>
                <a:gd name="connsiteX176" fmla="*/ 2416115 w 4675522"/>
                <a:gd name="connsiteY176" fmla="*/ 1147375 h 3191446"/>
                <a:gd name="connsiteX177" fmla="*/ 2468238 w 4675522"/>
                <a:gd name="connsiteY177" fmla="*/ 1068470 h 3191446"/>
                <a:gd name="connsiteX178" fmla="*/ 2642461 w 4675522"/>
                <a:gd name="connsiteY178" fmla="*/ 1051923 h 3191446"/>
                <a:gd name="connsiteX179" fmla="*/ 2723226 w 4675522"/>
                <a:gd name="connsiteY179" fmla="*/ 972199 h 3191446"/>
                <a:gd name="connsiteX180" fmla="*/ 2755634 w 4675522"/>
                <a:gd name="connsiteY180" fmla="*/ 865007 h 3191446"/>
                <a:gd name="connsiteX181" fmla="*/ 2811523 w 4675522"/>
                <a:gd name="connsiteY181" fmla="*/ 762267 h 3191446"/>
                <a:gd name="connsiteX182" fmla="*/ 2859415 w 4675522"/>
                <a:gd name="connsiteY182" fmla="*/ 634519 h 3191446"/>
                <a:gd name="connsiteX183" fmla="*/ 2927974 w 4675522"/>
                <a:gd name="connsiteY183" fmla="*/ 554684 h 3191446"/>
                <a:gd name="connsiteX184" fmla="*/ 2974006 w 4675522"/>
                <a:gd name="connsiteY184" fmla="*/ 491286 h 3191446"/>
                <a:gd name="connsiteX185" fmla="*/ 2861298 w 4675522"/>
                <a:gd name="connsiteY185" fmla="*/ 390784 h 3191446"/>
                <a:gd name="connsiteX186" fmla="*/ 2754216 w 4675522"/>
                <a:gd name="connsiteY186" fmla="*/ 343822 h 3191446"/>
                <a:gd name="connsiteX187" fmla="*/ 2685192 w 4675522"/>
                <a:gd name="connsiteY187" fmla="*/ 333012 h 3191446"/>
                <a:gd name="connsiteX188" fmla="*/ 2626490 w 4675522"/>
                <a:gd name="connsiteY188" fmla="*/ 315645 h 3191446"/>
                <a:gd name="connsiteX189" fmla="*/ 2621329 w 4675522"/>
                <a:gd name="connsiteY189" fmla="*/ 380461 h 3191446"/>
                <a:gd name="connsiteX190" fmla="*/ 2643392 w 4675522"/>
                <a:gd name="connsiteY190" fmla="*/ 468270 h 3191446"/>
                <a:gd name="connsiteX191" fmla="*/ 2604892 w 4675522"/>
                <a:gd name="connsiteY191" fmla="*/ 478128 h 3191446"/>
                <a:gd name="connsiteX192" fmla="*/ 2507203 w 4675522"/>
                <a:gd name="connsiteY192" fmla="*/ 426470 h 3191446"/>
                <a:gd name="connsiteX193" fmla="*/ 2468216 w 4675522"/>
                <a:gd name="connsiteY193" fmla="*/ 387970 h 3191446"/>
                <a:gd name="connsiteX194" fmla="*/ 2503437 w 4675522"/>
                <a:gd name="connsiteY194" fmla="*/ 331616 h 3191446"/>
                <a:gd name="connsiteX195" fmla="*/ 2515177 w 4675522"/>
                <a:gd name="connsiteY195" fmla="*/ 279959 h 3191446"/>
                <a:gd name="connsiteX196" fmla="*/ 2504367 w 4675522"/>
                <a:gd name="connsiteY196" fmla="*/ 225953 h 3191446"/>
                <a:gd name="connsiteX197" fmla="*/ 2483700 w 4675522"/>
                <a:gd name="connsiteY197" fmla="*/ 199659 h 3191446"/>
                <a:gd name="connsiteX198" fmla="*/ 2430159 w 4675522"/>
                <a:gd name="connsiteY198" fmla="*/ 216095 h 3191446"/>
                <a:gd name="connsiteX199" fmla="*/ 2342815 w 4675522"/>
                <a:gd name="connsiteY199" fmla="*/ 225022 h 3191446"/>
                <a:gd name="connsiteX200" fmla="*/ 2251705 w 4675522"/>
                <a:gd name="connsiteY200" fmla="*/ 195915 h 3191446"/>
                <a:gd name="connsiteX201" fmla="*/ 2181263 w 4675522"/>
                <a:gd name="connsiteY201" fmla="*/ 171969 h 3191446"/>
                <a:gd name="connsiteX202" fmla="*/ 2097197 w 4675522"/>
                <a:gd name="connsiteY202" fmla="*/ 170086 h 3191446"/>
                <a:gd name="connsiteX203" fmla="*/ 2010318 w 4675522"/>
                <a:gd name="connsiteY203" fmla="*/ 214235 h 3191446"/>
                <a:gd name="connsiteX204" fmla="*/ 1973214 w 4675522"/>
                <a:gd name="connsiteY204" fmla="*/ 270589 h 3191446"/>
                <a:gd name="connsiteX205" fmla="*/ 2017828 w 4675522"/>
                <a:gd name="connsiteY205" fmla="*/ 337265 h 3191446"/>
                <a:gd name="connsiteX206" fmla="*/ 2034729 w 4675522"/>
                <a:gd name="connsiteY206" fmla="*/ 385157 h 3191446"/>
                <a:gd name="connsiteX207" fmla="*/ 2017828 w 4675522"/>
                <a:gd name="connsiteY207" fmla="*/ 451368 h 3191446"/>
                <a:gd name="connsiteX208" fmla="*/ 2019711 w 4675522"/>
                <a:gd name="connsiteY208" fmla="*/ 519463 h 3191446"/>
                <a:gd name="connsiteX209" fmla="*/ 2016432 w 4675522"/>
                <a:gd name="connsiteY209" fmla="*/ 580048 h 3191446"/>
                <a:gd name="connsiteX210" fmla="*/ 1972749 w 4675522"/>
                <a:gd name="connsiteY210" fmla="*/ 654256 h 3191446"/>
                <a:gd name="connsiteX211" fmla="*/ 1954895 w 4675522"/>
                <a:gd name="connsiteY211" fmla="*/ 732673 h 3191446"/>
                <a:gd name="connsiteX212" fmla="*/ 1990116 w 4675522"/>
                <a:gd name="connsiteY212" fmla="*/ 819552 h 3191446"/>
                <a:gd name="connsiteX213" fmla="*/ 2030964 w 4675522"/>
                <a:gd name="connsiteY213" fmla="*/ 913475 h 3191446"/>
                <a:gd name="connsiteX214" fmla="*/ 2033777 w 4675522"/>
                <a:gd name="connsiteY214" fmla="*/ 1007863 h 3191446"/>
                <a:gd name="connsiteX215" fmla="*/ 2057258 w 4675522"/>
                <a:gd name="connsiteY215" fmla="*/ 1098021 h 3191446"/>
                <a:gd name="connsiteX216" fmla="*/ 2122074 w 4675522"/>
                <a:gd name="connsiteY216" fmla="*/ 1155792 h 3191446"/>
                <a:gd name="connsiteX217" fmla="*/ 2190168 w 4675522"/>
                <a:gd name="connsiteY217" fmla="*/ 1188200 h 3191446"/>
                <a:gd name="connsiteX218" fmla="*/ 2249800 w 4675522"/>
                <a:gd name="connsiteY218" fmla="*/ 1206985 h 3191446"/>
                <a:gd name="connsiteX219" fmla="*/ 2262471 w 4675522"/>
                <a:gd name="connsiteY219" fmla="*/ 1256760 h 3191446"/>
                <a:gd name="connsiteX220" fmla="*/ 2282673 w 4675522"/>
                <a:gd name="connsiteY220" fmla="*/ 1314044 h 3191446"/>
                <a:gd name="connsiteX221" fmla="*/ 2369087 w 4675522"/>
                <a:gd name="connsiteY221" fmla="*/ 1337525 h 3191446"/>
                <a:gd name="connsiteX222" fmla="*/ 2449387 w 4675522"/>
                <a:gd name="connsiteY222" fmla="*/ 1351148 h 3191446"/>
                <a:gd name="connsiteX223" fmla="*/ 2519829 w 4675522"/>
                <a:gd name="connsiteY223" fmla="*/ 1385904 h 3191446"/>
                <a:gd name="connsiteX224" fmla="*/ 2587924 w 4675522"/>
                <a:gd name="connsiteY224" fmla="*/ 1413616 h 3191446"/>
                <a:gd name="connsiteX225" fmla="*/ 2636768 w 4675522"/>
                <a:gd name="connsiteY225" fmla="*/ 1400945 h 3191446"/>
                <a:gd name="connsiteX226" fmla="*/ 2709559 w 4675522"/>
                <a:gd name="connsiteY226" fmla="*/ 1365259 h 3191446"/>
                <a:gd name="connsiteX227" fmla="*/ 2802551 w 4675522"/>
                <a:gd name="connsiteY227" fmla="*/ 1419730 h 3191446"/>
                <a:gd name="connsiteX228" fmla="*/ 2841738 w 4675522"/>
                <a:gd name="connsiteY228" fmla="*/ 1568368 h 3191446"/>
                <a:gd name="connsiteX229" fmla="*/ 2919357 w 4675522"/>
                <a:gd name="connsiteY229" fmla="*/ 1721679 h 3191446"/>
                <a:gd name="connsiteX230" fmla="*/ 3134295 w 4675522"/>
                <a:gd name="connsiteY230" fmla="*/ 1773603 h 3191446"/>
                <a:gd name="connsiteX231" fmla="*/ 3467988 w 4675522"/>
                <a:gd name="connsiteY231" fmla="*/ 1722654 h 3191446"/>
                <a:gd name="connsiteX232" fmla="*/ 3762916 w 4675522"/>
                <a:gd name="connsiteY232" fmla="*/ 1835362 h 3191446"/>
                <a:gd name="connsiteX233" fmla="*/ 4176909 w 4675522"/>
                <a:gd name="connsiteY233" fmla="*/ 1845042 h 3191446"/>
                <a:gd name="connsiteX234" fmla="*/ 4675522 w 4675522"/>
                <a:gd name="connsiteY234" fmla="*/ 1755394 h 3191446"/>
                <a:gd name="connsiteX0" fmla="*/ 805975 w 4675522"/>
                <a:gd name="connsiteY0" fmla="*/ 2561915 h 3191446"/>
                <a:gd name="connsiteX1" fmla="*/ 1012141 w 4675522"/>
                <a:gd name="connsiteY1" fmla="*/ 2509792 h 3191446"/>
                <a:gd name="connsiteX2" fmla="*/ 1084931 w 4675522"/>
                <a:gd name="connsiteY2" fmla="*/ 2472223 h 3191446"/>
                <a:gd name="connsiteX3" fmla="*/ 917752 w 4675522"/>
                <a:gd name="connsiteY3" fmla="*/ 2452021 h 3191446"/>
                <a:gd name="connsiteX4" fmla="*/ 614850 w 4675522"/>
                <a:gd name="connsiteY4" fmla="*/ 2495216 h 3191446"/>
                <a:gd name="connsiteX5" fmla="*/ 339660 w 4675522"/>
                <a:gd name="connsiteY5" fmla="*/ 2467970 h 3191446"/>
                <a:gd name="connsiteX6" fmla="*/ 95925 w 4675522"/>
                <a:gd name="connsiteY6" fmla="*/ 2425704 h 3191446"/>
                <a:gd name="connsiteX7" fmla="*/ 55542 w 4675522"/>
                <a:gd name="connsiteY7" fmla="*/ 2490985 h 3191446"/>
                <a:gd name="connsiteX8" fmla="*/ 71979 w 4675522"/>
                <a:gd name="connsiteY8" fmla="*/ 2650190 h 3191446"/>
                <a:gd name="connsiteX9" fmla="*/ 26900 w 4675522"/>
                <a:gd name="connsiteY9" fmla="*/ 2845080 h 3191446"/>
                <a:gd name="connsiteX10" fmla="*/ 5767 w 4675522"/>
                <a:gd name="connsiteY10" fmla="*/ 3005215 h 3191446"/>
                <a:gd name="connsiteX11" fmla="*/ 124589 w 4675522"/>
                <a:gd name="connsiteY11" fmla="*/ 3049363 h 3191446"/>
                <a:gd name="connsiteX12" fmla="*/ 315736 w 4675522"/>
                <a:gd name="connsiteY12" fmla="*/ 2993475 h 3191446"/>
                <a:gd name="connsiteX13" fmla="*/ 549148 w 4675522"/>
                <a:gd name="connsiteY13" fmla="*/ 2954022 h 3191446"/>
                <a:gd name="connsiteX14" fmla="*/ 884458 w 4675522"/>
                <a:gd name="connsiteY14" fmla="*/ 2879814 h 3191446"/>
                <a:gd name="connsiteX15" fmla="*/ 1154488 w 4675522"/>
                <a:gd name="connsiteY15" fmla="*/ 2879814 h 3191446"/>
                <a:gd name="connsiteX16" fmla="*/ 1270009 w 4675522"/>
                <a:gd name="connsiteY16" fmla="*/ 2964345 h 3191446"/>
                <a:gd name="connsiteX17" fmla="*/ 1413707 w 4675522"/>
                <a:gd name="connsiteY17" fmla="*/ 3061081 h 3191446"/>
                <a:gd name="connsiteX18" fmla="*/ 1565867 w 4675522"/>
                <a:gd name="connsiteY18" fmla="*/ 3104765 h 3191446"/>
                <a:gd name="connsiteX19" fmla="*/ 1690780 w 4675522"/>
                <a:gd name="connsiteY19" fmla="*/ 3107578 h 3191446"/>
                <a:gd name="connsiteX20" fmla="*/ 1820390 w 4675522"/>
                <a:gd name="connsiteY20" fmla="*/ 3139986 h 3191446"/>
                <a:gd name="connsiteX21" fmla="*/ 1899759 w 4675522"/>
                <a:gd name="connsiteY21" fmla="*/ 3178485 h 3191446"/>
                <a:gd name="connsiteX22" fmla="*/ 1940142 w 4675522"/>
                <a:gd name="connsiteY22" fmla="*/ 3188808 h 3191446"/>
                <a:gd name="connsiteX23" fmla="*/ 1936730 w 4675522"/>
                <a:gd name="connsiteY23" fmla="*/ 3145125 h 3191446"/>
                <a:gd name="connsiteX24" fmla="*/ 1900667 w 4675522"/>
                <a:gd name="connsiteY24" fmla="*/ 3102505 h 3191446"/>
                <a:gd name="connsiteX25" fmla="*/ 1840437 w 4675522"/>
                <a:gd name="connsiteY25" fmla="*/ 3088771 h 3191446"/>
                <a:gd name="connsiteX26" fmla="*/ 1849962 w 4675522"/>
                <a:gd name="connsiteY26" fmla="*/ 3120825 h 3191446"/>
                <a:gd name="connsiteX27" fmla="*/ 1953278 w 4675522"/>
                <a:gd name="connsiteY27" fmla="*/ 3169071 h 3191446"/>
                <a:gd name="connsiteX28" fmla="*/ 1959391 w 4675522"/>
                <a:gd name="connsiteY28" fmla="*/ 3084540 h 3191446"/>
                <a:gd name="connsiteX29" fmla="*/ 1899759 w 4675522"/>
                <a:gd name="connsiteY29" fmla="*/ 3000940 h 3191446"/>
                <a:gd name="connsiteX30" fmla="*/ 1783285 w 4675522"/>
                <a:gd name="connsiteY30" fmla="*/ 2944121 h 3191446"/>
                <a:gd name="connsiteX31" fmla="*/ 1627360 w 4675522"/>
                <a:gd name="connsiteY31" fmla="*/ 2916409 h 3191446"/>
                <a:gd name="connsiteX32" fmla="*/ 1545177 w 4675522"/>
                <a:gd name="connsiteY32" fmla="*/ 2842201 h 3191446"/>
                <a:gd name="connsiteX33" fmla="*/ 1554392 w 4675522"/>
                <a:gd name="connsiteY33" fmla="*/ 2723512 h 3191446"/>
                <a:gd name="connsiteX34" fmla="*/ 1443966 w 4675522"/>
                <a:gd name="connsiteY34" fmla="*/ 2598488 h 3191446"/>
                <a:gd name="connsiteX35" fmla="*/ 1436523 w 4675522"/>
                <a:gd name="connsiteY35" fmla="*/ 2546476 h 3191446"/>
                <a:gd name="connsiteX36" fmla="*/ 1697802 w 4675522"/>
                <a:gd name="connsiteY36" fmla="*/ 2645449 h 3191446"/>
                <a:gd name="connsiteX37" fmla="*/ 1957044 w 4675522"/>
                <a:gd name="connsiteY37" fmla="*/ 2760040 h 3191446"/>
                <a:gd name="connsiteX38" fmla="*/ 2129871 w 4675522"/>
                <a:gd name="connsiteY38" fmla="*/ 2773198 h 3191446"/>
                <a:gd name="connsiteX39" fmla="*/ 2305047 w 4675522"/>
                <a:gd name="connsiteY39" fmla="*/ 2753948 h 3191446"/>
                <a:gd name="connsiteX40" fmla="*/ 2467529 w 4675522"/>
                <a:gd name="connsiteY40" fmla="*/ 2746904 h 3191446"/>
                <a:gd name="connsiteX41" fmla="*/ 2576959 w 4675522"/>
                <a:gd name="connsiteY41" fmla="*/ 2726702 h 3191446"/>
                <a:gd name="connsiteX42" fmla="*/ 2638939 w 4675522"/>
                <a:gd name="connsiteY42" fmla="*/ 2743603 h 3191446"/>
                <a:gd name="connsiteX43" fmla="*/ 2616389 w 4675522"/>
                <a:gd name="connsiteY43" fmla="*/ 2790100 h 3191446"/>
                <a:gd name="connsiteX44" fmla="*/ 2473156 w 4675522"/>
                <a:gd name="connsiteY44" fmla="*/ 2819694 h 3191446"/>
                <a:gd name="connsiteX45" fmla="*/ 2356217 w 4675522"/>
                <a:gd name="connsiteY45" fmla="*/ 2844593 h 3191446"/>
                <a:gd name="connsiteX46" fmla="*/ 2212519 w 4675522"/>
                <a:gd name="connsiteY46" fmla="*/ 2869491 h 3191446"/>
                <a:gd name="connsiteX47" fmla="*/ 2100276 w 4675522"/>
                <a:gd name="connsiteY47" fmla="*/ 2919266 h 3191446"/>
                <a:gd name="connsiteX48" fmla="*/ 2233652 w 4675522"/>
                <a:gd name="connsiteY48" fmla="*/ 2930076 h 3191446"/>
                <a:gd name="connsiteX49" fmla="*/ 2464716 w 4675522"/>
                <a:gd name="connsiteY49" fmla="*/ 2860564 h 3191446"/>
                <a:gd name="connsiteX50" fmla="*/ 2581655 w 4675522"/>
                <a:gd name="connsiteY50" fmla="*/ 2830504 h 3191446"/>
                <a:gd name="connsiteX51" fmla="*/ 2583538 w 4675522"/>
                <a:gd name="connsiteY51" fmla="*/ 2879349 h 3191446"/>
                <a:gd name="connsiteX52" fmla="*/ 2491963 w 4675522"/>
                <a:gd name="connsiteY52" fmla="*/ 2947908 h 3191446"/>
                <a:gd name="connsiteX53" fmla="*/ 2305999 w 4675522"/>
                <a:gd name="connsiteY53" fmla="*/ 3039949 h 3191446"/>
                <a:gd name="connsiteX54" fmla="*/ 2125662 w 4675522"/>
                <a:gd name="connsiteY54" fmla="*/ 3096768 h 3191446"/>
                <a:gd name="connsiteX55" fmla="*/ 2023764 w 4675522"/>
                <a:gd name="connsiteY55" fmla="*/ 3072357 h 3191446"/>
                <a:gd name="connsiteX56" fmla="*/ 1932189 w 4675522"/>
                <a:gd name="connsiteY56" fmla="*/ 2980316 h 3191446"/>
                <a:gd name="connsiteX57" fmla="*/ 1783795 w 4675522"/>
                <a:gd name="connsiteY57" fmla="*/ 2897668 h 3191446"/>
                <a:gd name="connsiteX58" fmla="*/ 1610968 w 4675522"/>
                <a:gd name="connsiteY58" fmla="*/ 2855403 h 3191446"/>
                <a:gd name="connsiteX59" fmla="*/ 1425469 w 4675522"/>
                <a:gd name="connsiteY59" fmla="*/ 2833340 h 3191446"/>
                <a:gd name="connsiteX60" fmla="*/ 1258290 w 4675522"/>
                <a:gd name="connsiteY60" fmla="*/ 2792957 h 3191446"/>
                <a:gd name="connsiteX61" fmla="*/ 1178456 w 4675522"/>
                <a:gd name="connsiteY61" fmla="*/ 2664743 h 3191446"/>
                <a:gd name="connsiteX62" fmla="*/ 1164367 w 4675522"/>
                <a:gd name="connsiteY62" fmla="*/ 2536529 h 3191446"/>
                <a:gd name="connsiteX63" fmla="*/ 1214142 w 4675522"/>
                <a:gd name="connsiteY63" fmla="*/ 2455277 h 3191446"/>
                <a:gd name="connsiteX64" fmla="*/ 1388365 w 4675522"/>
                <a:gd name="connsiteY64" fmla="*/ 2443537 h 3191446"/>
                <a:gd name="connsiteX65" fmla="*/ 1636331 w 4675522"/>
                <a:gd name="connsiteY65" fmla="*/ 2523371 h 3191446"/>
                <a:gd name="connsiteX66" fmla="*/ 1864560 w 4675522"/>
                <a:gd name="connsiteY66" fmla="*/ 2660512 h 3191446"/>
                <a:gd name="connsiteX67" fmla="*/ 2072144 w 4675522"/>
                <a:gd name="connsiteY67" fmla="*/ 2731420 h 3191446"/>
                <a:gd name="connsiteX68" fmla="*/ 2214911 w 4675522"/>
                <a:gd name="connsiteY68" fmla="*/ 2734698 h 3191446"/>
                <a:gd name="connsiteX69" fmla="*/ 2267500 w 4675522"/>
                <a:gd name="connsiteY69" fmla="*/ 2704639 h 3191446"/>
                <a:gd name="connsiteX70" fmla="*/ 2241671 w 4675522"/>
                <a:gd name="connsiteY70" fmla="*/ 2669882 h 3191446"/>
                <a:gd name="connsiteX71" fmla="*/ 2168880 w 4675522"/>
                <a:gd name="connsiteY71" fmla="*/ 2654864 h 3191446"/>
                <a:gd name="connsiteX72" fmla="*/ 2052894 w 4675522"/>
                <a:gd name="connsiteY72" fmla="*/ 2628570 h 3191446"/>
                <a:gd name="connsiteX73" fmla="*/ 1937373 w 4675522"/>
                <a:gd name="connsiteY73" fmla="*/ 2586304 h 3191446"/>
                <a:gd name="connsiteX74" fmla="*/ 1948183 w 4675522"/>
                <a:gd name="connsiteY74" fmla="*/ 2574099 h 3191446"/>
                <a:gd name="connsiteX75" fmla="*/ 2132751 w 4675522"/>
                <a:gd name="connsiteY75" fmla="*/ 2622943 h 3191446"/>
                <a:gd name="connsiteX76" fmla="*/ 2301347 w 4675522"/>
                <a:gd name="connsiteY76" fmla="*/ 2650655 h 3191446"/>
                <a:gd name="connsiteX77" fmla="*/ 2441302 w 4675522"/>
                <a:gd name="connsiteY77" fmla="*/ 2699499 h 3191446"/>
                <a:gd name="connsiteX78" fmla="*/ 2542269 w 4675522"/>
                <a:gd name="connsiteY78" fmla="*/ 2697151 h 3191446"/>
                <a:gd name="connsiteX79" fmla="*/ 2539456 w 4675522"/>
                <a:gd name="connsiteY79" fmla="*/ 2661930 h 3191446"/>
                <a:gd name="connsiteX80" fmla="*/ 2454460 w 4675522"/>
                <a:gd name="connsiteY80" fmla="*/ 2611690 h 3191446"/>
                <a:gd name="connsiteX81" fmla="*/ 2339404 w 4675522"/>
                <a:gd name="connsiteY81" fmla="*/ 2582583 h 3191446"/>
                <a:gd name="connsiteX82" fmla="*/ 2167529 w 4675522"/>
                <a:gd name="connsiteY82" fmla="*/ 2549244 h 3191446"/>
                <a:gd name="connsiteX83" fmla="*/ 2103665 w 4675522"/>
                <a:gd name="connsiteY83" fmla="*/ 2521068 h 3191446"/>
                <a:gd name="connsiteX84" fmla="*/ 2303718 w 4675522"/>
                <a:gd name="connsiteY84" fmla="*/ 2553476 h 3191446"/>
                <a:gd name="connsiteX85" fmla="*/ 2511766 w 4675522"/>
                <a:gd name="connsiteY85" fmla="*/ 2609829 h 3191446"/>
                <a:gd name="connsiteX86" fmla="*/ 2632449 w 4675522"/>
                <a:gd name="connsiteY86" fmla="*/ 2655861 h 3191446"/>
                <a:gd name="connsiteX87" fmla="*/ 2726837 w 4675522"/>
                <a:gd name="connsiteY87" fmla="*/ 2646468 h 3191446"/>
                <a:gd name="connsiteX88" fmla="*/ 2719328 w 4675522"/>
                <a:gd name="connsiteY88" fmla="*/ 2584000 h 3191446"/>
                <a:gd name="connsiteX89" fmla="*/ 2610385 w 4675522"/>
                <a:gd name="connsiteY89" fmla="*/ 2532808 h 3191446"/>
                <a:gd name="connsiteX90" fmla="*/ 2430049 w 4675522"/>
                <a:gd name="connsiteY90" fmla="*/ 2499935 h 3191446"/>
                <a:gd name="connsiteX91" fmla="*/ 2272262 w 4675522"/>
                <a:gd name="connsiteY91" fmla="*/ 2458135 h 3191446"/>
                <a:gd name="connsiteX92" fmla="*/ 2234693 w 4675522"/>
                <a:gd name="connsiteY92" fmla="*/ 2429027 h 3191446"/>
                <a:gd name="connsiteX93" fmla="*/ 2399058 w 4675522"/>
                <a:gd name="connsiteY93" fmla="*/ 2469875 h 3191446"/>
                <a:gd name="connsiteX94" fmla="*/ 2652186 w 4675522"/>
                <a:gd name="connsiteY94" fmla="*/ 2526694 h 3191446"/>
                <a:gd name="connsiteX95" fmla="*/ 2754571 w 4675522"/>
                <a:gd name="connsiteY95" fmla="*/ 2489590 h 3191446"/>
                <a:gd name="connsiteX96" fmla="*/ 2724046 w 4675522"/>
                <a:gd name="connsiteY96" fmla="*/ 2420565 h 3191446"/>
                <a:gd name="connsiteX97" fmla="*/ 2589740 w 4675522"/>
                <a:gd name="connsiteY97" fmla="*/ 2366560 h 3191446"/>
                <a:gd name="connsiteX98" fmla="*/ 2343657 w 4675522"/>
                <a:gd name="connsiteY98" fmla="*/ 2344962 h 3191446"/>
                <a:gd name="connsiteX99" fmla="*/ 2141257 w 4675522"/>
                <a:gd name="connsiteY99" fmla="*/ 2293304 h 3191446"/>
                <a:gd name="connsiteX100" fmla="*/ 2055308 w 4675522"/>
                <a:gd name="connsiteY100" fmla="*/ 2206890 h 3191446"/>
                <a:gd name="connsiteX101" fmla="*/ 2016809 w 4675522"/>
                <a:gd name="connsiteY101" fmla="*/ 2102157 h 3191446"/>
                <a:gd name="connsiteX102" fmla="*/ 2086321 w 4675522"/>
                <a:gd name="connsiteY102" fmla="*/ 2090416 h 3191446"/>
                <a:gd name="connsiteX103" fmla="*/ 2338518 w 4675522"/>
                <a:gd name="connsiteY103" fmla="*/ 2147701 h 3191446"/>
                <a:gd name="connsiteX104" fmla="*/ 2493491 w 4675522"/>
                <a:gd name="connsiteY104" fmla="*/ 2144422 h 3191446"/>
                <a:gd name="connsiteX105" fmla="*/ 2512276 w 4675522"/>
                <a:gd name="connsiteY105" fmla="*/ 2062705 h 3191446"/>
                <a:gd name="connsiteX106" fmla="*/ 2464384 w 4675522"/>
                <a:gd name="connsiteY106" fmla="*/ 2004003 h 3191446"/>
                <a:gd name="connsiteX107" fmla="*/ 2333822 w 4675522"/>
                <a:gd name="connsiteY107" fmla="*/ 1978639 h 3191446"/>
                <a:gd name="connsiteX108" fmla="*/ 2166643 w 4675522"/>
                <a:gd name="connsiteY108" fmla="*/ 1902570 h 3191446"/>
                <a:gd name="connsiteX109" fmla="*/ 2015900 w 4675522"/>
                <a:gd name="connsiteY109" fmla="*/ 1854191 h 3191446"/>
                <a:gd name="connsiteX110" fmla="*/ 1838377 w 4675522"/>
                <a:gd name="connsiteY110" fmla="*/ 1858422 h 3191446"/>
                <a:gd name="connsiteX111" fmla="*/ 1703606 w 4675522"/>
                <a:gd name="connsiteY111" fmla="*/ 1851843 h 3191446"/>
                <a:gd name="connsiteX112" fmla="*/ 1584319 w 4675522"/>
                <a:gd name="connsiteY112" fmla="*/ 1886133 h 3191446"/>
                <a:gd name="connsiteX113" fmla="*/ 1478655 w 4675522"/>
                <a:gd name="connsiteY113" fmla="*/ 1992728 h 3191446"/>
                <a:gd name="connsiteX114" fmla="*/ 1528895 w 4675522"/>
                <a:gd name="connsiteY114" fmla="*/ 2092277 h 3191446"/>
                <a:gd name="connsiteX115" fmla="*/ 1658505 w 4675522"/>
                <a:gd name="connsiteY115" fmla="*/ 2148166 h 3191446"/>
                <a:gd name="connsiteX116" fmla="*/ 1834611 w 4675522"/>
                <a:gd name="connsiteY116" fmla="*/ 2196058 h 3191446"/>
                <a:gd name="connsiteX117" fmla="*/ 1859975 w 4675522"/>
                <a:gd name="connsiteY117" fmla="*/ 2215773 h 3191446"/>
                <a:gd name="connsiteX118" fmla="*/ 1732248 w 4675522"/>
                <a:gd name="connsiteY118" fmla="*/ 2221887 h 3191446"/>
                <a:gd name="connsiteX119" fmla="*/ 1555677 w 4675522"/>
                <a:gd name="connsiteY119" fmla="*/ 2157558 h 3191446"/>
                <a:gd name="connsiteX120" fmla="*/ 1423232 w 4675522"/>
                <a:gd name="connsiteY120" fmla="*/ 2063170 h 3191446"/>
                <a:gd name="connsiteX121" fmla="*/ 1319451 w 4675522"/>
                <a:gd name="connsiteY121" fmla="*/ 2045316 h 3191446"/>
                <a:gd name="connsiteX122" fmla="*/ 1242430 w 4675522"/>
                <a:gd name="connsiteY122" fmla="*/ 2128916 h 3191446"/>
                <a:gd name="connsiteX123" fmla="*/ 1247591 w 4675522"/>
                <a:gd name="connsiteY123" fmla="*/ 2264174 h 3191446"/>
                <a:gd name="connsiteX124" fmla="*/ 1286091 w 4675522"/>
                <a:gd name="connsiteY124" fmla="*/ 2335547 h 3191446"/>
                <a:gd name="connsiteX125" fmla="*/ 1208604 w 4675522"/>
                <a:gd name="connsiteY125" fmla="*/ 2308788 h 3191446"/>
                <a:gd name="connsiteX126" fmla="*/ 1028732 w 4675522"/>
                <a:gd name="connsiteY126" fmla="*/ 2276845 h 3191446"/>
                <a:gd name="connsiteX127" fmla="*/ 730526 w 4675522"/>
                <a:gd name="connsiteY127" fmla="*/ 2275427 h 3191446"/>
                <a:gd name="connsiteX128" fmla="*/ 477399 w 4675522"/>
                <a:gd name="connsiteY128" fmla="*/ 2167416 h 3191446"/>
                <a:gd name="connsiteX129" fmla="*/ 336049 w 4675522"/>
                <a:gd name="connsiteY129" fmla="*/ 2056126 h 3191446"/>
                <a:gd name="connsiteX130" fmla="*/ 250588 w 4675522"/>
                <a:gd name="connsiteY130" fmla="*/ 1935908 h 3191446"/>
                <a:gd name="connsiteX131" fmla="*/ 300363 w 4675522"/>
                <a:gd name="connsiteY131" fmla="*/ 1899270 h 3191446"/>
                <a:gd name="connsiteX132" fmla="*/ 475538 w 4675522"/>
                <a:gd name="connsiteY132" fmla="*/ 1751806 h 3191446"/>
                <a:gd name="connsiteX133" fmla="*/ 583085 w 4675522"/>
                <a:gd name="connsiteY133" fmla="*/ 1579443 h 3191446"/>
                <a:gd name="connsiteX134" fmla="*/ 688283 w 4675522"/>
                <a:gd name="connsiteY134" fmla="*/ 1574747 h 3191446"/>
                <a:gd name="connsiteX135" fmla="*/ 981793 w 4675522"/>
                <a:gd name="connsiteY135" fmla="*/ 1784679 h 3191446"/>
                <a:gd name="connsiteX136" fmla="*/ 1282126 w 4675522"/>
                <a:gd name="connsiteY136" fmla="*/ 1867327 h 3191446"/>
                <a:gd name="connsiteX137" fmla="*/ 1575414 w 4675522"/>
                <a:gd name="connsiteY137" fmla="*/ 1895038 h 3191446"/>
                <a:gd name="connsiteX138" fmla="*/ 1855079 w 4675522"/>
                <a:gd name="connsiteY138" fmla="*/ 1910545 h 3191446"/>
                <a:gd name="connsiteX139" fmla="*/ 2162456 w 4675522"/>
                <a:gd name="connsiteY139" fmla="*/ 1802533 h 3191446"/>
                <a:gd name="connsiteX140" fmla="*/ 2353714 w 4675522"/>
                <a:gd name="connsiteY140" fmla="*/ 1811859 h 3191446"/>
                <a:gd name="connsiteX141" fmla="*/ 2626445 w 4675522"/>
                <a:gd name="connsiteY141" fmla="*/ 1820609 h 3191446"/>
                <a:gd name="connsiteX142" fmla="*/ 3079160 w 4675522"/>
                <a:gd name="connsiteY142" fmla="*/ 1657993 h 3191446"/>
                <a:gd name="connsiteX143" fmla="*/ 3323006 w 4675522"/>
                <a:gd name="connsiteY143" fmla="*/ 1362202 h 3191446"/>
                <a:gd name="connsiteX144" fmla="*/ 3417283 w 4675522"/>
                <a:gd name="connsiteY144" fmla="*/ 1008749 h 3191446"/>
                <a:gd name="connsiteX145" fmla="*/ 3387932 w 4675522"/>
                <a:gd name="connsiteY145" fmla="*/ 611680 h 3191446"/>
                <a:gd name="connsiteX146" fmla="*/ 3165795 w 4675522"/>
                <a:gd name="connsiteY146" fmla="*/ 239266 h 3191446"/>
                <a:gd name="connsiteX147" fmla="*/ 2780599 w 4675522"/>
                <a:gd name="connsiteY147" fmla="*/ 36445 h 3191446"/>
                <a:gd name="connsiteX148" fmla="*/ 2363239 w 4675522"/>
                <a:gd name="connsiteY148" fmla="*/ 13607 h 3191446"/>
                <a:gd name="connsiteX149" fmla="*/ 1949844 w 4675522"/>
                <a:gd name="connsiteY149" fmla="*/ 187187 h 3191446"/>
                <a:gd name="connsiteX150" fmla="*/ 1700483 w 4675522"/>
                <a:gd name="connsiteY150" fmla="*/ 506991 h 3191446"/>
                <a:gd name="connsiteX151" fmla="*/ 1610923 w 4675522"/>
                <a:gd name="connsiteY151" fmla="*/ 850941 h 3191446"/>
                <a:gd name="connsiteX152" fmla="*/ 1681698 w 4675522"/>
                <a:gd name="connsiteY152" fmla="*/ 1253703 h 3191446"/>
                <a:gd name="connsiteX153" fmla="*/ 2100608 w 4675522"/>
                <a:gd name="connsiteY153" fmla="*/ 1667430 h 3191446"/>
                <a:gd name="connsiteX154" fmla="*/ 2697508 w 4675522"/>
                <a:gd name="connsiteY154" fmla="*/ 1747973 h 3191446"/>
                <a:gd name="connsiteX155" fmla="*/ 2782393 w 4675522"/>
                <a:gd name="connsiteY155" fmla="*/ 1686037 h 3191446"/>
                <a:gd name="connsiteX156" fmla="*/ 2741546 w 4675522"/>
                <a:gd name="connsiteY156" fmla="*/ 1570051 h 3191446"/>
                <a:gd name="connsiteX157" fmla="*/ 2850975 w 4675522"/>
                <a:gd name="connsiteY157" fmla="*/ 1458761 h 3191446"/>
                <a:gd name="connsiteX158" fmla="*/ 2942085 w 4675522"/>
                <a:gd name="connsiteY158" fmla="*/ 1369999 h 3191446"/>
                <a:gd name="connsiteX159" fmla="*/ 3018154 w 4675522"/>
                <a:gd name="connsiteY159" fmla="*/ 1277494 h 3191446"/>
                <a:gd name="connsiteX160" fmla="*/ 3148229 w 4675522"/>
                <a:gd name="connsiteY160" fmla="*/ 1255896 h 3191446"/>
                <a:gd name="connsiteX161" fmla="*/ 3234842 w 4675522"/>
                <a:gd name="connsiteY161" fmla="*/ 1331034 h 3191446"/>
                <a:gd name="connsiteX162" fmla="*/ 3245297 w 4675522"/>
                <a:gd name="connsiteY162" fmla="*/ 1418378 h 3191446"/>
                <a:gd name="connsiteX163" fmla="*/ 3159703 w 4675522"/>
                <a:gd name="connsiteY163" fmla="*/ 1450321 h 3191446"/>
                <a:gd name="connsiteX164" fmla="*/ 3064185 w 4675522"/>
                <a:gd name="connsiteY164" fmla="*/ 1435302 h 3191446"/>
                <a:gd name="connsiteX165" fmla="*/ 3020502 w 4675522"/>
                <a:gd name="connsiteY165" fmla="*/ 1574769 h 3191446"/>
                <a:gd name="connsiteX166" fmla="*/ 2949594 w 4675522"/>
                <a:gd name="connsiteY166" fmla="*/ 1681851 h 3191446"/>
                <a:gd name="connsiteX167" fmla="*/ 2864133 w 4675522"/>
                <a:gd name="connsiteY167" fmla="*/ 1687477 h 3191446"/>
                <a:gd name="connsiteX168" fmla="*/ 2784298 w 4675522"/>
                <a:gd name="connsiteY168" fmla="*/ 1615152 h 3191446"/>
                <a:gd name="connsiteX169" fmla="*/ 2772093 w 4675522"/>
                <a:gd name="connsiteY169" fmla="*/ 1503374 h 3191446"/>
                <a:gd name="connsiteX170" fmla="*/ 2730758 w 4675522"/>
                <a:gd name="connsiteY170" fmla="*/ 1430119 h 3191446"/>
                <a:gd name="connsiteX171" fmla="*/ 2659850 w 4675522"/>
                <a:gd name="connsiteY171" fmla="*/ 1405220 h 3191446"/>
                <a:gd name="connsiteX172" fmla="*/ 2593174 w 4675522"/>
                <a:gd name="connsiteY172" fmla="*/ 1359189 h 3191446"/>
                <a:gd name="connsiteX173" fmla="*/ 2537750 w 4675522"/>
                <a:gd name="connsiteY173" fmla="*/ 1300952 h 3191446"/>
                <a:gd name="connsiteX174" fmla="*/ 2441014 w 4675522"/>
                <a:gd name="connsiteY174" fmla="*/ 1250225 h 3191446"/>
                <a:gd name="connsiteX175" fmla="*/ 2416115 w 4675522"/>
                <a:gd name="connsiteY175" fmla="*/ 1147375 h 3191446"/>
                <a:gd name="connsiteX176" fmla="*/ 2468238 w 4675522"/>
                <a:gd name="connsiteY176" fmla="*/ 1068470 h 3191446"/>
                <a:gd name="connsiteX177" fmla="*/ 2642461 w 4675522"/>
                <a:gd name="connsiteY177" fmla="*/ 1051923 h 3191446"/>
                <a:gd name="connsiteX178" fmla="*/ 2723226 w 4675522"/>
                <a:gd name="connsiteY178" fmla="*/ 972199 h 3191446"/>
                <a:gd name="connsiteX179" fmla="*/ 2755634 w 4675522"/>
                <a:gd name="connsiteY179" fmla="*/ 865007 h 3191446"/>
                <a:gd name="connsiteX180" fmla="*/ 2811523 w 4675522"/>
                <a:gd name="connsiteY180" fmla="*/ 762267 h 3191446"/>
                <a:gd name="connsiteX181" fmla="*/ 2859415 w 4675522"/>
                <a:gd name="connsiteY181" fmla="*/ 634519 h 3191446"/>
                <a:gd name="connsiteX182" fmla="*/ 2927974 w 4675522"/>
                <a:gd name="connsiteY182" fmla="*/ 554684 h 3191446"/>
                <a:gd name="connsiteX183" fmla="*/ 2974006 w 4675522"/>
                <a:gd name="connsiteY183" fmla="*/ 491286 h 3191446"/>
                <a:gd name="connsiteX184" fmla="*/ 2861298 w 4675522"/>
                <a:gd name="connsiteY184" fmla="*/ 390784 h 3191446"/>
                <a:gd name="connsiteX185" fmla="*/ 2754216 w 4675522"/>
                <a:gd name="connsiteY185" fmla="*/ 343822 h 3191446"/>
                <a:gd name="connsiteX186" fmla="*/ 2685192 w 4675522"/>
                <a:gd name="connsiteY186" fmla="*/ 333012 h 3191446"/>
                <a:gd name="connsiteX187" fmla="*/ 2626490 w 4675522"/>
                <a:gd name="connsiteY187" fmla="*/ 315645 h 3191446"/>
                <a:gd name="connsiteX188" fmla="*/ 2621329 w 4675522"/>
                <a:gd name="connsiteY188" fmla="*/ 380461 h 3191446"/>
                <a:gd name="connsiteX189" fmla="*/ 2643392 w 4675522"/>
                <a:gd name="connsiteY189" fmla="*/ 468270 h 3191446"/>
                <a:gd name="connsiteX190" fmla="*/ 2604892 w 4675522"/>
                <a:gd name="connsiteY190" fmla="*/ 478128 h 3191446"/>
                <a:gd name="connsiteX191" fmla="*/ 2507203 w 4675522"/>
                <a:gd name="connsiteY191" fmla="*/ 426470 h 3191446"/>
                <a:gd name="connsiteX192" fmla="*/ 2468216 w 4675522"/>
                <a:gd name="connsiteY192" fmla="*/ 387970 h 3191446"/>
                <a:gd name="connsiteX193" fmla="*/ 2503437 w 4675522"/>
                <a:gd name="connsiteY193" fmla="*/ 331616 h 3191446"/>
                <a:gd name="connsiteX194" fmla="*/ 2515177 w 4675522"/>
                <a:gd name="connsiteY194" fmla="*/ 279959 h 3191446"/>
                <a:gd name="connsiteX195" fmla="*/ 2504367 w 4675522"/>
                <a:gd name="connsiteY195" fmla="*/ 225953 h 3191446"/>
                <a:gd name="connsiteX196" fmla="*/ 2483700 w 4675522"/>
                <a:gd name="connsiteY196" fmla="*/ 199659 h 3191446"/>
                <a:gd name="connsiteX197" fmla="*/ 2430159 w 4675522"/>
                <a:gd name="connsiteY197" fmla="*/ 216095 h 3191446"/>
                <a:gd name="connsiteX198" fmla="*/ 2342815 w 4675522"/>
                <a:gd name="connsiteY198" fmla="*/ 225022 h 3191446"/>
                <a:gd name="connsiteX199" fmla="*/ 2251705 w 4675522"/>
                <a:gd name="connsiteY199" fmla="*/ 195915 h 3191446"/>
                <a:gd name="connsiteX200" fmla="*/ 2181263 w 4675522"/>
                <a:gd name="connsiteY200" fmla="*/ 171969 h 3191446"/>
                <a:gd name="connsiteX201" fmla="*/ 2097197 w 4675522"/>
                <a:gd name="connsiteY201" fmla="*/ 170086 h 3191446"/>
                <a:gd name="connsiteX202" fmla="*/ 2010318 w 4675522"/>
                <a:gd name="connsiteY202" fmla="*/ 214235 h 3191446"/>
                <a:gd name="connsiteX203" fmla="*/ 1973214 w 4675522"/>
                <a:gd name="connsiteY203" fmla="*/ 270589 h 3191446"/>
                <a:gd name="connsiteX204" fmla="*/ 2017828 w 4675522"/>
                <a:gd name="connsiteY204" fmla="*/ 337265 h 3191446"/>
                <a:gd name="connsiteX205" fmla="*/ 2034729 w 4675522"/>
                <a:gd name="connsiteY205" fmla="*/ 385157 h 3191446"/>
                <a:gd name="connsiteX206" fmla="*/ 2017828 w 4675522"/>
                <a:gd name="connsiteY206" fmla="*/ 451368 h 3191446"/>
                <a:gd name="connsiteX207" fmla="*/ 2019711 w 4675522"/>
                <a:gd name="connsiteY207" fmla="*/ 519463 h 3191446"/>
                <a:gd name="connsiteX208" fmla="*/ 2016432 w 4675522"/>
                <a:gd name="connsiteY208" fmla="*/ 580048 h 3191446"/>
                <a:gd name="connsiteX209" fmla="*/ 1972749 w 4675522"/>
                <a:gd name="connsiteY209" fmla="*/ 654256 h 3191446"/>
                <a:gd name="connsiteX210" fmla="*/ 1954895 w 4675522"/>
                <a:gd name="connsiteY210" fmla="*/ 732673 h 3191446"/>
                <a:gd name="connsiteX211" fmla="*/ 1990116 w 4675522"/>
                <a:gd name="connsiteY211" fmla="*/ 819552 h 3191446"/>
                <a:gd name="connsiteX212" fmla="*/ 2030964 w 4675522"/>
                <a:gd name="connsiteY212" fmla="*/ 913475 h 3191446"/>
                <a:gd name="connsiteX213" fmla="*/ 2033777 w 4675522"/>
                <a:gd name="connsiteY213" fmla="*/ 1007863 h 3191446"/>
                <a:gd name="connsiteX214" fmla="*/ 2057258 w 4675522"/>
                <a:gd name="connsiteY214" fmla="*/ 1098021 h 3191446"/>
                <a:gd name="connsiteX215" fmla="*/ 2122074 w 4675522"/>
                <a:gd name="connsiteY215" fmla="*/ 1155792 h 3191446"/>
                <a:gd name="connsiteX216" fmla="*/ 2190168 w 4675522"/>
                <a:gd name="connsiteY216" fmla="*/ 1188200 h 3191446"/>
                <a:gd name="connsiteX217" fmla="*/ 2249800 w 4675522"/>
                <a:gd name="connsiteY217" fmla="*/ 1206985 h 3191446"/>
                <a:gd name="connsiteX218" fmla="*/ 2262471 w 4675522"/>
                <a:gd name="connsiteY218" fmla="*/ 1256760 h 3191446"/>
                <a:gd name="connsiteX219" fmla="*/ 2282673 w 4675522"/>
                <a:gd name="connsiteY219" fmla="*/ 1314044 h 3191446"/>
                <a:gd name="connsiteX220" fmla="*/ 2369087 w 4675522"/>
                <a:gd name="connsiteY220" fmla="*/ 1337525 h 3191446"/>
                <a:gd name="connsiteX221" fmla="*/ 2449387 w 4675522"/>
                <a:gd name="connsiteY221" fmla="*/ 1351148 h 3191446"/>
                <a:gd name="connsiteX222" fmla="*/ 2519829 w 4675522"/>
                <a:gd name="connsiteY222" fmla="*/ 1385904 h 3191446"/>
                <a:gd name="connsiteX223" fmla="*/ 2587924 w 4675522"/>
                <a:gd name="connsiteY223" fmla="*/ 1413616 h 3191446"/>
                <a:gd name="connsiteX224" fmla="*/ 2636768 w 4675522"/>
                <a:gd name="connsiteY224" fmla="*/ 1400945 h 3191446"/>
                <a:gd name="connsiteX225" fmla="*/ 2709559 w 4675522"/>
                <a:gd name="connsiteY225" fmla="*/ 1365259 h 3191446"/>
                <a:gd name="connsiteX226" fmla="*/ 2802551 w 4675522"/>
                <a:gd name="connsiteY226" fmla="*/ 1419730 h 3191446"/>
                <a:gd name="connsiteX227" fmla="*/ 2841738 w 4675522"/>
                <a:gd name="connsiteY227" fmla="*/ 1568368 h 3191446"/>
                <a:gd name="connsiteX228" fmla="*/ 2919357 w 4675522"/>
                <a:gd name="connsiteY228" fmla="*/ 1721679 h 3191446"/>
                <a:gd name="connsiteX229" fmla="*/ 3134295 w 4675522"/>
                <a:gd name="connsiteY229" fmla="*/ 1773603 h 3191446"/>
                <a:gd name="connsiteX230" fmla="*/ 3467988 w 4675522"/>
                <a:gd name="connsiteY230" fmla="*/ 1722654 h 3191446"/>
                <a:gd name="connsiteX231" fmla="*/ 3762916 w 4675522"/>
                <a:gd name="connsiteY231" fmla="*/ 1835362 h 3191446"/>
                <a:gd name="connsiteX232" fmla="*/ 4176909 w 4675522"/>
                <a:gd name="connsiteY232" fmla="*/ 1845042 h 3191446"/>
                <a:gd name="connsiteX233" fmla="*/ 4675522 w 4675522"/>
                <a:gd name="connsiteY233" fmla="*/ 1755394 h 3191446"/>
                <a:gd name="connsiteX0" fmla="*/ 1012141 w 4675522"/>
                <a:gd name="connsiteY0" fmla="*/ 2509792 h 3191446"/>
                <a:gd name="connsiteX1" fmla="*/ 1084931 w 4675522"/>
                <a:gd name="connsiteY1" fmla="*/ 2472223 h 3191446"/>
                <a:gd name="connsiteX2" fmla="*/ 917752 w 4675522"/>
                <a:gd name="connsiteY2" fmla="*/ 2452021 h 3191446"/>
                <a:gd name="connsiteX3" fmla="*/ 614850 w 4675522"/>
                <a:gd name="connsiteY3" fmla="*/ 2495216 h 3191446"/>
                <a:gd name="connsiteX4" fmla="*/ 339660 w 4675522"/>
                <a:gd name="connsiteY4" fmla="*/ 2467970 h 3191446"/>
                <a:gd name="connsiteX5" fmla="*/ 95925 w 4675522"/>
                <a:gd name="connsiteY5" fmla="*/ 2425704 h 3191446"/>
                <a:gd name="connsiteX6" fmla="*/ 55542 w 4675522"/>
                <a:gd name="connsiteY6" fmla="*/ 2490985 h 3191446"/>
                <a:gd name="connsiteX7" fmla="*/ 71979 w 4675522"/>
                <a:gd name="connsiteY7" fmla="*/ 2650190 h 3191446"/>
                <a:gd name="connsiteX8" fmla="*/ 26900 w 4675522"/>
                <a:gd name="connsiteY8" fmla="*/ 2845080 h 3191446"/>
                <a:gd name="connsiteX9" fmla="*/ 5767 w 4675522"/>
                <a:gd name="connsiteY9" fmla="*/ 3005215 h 3191446"/>
                <a:gd name="connsiteX10" fmla="*/ 124589 w 4675522"/>
                <a:gd name="connsiteY10" fmla="*/ 3049363 h 3191446"/>
                <a:gd name="connsiteX11" fmla="*/ 315736 w 4675522"/>
                <a:gd name="connsiteY11" fmla="*/ 2993475 h 3191446"/>
                <a:gd name="connsiteX12" fmla="*/ 549148 w 4675522"/>
                <a:gd name="connsiteY12" fmla="*/ 2954022 h 3191446"/>
                <a:gd name="connsiteX13" fmla="*/ 884458 w 4675522"/>
                <a:gd name="connsiteY13" fmla="*/ 2879814 h 3191446"/>
                <a:gd name="connsiteX14" fmla="*/ 1154488 w 4675522"/>
                <a:gd name="connsiteY14" fmla="*/ 2879814 h 3191446"/>
                <a:gd name="connsiteX15" fmla="*/ 1270009 w 4675522"/>
                <a:gd name="connsiteY15" fmla="*/ 2964345 h 3191446"/>
                <a:gd name="connsiteX16" fmla="*/ 1413707 w 4675522"/>
                <a:gd name="connsiteY16" fmla="*/ 3061081 h 3191446"/>
                <a:gd name="connsiteX17" fmla="*/ 1565867 w 4675522"/>
                <a:gd name="connsiteY17" fmla="*/ 3104765 h 3191446"/>
                <a:gd name="connsiteX18" fmla="*/ 1690780 w 4675522"/>
                <a:gd name="connsiteY18" fmla="*/ 3107578 h 3191446"/>
                <a:gd name="connsiteX19" fmla="*/ 1820390 w 4675522"/>
                <a:gd name="connsiteY19" fmla="*/ 3139986 h 3191446"/>
                <a:gd name="connsiteX20" fmla="*/ 1899759 w 4675522"/>
                <a:gd name="connsiteY20" fmla="*/ 3178485 h 3191446"/>
                <a:gd name="connsiteX21" fmla="*/ 1940142 w 4675522"/>
                <a:gd name="connsiteY21" fmla="*/ 3188808 h 3191446"/>
                <a:gd name="connsiteX22" fmla="*/ 1936730 w 4675522"/>
                <a:gd name="connsiteY22" fmla="*/ 3145125 h 3191446"/>
                <a:gd name="connsiteX23" fmla="*/ 1900667 w 4675522"/>
                <a:gd name="connsiteY23" fmla="*/ 3102505 h 3191446"/>
                <a:gd name="connsiteX24" fmla="*/ 1840437 w 4675522"/>
                <a:gd name="connsiteY24" fmla="*/ 3088771 h 3191446"/>
                <a:gd name="connsiteX25" fmla="*/ 1849962 w 4675522"/>
                <a:gd name="connsiteY25" fmla="*/ 3120825 h 3191446"/>
                <a:gd name="connsiteX26" fmla="*/ 1953278 w 4675522"/>
                <a:gd name="connsiteY26" fmla="*/ 3169071 h 3191446"/>
                <a:gd name="connsiteX27" fmla="*/ 1959391 w 4675522"/>
                <a:gd name="connsiteY27" fmla="*/ 3084540 h 3191446"/>
                <a:gd name="connsiteX28" fmla="*/ 1899759 w 4675522"/>
                <a:gd name="connsiteY28" fmla="*/ 3000940 h 3191446"/>
                <a:gd name="connsiteX29" fmla="*/ 1783285 w 4675522"/>
                <a:gd name="connsiteY29" fmla="*/ 2944121 h 3191446"/>
                <a:gd name="connsiteX30" fmla="*/ 1627360 w 4675522"/>
                <a:gd name="connsiteY30" fmla="*/ 2916409 h 3191446"/>
                <a:gd name="connsiteX31" fmla="*/ 1545177 w 4675522"/>
                <a:gd name="connsiteY31" fmla="*/ 2842201 h 3191446"/>
                <a:gd name="connsiteX32" fmla="*/ 1554392 w 4675522"/>
                <a:gd name="connsiteY32" fmla="*/ 2723512 h 3191446"/>
                <a:gd name="connsiteX33" fmla="*/ 1443966 w 4675522"/>
                <a:gd name="connsiteY33" fmla="*/ 2598488 h 3191446"/>
                <a:gd name="connsiteX34" fmla="*/ 1436523 w 4675522"/>
                <a:gd name="connsiteY34" fmla="*/ 2546476 h 3191446"/>
                <a:gd name="connsiteX35" fmla="*/ 1697802 w 4675522"/>
                <a:gd name="connsiteY35" fmla="*/ 2645449 h 3191446"/>
                <a:gd name="connsiteX36" fmla="*/ 1957044 w 4675522"/>
                <a:gd name="connsiteY36" fmla="*/ 2760040 h 3191446"/>
                <a:gd name="connsiteX37" fmla="*/ 2129871 w 4675522"/>
                <a:gd name="connsiteY37" fmla="*/ 2773198 h 3191446"/>
                <a:gd name="connsiteX38" fmla="*/ 2305047 w 4675522"/>
                <a:gd name="connsiteY38" fmla="*/ 2753948 h 3191446"/>
                <a:gd name="connsiteX39" fmla="*/ 2467529 w 4675522"/>
                <a:gd name="connsiteY39" fmla="*/ 2746904 h 3191446"/>
                <a:gd name="connsiteX40" fmla="*/ 2576959 w 4675522"/>
                <a:gd name="connsiteY40" fmla="*/ 2726702 h 3191446"/>
                <a:gd name="connsiteX41" fmla="*/ 2638939 w 4675522"/>
                <a:gd name="connsiteY41" fmla="*/ 2743603 h 3191446"/>
                <a:gd name="connsiteX42" fmla="*/ 2616389 w 4675522"/>
                <a:gd name="connsiteY42" fmla="*/ 2790100 h 3191446"/>
                <a:gd name="connsiteX43" fmla="*/ 2473156 w 4675522"/>
                <a:gd name="connsiteY43" fmla="*/ 2819694 h 3191446"/>
                <a:gd name="connsiteX44" fmla="*/ 2356217 w 4675522"/>
                <a:gd name="connsiteY44" fmla="*/ 2844593 h 3191446"/>
                <a:gd name="connsiteX45" fmla="*/ 2212519 w 4675522"/>
                <a:gd name="connsiteY45" fmla="*/ 2869491 h 3191446"/>
                <a:gd name="connsiteX46" fmla="*/ 2100276 w 4675522"/>
                <a:gd name="connsiteY46" fmla="*/ 2919266 h 3191446"/>
                <a:gd name="connsiteX47" fmla="*/ 2233652 w 4675522"/>
                <a:gd name="connsiteY47" fmla="*/ 2930076 h 3191446"/>
                <a:gd name="connsiteX48" fmla="*/ 2464716 w 4675522"/>
                <a:gd name="connsiteY48" fmla="*/ 2860564 h 3191446"/>
                <a:gd name="connsiteX49" fmla="*/ 2581655 w 4675522"/>
                <a:gd name="connsiteY49" fmla="*/ 2830504 h 3191446"/>
                <a:gd name="connsiteX50" fmla="*/ 2583538 w 4675522"/>
                <a:gd name="connsiteY50" fmla="*/ 2879349 h 3191446"/>
                <a:gd name="connsiteX51" fmla="*/ 2491963 w 4675522"/>
                <a:gd name="connsiteY51" fmla="*/ 2947908 h 3191446"/>
                <a:gd name="connsiteX52" fmla="*/ 2305999 w 4675522"/>
                <a:gd name="connsiteY52" fmla="*/ 3039949 h 3191446"/>
                <a:gd name="connsiteX53" fmla="*/ 2125662 w 4675522"/>
                <a:gd name="connsiteY53" fmla="*/ 3096768 h 3191446"/>
                <a:gd name="connsiteX54" fmla="*/ 2023764 w 4675522"/>
                <a:gd name="connsiteY54" fmla="*/ 3072357 h 3191446"/>
                <a:gd name="connsiteX55" fmla="*/ 1932189 w 4675522"/>
                <a:gd name="connsiteY55" fmla="*/ 2980316 h 3191446"/>
                <a:gd name="connsiteX56" fmla="*/ 1783795 w 4675522"/>
                <a:gd name="connsiteY56" fmla="*/ 2897668 h 3191446"/>
                <a:gd name="connsiteX57" fmla="*/ 1610968 w 4675522"/>
                <a:gd name="connsiteY57" fmla="*/ 2855403 h 3191446"/>
                <a:gd name="connsiteX58" fmla="*/ 1425469 w 4675522"/>
                <a:gd name="connsiteY58" fmla="*/ 2833340 h 3191446"/>
                <a:gd name="connsiteX59" fmla="*/ 1258290 w 4675522"/>
                <a:gd name="connsiteY59" fmla="*/ 2792957 h 3191446"/>
                <a:gd name="connsiteX60" fmla="*/ 1178456 w 4675522"/>
                <a:gd name="connsiteY60" fmla="*/ 2664743 h 3191446"/>
                <a:gd name="connsiteX61" fmla="*/ 1164367 w 4675522"/>
                <a:gd name="connsiteY61" fmla="*/ 2536529 h 3191446"/>
                <a:gd name="connsiteX62" fmla="*/ 1214142 w 4675522"/>
                <a:gd name="connsiteY62" fmla="*/ 2455277 h 3191446"/>
                <a:gd name="connsiteX63" fmla="*/ 1388365 w 4675522"/>
                <a:gd name="connsiteY63" fmla="*/ 2443537 h 3191446"/>
                <a:gd name="connsiteX64" fmla="*/ 1636331 w 4675522"/>
                <a:gd name="connsiteY64" fmla="*/ 2523371 h 3191446"/>
                <a:gd name="connsiteX65" fmla="*/ 1864560 w 4675522"/>
                <a:gd name="connsiteY65" fmla="*/ 2660512 h 3191446"/>
                <a:gd name="connsiteX66" fmla="*/ 2072144 w 4675522"/>
                <a:gd name="connsiteY66" fmla="*/ 2731420 h 3191446"/>
                <a:gd name="connsiteX67" fmla="*/ 2214911 w 4675522"/>
                <a:gd name="connsiteY67" fmla="*/ 2734698 h 3191446"/>
                <a:gd name="connsiteX68" fmla="*/ 2267500 w 4675522"/>
                <a:gd name="connsiteY68" fmla="*/ 2704639 h 3191446"/>
                <a:gd name="connsiteX69" fmla="*/ 2241671 w 4675522"/>
                <a:gd name="connsiteY69" fmla="*/ 2669882 h 3191446"/>
                <a:gd name="connsiteX70" fmla="*/ 2168880 w 4675522"/>
                <a:gd name="connsiteY70" fmla="*/ 2654864 h 3191446"/>
                <a:gd name="connsiteX71" fmla="*/ 2052894 w 4675522"/>
                <a:gd name="connsiteY71" fmla="*/ 2628570 h 3191446"/>
                <a:gd name="connsiteX72" fmla="*/ 1937373 w 4675522"/>
                <a:gd name="connsiteY72" fmla="*/ 2586304 h 3191446"/>
                <a:gd name="connsiteX73" fmla="*/ 1948183 w 4675522"/>
                <a:gd name="connsiteY73" fmla="*/ 2574099 h 3191446"/>
                <a:gd name="connsiteX74" fmla="*/ 2132751 w 4675522"/>
                <a:gd name="connsiteY74" fmla="*/ 2622943 h 3191446"/>
                <a:gd name="connsiteX75" fmla="*/ 2301347 w 4675522"/>
                <a:gd name="connsiteY75" fmla="*/ 2650655 h 3191446"/>
                <a:gd name="connsiteX76" fmla="*/ 2441302 w 4675522"/>
                <a:gd name="connsiteY76" fmla="*/ 2699499 h 3191446"/>
                <a:gd name="connsiteX77" fmla="*/ 2542269 w 4675522"/>
                <a:gd name="connsiteY77" fmla="*/ 2697151 h 3191446"/>
                <a:gd name="connsiteX78" fmla="*/ 2539456 w 4675522"/>
                <a:gd name="connsiteY78" fmla="*/ 2661930 h 3191446"/>
                <a:gd name="connsiteX79" fmla="*/ 2454460 w 4675522"/>
                <a:gd name="connsiteY79" fmla="*/ 2611690 h 3191446"/>
                <a:gd name="connsiteX80" fmla="*/ 2339404 w 4675522"/>
                <a:gd name="connsiteY80" fmla="*/ 2582583 h 3191446"/>
                <a:gd name="connsiteX81" fmla="*/ 2167529 w 4675522"/>
                <a:gd name="connsiteY81" fmla="*/ 2549244 h 3191446"/>
                <a:gd name="connsiteX82" fmla="*/ 2103665 w 4675522"/>
                <a:gd name="connsiteY82" fmla="*/ 2521068 h 3191446"/>
                <a:gd name="connsiteX83" fmla="*/ 2303718 w 4675522"/>
                <a:gd name="connsiteY83" fmla="*/ 2553476 h 3191446"/>
                <a:gd name="connsiteX84" fmla="*/ 2511766 w 4675522"/>
                <a:gd name="connsiteY84" fmla="*/ 2609829 h 3191446"/>
                <a:gd name="connsiteX85" fmla="*/ 2632449 w 4675522"/>
                <a:gd name="connsiteY85" fmla="*/ 2655861 h 3191446"/>
                <a:gd name="connsiteX86" fmla="*/ 2726837 w 4675522"/>
                <a:gd name="connsiteY86" fmla="*/ 2646468 h 3191446"/>
                <a:gd name="connsiteX87" fmla="*/ 2719328 w 4675522"/>
                <a:gd name="connsiteY87" fmla="*/ 2584000 h 3191446"/>
                <a:gd name="connsiteX88" fmla="*/ 2610385 w 4675522"/>
                <a:gd name="connsiteY88" fmla="*/ 2532808 h 3191446"/>
                <a:gd name="connsiteX89" fmla="*/ 2430049 w 4675522"/>
                <a:gd name="connsiteY89" fmla="*/ 2499935 h 3191446"/>
                <a:gd name="connsiteX90" fmla="*/ 2272262 w 4675522"/>
                <a:gd name="connsiteY90" fmla="*/ 2458135 h 3191446"/>
                <a:gd name="connsiteX91" fmla="*/ 2234693 w 4675522"/>
                <a:gd name="connsiteY91" fmla="*/ 2429027 h 3191446"/>
                <a:gd name="connsiteX92" fmla="*/ 2399058 w 4675522"/>
                <a:gd name="connsiteY92" fmla="*/ 2469875 h 3191446"/>
                <a:gd name="connsiteX93" fmla="*/ 2652186 w 4675522"/>
                <a:gd name="connsiteY93" fmla="*/ 2526694 h 3191446"/>
                <a:gd name="connsiteX94" fmla="*/ 2754571 w 4675522"/>
                <a:gd name="connsiteY94" fmla="*/ 2489590 h 3191446"/>
                <a:gd name="connsiteX95" fmla="*/ 2724046 w 4675522"/>
                <a:gd name="connsiteY95" fmla="*/ 2420565 h 3191446"/>
                <a:gd name="connsiteX96" fmla="*/ 2589740 w 4675522"/>
                <a:gd name="connsiteY96" fmla="*/ 2366560 h 3191446"/>
                <a:gd name="connsiteX97" fmla="*/ 2343657 w 4675522"/>
                <a:gd name="connsiteY97" fmla="*/ 2344962 h 3191446"/>
                <a:gd name="connsiteX98" fmla="*/ 2141257 w 4675522"/>
                <a:gd name="connsiteY98" fmla="*/ 2293304 h 3191446"/>
                <a:gd name="connsiteX99" fmla="*/ 2055308 w 4675522"/>
                <a:gd name="connsiteY99" fmla="*/ 2206890 h 3191446"/>
                <a:gd name="connsiteX100" fmla="*/ 2016809 w 4675522"/>
                <a:gd name="connsiteY100" fmla="*/ 2102157 h 3191446"/>
                <a:gd name="connsiteX101" fmla="*/ 2086321 w 4675522"/>
                <a:gd name="connsiteY101" fmla="*/ 2090416 h 3191446"/>
                <a:gd name="connsiteX102" fmla="*/ 2338518 w 4675522"/>
                <a:gd name="connsiteY102" fmla="*/ 2147701 h 3191446"/>
                <a:gd name="connsiteX103" fmla="*/ 2493491 w 4675522"/>
                <a:gd name="connsiteY103" fmla="*/ 2144422 h 3191446"/>
                <a:gd name="connsiteX104" fmla="*/ 2512276 w 4675522"/>
                <a:gd name="connsiteY104" fmla="*/ 2062705 h 3191446"/>
                <a:gd name="connsiteX105" fmla="*/ 2464384 w 4675522"/>
                <a:gd name="connsiteY105" fmla="*/ 2004003 h 3191446"/>
                <a:gd name="connsiteX106" fmla="*/ 2333822 w 4675522"/>
                <a:gd name="connsiteY106" fmla="*/ 1978639 h 3191446"/>
                <a:gd name="connsiteX107" fmla="*/ 2166643 w 4675522"/>
                <a:gd name="connsiteY107" fmla="*/ 1902570 h 3191446"/>
                <a:gd name="connsiteX108" fmla="*/ 2015900 w 4675522"/>
                <a:gd name="connsiteY108" fmla="*/ 1854191 h 3191446"/>
                <a:gd name="connsiteX109" fmla="*/ 1838377 w 4675522"/>
                <a:gd name="connsiteY109" fmla="*/ 1858422 h 3191446"/>
                <a:gd name="connsiteX110" fmla="*/ 1703606 w 4675522"/>
                <a:gd name="connsiteY110" fmla="*/ 1851843 h 3191446"/>
                <a:gd name="connsiteX111" fmla="*/ 1584319 w 4675522"/>
                <a:gd name="connsiteY111" fmla="*/ 1886133 h 3191446"/>
                <a:gd name="connsiteX112" fmla="*/ 1478655 w 4675522"/>
                <a:gd name="connsiteY112" fmla="*/ 1992728 h 3191446"/>
                <a:gd name="connsiteX113" fmla="*/ 1528895 w 4675522"/>
                <a:gd name="connsiteY113" fmla="*/ 2092277 h 3191446"/>
                <a:gd name="connsiteX114" fmla="*/ 1658505 w 4675522"/>
                <a:gd name="connsiteY114" fmla="*/ 2148166 h 3191446"/>
                <a:gd name="connsiteX115" fmla="*/ 1834611 w 4675522"/>
                <a:gd name="connsiteY115" fmla="*/ 2196058 h 3191446"/>
                <a:gd name="connsiteX116" fmla="*/ 1859975 w 4675522"/>
                <a:gd name="connsiteY116" fmla="*/ 2215773 h 3191446"/>
                <a:gd name="connsiteX117" fmla="*/ 1732248 w 4675522"/>
                <a:gd name="connsiteY117" fmla="*/ 2221887 h 3191446"/>
                <a:gd name="connsiteX118" fmla="*/ 1555677 w 4675522"/>
                <a:gd name="connsiteY118" fmla="*/ 2157558 h 3191446"/>
                <a:gd name="connsiteX119" fmla="*/ 1423232 w 4675522"/>
                <a:gd name="connsiteY119" fmla="*/ 2063170 h 3191446"/>
                <a:gd name="connsiteX120" fmla="*/ 1319451 w 4675522"/>
                <a:gd name="connsiteY120" fmla="*/ 2045316 h 3191446"/>
                <a:gd name="connsiteX121" fmla="*/ 1242430 w 4675522"/>
                <a:gd name="connsiteY121" fmla="*/ 2128916 h 3191446"/>
                <a:gd name="connsiteX122" fmla="*/ 1247591 w 4675522"/>
                <a:gd name="connsiteY122" fmla="*/ 2264174 h 3191446"/>
                <a:gd name="connsiteX123" fmla="*/ 1286091 w 4675522"/>
                <a:gd name="connsiteY123" fmla="*/ 2335547 h 3191446"/>
                <a:gd name="connsiteX124" fmla="*/ 1208604 w 4675522"/>
                <a:gd name="connsiteY124" fmla="*/ 2308788 h 3191446"/>
                <a:gd name="connsiteX125" fmla="*/ 1028732 w 4675522"/>
                <a:gd name="connsiteY125" fmla="*/ 2276845 h 3191446"/>
                <a:gd name="connsiteX126" fmla="*/ 730526 w 4675522"/>
                <a:gd name="connsiteY126" fmla="*/ 2275427 h 3191446"/>
                <a:gd name="connsiteX127" fmla="*/ 477399 w 4675522"/>
                <a:gd name="connsiteY127" fmla="*/ 2167416 h 3191446"/>
                <a:gd name="connsiteX128" fmla="*/ 336049 w 4675522"/>
                <a:gd name="connsiteY128" fmla="*/ 2056126 h 3191446"/>
                <a:gd name="connsiteX129" fmla="*/ 250588 w 4675522"/>
                <a:gd name="connsiteY129" fmla="*/ 1935908 h 3191446"/>
                <a:gd name="connsiteX130" fmla="*/ 300363 w 4675522"/>
                <a:gd name="connsiteY130" fmla="*/ 1899270 h 3191446"/>
                <a:gd name="connsiteX131" fmla="*/ 475538 w 4675522"/>
                <a:gd name="connsiteY131" fmla="*/ 1751806 h 3191446"/>
                <a:gd name="connsiteX132" fmla="*/ 583085 w 4675522"/>
                <a:gd name="connsiteY132" fmla="*/ 1579443 h 3191446"/>
                <a:gd name="connsiteX133" fmla="*/ 688283 w 4675522"/>
                <a:gd name="connsiteY133" fmla="*/ 1574747 h 3191446"/>
                <a:gd name="connsiteX134" fmla="*/ 981793 w 4675522"/>
                <a:gd name="connsiteY134" fmla="*/ 1784679 h 3191446"/>
                <a:gd name="connsiteX135" fmla="*/ 1282126 w 4675522"/>
                <a:gd name="connsiteY135" fmla="*/ 1867327 h 3191446"/>
                <a:gd name="connsiteX136" fmla="*/ 1575414 w 4675522"/>
                <a:gd name="connsiteY136" fmla="*/ 1895038 h 3191446"/>
                <a:gd name="connsiteX137" fmla="*/ 1855079 w 4675522"/>
                <a:gd name="connsiteY137" fmla="*/ 1910545 h 3191446"/>
                <a:gd name="connsiteX138" fmla="*/ 2162456 w 4675522"/>
                <a:gd name="connsiteY138" fmla="*/ 1802533 h 3191446"/>
                <a:gd name="connsiteX139" fmla="*/ 2353714 w 4675522"/>
                <a:gd name="connsiteY139" fmla="*/ 1811859 h 3191446"/>
                <a:gd name="connsiteX140" fmla="*/ 2626445 w 4675522"/>
                <a:gd name="connsiteY140" fmla="*/ 1820609 h 3191446"/>
                <a:gd name="connsiteX141" fmla="*/ 3079160 w 4675522"/>
                <a:gd name="connsiteY141" fmla="*/ 1657993 h 3191446"/>
                <a:gd name="connsiteX142" fmla="*/ 3323006 w 4675522"/>
                <a:gd name="connsiteY142" fmla="*/ 1362202 h 3191446"/>
                <a:gd name="connsiteX143" fmla="*/ 3417283 w 4675522"/>
                <a:gd name="connsiteY143" fmla="*/ 1008749 h 3191446"/>
                <a:gd name="connsiteX144" fmla="*/ 3387932 w 4675522"/>
                <a:gd name="connsiteY144" fmla="*/ 611680 h 3191446"/>
                <a:gd name="connsiteX145" fmla="*/ 3165795 w 4675522"/>
                <a:gd name="connsiteY145" fmla="*/ 239266 h 3191446"/>
                <a:gd name="connsiteX146" fmla="*/ 2780599 w 4675522"/>
                <a:gd name="connsiteY146" fmla="*/ 36445 h 3191446"/>
                <a:gd name="connsiteX147" fmla="*/ 2363239 w 4675522"/>
                <a:gd name="connsiteY147" fmla="*/ 13607 h 3191446"/>
                <a:gd name="connsiteX148" fmla="*/ 1949844 w 4675522"/>
                <a:gd name="connsiteY148" fmla="*/ 187187 h 3191446"/>
                <a:gd name="connsiteX149" fmla="*/ 1700483 w 4675522"/>
                <a:gd name="connsiteY149" fmla="*/ 506991 h 3191446"/>
                <a:gd name="connsiteX150" fmla="*/ 1610923 w 4675522"/>
                <a:gd name="connsiteY150" fmla="*/ 850941 h 3191446"/>
                <a:gd name="connsiteX151" fmla="*/ 1681698 w 4675522"/>
                <a:gd name="connsiteY151" fmla="*/ 1253703 h 3191446"/>
                <a:gd name="connsiteX152" fmla="*/ 2100608 w 4675522"/>
                <a:gd name="connsiteY152" fmla="*/ 1667430 h 3191446"/>
                <a:gd name="connsiteX153" fmla="*/ 2697508 w 4675522"/>
                <a:gd name="connsiteY153" fmla="*/ 1747973 h 3191446"/>
                <a:gd name="connsiteX154" fmla="*/ 2782393 w 4675522"/>
                <a:gd name="connsiteY154" fmla="*/ 1686037 h 3191446"/>
                <a:gd name="connsiteX155" fmla="*/ 2741546 w 4675522"/>
                <a:gd name="connsiteY155" fmla="*/ 1570051 h 3191446"/>
                <a:gd name="connsiteX156" fmla="*/ 2850975 w 4675522"/>
                <a:gd name="connsiteY156" fmla="*/ 1458761 h 3191446"/>
                <a:gd name="connsiteX157" fmla="*/ 2942085 w 4675522"/>
                <a:gd name="connsiteY157" fmla="*/ 1369999 h 3191446"/>
                <a:gd name="connsiteX158" fmla="*/ 3018154 w 4675522"/>
                <a:gd name="connsiteY158" fmla="*/ 1277494 h 3191446"/>
                <a:gd name="connsiteX159" fmla="*/ 3148229 w 4675522"/>
                <a:gd name="connsiteY159" fmla="*/ 1255896 h 3191446"/>
                <a:gd name="connsiteX160" fmla="*/ 3234842 w 4675522"/>
                <a:gd name="connsiteY160" fmla="*/ 1331034 h 3191446"/>
                <a:gd name="connsiteX161" fmla="*/ 3245297 w 4675522"/>
                <a:gd name="connsiteY161" fmla="*/ 1418378 h 3191446"/>
                <a:gd name="connsiteX162" fmla="*/ 3159703 w 4675522"/>
                <a:gd name="connsiteY162" fmla="*/ 1450321 h 3191446"/>
                <a:gd name="connsiteX163" fmla="*/ 3064185 w 4675522"/>
                <a:gd name="connsiteY163" fmla="*/ 1435302 h 3191446"/>
                <a:gd name="connsiteX164" fmla="*/ 3020502 w 4675522"/>
                <a:gd name="connsiteY164" fmla="*/ 1574769 h 3191446"/>
                <a:gd name="connsiteX165" fmla="*/ 2949594 w 4675522"/>
                <a:gd name="connsiteY165" fmla="*/ 1681851 h 3191446"/>
                <a:gd name="connsiteX166" fmla="*/ 2864133 w 4675522"/>
                <a:gd name="connsiteY166" fmla="*/ 1687477 h 3191446"/>
                <a:gd name="connsiteX167" fmla="*/ 2784298 w 4675522"/>
                <a:gd name="connsiteY167" fmla="*/ 1615152 h 3191446"/>
                <a:gd name="connsiteX168" fmla="*/ 2772093 w 4675522"/>
                <a:gd name="connsiteY168" fmla="*/ 1503374 h 3191446"/>
                <a:gd name="connsiteX169" fmla="*/ 2730758 w 4675522"/>
                <a:gd name="connsiteY169" fmla="*/ 1430119 h 3191446"/>
                <a:gd name="connsiteX170" fmla="*/ 2659850 w 4675522"/>
                <a:gd name="connsiteY170" fmla="*/ 1405220 h 3191446"/>
                <a:gd name="connsiteX171" fmla="*/ 2593174 w 4675522"/>
                <a:gd name="connsiteY171" fmla="*/ 1359189 h 3191446"/>
                <a:gd name="connsiteX172" fmla="*/ 2537750 w 4675522"/>
                <a:gd name="connsiteY172" fmla="*/ 1300952 h 3191446"/>
                <a:gd name="connsiteX173" fmla="*/ 2441014 w 4675522"/>
                <a:gd name="connsiteY173" fmla="*/ 1250225 h 3191446"/>
                <a:gd name="connsiteX174" fmla="*/ 2416115 w 4675522"/>
                <a:gd name="connsiteY174" fmla="*/ 1147375 h 3191446"/>
                <a:gd name="connsiteX175" fmla="*/ 2468238 w 4675522"/>
                <a:gd name="connsiteY175" fmla="*/ 1068470 h 3191446"/>
                <a:gd name="connsiteX176" fmla="*/ 2642461 w 4675522"/>
                <a:gd name="connsiteY176" fmla="*/ 1051923 h 3191446"/>
                <a:gd name="connsiteX177" fmla="*/ 2723226 w 4675522"/>
                <a:gd name="connsiteY177" fmla="*/ 972199 h 3191446"/>
                <a:gd name="connsiteX178" fmla="*/ 2755634 w 4675522"/>
                <a:gd name="connsiteY178" fmla="*/ 865007 h 3191446"/>
                <a:gd name="connsiteX179" fmla="*/ 2811523 w 4675522"/>
                <a:gd name="connsiteY179" fmla="*/ 762267 h 3191446"/>
                <a:gd name="connsiteX180" fmla="*/ 2859415 w 4675522"/>
                <a:gd name="connsiteY180" fmla="*/ 634519 h 3191446"/>
                <a:gd name="connsiteX181" fmla="*/ 2927974 w 4675522"/>
                <a:gd name="connsiteY181" fmla="*/ 554684 h 3191446"/>
                <a:gd name="connsiteX182" fmla="*/ 2974006 w 4675522"/>
                <a:gd name="connsiteY182" fmla="*/ 491286 h 3191446"/>
                <a:gd name="connsiteX183" fmla="*/ 2861298 w 4675522"/>
                <a:gd name="connsiteY183" fmla="*/ 390784 h 3191446"/>
                <a:gd name="connsiteX184" fmla="*/ 2754216 w 4675522"/>
                <a:gd name="connsiteY184" fmla="*/ 343822 h 3191446"/>
                <a:gd name="connsiteX185" fmla="*/ 2685192 w 4675522"/>
                <a:gd name="connsiteY185" fmla="*/ 333012 h 3191446"/>
                <a:gd name="connsiteX186" fmla="*/ 2626490 w 4675522"/>
                <a:gd name="connsiteY186" fmla="*/ 315645 h 3191446"/>
                <a:gd name="connsiteX187" fmla="*/ 2621329 w 4675522"/>
                <a:gd name="connsiteY187" fmla="*/ 380461 h 3191446"/>
                <a:gd name="connsiteX188" fmla="*/ 2643392 w 4675522"/>
                <a:gd name="connsiteY188" fmla="*/ 468270 h 3191446"/>
                <a:gd name="connsiteX189" fmla="*/ 2604892 w 4675522"/>
                <a:gd name="connsiteY189" fmla="*/ 478128 h 3191446"/>
                <a:gd name="connsiteX190" fmla="*/ 2507203 w 4675522"/>
                <a:gd name="connsiteY190" fmla="*/ 426470 h 3191446"/>
                <a:gd name="connsiteX191" fmla="*/ 2468216 w 4675522"/>
                <a:gd name="connsiteY191" fmla="*/ 387970 h 3191446"/>
                <a:gd name="connsiteX192" fmla="*/ 2503437 w 4675522"/>
                <a:gd name="connsiteY192" fmla="*/ 331616 h 3191446"/>
                <a:gd name="connsiteX193" fmla="*/ 2515177 w 4675522"/>
                <a:gd name="connsiteY193" fmla="*/ 279959 h 3191446"/>
                <a:gd name="connsiteX194" fmla="*/ 2504367 w 4675522"/>
                <a:gd name="connsiteY194" fmla="*/ 225953 h 3191446"/>
                <a:gd name="connsiteX195" fmla="*/ 2483700 w 4675522"/>
                <a:gd name="connsiteY195" fmla="*/ 199659 h 3191446"/>
                <a:gd name="connsiteX196" fmla="*/ 2430159 w 4675522"/>
                <a:gd name="connsiteY196" fmla="*/ 216095 h 3191446"/>
                <a:gd name="connsiteX197" fmla="*/ 2342815 w 4675522"/>
                <a:gd name="connsiteY197" fmla="*/ 225022 h 3191446"/>
                <a:gd name="connsiteX198" fmla="*/ 2251705 w 4675522"/>
                <a:gd name="connsiteY198" fmla="*/ 195915 h 3191446"/>
                <a:gd name="connsiteX199" fmla="*/ 2181263 w 4675522"/>
                <a:gd name="connsiteY199" fmla="*/ 171969 h 3191446"/>
                <a:gd name="connsiteX200" fmla="*/ 2097197 w 4675522"/>
                <a:gd name="connsiteY200" fmla="*/ 170086 h 3191446"/>
                <a:gd name="connsiteX201" fmla="*/ 2010318 w 4675522"/>
                <a:gd name="connsiteY201" fmla="*/ 214235 h 3191446"/>
                <a:gd name="connsiteX202" fmla="*/ 1973214 w 4675522"/>
                <a:gd name="connsiteY202" fmla="*/ 270589 h 3191446"/>
                <a:gd name="connsiteX203" fmla="*/ 2017828 w 4675522"/>
                <a:gd name="connsiteY203" fmla="*/ 337265 h 3191446"/>
                <a:gd name="connsiteX204" fmla="*/ 2034729 w 4675522"/>
                <a:gd name="connsiteY204" fmla="*/ 385157 h 3191446"/>
                <a:gd name="connsiteX205" fmla="*/ 2017828 w 4675522"/>
                <a:gd name="connsiteY205" fmla="*/ 451368 h 3191446"/>
                <a:gd name="connsiteX206" fmla="*/ 2019711 w 4675522"/>
                <a:gd name="connsiteY206" fmla="*/ 519463 h 3191446"/>
                <a:gd name="connsiteX207" fmla="*/ 2016432 w 4675522"/>
                <a:gd name="connsiteY207" fmla="*/ 580048 h 3191446"/>
                <a:gd name="connsiteX208" fmla="*/ 1972749 w 4675522"/>
                <a:gd name="connsiteY208" fmla="*/ 654256 h 3191446"/>
                <a:gd name="connsiteX209" fmla="*/ 1954895 w 4675522"/>
                <a:gd name="connsiteY209" fmla="*/ 732673 h 3191446"/>
                <a:gd name="connsiteX210" fmla="*/ 1990116 w 4675522"/>
                <a:gd name="connsiteY210" fmla="*/ 819552 h 3191446"/>
                <a:gd name="connsiteX211" fmla="*/ 2030964 w 4675522"/>
                <a:gd name="connsiteY211" fmla="*/ 913475 h 3191446"/>
                <a:gd name="connsiteX212" fmla="*/ 2033777 w 4675522"/>
                <a:gd name="connsiteY212" fmla="*/ 1007863 h 3191446"/>
                <a:gd name="connsiteX213" fmla="*/ 2057258 w 4675522"/>
                <a:gd name="connsiteY213" fmla="*/ 1098021 h 3191446"/>
                <a:gd name="connsiteX214" fmla="*/ 2122074 w 4675522"/>
                <a:gd name="connsiteY214" fmla="*/ 1155792 h 3191446"/>
                <a:gd name="connsiteX215" fmla="*/ 2190168 w 4675522"/>
                <a:gd name="connsiteY215" fmla="*/ 1188200 h 3191446"/>
                <a:gd name="connsiteX216" fmla="*/ 2249800 w 4675522"/>
                <a:gd name="connsiteY216" fmla="*/ 1206985 h 3191446"/>
                <a:gd name="connsiteX217" fmla="*/ 2262471 w 4675522"/>
                <a:gd name="connsiteY217" fmla="*/ 1256760 h 3191446"/>
                <a:gd name="connsiteX218" fmla="*/ 2282673 w 4675522"/>
                <a:gd name="connsiteY218" fmla="*/ 1314044 h 3191446"/>
                <a:gd name="connsiteX219" fmla="*/ 2369087 w 4675522"/>
                <a:gd name="connsiteY219" fmla="*/ 1337525 h 3191446"/>
                <a:gd name="connsiteX220" fmla="*/ 2449387 w 4675522"/>
                <a:gd name="connsiteY220" fmla="*/ 1351148 h 3191446"/>
                <a:gd name="connsiteX221" fmla="*/ 2519829 w 4675522"/>
                <a:gd name="connsiteY221" fmla="*/ 1385904 h 3191446"/>
                <a:gd name="connsiteX222" fmla="*/ 2587924 w 4675522"/>
                <a:gd name="connsiteY222" fmla="*/ 1413616 h 3191446"/>
                <a:gd name="connsiteX223" fmla="*/ 2636768 w 4675522"/>
                <a:gd name="connsiteY223" fmla="*/ 1400945 h 3191446"/>
                <a:gd name="connsiteX224" fmla="*/ 2709559 w 4675522"/>
                <a:gd name="connsiteY224" fmla="*/ 1365259 h 3191446"/>
                <a:gd name="connsiteX225" fmla="*/ 2802551 w 4675522"/>
                <a:gd name="connsiteY225" fmla="*/ 1419730 h 3191446"/>
                <a:gd name="connsiteX226" fmla="*/ 2841738 w 4675522"/>
                <a:gd name="connsiteY226" fmla="*/ 1568368 h 3191446"/>
                <a:gd name="connsiteX227" fmla="*/ 2919357 w 4675522"/>
                <a:gd name="connsiteY227" fmla="*/ 1721679 h 3191446"/>
                <a:gd name="connsiteX228" fmla="*/ 3134295 w 4675522"/>
                <a:gd name="connsiteY228" fmla="*/ 1773603 h 3191446"/>
                <a:gd name="connsiteX229" fmla="*/ 3467988 w 4675522"/>
                <a:gd name="connsiteY229" fmla="*/ 1722654 h 3191446"/>
                <a:gd name="connsiteX230" fmla="*/ 3762916 w 4675522"/>
                <a:gd name="connsiteY230" fmla="*/ 1835362 h 3191446"/>
                <a:gd name="connsiteX231" fmla="*/ 4176909 w 4675522"/>
                <a:gd name="connsiteY231" fmla="*/ 1845042 h 3191446"/>
                <a:gd name="connsiteX232" fmla="*/ 4675522 w 4675522"/>
                <a:gd name="connsiteY232" fmla="*/ 1755394 h 3191446"/>
                <a:gd name="connsiteX0" fmla="*/ 1084931 w 4675522"/>
                <a:gd name="connsiteY0" fmla="*/ 2472223 h 3191446"/>
                <a:gd name="connsiteX1" fmla="*/ 917752 w 4675522"/>
                <a:gd name="connsiteY1" fmla="*/ 2452021 h 3191446"/>
                <a:gd name="connsiteX2" fmla="*/ 614850 w 4675522"/>
                <a:gd name="connsiteY2" fmla="*/ 2495216 h 3191446"/>
                <a:gd name="connsiteX3" fmla="*/ 339660 w 4675522"/>
                <a:gd name="connsiteY3" fmla="*/ 2467970 h 3191446"/>
                <a:gd name="connsiteX4" fmla="*/ 95925 w 4675522"/>
                <a:gd name="connsiteY4" fmla="*/ 2425704 h 3191446"/>
                <a:gd name="connsiteX5" fmla="*/ 55542 w 4675522"/>
                <a:gd name="connsiteY5" fmla="*/ 2490985 h 3191446"/>
                <a:gd name="connsiteX6" fmla="*/ 71979 w 4675522"/>
                <a:gd name="connsiteY6" fmla="*/ 2650190 h 3191446"/>
                <a:gd name="connsiteX7" fmla="*/ 26900 w 4675522"/>
                <a:gd name="connsiteY7" fmla="*/ 2845080 h 3191446"/>
                <a:gd name="connsiteX8" fmla="*/ 5767 w 4675522"/>
                <a:gd name="connsiteY8" fmla="*/ 3005215 h 3191446"/>
                <a:gd name="connsiteX9" fmla="*/ 124589 w 4675522"/>
                <a:gd name="connsiteY9" fmla="*/ 3049363 h 3191446"/>
                <a:gd name="connsiteX10" fmla="*/ 315736 w 4675522"/>
                <a:gd name="connsiteY10" fmla="*/ 2993475 h 3191446"/>
                <a:gd name="connsiteX11" fmla="*/ 549148 w 4675522"/>
                <a:gd name="connsiteY11" fmla="*/ 2954022 h 3191446"/>
                <a:gd name="connsiteX12" fmla="*/ 884458 w 4675522"/>
                <a:gd name="connsiteY12" fmla="*/ 2879814 h 3191446"/>
                <a:gd name="connsiteX13" fmla="*/ 1154488 w 4675522"/>
                <a:gd name="connsiteY13" fmla="*/ 2879814 h 3191446"/>
                <a:gd name="connsiteX14" fmla="*/ 1270009 w 4675522"/>
                <a:gd name="connsiteY14" fmla="*/ 2964345 h 3191446"/>
                <a:gd name="connsiteX15" fmla="*/ 1413707 w 4675522"/>
                <a:gd name="connsiteY15" fmla="*/ 3061081 h 3191446"/>
                <a:gd name="connsiteX16" fmla="*/ 1565867 w 4675522"/>
                <a:gd name="connsiteY16" fmla="*/ 3104765 h 3191446"/>
                <a:gd name="connsiteX17" fmla="*/ 1690780 w 4675522"/>
                <a:gd name="connsiteY17" fmla="*/ 3107578 h 3191446"/>
                <a:gd name="connsiteX18" fmla="*/ 1820390 w 4675522"/>
                <a:gd name="connsiteY18" fmla="*/ 3139986 h 3191446"/>
                <a:gd name="connsiteX19" fmla="*/ 1899759 w 4675522"/>
                <a:gd name="connsiteY19" fmla="*/ 3178485 h 3191446"/>
                <a:gd name="connsiteX20" fmla="*/ 1940142 w 4675522"/>
                <a:gd name="connsiteY20" fmla="*/ 3188808 h 3191446"/>
                <a:gd name="connsiteX21" fmla="*/ 1936730 w 4675522"/>
                <a:gd name="connsiteY21" fmla="*/ 3145125 h 3191446"/>
                <a:gd name="connsiteX22" fmla="*/ 1900667 w 4675522"/>
                <a:gd name="connsiteY22" fmla="*/ 3102505 h 3191446"/>
                <a:gd name="connsiteX23" fmla="*/ 1840437 w 4675522"/>
                <a:gd name="connsiteY23" fmla="*/ 3088771 h 3191446"/>
                <a:gd name="connsiteX24" fmla="*/ 1849962 w 4675522"/>
                <a:gd name="connsiteY24" fmla="*/ 3120825 h 3191446"/>
                <a:gd name="connsiteX25" fmla="*/ 1953278 w 4675522"/>
                <a:gd name="connsiteY25" fmla="*/ 3169071 h 3191446"/>
                <a:gd name="connsiteX26" fmla="*/ 1959391 w 4675522"/>
                <a:gd name="connsiteY26" fmla="*/ 3084540 h 3191446"/>
                <a:gd name="connsiteX27" fmla="*/ 1899759 w 4675522"/>
                <a:gd name="connsiteY27" fmla="*/ 3000940 h 3191446"/>
                <a:gd name="connsiteX28" fmla="*/ 1783285 w 4675522"/>
                <a:gd name="connsiteY28" fmla="*/ 2944121 h 3191446"/>
                <a:gd name="connsiteX29" fmla="*/ 1627360 w 4675522"/>
                <a:gd name="connsiteY29" fmla="*/ 2916409 h 3191446"/>
                <a:gd name="connsiteX30" fmla="*/ 1545177 w 4675522"/>
                <a:gd name="connsiteY30" fmla="*/ 2842201 h 3191446"/>
                <a:gd name="connsiteX31" fmla="*/ 1554392 w 4675522"/>
                <a:gd name="connsiteY31" fmla="*/ 2723512 h 3191446"/>
                <a:gd name="connsiteX32" fmla="*/ 1443966 w 4675522"/>
                <a:gd name="connsiteY32" fmla="*/ 2598488 h 3191446"/>
                <a:gd name="connsiteX33" fmla="*/ 1436523 w 4675522"/>
                <a:gd name="connsiteY33" fmla="*/ 2546476 h 3191446"/>
                <a:gd name="connsiteX34" fmla="*/ 1697802 w 4675522"/>
                <a:gd name="connsiteY34" fmla="*/ 2645449 h 3191446"/>
                <a:gd name="connsiteX35" fmla="*/ 1957044 w 4675522"/>
                <a:gd name="connsiteY35" fmla="*/ 2760040 h 3191446"/>
                <a:gd name="connsiteX36" fmla="*/ 2129871 w 4675522"/>
                <a:gd name="connsiteY36" fmla="*/ 2773198 h 3191446"/>
                <a:gd name="connsiteX37" fmla="*/ 2305047 w 4675522"/>
                <a:gd name="connsiteY37" fmla="*/ 2753948 h 3191446"/>
                <a:gd name="connsiteX38" fmla="*/ 2467529 w 4675522"/>
                <a:gd name="connsiteY38" fmla="*/ 2746904 h 3191446"/>
                <a:gd name="connsiteX39" fmla="*/ 2576959 w 4675522"/>
                <a:gd name="connsiteY39" fmla="*/ 2726702 h 3191446"/>
                <a:gd name="connsiteX40" fmla="*/ 2638939 w 4675522"/>
                <a:gd name="connsiteY40" fmla="*/ 2743603 h 3191446"/>
                <a:gd name="connsiteX41" fmla="*/ 2616389 w 4675522"/>
                <a:gd name="connsiteY41" fmla="*/ 2790100 h 3191446"/>
                <a:gd name="connsiteX42" fmla="*/ 2473156 w 4675522"/>
                <a:gd name="connsiteY42" fmla="*/ 2819694 h 3191446"/>
                <a:gd name="connsiteX43" fmla="*/ 2356217 w 4675522"/>
                <a:gd name="connsiteY43" fmla="*/ 2844593 h 3191446"/>
                <a:gd name="connsiteX44" fmla="*/ 2212519 w 4675522"/>
                <a:gd name="connsiteY44" fmla="*/ 2869491 h 3191446"/>
                <a:gd name="connsiteX45" fmla="*/ 2100276 w 4675522"/>
                <a:gd name="connsiteY45" fmla="*/ 2919266 h 3191446"/>
                <a:gd name="connsiteX46" fmla="*/ 2233652 w 4675522"/>
                <a:gd name="connsiteY46" fmla="*/ 2930076 h 3191446"/>
                <a:gd name="connsiteX47" fmla="*/ 2464716 w 4675522"/>
                <a:gd name="connsiteY47" fmla="*/ 2860564 h 3191446"/>
                <a:gd name="connsiteX48" fmla="*/ 2581655 w 4675522"/>
                <a:gd name="connsiteY48" fmla="*/ 2830504 h 3191446"/>
                <a:gd name="connsiteX49" fmla="*/ 2583538 w 4675522"/>
                <a:gd name="connsiteY49" fmla="*/ 2879349 h 3191446"/>
                <a:gd name="connsiteX50" fmla="*/ 2491963 w 4675522"/>
                <a:gd name="connsiteY50" fmla="*/ 2947908 h 3191446"/>
                <a:gd name="connsiteX51" fmla="*/ 2305999 w 4675522"/>
                <a:gd name="connsiteY51" fmla="*/ 3039949 h 3191446"/>
                <a:gd name="connsiteX52" fmla="*/ 2125662 w 4675522"/>
                <a:gd name="connsiteY52" fmla="*/ 3096768 h 3191446"/>
                <a:gd name="connsiteX53" fmla="*/ 2023764 w 4675522"/>
                <a:gd name="connsiteY53" fmla="*/ 3072357 h 3191446"/>
                <a:gd name="connsiteX54" fmla="*/ 1932189 w 4675522"/>
                <a:gd name="connsiteY54" fmla="*/ 2980316 h 3191446"/>
                <a:gd name="connsiteX55" fmla="*/ 1783795 w 4675522"/>
                <a:gd name="connsiteY55" fmla="*/ 2897668 h 3191446"/>
                <a:gd name="connsiteX56" fmla="*/ 1610968 w 4675522"/>
                <a:gd name="connsiteY56" fmla="*/ 2855403 h 3191446"/>
                <a:gd name="connsiteX57" fmla="*/ 1425469 w 4675522"/>
                <a:gd name="connsiteY57" fmla="*/ 2833340 h 3191446"/>
                <a:gd name="connsiteX58" fmla="*/ 1258290 w 4675522"/>
                <a:gd name="connsiteY58" fmla="*/ 2792957 h 3191446"/>
                <a:gd name="connsiteX59" fmla="*/ 1178456 w 4675522"/>
                <a:gd name="connsiteY59" fmla="*/ 2664743 h 3191446"/>
                <a:gd name="connsiteX60" fmla="*/ 1164367 w 4675522"/>
                <a:gd name="connsiteY60" fmla="*/ 2536529 h 3191446"/>
                <a:gd name="connsiteX61" fmla="*/ 1214142 w 4675522"/>
                <a:gd name="connsiteY61" fmla="*/ 2455277 h 3191446"/>
                <a:gd name="connsiteX62" fmla="*/ 1388365 w 4675522"/>
                <a:gd name="connsiteY62" fmla="*/ 2443537 h 3191446"/>
                <a:gd name="connsiteX63" fmla="*/ 1636331 w 4675522"/>
                <a:gd name="connsiteY63" fmla="*/ 2523371 h 3191446"/>
                <a:gd name="connsiteX64" fmla="*/ 1864560 w 4675522"/>
                <a:gd name="connsiteY64" fmla="*/ 2660512 h 3191446"/>
                <a:gd name="connsiteX65" fmla="*/ 2072144 w 4675522"/>
                <a:gd name="connsiteY65" fmla="*/ 2731420 h 3191446"/>
                <a:gd name="connsiteX66" fmla="*/ 2214911 w 4675522"/>
                <a:gd name="connsiteY66" fmla="*/ 2734698 h 3191446"/>
                <a:gd name="connsiteX67" fmla="*/ 2267500 w 4675522"/>
                <a:gd name="connsiteY67" fmla="*/ 2704639 h 3191446"/>
                <a:gd name="connsiteX68" fmla="*/ 2241671 w 4675522"/>
                <a:gd name="connsiteY68" fmla="*/ 2669882 h 3191446"/>
                <a:gd name="connsiteX69" fmla="*/ 2168880 w 4675522"/>
                <a:gd name="connsiteY69" fmla="*/ 2654864 h 3191446"/>
                <a:gd name="connsiteX70" fmla="*/ 2052894 w 4675522"/>
                <a:gd name="connsiteY70" fmla="*/ 2628570 h 3191446"/>
                <a:gd name="connsiteX71" fmla="*/ 1937373 w 4675522"/>
                <a:gd name="connsiteY71" fmla="*/ 2586304 h 3191446"/>
                <a:gd name="connsiteX72" fmla="*/ 1948183 w 4675522"/>
                <a:gd name="connsiteY72" fmla="*/ 2574099 h 3191446"/>
                <a:gd name="connsiteX73" fmla="*/ 2132751 w 4675522"/>
                <a:gd name="connsiteY73" fmla="*/ 2622943 h 3191446"/>
                <a:gd name="connsiteX74" fmla="*/ 2301347 w 4675522"/>
                <a:gd name="connsiteY74" fmla="*/ 2650655 h 3191446"/>
                <a:gd name="connsiteX75" fmla="*/ 2441302 w 4675522"/>
                <a:gd name="connsiteY75" fmla="*/ 2699499 h 3191446"/>
                <a:gd name="connsiteX76" fmla="*/ 2542269 w 4675522"/>
                <a:gd name="connsiteY76" fmla="*/ 2697151 h 3191446"/>
                <a:gd name="connsiteX77" fmla="*/ 2539456 w 4675522"/>
                <a:gd name="connsiteY77" fmla="*/ 2661930 h 3191446"/>
                <a:gd name="connsiteX78" fmla="*/ 2454460 w 4675522"/>
                <a:gd name="connsiteY78" fmla="*/ 2611690 h 3191446"/>
                <a:gd name="connsiteX79" fmla="*/ 2339404 w 4675522"/>
                <a:gd name="connsiteY79" fmla="*/ 2582583 h 3191446"/>
                <a:gd name="connsiteX80" fmla="*/ 2167529 w 4675522"/>
                <a:gd name="connsiteY80" fmla="*/ 2549244 h 3191446"/>
                <a:gd name="connsiteX81" fmla="*/ 2103665 w 4675522"/>
                <a:gd name="connsiteY81" fmla="*/ 2521068 h 3191446"/>
                <a:gd name="connsiteX82" fmla="*/ 2303718 w 4675522"/>
                <a:gd name="connsiteY82" fmla="*/ 2553476 h 3191446"/>
                <a:gd name="connsiteX83" fmla="*/ 2511766 w 4675522"/>
                <a:gd name="connsiteY83" fmla="*/ 2609829 h 3191446"/>
                <a:gd name="connsiteX84" fmla="*/ 2632449 w 4675522"/>
                <a:gd name="connsiteY84" fmla="*/ 2655861 h 3191446"/>
                <a:gd name="connsiteX85" fmla="*/ 2726837 w 4675522"/>
                <a:gd name="connsiteY85" fmla="*/ 2646468 h 3191446"/>
                <a:gd name="connsiteX86" fmla="*/ 2719328 w 4675522"/>
                <a:gd name="connsiteY86" fmla="*/ 2584000 h 3191446"/>
                <a:gd name="connsiteX87" fmla="*/ 2610385 w 4675522"/>
                <a:gd name="connsiteY87" fmla="*/ 2532808 h 3191446"/>
                <a:gd name="connsiteX88" fmla="*/ 2430049 w 4675522"/>
                <a:gd name="connsiteY88" fmla="*/ 2499935 h 3191446"/>
                <a:gd name="connsiteX89" fmla="*/ 2272262 w 4675522"/>
                <a:gd name="connsiteY89" fmla="*/ 2458135 h 3191446"/>
                <a:gd name="connsiteX90" fmla="*/ 2234693 w 4675522"/>
                <a:gd name="connsiteY90" fmla="*/ 2429027 h 3191446"/>
                <a:gd name="connsiteX91" fmla="*/ 2399058 w 4675522"/>
                <a:gd name="connsiteY91" fmla="*/ 2469875 h 3191446"/>
                <a:gd name="connsiteX92" fmla="*/ 2652186 w 4675522"/>
                <a:gd name="connsiteY92" fmla="*/ 2526694 h 3191446"/>
                <a:gd name="connsiteX93" fmla="*/ 2754571 w 4675522"/>
                <a:gd name="connsiteY93" fmla="*/ 2489590 h 3191446"/>
                <a:gd name="connsiteX94" fmla="*/ 2724046 w 4675522"/>
                <a:gd name="connsiteY94" fmla="*/ 2420565 h 3191446"/>
                <a:gd name="connsiteX95" fmla="*/ 2589740 w 4675522"/>
                <a:gd name="connsiteY95" fmla="*/ 2366560 h 3191446"/>
                <a:gd name="connsiteX96" fmla="*/ 2343657 w 4675522"/>
                <a:gd name="connsiteY96" fmla="*/ 2344962 h 3191446"/>
                <a:gd name="connsiteX97" fmla="*/ 2141257 w 4675522"/>
                <a:gd name="connsiteY97" fmla="*/ 2293304 h 3191446"/>
                <a:gd name="connsiteX98" fmla="*/ 2055308 w 4675522"/>
                <a:gd name="connsiteY98" fmla="*/ 2206890 h 3191446"/>
                <a:gd name="connsiteX99" fmla="*/ 2016809 w 4675522"/>
                <a:gd name="connsiteY99" fmla="*/ 2102157 h 3191446"/>
                <a:gd name="connsiteX100" fmla="*/ 2086321 w 4675522"/>
                <a:gd name="connsiteY100" fmla="*/ 2090416 h 3191446"/>
                <a:gd name="connsiteX101" fmla="*/ 2338518 w 4675522"/>
                <a:gd name="connsiteY101" fmla="*/ 2147701 h 3191446"/>
                <a:gd name="connsiteX102" fmla="*/ 2493491 w 4675522"/>
                <a:gd name="connsiteY102" fmla="*/ 2144422 h 3191446"/>
                <a:gd name="connsiteX103" fmla="*/ 2512276 w 4675522"/>
                <a:gd name="connsiteY103" fmla="*/ 2062705 h 3191446"/>
                <a:gd name="connsiteX104" fmla="*/ 2464384 w 4675522"/>
                <a:gd name="connsiteY104" fmla="*/ 2004003 h 3191446"/>
                <a:gd name="connsiteX105" fmla="*/ 2333822 w 4675522"/>
                <a:gd name="connsiteY105" fmla="*/ 1978639 h 3191446"/>
                <a:gd name="connsiteX106" fmla="*/ 2166643 w 4675522"/>
                <a:gd name="connsiteY106" fmla="*/ 1902570 h 3191446"/>
                <a:gd name="connsiteX107" fmla="*/ 2015900 w 4675522"/>
                <a:gd name="connsiteY107" fmla="*/ 1854191 h 3191446"/>
                <a:gd name="connsiteX108" fmla="*/ 1838377 w 4675522"/>
                <a:gd name="connsiteY108" fmla="*/ 1858422 h 3191446"/>
                <a:gd name="connsiteX109" fmla="*/ 1703606 w 4675522"/>
                <a:gd name="connsiteY109" fmla="*/ 1851843 h 3191446"/>
                <a:gd name="connsiteX110" fmla="*/ 1584319 w 4675522"/>
                <a:gd name="connsiteY110" fmla="*/ 1886133 h 3191446"/>
                <a:gd name="connsiteX111" fmla="*/ 1478655 w 4675522"/>
                <a:gd name="connsiteY111" fmla="*/ 1992728 h 3191446"/>
                <a:gd name="connsiteX112" fmla="*/ 1528895 w 4675522"/>
                <a:gd name="connsiteY112" fmla="*/ 2092277 h 3191446"/>
                <a:gd name="connsiteX113" fmla="*/ 1658505 w 4675522"/>
                <a:gd name="connsiteY113" fmla="*/ 2148166 h 3191446"/>
                <a:gd name="connsiteX114" fmla="*/ 1834611 w 4675522"/>
                <a:gd name="connsiteY114" fmla="*/ 2196058 h 3191446"/>
                <a:gd name="connsiteX115" fmla="*/ 1859975 w 4675522"/>
                <a:gd name="connsiteY115" fmla="*/ 2215773 h 3191446"/>
                <a:gd name="connsiteX116" fmla="*/ 1732248 w 4675522"/>
                <a:gd name="connsiteY116" fmla="*/ 2221887 h 3191446"/>
                <a:gd name="connsiteX117" fmla="*/ 1555677 w 4675522"/>
                <a:gd name="connsiteY117" fmla="*/ 2157558 h 3191446"/>
                <a:gd name="connsiteX118" fmla="*/ 1423232 w 4675522"/>
                <a:gd name="connsiteY118" fmla="*/ 2063170 h 3191446"/>
                <a:gd name="connsiteX119" fmla="*/ 1319451 w 4675522"/>
                <a:gd name="connsiteY119" fmla="*/ 2045316 h 3191446"/>
                <a:gd name="connsiteX120" fmla="*/ 1242430 w 4675522"/>
                <a:gd name="connsiteY120" fmla="*/ 2128916 h 3191446"/>
                <a:gd name="connsiteX121" fmla="*/ 1247591 w 4675522"/>
                <a:gd name="connsiteY121" fmla="*/ 2264174 h 3191446"/>
                <a:gd name="connsiteX122" fmla="*/ 1286091 w 4675522"/>
                <a:gd name="connsiteY122" fmla="*/ 2335547 h 3191446"/>
                <a:gd name="connsiteX123" fmla="*/ 1208604 w 4675522"/>
                <a:gd name="connsiteY123" fmla="*/ 2308788 h 3191446"/>
                <a:gd name="connsiteX124" fmla="*/ 1028732 w 4675522"/>
                <a:gd name="connsiteY124" fmla="*/ 2276845 h 3191446"/>
                <a:gd name="connsiteX125" fmla="*/ 730526 w 4675522"/>
                <a:gd name="connsiteY125" fmla="*/ 2275427 h 3191446"/>
                <a:gd name="connsiteX126" fmla="*/ 477399 w 4675522"/>
                <a:gd name="connsiteY126" fmla="*/ 2167416 h 3191446"/>
                <a:gd name="connsiteX127" fmla="*/ 336049 w 4675522"/>
                <a:gd name="connsiteY127" fmla="*/ 2056126 h 3191446"/>
                <a:gd name="connsiteX128" fmla="*/ 250588 w 4675522"/>
                <a:gd name="connsiteY128" fmla="*/ 1935908 h 3191446"/>
                <a:gd name="connsiteX129" fmla="*/ 300363 w 4675522"/>
                <a:gd name="connsiteY129" fmla="*/ 1899270 h 3191446"/>
                <a:gd name="connsiteX130" fmla="*/ 475538 w 4675522"/>
                <a:gd name="connsiteY130" fmla="*/ 1751806 h 3191446"/>
                <a:gd name="connsiteX131" fmla="*/ 583085 w 4675522"/>
                <a:gd name="connsiteY131" fmla="*/ 1579443 h 3191446"/>
                <a:gd name="connsiteX132" fmla="*/ 688283 w 4675522"/>
                <a:gd name="connsiteY132" fmla="*/ 1574747 h 3191446"/>
                <a:gd name="connsiteX133" fmla="*/ 981793 w 4675522"/>
                <a:gd name="connsiteY133" fmla="*/ 1784679 h 3191446"/>
                <a:gd name="connsiteX134" fmla="*/ 1282126 w 4675522"/>
                <a:gd name="connsiteY134" fmla="*/ 1867327 h 3191446"/>
                <a:gd name="connsiteX135" fmla="*/ 1575414 w 4675522"/>
                <a:gd name="connsiteY135" fmla="*/ 1895038 h 3191446"/>
                <a:gd name="connsiteX136" fmla="*/ 1855079 w 4675522"/>
                <a:gd name="connsiteY136" fmla="*/ 1910545 h 3191446"/>
                <a:gd name="connsiteX137" fmla="*/ 2162456 w 4675522"/>
                <a:gd name="connsiteY137" fmla="*/ 1802533 h 3191446"/>
                <a:gd name="connsiteX138" fmla="*/ 2353714 w 4675522"/>
                <a:gd name="connsiteY138" fmla="*/ 1811859 h 3191446"/>
                <a:gd name="connsiteX139" fmla="*/ 2626445 w 4675522"/>
                <a:gd name="connsiteY139" fmla="*/ 1820609 h 3191446"/>
                <a:gd name="connsiteX140" fmla="*/ 3079160 w 4675522"/>
                <a:gd name="connsiteY140" fmla="*/ 1657993 h 3191446"/>
                <a:gd name="connsiteX141" fmla="*/ 3323006 w 4675522"/>
                <a:gd name="connsiteY141" fmla="*/ 1362202 h 3191446"/>
                <a:gd name="connsiteX142" fmla="*/ 3417283 w 4675522"/>
                <a:gd name="connsiteY142" fmla="*/ 1008749 h 3191446"/>
                <a:gd name="connsiteX143" fmla="*/ 3387932 w 4675522"/>
                <a:gd name="connsiteY143" fmla="*/ 611680 h 3191446"/>
                <a:gd name="connsiteX144" fmla="*/ 3165795 w 4675522"/>
                <a:gd name="connsiteY144" fmla="*/ 239266 h 3191446"/>
                <a:gd name="connsiteX145" fmla="*/ 2780599 w 4675522"/>
                <a:gd name="connsiteY145" fmla="*/ 36445 h 3191446"/>
                <a:gd name="connsiteX146" fmla="*/ 2363239 w 4675522"/>
                <a:gd name="connsiteY146" fmla="*/ 13607 h 3191446"/>
                <a:gd name="connsiteX147" fmla="*/ 1949844 w 4675522"/>
                <a:gd name="connsiteY147" fmla="*/ 187187 h 3191446"/>
                <a:gd name="connsiteX148" fmla="*/ 1700483 w 4675522"/>
                <a:gd name="connsiteY148" fmla="*/ 506991 h 3191446"/>
                <a:gd name="connsiteX149" fmla="*/ 1610923 w 4675522"/>
                <a:gd name="connsiteY149" fmla="*/ 850941 h 3191446"/>
                <a:gd name="connsiteX150" fmla="*/ 1681698 w 4675522"/>
                <a:gd name="connsiteY150" fmla="*/ 1253703 h 3191446"/>
                <a:gd name="connsiteX151" fmla="*/ 2100608 w 4675522"/>
                <a:gd name="connsiteY151" fmla="*/ 1667430 h 3191446"/>
                <a:gd name="connsiteX152" fmla="*/ 2697508 w 4675522"/>
                <a:gd name="connsiteY152" fmla="*/ 1747973 h 3191446"/>
                <a:gd name="connsiteX153" fmla="*/ 2782393 w 4675522"/>
                <a:gd name="connsiteY153" fmla="*/ 1686037 h 3191446"/>
                <a:gd name="connsiteX154" fmla="*/ 2741546 w 4675522"/>
                <a:gd name="connsiteY154" fmla="*/ 1570051 h 3191446"/>
                <a:gd name="connsiteX155" fmla="*/ 2850975 w 4675522"/>
                <a:gd name="connsiteY155" fmla="*/ 1458761 h 3191446"/>
                <a:gd name="connsiteX156" fmla="*/ 2942085 w 4675522"/>
                <a:gd name="connsiteY156" fmla="*/ 1369999 h 3191446"/>
                <a:gd name="connsiteX157" fmla="*/ 3018154 w 4675522"/>
                <a:gd name="connsiteY157" fmla="*/ 1277494 h 3191446"/>
                <a:gd name="connsiteX158" fmla="*/ 3148229 w 4675522"/>
                <a:gd name="connsiteY158" fmla="*/ 1255896 h 3191446"/>
                <a:gd name="connsiteX159" fmla="*/ 3234842 w 4675522"/>
                <a:gd name="connsiteY159" fmla="*/ 1331034 h 3191446"/>
                <a:gd name="connsiteX160" fmla="*/ 3245297 w 4675522"/>
                <a:gd name="connsiteY160" fmla="*/ 1418378 h 3191446"/>
                <a:gd name="connsiteX161" fmla="*/ 3159703 w 4675522"/>
                <a:gd name="connsiteY161" fmla="*/ 1450321 h 3191446"/>
                <a:gd name="connsiteX162" fmla="*/ 3064185 w 4675522"/>
                <a:gd name="connsiteY162" fmla="*/ 1435302 h 3191446"/>
                <a:gd name="connsiteX163" fmla="*/ 3020502 w 4675522"/>
                <a:gd name="connsiteY163" fmla="*/ 1574769 h 3191446"/>
                <a:gd name="connsiteX164" fmla="*/ 2949594 w 4675522"/>
                <a:gd name="connsiteY164" fmla="*/ 1681851 h 3191446"/>
                <a:gd name="connsiteX165" fmla="*/ 2864133 w 4675522"/>
                <a:gd name="connsiteY165" fmla="*/ 1687477 h 3191446"/>
                <a:gd name="connsiteX166" fmla="*/ 2784298 w 4675522"/>
                <a:gd name="connsiteY166" fmla="*/ 1615152 h 3191446"/>
                <a:gd name="connsiteX167" fmla="*/ 2772093 w 4675522"/>
                <a:gd name="connsiteY167" fmla="*/ 1503374 h 3191446"/>
                <a:gd name="connsiteX168" fmla="*/ 2730758 w 4675522"/>
                <a:gd name="connsiteY168" fmla="*/ 1430119 h 3191446"/>
                <a:gd name="connsiteX169" fmla="*/ 2659850 w 4675522"/>
                <a:gd name="connsiteY169" fmla="*/ 1405220 h 3191446"/>
                <a:gd name="connsiteX170" fmla="*/ 2593174 w 4675522"/>
                <a:gd name="connsiteY170" fmla="*/ 1359189 h 3191446"/>
                <a:gd name="connsiteX171" fmla="*/ 2537750 w 4675522"/>
                <a:gd name="connsiteY171" fmla="*/ 1300952 h 3191446"/>
                <a:gd name="connsiteX172" fmla="*/ 2441014 w 4675522"/>
                <a:gd name="connsiteY172" fmla="*/ 1250225 h 3191446"/>
                <a:gd name="connsiteX173" fmla="*/ 2416115 w 4675522"/>
                <a:gd name="connsiteY173" fmla="*/ 1147375 h 3191446"/>
                <a:gd name="connsiteX174" fmla="*/ 2468238 w 4675522"/>
                <a:gd name="connsiteY174" fmla="*/ 1068470 h 3191446"/>
                <a:gd name="connsiteX175" fmla="*/ 2642461 w 4675522"/>
                <a:gd name="connsiteY175" fmla="*/ 1051923 h 3191446"/>
                <a:gd name="connsiteX176" fmla="*/ 2723226 w 4675522"/>
                <a:gd name="connsiteY176" fmla="*/ 972199 h 3191446"/>
                <a:gd name="connsiteX177" fmla="*/ 2755634 w 4675522"/>
                <a:gd name="connsiteY177" fmla="*/ 865007 h 3191446"/>
                <a:gd name="connsiteX178" fmla="*/ 2811523 w 4675522"/>
                <a:gd name="connsiteY178" fmla="*/ 762267 h 3191446"/>
                <a:gd name="connsiteX179" fmla="*/ 2859415 w 4675522"/>
                <a:gd name="connsiteY179" fmla="*/ 634519 h 3191446"/>
                <a:gd name="connsiteX180" fmla="*/ 2927974 w 4675522"/>
                <a:gd name="connsiteY180" fmla="*/ 554684 h 3191446"/>
                <a:gd name="connsiteX181" fmla="*/ 2974006 w 4675522"/>
                <a:gd name="connsiteY181" fmla="*/ 491286 h 3191446"/>
                <a:gd name="connsiteX182" fmla="*/ 2861298 w 4675522"/>
                <a:gd name="connsiteY182" fmla="*/ 390784 h 3191446"/>
                <a:gd name="connsiteX183" fmla="*/ 2754216 w 4675522"/>
                <a:gd name="connsiteY183" fmla="*/ 343822 h 3191446"/>
                <a:gd name="connsiteX184" fmla="*/ 2685192 w 4675522"/>
                <a:gd name="connsiteY184" fmla="*/ 333012 h 3191446"/>
                <a:gd name="connsiteX185" fmla="*/ 2626490 w 4675522"/>
                <a:gd name="connsiteY185" fmla="*/ 315645 h 3191446"/>
                <a:gd name="connsiteX186" fmla="*/ 2621329 w 4675522"/>
                <a:gd name="connsiteY186" fmla="*/ 380461 h 3191446"/>
                <a:gd name="connsiteX187" fmla="*/ 2643392 w 4675522"/>
                <a:gd name="connsiteY187" fmla="*/ 468270 h 3191446"/>
                <a:gd name="connsiteX188" fmla="*/ 2604892 w 4675522"/>
                <a:gd name="connsiteY188" fmla="*/ 478128 h 3191446"/>
                <a:gd name="connsiteX189" fmla="*/ 2507203 w 4675522"/>
                <a:gd name="connsiteY189" fmla="*/ 426470 h 3191446"/>
                <a:gd name="connsiteX190" fmla="*/ 2468216 w 4675522"/>
                <a:gd name="connsiteY190" fmla="*/ 387970 h 3191446"/>
                <a:gd name="connsiteX191" fmla="*/ 2503437 w 4675522"/>
                <a:gd name="connsiteY191" fmla="*/ 331616 h 3191446"/>
                <a:gd name="connsiteX192" fmla="*/ 2515177 w 4675522"/>
                <a:gd name="connsiteY192" fmla="*/ 279959 h 3191446"/>
                <a:gd name="connsiteX193" fmla="*/ 2504367 w 4675522"/>
                <a:gd name="connsiteY193" fmla="*/ 225953 h 3191446"/>
                <a:gd name="connsiteX194" fmla="*/ 2483700 w 4675522"/>
                <a:gd name="connsiteY194" fmla="*/ 199659 h 3191446"/>
                <a:gd name="connsiteX195" fmla="*/ 2430159 w 4675522"/>
                <a:gd name="connsiteY195" fmla="*/ 216095 h 3191446"/>
                <a:gd name="connsiteX196" fmla="*/ 2342815 w 4675522"/>
                <a:gd name="connsiteY196" fmla="*/ 225022 h 3191446"/>
                <a:gd name="connsiteX197" fmla="*/ 2251705 w 4675522"/>
                <a:gd name="connsiteY197" fmla="*/ 195915 h 3191446"/>
                <a:gd name="connsiteX198" fmla="*/ 2181263 w 4675522"/>
                <a:gd name="connsiteY198" fmla="*/ 171969 h 3191446"/>
                <a:gd name="connsiteX199" fmla="*/ 2097197 w 4675522"/>
                <a:gd name="connsiteY199" fmla="*/ 170086 h 3191446"/>
                <a:gd name="connsiteX200" fmla="*/ 2010318 w 4675522"/>
                <a:gd name="connsiteY200" fmla="*/ 214235 h 3191446"/>
                <a:gd name="connsiteX201" fmla="*/ 1973214 w 4675522"/>
                <a:gd name="connsiteY201" fmla="*/ 270589 h 3191446"/>
                <a:gd name="connsiteX202" fmla="*/ 2017828 w 4675522"/>
                <a:gd name="connsiteY202" fmla="*/ 337265 h 3191446"/>
                <a:gd name="connsiteX203" fmla="*/ 2034729 w 4675522"/>
                <a:gd name="connsiteY203" fmla="*/ 385157 h 3191446"/>
                <a:gd name="connsiteX204" fmla="*/ 2017828 w 4675522"/>
                <a:gd name="connsiteY204" fmla="*/ 451368 h 3191446"/>
                <a:gd name="connsiteX205" fmla="*/ 2019711 w 4675522"/>
                <a:gd name="connsiteY205" fmla="*/ 519463 h 3191446"/>
                <a:gd name="connsiteX206" fmla="*/ 2016432 w 4675522"/>
                <a:gd name="connsiteY206" fmla="*/ 580048 h 3191446"/>
                <a:gd name="connsiteX207" fmla="*/ 1972749 w 4675522"/>
                <a:gd name="connsiteY207" fmla="*/ 654256 h 3191446"/>
                <a:gd name="connsiteX208" fmla="*/ 1954895 w 4675522"/>
                <a:gd name="connsiteY208" fmla="*/ 732673 h 3191446"/>
                <a:gd name="connsiteX209" fmla="*/ 1990116 w 4675522"/>
                <a:gd name="connsiteY209" fmla="*/ 819552 h 3191446"/>
                <a:gd name="connsiteX210" fmla="*/ 2030964 w 4675522"/>
                <a:gd name="connsiteY210" fmla="*/ 913475 h 3191446"/>
                <a:gd name="connsiteX211" fmla="*/ 2033777 w 4675522"/>
                <a:gd name="connsiteY211" fmla="*/ 1007863 h 3191446"/>
                <a:gd name="connsiteX212" fmla="*/ 2057258 w 4675522"/>
                <a:gd name="connsiteY212" fmla="*/ 1098021 h 3191446"/>
                <a:gd name="connsiteX213" fmla="*/ 2122074 w 4675522"/>
                <a:gd name="connsiteY213" fmla="*/ 1155792 h 3191446"/>
                <a:gd name="connsiteX214" fmla="*/ 2190168 w 4675522"/>
                <a:gd name="connsiteY214" fmla="*/ 1188200 h 3191446"/>
                <a:gd name="connsiteX215" fmla="*/ 2249800 w 4675522"/>
                <a:gd name="connsiteY215" fmla="*/ 1206985 h 3191446"/>
                <a:gd name="connsiteX216" fmla="*/ 2262471 w 4675522"/>
                <a:gd name="connsiteY216" fmla="*/ 1256760 h 3191446"/>
                <a:gd name="connsiteX217" fmla="*/ 2282673 w 4675522"/>
                <a:gd name="connsiteY217" fmla="*/ 1314044 h 3191446"/>
                <a:gd name="connsiteX218" fmla="*/ 2369087 w 4675522"/>
                <a:gd name="connsiteY218" fmla="*/ 1337525 h 3191446"/>
                <a:gd name="connsiteX219" fmla="*/ 2449387 w 4675522"/>
                <a:gd name="connsiteY219" fmla="*/ 1351148 h 3191446"/>
                <a:gd name="connsiteX220" fmla="*/ 2519829 w 4675522"/>
                <a:gd name="connsiteY220" fmla="*/ 1385904 h 3191446"/>
                <a:gd name="connsiteX221" fmla="*/ 2587924 w 4675522"/>
                <a:gd name="connsiteY221" fmla="*/ 1413616 h 3191446"/>
                <a:gd name="connsiteX222" fmla="*/ 2636768 w 4675522"/>
                <a:gd name="connsiteY222" fmla="*/ 1400945 h 3191446"/>
                <a:gd name="connsiteX223" fmla="*/ 2709559 w 4675522"/>
                <a:gd name="connsiteY223" fmla="*/ 1365259 h 3191446"/>
                <a:gd name="connsiteX224" fmla="*/ 2802551 w 4675522"/>
                <a:gd name="connsiteY224" fmla="*/ 1419730 h 3191446"/>
                <a:gd name="connsiteX225" fmla="*/ 2841738 w 4675522"/>
                <a:gd name="connsiteY225" fmla="*/ 1568368 h 3191446"/>
                <a:gd name="connsiteX226" fmla="*/ 2919357 w 4675522"/>
                <a:gd name="connsiteY226" fmla="*/ 1721679 h 3191446"/>
                <a:gd name="connsiteX227" fmla="*/ 3134295 w 4675522"/>
                <a:gd name="connsiteY227" fmla="*/ 1773603 h 3191446"/>
                <a:gd name="connsiteX228" fmla="*/ 3467988 w 4675522"/>
                <a:gd name="connsiteY228" fmla="*/ 1722654 h 3191446"/>
                <a:gd name="connsiteX229" fmla="*/ 3762916 w 4675522"/>
                <a:gd name="connsiteY229" fmla="*/ 1835362 h 3191446"/>
                <a:gd name="connsiteX230" fmla="*/ 4176909 w 4675522"/>
                <a:gd name="connsiteY230" fmla="*/ 1845042 h 3191446"/>
                <a:gd name="connsiteX231" fmla="*/ 4675522 w 4675522"/>
                <a:gd name="connsiteY231" fmla="*/ 1755394 h 319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Lst>
              <a:rect l="l" t="t" r="r" b="b"/>
              <a:pathLst>
                <a:path w="4675522" h="3191446">
                  <a:moveTo>
                    <a:pt x="1084931" y="2472223"/>
                  </a:moveTo>
                  <a:cubicBezTo>
                    <a:pt x="1070843" y="2460017"/>
                    <a:pt x="1006979" y="2444976"/>
                    <a:pt x="917752" y="2452021"/>
                  </a:cubicBezTo>
                  <a:cubicBezTo>
                    <a:pt x="828525" y="2459065"/>
                    <a:pt x="713935" y="2488172"/>
                    <a:pt x="614850" y="2495216"/>
                  </a:cubicBezTo>
                  <a:cubicBezTo>
                    <a:pt x="515766" y="2502261"/>
                    <a:pt x="432165" y="2487242"/>
                    <a:pt x="339660" y="2467970"/>
                  </a:cubicBezTo>
                  <a:cubicBezTo>
                    <a:pt x="247154" y="2448720"/>
                    <a:pt x="145699" y="2425239"/>
                    <a:pt x="95925" y="2425704"/>
                  </a:cubicBezTo>
                  <a:cubicBezTo>
                    <a:pt x="46150" y="2426170"/>
                    <a:pt x="48033" y="2450603"/>
                    <a:pt x="55542" y="2490985"/>
                  </a:cubicBezTo>
                  <a:cubicBezTo>
                    <a:pt x="63051" y="2531368"/>
                    <a:pt x="76210" y="2587722"/>
                    <a:pt x="71979" y="2650190"/>
                  </a:cubicBezTo>
                  <a:cubicBezTo>
                    <a:pt x="67748" y="2712658"/>
                    <a:pt x="46150" y="2781217"/>
                    <a:pt x="26900" y="2845080"/>
                  </a:cubicBezTo>
                  <a:cubicBezTo>
                    <a:pt x="7650" y="2908944"/>
                    <a:pt x="-9252" y="2968133"/>
                    <a:pt x="5767" y="3005215"/>
                  </a:cubicBezTo>
                  <a:cubicBezTo>
                    <a:pt x="20786" y="3042297"/>
                    <a:pt x="67748" y="3057338"/>
                    <a:pt x="124589" y="3049363"/>
                  </a:cubicBezTo>
                  <a:cubicBezTo>
                    <a:pt x="181408" y="3041389"/>
                    <a:pt x="248107" y="3010376"/>
                    <a:pt x="315736" y="2993475"/>
                  </a:cubicBezTo>
                  <a:cubicBezTo>
                    <a:pt x="383365" y="2976573"/>
                    <a:pt x="451924" y="2973737"/>
                    <a:pt x="549148" y="2954022"/>
                  </a:cubicBezTo>
                  <a:cubicBezTo>
                    <a:pt x="646350" y="2934307"/>
                    <a:pt x="772216" y="2897668"/>
                    <a:pt x="884458" y="2879814"/>
                  </a:cubicBezTo>
                  <a:cubicBezTo>
                    <a:pt x="996701" y="2861960"/>
                    <a:pt x="1095320" y="2862912"/>
                    <a:pt x="1154488" y="2879814"/>
                  </a:cubicBezTo>
                  <a:cubicBezTo>
                    <a:pt x="1213655" y="2896716"/>
                    <a:pt x="1233392" y="2929589"/>
                    <a:pt x="1270009" y="2964345"/>
                  </a:cubicBezTo>
                  <a:cubicBezTo>
                    <a:pt x="1306648" y="2999101"/>
                    <a:pt x="1360166" y="3035718"/>
                    <a:pt x="1413707" y="3061081"/>
                  </a:cubicBezTo>
                  <a:cubicBezTo>
                    <a:pt x="1467247" y="3086445"/>
                    <a:pt x="1520788" y="3100534"/>
                    <a:pt x="1565867" y="3104765"/>
                  </a:cubicBezTo>
                  <a:cubicBezTo>
                    <a:pt x="1610945" y="3108995"/>
                    <a:pt x="1647584" y="3103347"/>
                    <a:pt x="1690780" y="3107578"/>
                  </a:cubicBezTo>
                  <a:cubicBezTo>
                    <a:pt x="1733976" y="3111809"/>
                    <a:pt x="1783773" y="3125897"/>
                    <a:pt x="1820390" y="3139986"/>
                  </a:cubicBezTo>
                  <a:cubicBezTo>
                    <a:pt x="1857029" y="3154074"/>
                    <a:pt x="1880509" y="3168163"/>
                    <a:pt x="1899759" y="3178485"/>
                  </a:cubicBezTo>
                  <a:cubicBezTo>
                    <a:pt x="1919009" y="3188808"/>
                    <a:pt x="1934050" y="3195387"/>
                    <a:pt x="1940142" y="3188808"/>
                  </a:cubicBezTo>
                  <a:cubicBezTo>
                    <a:pt x="1946256" y="3182229"/>
                    <a:pt x="1943420" y="3162514"/>
                    <a:pt x="1936730" y="3145125"/>
                  </a:cubicBezTo>
                  <a:cubicBezTo>
                    <a:pt x="1930040" y="3127758"/>
                    <a:pt x="1919474" y="3112717"/>
                    <a:pt x="1900667" y="3102505"/>
                  </a:cubicBezTo>
                  <a:cubicBezTo>
                    <a:pt x="1881883" y="3092293"/>
                    <a:pt x="1854880" y="3086888"/>
                    <a:pt x="1840437" y="3088771"/>
                  </a:cubicBezTo>
                  <a:cubicBezTo>
                    <a:pt x="1825994" y="3090654"/>
                    <a:pt x="1824133" y="3099803"/>
                    <a:pt x="1849962" y="3120825"/>
                  </a:cubicBezTo>
                  <a:cubicBezTo>
                    <a:pt x="1875791" y="3141847"/>
                    <a:pt x="1929332" y="3174720"/>
                    <a:pt x="1953278" y="3169071"/>
                  </a:cubicBezTo>
                  <a:cubicBezTo>
                    <a:pt x="1977224" y="3163444"/>
                    <a:pt x="1971597" y="3119296"/>
                    <a:pt x="1959391" y="3084540"/>
                  </a:cubicBezTo>
                  <a:cubicBezTo>
                    <a:pt x="1947186" y="3049784"/>
                    <a:pt x="1928401" y="3024420"/>
                    <a:pt x="1899759" y="3000940"/>
                  </a:cubicBezTo>
                  <a:cubicBezTo>
                    <a:pt x="1871117" y="2977459"/>
                    <a:pt x="1832595" y="2955861"/>
                    <a:pt x="1783285" y="2944121"/>
                  </a:cubicBezTo>
                  <a:cubicBezTo>
                    <a:pt x="1733976" y="2932380"/>
                    <a:pt x="1673856" y="2930497"/>
                    <a:pt x="1627360" y="2916409"/>
                  </a:cubicBezTo>
                  <a:cubicBezTo>
                    <a:pt x="1580863" y="2902320"/>
                    <a:pt x="1547990" y="2876026"/>
                    <a:pt x="1545177" y="2842201"/>
                  </a:cubicBezTo>
                  <a:cubicBezTo>
                    <a:pt x="1542364" y="2808397"/>
                    <a:pt x="1569588" y="2767062"/>
                    <a:pt x="1554392" y="2723512"/>
                  </a:cubicBezTo>
                  <a:cubicBezTo>
                    <a:pt x="1539196" y="2679962"/>
                    <a:pt x="1481535" y="2634174"/>
                    <a:pt x="1443966" y="2598488"/>
                  </a:cubicBezTo>
                  <a:cubicBezTo>
                    <a:pt x="1406397" y="2562801"/>
                    <a:pt x="1388919" y="2537194"/>
                    <a:pt x="1436523" y="2546476"/>
                  </a:cubicBezTo>
                  <a:cubicBezTo>
                    <a:pt x="1484127" y="2555757"/>
                    <a:pt x="1596835" y="2599883"/>
                    <a:pt x="1697802" y="2645449"/>
                  </a:cubicBezTo>
                  <a:cubicBezTo>
                    <a:pt x="1798769" y="2690993"/>
                    <a:pt x="1887997" y="2737955"/>
                    <a:pt x="1957044" y="2760040"/>
                  </a:cubicBezTo>
                  <a:cubicBezTo>
                    <a:pt x="2026068" y="2782103"/>
                    <a:pt x="2074913" y="2779290"/>
                    <a:pt x="2129871" y="2773198"/>
                  </a:cubicBezTo>
                  <a:cubicBezTo>
                    <a:pt x="2184807" y="2767084"/>
                    <a:pt x="2245857" y="2757692"/>
                    <a:pt x="2305047" y="2753948"/>
                  </a:cubicBezTo>
                  <a:cubicBezTo>
                    <a:pt x="2364214" y="2750182"/>
                    <a:pt x="2421520" y="2752065"/>
                    <a:pt x="2467529" y="2746904"/>
                  </a:cubicBezTo>
                  <a:cubicBezTo>
                    <a:pt x="2513560" y="2741743"/>
                    <a:pt x="2548294" y="2729537"/>
                    <a:pt x="2576959" y="2726702"/>
                  </a:cubicBezTo>
                  <a:cubicBezTo>
                    <a:pt x="2605601" y="2723888"/>
                    <a:pt x="2628151" y="2730467"/>
                    <a:pt x="2638939" y="2743603"/>
                  </a:cubicBezTo>
                  <a:cubicBezTo>
                    <a:pt x="2649749" y="2756761"/>
                    <a:pt x="2648797" y="2776476"/>
                    <a:pt x="2616389" y="2790100"/>
                  </a:cubicBezTo>
                  <a:cubicBezTo>
                    <a:pt x="2583981" y="2803723"/>
                    <a:pt x="2520117" y="2811233"/>
                    <a:pt x="2473156" y="2819694"/>
                  </a:cubicBezTo>
                  <a:cubicBezTo>
                    <a:pt x="2426194" y="2828156"/>
                    <a:pt x="2396134" y="2837549"/>
                    <a:pt x="2356217" y="2844593"/>
                  </a:cubicBezTo>
                  <a:cubicBezTo>
                    <a:pt x="2316300" y="2851637"/>
                    <a:pt x="2266525" y="2856333"/>
                    <a:pt x="2212519" y="2869491"/>
                  </a:cubicBezTo>
                  <a:cubicBezTo>
                    <a:pt x="2158513" y="2882650"/>
                    <a:pt x="2100276" y="2904247"/>
                    <a:pt x="2100276" y="2919266"/>
                  </a:cubicBezTo>
                  <a:cubicBezTo>
                    <a:pt x="2100276" y="2934285"/>
                    <a:pt x="2158513" y="2942747"/>
                    <a:pt x="2233652" y="2930076"/>
                  </a:cubicBezTo>
                  <a:cubicBezTo>
                    <a:pt x="2308790" y="2917405"/>
                    <a:pt x="2400853" y="2883580"/>
                    <a:pt x="2464716" y="2860564"/>
                  </a:cubicBezTo>
                  <a:cubicBezTo>
                    <a:pt x="2528579" y="2837549"/>
                    <a:pt x="2564288" y="2825343"/>
                    <a:pt x="2581655" y="2830504"/>
                  </a:cubicBezTo>
                  <a:cubicBezTo>
                    <a:pt x="2599022" y="2835666"/>
                    <a:pt x="2598091" y="2858216"/>
                    <a:pt x="2583538" y="2879349"/>
                  </a:cubicBezTo>
                  <a:cubicBezTo>
                    <a:pt x="2568984" y="2900482"/>
                    <a:pt x="2540785" y="2920219"/>
                    <a:pt x="2491963" y="2947908"/>
                  </a:cubicBezTo>
                  <a:cubicBezTo>
                    <a:pt x="2443118" y="2975620"/>
                    <a:pt x="2373628" y="3011307"/>
                    <a:pt x="2305999" y="3039949"/>
                  </a:cubicBezTo>
                  <a:cubicBezTo>
                    <a:pt x="2238370" y="3068591"/>
                    <a:pt x="2172624" y="3090189"/>
                    <a:pt x="2125662" y="3096768"/>
                  </a:cubicBezTo>
                  <a:cubicBezTo>
                    <a:pt x="2078701" y="3103347"/>
                    <a:pt x="2050524" y="3094885"/>
                    <a:pt x="2023764" y="3072357"/>
                  </a:cubicBezTo>
                  <a:cubicBezTo>
                    <a:pt x="1997005" y="3049806"/>
                    <a:pt x="1971641" y="3013189"/>
                    <a:pt x="1932189" y="2980316"/>
                  </a:cubicBezTo>
                  <a:cubicBezTo>
                    <a:pt x="1892737" y="2947443"/>
                    <a:pt x="1839196" y="2918336"/>
                    <a:pt x="1783795" y="2897668"/>
                  </a:cubicBezTo>
                  <a:cubicBezTo>
                    <a:pt x="1728371" y="2877001"/>
                    <a:pt x="1671087" y="2864795"/>
                    <a:pt x="1610968" y="2855403"/>
                  </a:cubicBezTo>
                  <a:cubicBezTo>
                    <a:pt x="1550848" y="2846011"/>
                    <a:pt x="1487937" y="2839432"/>
                    <a:pt x="1425469" y="2833340"/>
                  </a:cubicBezTo>
                  <a:cubicBezTo>
                    <a:pt x="1363001" y="2827226"/>
                    <a:pt x="1301021" y="2821599"/>
                    <a:pt x="1258290" y="2792957"/>
                  </a:cubicBezTo>
                  <a:cubicBezTo>
                    <a:pt x="1215560" y="2764315"/>
                    <a:pt x="1192079" y="2712658"/>
                    <a:pt x="1178456" y="2664743"/>
                  </a:cubicBezTo>
                  <a:cubicBezTo>
                    <a:pt x="1164832" y="2616851"/>
                    <a:pt x="1161089" y="2572703"/>
                    <a:pt x="1164367" y="2536529"/>
                  </a:cubicBezTo>
                  <a:cubicBezTo>
                    <a:pt x="1167646" y="2500378"/>
                    <a:pt x="1177991" y="2472201"/>
                    <a:pt x="1214142" y="2455277"/>
                  </a:cubicBezTo>
                  <a:cubicBezTo>
                    <a:pt x="1250294" y="2438375"/>
                    <a:pt x="1312296" y="2432727"/>
                    <a:pt x="1388365" y="2443537"/>
                  </a:cubicBezTo>
                  <a:cubicBezTo>
                    <a:pt x="1464434" y="2454347"/>
                    <a:pt x="1554614" y="2481571"/>
                    <a:pt x="1636331" y="2523371"/>
                  </a:cubicBezTo>
                  <a:cubicBezTo>
                    <a:pt x="1718049" y="2565171"/>
                    <a:pt x="1791304" y="2621525"/>
                    <a:pt x="1864560" y="2660512"/>
                  </a:cubicBezTo>
                  <a:cubicBezTo>
                    <a:pt x="1937816" y="2699499"/>
                    <a:pt x="2011072" y="2721097"/>
                    <a:pt x="2072144" y="2731420"/>
                  </a:cubicBezTo>
                  <a:cubicBezTo>
                    <a:pt x="2133194" y="2741743"/>
                    <a:pt x="2182038" y="2740812"/>
                    <a:pt x="2214911" y="2734698"/>
                  </a:cubicBezTo>
                  <a:cubicBezTo>
                    <a:pt x="2247784" y="2728584"/>
                    <a:pt x="2264686" y="2717332"/>
                    <a:pt x="2267500" y="2704639"/>
                  </a:cubicBezTo>
                  <a:cubicBezTo>
                    <a:pt x="2270313" y="2691968"/>
                    <a:pt x="2259037" y="2677879"/>
                    <a:pt x="2241671" y="2669882"/>
                  </a:cubicBezTo>
                  <a:cubicBezTo>
                    <a:pt x="2224304" y="2661908"/>
                    <a:pt x="2200823" y="2660025"/>
                    <a:pt x="2168880" y="2654864"/>
                  </a:cubicBezTo>
                  <a:cubicBezTo>
                    <a:pt x="2136937" y="2649702"/>
                    <a:pt x="2096555" y="2641241"/>
                    <a:pt x="2052894" y="2628570"/>
                  </a:cubicBezTo>
                  <a:cubicBezTo>
                    <a:pt x="2009211" y="2615899"/>
                    <a:pt x="1962249" y="2598975"/>
                    <a:pt x="1937373" y="2586304"/>
                  </a:cubicBezTo>
                  <a:cubicBezTo>
                    <a:pt x="1912474" y="2573633"/>
                    <a:pt x="1909661" y="2565171"/>
                    <a:pt x="1948183" y="2574099"/>
                  </a:cubicBezTo>
                  <a:cubicBezTo>
                    <a:pt x="1986682" y="2583026"/>
                    <a:pt x="2066517" y="2609320"/>
                    <a:pt x="2132751" y="2622943"/>
                  </a:cubicBezTo>
                  <a:cubicBezTo>
                    <a:pt x="2198962" y="2636567"/>
                    <a:pt x="2251572" y="2637497"/>
                    <a:pt x="2301347" y="2650655"/>
                  </a:cubicBezTo>
                  <a:cubicBezTo>
                    <a:pt x="2351122" y="2663813"/>
                    <a:pt x="2398084" y="2689155"/>
                    <a:pt x="2441302" y="2699499"/>
                  </a:cubicBezTo>
                  <a:cubicBezTo>
                    <a:pt x="2484497" y="2709822"/>
                    <a:pt x="2523950" y="2705126"/>
                    <a:pt x="2542269" y="2697151"/>
                  </a:cubicBezTo>
                  <a:cubicBezTo>
                    <a:pt x="2560588" y="2689177"/>
                    <a:pt x="2557775" y="2677901"/>
                    <a:pt x="2539456" y="2661930"/>
                  </a:cubicBezTo>
                  <a:cubicBezTo>
                    <a:pt x="2521136" y="2645959"/>
                    <a:pt x="2487333" y="2625291"/>
                    <a:pt x="2454460" y="2611690"/>
                  </a:cubicBezTo>
                  <a:cubicBezTo>
                    <a:pt x="2421587" y="2598067"/>
                    <a:pt x="2389644" y="2591488"/>
                    <a:pt x="2339404" y="2582583"/>
                  </a:cubicBezTo>
                  <a:cubicBezTo>
                    <a:pt x="2289164" y="2573656"/>
                    <a:pt x="2220582" y="2562380"/>
                    <a:pt x="2167529" y="2549244"/>
                  </a:cubicBezTo>
                  <a:cubicBezTo>
                    <a:pt x="2114453" y="2536086"/>
                    <a:pt x="2076884" y="2521068"/>
                    <a:pt x="2103665" y="2521068"/>
                  </a:cubicBezTo>
                  <a:cubicBezTo>
                    <a:pt x="2130447" y="2521068"/>
                    <a:pt x="2221535" y="2536086"/>
                    <a:pt x="2303718" y="2553476"/>
                  </a:cubicBezTo>
                  <a:cubicBezTo>
                    <a:pt x="2385900" y="2570842"/>
                    <a:pt x="2459156" y="2590580"/>
                    <a:pt x="2511766" y="2609829"/>
                  </a:cubicBezTo>
                  <a:cubicBezTo>
                    <a:pt x="2564354" y="2629079"/>
                    <a:pt x="2596297" y="2647864"/>
                    <a:pt x="2632449" y="2655861"/>
                  </a:cubicBezTo>
                  <a:cubicBezTo>
                    <a:pt x="2668600" y="2663835"/>
                    <a:pt x="2709005" y="2661022"/>
                    <a:pt x="2726837" y="2646468"/>
                  </a:cubicBezTo>
                  <a:cubicBezTo>
                    <a:pt x="2744691" y="2631914"/>
                    <a:pt x="2739995" y="2605620"/>
                    <a:pt x="2719328" y="2584000"/>
                  </a:cubicBezTo>
                  <a:cubicBezTo>
                    <a:pt x="2698660" y="2562402"/>
                    <a:pt x="2662043" y="2545501"/>
                    <a:pt x="2610385" y="2532808"/>
                  </a:cubicBezTo>
                  <a:cubicBezTo>
                    <a:pt x="2558728" y="2520137"/>
                    <a:pt x="2492051" y="2511675"/>
                    <a:pt x="2430049" y="2499935"/>
                  </a:cubicBezTo>
                  <a:cubicBezTo>
                    <a:pt x="2368068" y="2488194"/>
                    <a:pt x="2310762" y="2473176"/>
                    <a:pt x="2272262" y="2458135"/>
                  </a:cubicBezTo>
                  <a:cubicBezTo>
                    <a:pt x="2233763" y="2443116"/>
                    <a:pt x="2214025" y="2428075"/>
                    <a:pt x="2234693" y="2429027"/>
                  </a:cubicBezTo>
                  <a:cubicBezTo>
                    <a:pt x="2255360" y="2429958"/>
                    <a:pt x="2316410" y="2446882"/>
                    <a:pt x="2399058" y="2469875"/>
                  </a:cubicBezTo>
                  <a:cubicBezTo>
                    <a:pt x="2481706" y="2492890"/>
                    <a:pt x="2585974" y="2521998"/>
                    <a:pt x="2652186" y="2526694"/>
                  </a:cubicBezTo>
                  <a:cubicBezTo>
                    <a:pt x="2718397" y="2531390"/>
                    <a:pt x="2746574" y="2511675"/>
                    <a:pt x="2754571" y="2489590"/>
                  </a:cubicBezTo>
                  <a:cubicBezTo>
                    <a:pt x="2762546" y="2467527"/>
                    <a:pt x="2750340" y="2443093"/>
                    <a:pt x="2724046" y="2420565"/>
                  </a:cubicBezTo>
                  <a:cubicBezTo>
                    <a:pt x="2697752" y="2398015"/>
                    <a:pt x="2657369" y="2377370"/>
                    <a:pt x="2589740" y="2366560"/>
                  </a:cubicBezTo>
                  <a:cubicBezTo>
                    <a:pt x="2522111" y="2355749"/>
                    <a:pt x="2427258" y="2354819"/>
                    <a:pt x="2343657" y="2344962"/>
                  </a:cubicBezTo>
                  <a:cubicBezTo>
                    <a:pt x="2260057" y="2335104"/>
                    <a:pt x="2187753" y="2316319"/>
                    <a:pt x="2141257" y="2293304"/>
                  </a:cubicBezTo>
                  <a:cubicBezTo>
                    <a:pt x="2094761" y="2270288"/>
                    <a:pt x="2074093" y="2243064"/>
                    <a:pt x="2055308" y="2206890"/>
                  </a:cubicBezTo>
                  <a:cubicBezTo>
                    <a:pt x="2036524" y="2170739"/>
                    <a:pt x="2019622" y="2125638"/>
                    <a:pt x="2016809" y="2102157"/>
                  </a:cubicBezTo>
                  <a:cubicBezTo>
                    <a:pt x="2013995" y="2078676"/>
                    <a:pt x="2025271" y="2076793"/>
                    <a:pt x="2086321" y="2090416"/>
                  </a:cubicBezTo>
                  <a:cubicBezTo>
                    <a:pt x="2147371" y="2104040"/>
                    <a:pt x="2258196" y="2133147"/>
                    <a:pt x="2338518" y="2147701"/>
                  </a:cubicBezTo>
                  <a:cubicBezTo>
                    <a:pt x="2418818" y="2162254"/>
                    <a:pt x="2468615" y="2162254"/>
                    <a:pt x="2493491" y="2144422"/>
                  </a:cubicBezTo>
                  <a:cubicBezTo>
                    <a:pt x="2518390" y="2126568"/>
                    <a:pt x="2518390" y="2090882"/>
                    <a:pt x="2512276" y="2062705"/>
                  </a:cubicBezTo>
                  <a:cubicBezTo>
                    <a:pt x="2506162" y="2034528"/>
                    <a:pt x="2493956" y="2013860"/>
                    <a:pt x="2464384" y="2004003"/>
                  </a:cubicBezTo>
                  <a:cubicBezTo>
                    <a:pt x="2434789" y="1994145"/>
                    <a:pt x="2387827" y="1995076"/>
                    <a:pt x="2333822" y="1978639"/>
                  </a:cubicBezTo>
                  <a:cubicBezTo>
                    <a:pt x="2279816" y="1962202"/>
                    <a:pt x="2218766" y="1928399"/>
                    <a:pt x="2166643" y="1902570"/>
                  </a:cubicBezTo>
                  <a:cubicBezTo>
                    <a:pt x="2114520" y="1876741"/>
                    <a:pt x="2071302" y="1858887"/>
                    <a:pt x="2015900" y="1854191"/>
                  </a:cubicBezTo>
                  <a:cubicBezTo>
                    <a:pt x="1960477" y="1849495"/>
                    <a:pt x="1892870" y="1857957"/>
                    <a:pt x="1838377" y="1858422"/>
                  </a:cubicBezTo>
                  <a:cubicBezTo>
                    <a:pt x="1783906" y="1858887"/>
                    <a:pt x="1742571" y="1851377"/>
                    <a:pt x="1703606" y="1851843"/>
                  </a:cubicBezTo>
                  <a:cubicBezTo>
                    <a:pt x="1664619" y="1852308"/>
                    <a:pt x="1628002" y="1860770"/>
                    <a:pt x="1584319" y="1886133"/>
                  </a:cubicBezTo>
                  <a:cubicBezTo>
                    <a:pt x="1540636" y="1911497"/>
                    <a:pt x="1489931" y="1953763"/>
                    <a:pt x="1478655" y="1992728"/>
                  </a:cubicBezTo>
                  <a:cubicBezTo>
                    <a:pt x="1467380" y="2031714"/>
                    <a:pt x="1495557" y="2067401"/>
                    <a:pt x="1528895" y="2092277"/>
                  </a:cubicBezTo>
                  <a:cubicBezTo>
                    <a:pt x="1562234" y="2117176"/>
                    <a:pt x="1600756" y="2131264"/>
                    <a:pt x="1658505" y="2148166"/>
                  </a:cubicBezTo>
                  <a:cubicBezTo>
                    <a:pt x="1716277" y="2165068"/>
                    <a:pt x="1793276" y="2184805"/>
                    <a:pt x="1834611" y="2196058"/>
                  </a:cubicBezTo>
                  <a:cubicBezTo>
                    <a:pt x="1875946" y="2207333"/>
                    <a:pt x="1881573" y="2210146"/>
                    <a:pt x="1859975" y="2215773"/>
                  </a:cubicBezTo>
                  <a:cubicBezTo>
                    <a:pt x="1838377" y="2221399"/>
                    <a:pt x="1789532" y="2229861"/>
                    <a:pt x="1732248" y="2221887"/>
                  </a:cubicBezTo>
                  <a:cubicBezTo>
                    <a:pt x="1674964" y="2213912"/>
                    <a:pt x="1609218" y="2189479"/>
                    <a:pt x="1555677" y="2157558"/>
                  </a:cubicBezTo>
                  <a:cubicBezTo>
                    <a:pt x="1502136" y="2125616"/>
                    <a:pt x="1460823" y="2086185"/>
                    <a:pt x="1423232" y="2063170"/>
                  </a:cubicBezTo>
                  <a:cubicBezTo>
                    <a:pt x="1385663" y="2040154"/>
                    <a:pt x="1351859" y="2033575"/>
                    <a:pt x="1319451" y="2045316"/>
                  </a:cubicBezTo>
                  <a:cubicBezTo>
                    <a:pt x="1287043" y="2057056"/>
                    <a:pt x="1256053" y="2087116"/>
                    <a:pt x="1242430" y="2128916"/>
                  </a:cubicBezTo>
                  <a:cubicBezTo>
                    <a:pt x="1228807" y="2170716"/>
                    <a:pt x="1232572" y="2224257"/>
                    <a:pt x="1247591" y="2264174"/>
                  </a:cubicBezTo>
                  <a:cubicBezTo>
                    <a:pt x="1262610" y="2304092"/>
                    <a:pt x="1288926" y="2330386"/>
                    <a:pt x="1286091" y="2335547"/>
                  </a:cubicBezTo>
                  <a:cubicBezTo>
                    <a:pt x="1283277" y="2340708"/>
                    <a:pt x="1251335" y="2324737"/>
                    <a:pt x="1208604" y="2308788"/>
                  </a:cubicBezTo>
                  <a:cubicBezTo>
                    <a:pt x="1165873" y="2292816"/>
                    <a:pt x="1112333" y="2276845"/>
                    <a:pt x="1028732" y="2276845"/>
                  </a:cubicBezTo>
                  <a:cubicBezTo>
                    <a:pt x="945132" y="2276845"/>
                    <a:pt x="831494" y="2292816"/>
                    <a:pt x="730526" y="2275427"/>
                  </a:cubicBezTo>
                  <a:cubicBezTo>
                    <a:pt x="629559" y="2258060"/>
                    <a:pt x="541262" y="2207333"/>
                    <a:pt x="477399" y="2167416"/>
                  </a:cubicBezTo>
                  <a:cubicBezTo>
                    <a:pt x="413536" y="2127498"/>
                    <a:pt x="374083" y="2098391"/>
                    <a:pt x="336049" y="2056126"/>
                  </a:cubicBezTo>
                  <a:cubicBezTo>
                    <a:pt x="298014" y="2013860"/>
                    <a:pt x="261376" y="1958437"/>
                    <a:pt x="250588" y="1935908"/>
                  </a:cubicBezTo>
                  <a:cubicBezTo>
                    <a:pt x="239778" y="1913358"/>
                    <a:pt x="254819" y="1923703"/>
                    <a:pt x="300363" y="1899270"/>
                  </a:cubicBezTo>
                  <a:cubicBezTo>
                    <a:pt x="345906" y="1874858"/>
                    <a:pt x="421998" y="1815669"/>
                    <a:pt x="475538" y="1751806"/>
                  </a:cubicBezTo>
                  <a:cubicBezTo>
                    <a:pt x="529079" y="1687942"/>
                    <a:pt x="560069" y="1619383"/>
                    <a:pt x="583085" y="1579443"/>
                  </a:cubicBezTo>
                  <a:cubicBezTo>
                    <a:pt x="606100" y="1539526"/>
                    <a:pt x="621119" y="1528251"/>
                    <a:pt x="688283" y="1574747"/>
                  </a:cubicBezTo>
                  <a:cubicBezTo>
                    <a:pt x="755447" y="1621244"/>
                    <a:pt x="874734" y="1725489"/>
                    <a:pt x="981793" y="1784679"/>
                  </a:cubicBezTo>
                  <a:cubicBezTo>
                    <a:pt x="1088874" y="1843846"/>
                    <a:pt x="1183728" y="1857934"/>
                    <a:pt x="1282126" y="1867327"/>
                  </a:cubicBezTo>
                  <a:cubicBezTo>
                    <a:pt x="1380501" y="1876719"/>
                    <a:pt x="1482421" y="1881415"/>
                    <a:pt x="1575414" y="1895038"/>
                  </a:cubicBezTo>
                  <a:cubicBezTo>
                    <a:pt x="1668407" y="1908662"/>
                    <a:pt x="1752451" y="1931212"/>
                    <a:pt x="1855079" y="1910545"/>
                  </a:cubicBezTo>
                  <a:cubicBezTo>
                    <a:pt x="1957686" y="1889877"/>
                    <a:pt x="2078856" y="1826014"/>
                    <a:pt x="2162456" y="1802533"/>
                  </a:cubicBezTo>
                  <a:cubicBezTo>
                    <a:pt x="2246057" y="1779052"/>
                    <a:pt x="2292066" y="1795954"/>
                    <a:pt x="2353714" y="1811859"/>
                  </a:cubicBezTo>
                  <a:cubicBezTo>
                    <a:pt x="2415340" y="1827764"/>
                    <a:pt x="2492583" y="1842672"/>
                    <a:pt x="2626445" y="1820609"/>
                  </a:cubicBezTo>
                  <a:cubicBezTo>
                    <a:pt x="2760286" y="1798546"/>
                    <a:pt x="2950724" y="1739489"/>
                    <a:pt x="3079160" y="1657993"/>
                  </a:cubicBezTo>
                  <a:cubicBezTo>
                    <a:pt x="3207595" y="1576519"/>
                    <a:pt x="3274050" y="1472606"/>
                    <a:pt x="3323006" y="1362202"/>
                  </a:cubicBezTo>
                  <a:cubicBezTo>
                    <a:pt x="3371961" y="1251775"/>
                    <a:pt x="3403416" y="1134837"/>
                    <a:pt x="3417283" y="1008749"/>
                  </a:cubicBezTo>
                  <a:cubicBezTo>
                    <a:pt x="3431128" y="882662"/>
                    <a:pt x="3427384" y="747404"/>
                    <a:pt x="3387932" y="611680"/>
                  </a:cubicBezTo>
                  <a:cubicBezTo>
                    <a:pt x="3348480" y="475957"/>
                    <a:pt x="3273341" y="339768"/>
                    <a:pt x="3165795" y="239266"/>
                  </a:cubicBezTo>
                  <a:cubicBezTo>
                    <a:pt x="3058248" y="138764"/>
                    <a:pt x="2918294" y="73948"/>
                    <a:pt x="2780599" y="36445"/>
                  </a:cubicBezTo>
                  <a:cubicBezTo>
                    <a:pt x="2642882" y="-1058"/>
                    <a:pt x="2507402" y="-11292"/>
                    <a:pt x="2363239" y="13607"/>
                  </a:cubicBezTo>
                  <a:cubicBezTo>
                    <a:pt x="2219076" y="38505"/>
                    <a:pt x="2066185" y="98492"/>
                    <a:pt x="1949844" y="187187"/>
                  </a:cubicBezTo>
                  <a:cubicBezTo>
                    <a:pt x="1833481" y="275883"/>
                    <a:pt x="1753647" y="393287"/>
                    <a:pt x="1700483" y="506991"/>
                  </a:cubicBezTo>
                  <a:cubicBezTo>
                    <a:pt x="1647296" y="620696"/>
                    <a:pt x="1620781" y="730701"/>
                    <a:pt x="1610923" y="850941"/>
                  </a:cubicBezTo>
                  <a:cubicBezTo>
                    <a:pt x="1601066" y="971158"/>
                    <a:pt x="1607866" y="1101609"/>
                    <a:pt x="1681698" y="1253703"/>
                  </a:cubicBezTo>
                  <a:cubicBezTo>
                    <a:pt x="1755552" y="1405796"/>
                    <a:pt x="1896437" y="1579554"/>
                    <a:pt x="2100608" y="1667430"/>
                  </a:cubicBezTo>
                  <a:cubicBezTo>
                    <a:pt x="2304781" y="1755306"/>
                    <a:pt x="2572240" y="1757299"/>
                    <a:pt x="2697508" y="1747973"/>
                  </a:cubicBezTo>
                  <a:cubicBezTo>
                    <a:pt x="2822776" y="1738648"/>
                    <a:pt x="2805874" y="1717980"/>
                    <a:pt x="2782393" y="1686037"/>
                  </a:cubicBezTo>
                  <a:cubicBezTo>
                    <a:pt x="2758913" y="1654094"/>
                    <a:pt x="2728853" y="1610899"/>
                    <a:pt x="2741546" y="1570051"/>
                  </a:cubicBezTo>
                  <a:cubicBezTo>
                    <a:pt x="2754216" y="1529203"/>
                    <a:pt x="2809640" y="1490682"/>
                    <a:pt x="2850975" y="1458761"/>
                  </a:cubicBezTo>
                  <a:cubicBezTo>
                    <a:pt x="2892310" y="1426818"/>
                    <a:pt x="2919535" y="1401477"/>
                    <a:pt x="2942085" y="1369999"/>
                  </a:cubicBezTo>
                  <a:cubicBezTo>
                    <a:pt x="2964635" y="1338544"/>
                    <a:pt x="2982468" y="1300974"/>
                    <a:pt x="3018154" y="1277494"/>
                  </a:cubicBezTo>
                  <a:cubicBezTo>
                    <a:pt x="3053840" y="1254013"/>
                    <a:pt x="3107381" y="1244621"/>
                    <a:pt x="3148229" y="1255896"/>
                  </a:cubicBezTo>
                  <a:cubicBezTo>
                    <a:pt x="3189076" y="1267171"/>
                    <a:pt x="3217253" y="1299092"/>
                    <a:pt x="3234842" y="1331034"/>
                  </a:cubicBezTo>
                  <a:cubicBezTo>
                    <a:pt x="3252408" y="1362977"/>
                    <a:pt x="3259386" y="1394898"/>
                    <a:pt x="3245297" y="1418378"/>
                  </a:cubicBezTo>
                  <a:cubicBezTo>
                    <a:pt x="3231209" y="1441859"/>
                    <a:pt x="3196076" y="1456878"/>
                    <a:pt x="3159703" y="1450321"/>
                  </a:cubicBezTo>
                  <a:cubicBezTo>
                    <a:pt x="3123352" y="1443742"/>
                    <a:pt x="3085783" y="1415565"/>
                    <a:pt x="3064185" y="1435302"/>
                  </a:cubicBezTo>
                  <a:cubicBezTo>
                    <a:pt x="3042587" y="1455017"/>
                    <a:pt x="3036939" y="1522646"/>
                    <a:pt x="3020502" y="1574769"/>
                  </a:cubicBezTo>
                  <a:cubicBezTo>
                    <a:pt x="3004066" y="1626892"/>
                    <a:pt x="2976819" y="1663531"/>
                    <a:pt x="2949594" y="1681851"/>
                  </a:cubicBezTo>
                  <a:cubicBezTo>
                    <a:pt x="2922348" y="1700170"/>
                    <a:pt x="2895123" y="1700170"/>
                    <a:pt x="2864133" y="1687477"/>
                  </a:cubicBezTo>
                  <a:cubicBezTo>
                    <a:pt x="2833143" y="1674806"/>
                    <a:pt x="2798387" y="1649443"/>
                    <a:pt x="2784298" y="1615152"/>
                  </a:cubicBezTo>
                  <a:cubicBezTo>
                    <a:pt x="2770210" y="1580861"/>
                    <a:pt x="2776789" y="1537665"/>
                    <a:pt x="2772093" y="1503374"/>
                  </a:cubicBezTo>
                  <a:cubicBezTo>
                    <a:pt x="2767397" y="1469084"/>
                    <a:pt x="2751425" y="1443742"/>
                    <a:pt x="2730758" y="1430119"/>
                  </a:cubicBezTo>
                  <a:cubicBezTo>
                    <a:pt x="2710090" y="1416496"/>
                    <a:pt x="2684727" y="1414613"/>
                    <a:pt x="2659850" y="1405220"/>
                  </a:cubicBezTo>
                  <a:cubicBezTo>
                    <a:pt x="2634952" y="1395828"/>
                    <a:pt x="2610541" y="1378926"/>
                    <a:pt x="2593174" y="1359189"/>
                  </a:cubicBezTo>
                  <a:cubicBezTo>
                    <a:pt x="2575807" y="1339474"/>
                    <a:pt x="2565462" y="1316924"/>
                    <a:pt x="2537750" y="1300952"/>
                  </a:cubicBezTo>
                  <a:cubicBezTo>
                    <a:pt x="2510038" y="1284981"/>
                    <a:pt x="2464960" y="1275589"/>
                    <a:pt x="2441014" y="1250225"/>
                  </a:cubicBezTo>
                  <a:cubicBezTo>
                    <a:pt x="2417068" y="1224861"/>
                    <a:pt x="2414255" y="1183548"/>
                    <a:pt x="2416115" y="1147375"/>
                  </a:cubicBezTo>
                  <a:cubicBezTo>
                    <a:pt x="2417998" y="1111223"/>
                    <a:pt x="2424577" y="1080211"/>
                    <a:pt x="2468238" y="1068470"/>
                  </a:cubicBezTo>
                  <a:cubicBezTo>
                    <a:pt x="2511921" y="1056730"/>
                    <a:pt x="2592686" y="1064239"/>
                    <a:pt x="2642461" y="1051923"/>
                  </a:cubicBezTo>
                  <a:cubicBezTo>
                    <a:pt x="2692236" y="1039607"/>
                    <a:pt x="2711021" y="1007420"/>
                    <a:pt x="2723226" y="972199"/>
                  </a:cubicBezTo>
                  <a:cubicBezTo>
                    <a:pt x="2735432" y="936978"/>
                    <a:pt x="2741080" y="898700"/>
                    <a:pt x="2755634" y="865007"/>
                  </a:cubicBezTo>
                  <a:cubicBezTo>
                    <a:pt x="2770188" y="831314"/>
                    <a:pt x="2793669" y="802185"/>
                    <a:pt x="2811523" y="762267"/>
                  </a:cubicBezTo>
                  <a:cubicBezTo>
                    <a:pt x="2829377" y="722350"/>
                    <a:pt x="2841583" y="671623"/>
                    <a:pt x="2859415" y="634519"/>
                  </a:cubicBezTo>
                  <a:cubicBezTo>
                    <a:pt x="2877269" y="597415"/>
                    <a:pt x="2900750" y="573934"/>
                    <a:pt x="2927974" y="554684"/>
                  </a:cubicBezTo>
                  <a:cubicBezTo>
                    <a:pt x="2955221" y="535434"/>
                    <a:pt x="2986211" y="520393"/>
                    <a:pt x="2974006" y="491286"/>
                  </a:cubicBezTo>
                  <a:cubicBezTo>
                    <a:pt x="2961800" y="462178"/>
                    <a:pt x="2906376" y="418961"/>
                    <a:pt x="2861298" y="390784"/>
                  </a:cubicBezTo>
                  <a:cubicBezTo>
                    <a:pt x="2816219" y="362607"/>
                    <a:pt x="2781463" y="349449"/>
                    <a:pt x="2754216" y="343822"/>
                  </a:cubicBezTo>
                  <a:cubicBezTo>
                    <a:pt x="2726970" y="338195"/>
                    <a:pt x="2707255" y="340056"/>
                    <a:pt x="2685192" y="333012"/>
                  </a:cubicBezTo>
                  <a:cubicBezTo>
                    <a:pt x="2663129" y="325968"/>
                    <a:pt x="2638695" y="309996"/>
                    <a:pt x="2626490" y="315645"/>
                  </a:cubicBezTo>
                  <a:cubicBezTo>
                    <a:pt x="2614284" y="321272"/>
                    <a:pt x="2614284" y="348518"/>
                    <a:pt x="2621329" y="380461"/>
                  </a:cubicBezTo>
                  <a:cubicBezTo>
                    <a:pt x="2628373" y="412404"/>
                    <a:pt x="2642461" y="449020"/>
                    <a:pt x="2643392" y="468270"/>
                  </a:cubicBezTo>
                  <a:cubicBezTo>
                    <a:pt x="2644322" y="487520"/>
                    <a:pt x="2632116" y="489403"/>
                    <a:pt x="2604892" y="478128"/>
                  </a:cubicBezTo>
                  <a:cubicBezTo>
                    <a:pt x="2577645" y="466852"/>
                    <a:pt x="2535380" y="442441"/>
                    <a:pt x="2507203" y="426470"/>
                  </a:cubicBezTo>
                  <a:cubicBezTo>
                    <a:pt x="2479026" y="410499"/>
                    <a:pt x="2464938" y="402989"/>
                    <a:pt x="2468216" y="387970"/>
                  </a:cubicBezTo>
                  <a:cubicBezTo>
                    <a:pt x="2471494" y="372951"/>
                    <a:pt x="2492162" y="350401"/>
                    <a:pt x="2503437" y="331616"/>
                  </a:cubicBezTo>
                  <a:cubicBezTo>
                    <a:pt x="2514712" y="312832"/>
                    <a:pt x="2516595" y="297813"/>
                    <a:pt x="2515177" y="279959"/>
                  </a:cubicBezTo>
                  <a:cubicBezTo>
                    <a:pt x="2513760" y="262104"/>
                    <a:pt x="2509064" y="241459"/>
                    <a:pt x="2504367" y="225953"/>
                  </a:cubicBezTo>
                  <a:cubicBezTo>
                    <a:pt x="2499671" y="210447"/>
                    <a:pt x="2494975" y="200124"/>
                    <a:pt x="2483700" y="199659"/>
                  </a:cubicBezTo>
                  <a:cubicBezTo>
                    <a:pt x="2472425" y="199194"/>
                    <a:pt x="2454593" y="208586"/>
                    <a:pt x="2430159" y="216095"/>
                  </a:cubicBezTo>
                  <a:cubicBezTo>
                    <a:pt x="2405748" y="223605"/>
                    <a:pt x="2374736" y="229253"/>
                    <a:pt x="2342815" y="225022"/>
                  </a:cubicBezTo>
                  <a:cubicBezTo>
                    <a:pt x="2310872" y="220792"/>
                    <a:pt x="2277999" y="206703"/>
                    <a:pt x="2251705" y="195915"/>
                  </a:cubicBezTo>
                  <a:cubicBezTo>
                    <a:pt x="2225411" y="185105"/>
                    <a:pt x="2205674" y="177596"/>
                    <a:pt x="2181263" y="171969"/>
                  </a:cubicBezTo>
                  <a:cubicBezTo>
                    <a:pt x="2156852" y="166343"/>
                    <a:pt x="2127722" y="162577"/>
                    <a:pt x="2097197" y="170086"/>
                  </a:cubicBezTo>
                  <a:cubicBezTo>
                    <a:pt x="2066672" y="177596"/>
                    <a:pt x="2034729" y="196380"/>
                    <a:pt x="2010318" y="214235"/>
                  </a:cubicBezTo>
                  <a:cubicBezTo>
                    <a:pt x="1985907" y="232089"/>
                    <a:pt x="1968983" y="248991"/>
                    <a:pt x="1973214" y="270589"/>
                  </a:cubicBezTo>
                  <a:cubicBezTo>
                    <a:pt x="1977445" y="292186"/>
                    <a:pt x="2002809" y="318480"/>
                    <a:pt x="2017828" y="337265"/>
                  </a:cubicBezTo>
                  <a:cubicBezTo>
                    <a:pt x="2032847" y="356050"/>
                    <a:pt x="2037543" y="367325"/>
                    <a:pt x="2034729" y="385157"/>
                  </a:cubicBezTo>
                  <a:cubicBezTo>
                    <a:pt x="2031916" y="403011"/>
                    <a:pt x="2021571" y="427422"/>
                    <a:pt x="2017828" y="451368"/>
                  </a:cubicBezTo>
                  <a:cubicBezTo>
                    <a:pt x="2014062" y="475314"/>
                    <a:pt x="2016897" y="498795"/>
                    <a:pt x="2019711" y="519463"/>
                  </a:cubicBezTo>
                  <a:cubicBezTo>
                    <a:pt x="2022524" y="540130"/>
                    <a:pt x="2025337" y="557962"/>
                    <a:pt x="2016432" y="580048"/>
                  </a:cubicBezTo>
                  <a:cubicBezTo>
                    <a:pt x="2007505" y="602111"/>
                    <a:pt x="1986837" y="628427"/>
                    <a:pt x="1972749" y="654256"/>
                  </a:cubicBezTo>
                  <a:cubicBezTo>
                    <a:pt x="1958661" y="680085"/>
                    <a:pt x="1951151" y="705448"/>
                    <a:pt x="1954895" y="732673"/>
                  </a:cubicBezTo>
                  <a:cubicBezTo>
                    <a:pt x="1958661" y="759919"/>
                    <a:pt x="1973679" y="789027"/>
                    <a:pt x="1990116" y="819552"/>
                  </a:cubicBezTo>
                  <a:cubicBezTo>
                    <a:pt x="2006552" y="850077"/>
                    <a:pt x="2024407" y="882019"/>
                    <a:pt x="2030964" y="913475"/>
                  </a:cubicBezTo>
                  <a:cubicBezTo>
                    <a:pt x="2037543" y="944930"/>
                    <a:pt x="2032847" y="975943"/>
                    <a:pt x="2033777" y="1007863"/>
                  </a:cubicBezTo>
                  <a:cubicBezTo>
                    <a:pt x="2034707" y="1039806"/>
                    <a:pt x="2041286" y="1072679"/>
                    <a:pt x="2057258" y="1098021"/>
                  </a:cubicBezTo>
                  <a:cubicBezTo>
                    <a:pt x="2073229" y="1123384"/>
                    <a:pt x="2098593" y="1141216"/>
                    <a:pt x="2122074" y="1155792"/>
                  </a:cubicBezTo>
                  <a:cubicBezTo>
                    <a:pt x="2145554" y="1170346"/>
                    <a:pt x="2167152" y="1181621"/>
                    <a:pt x="2190168" y="1188200"/>
                  </a:cubicBezTo>
                  <a:cubicBezTo>
                    <a:pt x="2213184" y="1194779"/>
                    <a:pt x="2237595" y="1196662"/>
                    <a:pt x="2249800" y="1206985"/>
                  </a:cubicBezTo>
                  <a:cubicBezTo>
                    <a:pt x="2262006" y="1217307"/>
                    <a:pt x="2262006" y="1236092"/>
                    <a:pt x="2262471" y="1256760"/>
                  </a:cubicBezTo>
                  <a:cubicBezTo>
                    <a:pt x="2262936" y="1277427"/>
                    <a:pt x="2263889" y="1299955"/>
                    <a:pt x="2282673" y="1314044"/>
                  </a:cubicBezTo>
                  <a:cubicBezTo>
                    <a:pt x="2301458" y="1328132"/>
                    <a:pt x="2338097" y="1333759"/>
                    <a:pt x="2369087" y="1337525"/>
                  </a:cubicBezTo>
                  <a:cubicBezTo>
                    <a:pt x="2400077" y="1341291"/>
                    <a:pt x="2425441" y="1343151"/>
                    <a:pt x="2449387" y="1351148"/>
                  </a:cubicBezTo>
                  <a:cubicBezTo>
                    <a:pt x="2473333" y="1359123"/>
                    <a:pt x="2495883" y="1373211"/>
                    <a:pt x="2519829" y="1385904"/>
                  </a:cubicBezTo>
                  <a:cubicBezTo>
                    <a:pt x="2543775" y="1398575"/>
                    <a:pt x="2569139" y="1409850"/>
                    <a:pt x="2587924" y="1413616"/>
                  </a:cubicBezTo>
                  <a:cubicBezTo>
                    <a:pt x="2606708" y="1417382"/>
                    <a:pt x="2618914" y="1413616"/>
                    <a:pt x="2636768" y="1400945"/>
                  </a:cubicBezTo>
                  <a:cubicBezTo>
                    <a:pt x="2654623" y="1388274"/>
                    <a:pt x="2678103" y="1366654"/>
                    <a:pt x="2709559" y="1365259"/>
                  </a:cubicBezTo>
                  <a:cubicBezTo>
                    <a:pt x="2741014" y="1363841"/>
                    <a:pt x="2780466" y="1382626"/>
                    <a:pt x="2802551" y="1419730"/>
                  </a:cubicBezTo>
                  <a:cubicBezTo>
                    <a:pt x="2824615" y="1456834"/>
                    <a:pt x="2829311" y="1512235"/>
                    <a:pt x="2841738" y="1568368"/>
                  </a:cubicBezTo>
                  <a:cubicBezTo>
                    <a:pt x="2854143" y="1624478"/>
                    <a:pt x="2874279" y="1681297"/>
                    <a:pt x="2919357" y="1721679"/>
                  </a:cubicBezTo>
                  <a:cubicBezTo>
                    <a:pt x="2964436" y="1762062"/>
                    <a:pt x="3034480" y="1786030"/>
                    <a:pt x="3134295" y="1773603"/>
                  </a:cubicBezTo>
                  <a:cubicBezTo>
                    <a:pt x="3234111" y="1761176"/>
                    <a:pt x="3363743" y="1712331"/>
                    <a:pt x="3467988" y="1722654"/>
                  </a:cubicBezTo>
                  <a:cubicBezTo>
                    <a:pt x="3572234" y="1732977"/>
                    <a:pt x="3651139" y="1802489"/>
                    <a:pt x="3762916" y="1835362"/>
                  </a:cubicBezTo>
                  <a:cubicBezTo>
                    <a:pt x="3874693" y="1868235"/>
                    <a:pt x="4019322" y="1864469"/>
                    <a:pt x="4176909" y="1845042"/>
                  </a:cubicBezTo>
                  <a:cubicBezTo>
                    <a:pt x="4334496" y="1825615"/>
                    <a:pt x="4504998" y="1790505"/>
                    <a:pt x="4675522" y="1755394"/>
                  </a:cubicBezTo>
                </a:path>
              </a:pathLst>
            </a:custGeom>
            <a:noFill/>
            <a:ln w="25400" cap="rnd">
              <a:solidFill>
                <a:schemeClr val="accent1"/>
              </a:solidFill>
              <a:prstDash val="solid"/>
              <a:round/>
            </a:ln>
          </p:spPr>
          <p:txBody>
            <a:bodyPr rtlCol="0" anchor="ctr"/>
            <a:lstStyle/>
            <a:p>
              <a:endParaRPr lang="ja-JP" altLang="en-US"/>
            </a:p>
          </p:txBody>
        </p:sp>
        <p:sp>
          <p:nvSpPr>
            <p:cNvPr id="11" name="グラフィックス 15">
              <a:extLst>
                <a:ext uri="{FF2B5EF4-FFF2-40B4-BE49-F238E27FC236}">
                  <a16:creationId xmlns:a16="http://schemas.microsoft.com/office/drawing/2014/main" id="{BC033228-88FC-E940-4EE1-61E7BC9CA8D6}"/>
                </a:ext>
              </a:extLst>
            </p:cNvPr>
            <p:cNvSpPr/>
            <p:nvPr/>
          </p:nvSpPr>
          <p:spPr>
            <a:xfrm rot="10800000">
              <a:off x="-1001759" y="5789537"/>
              <a:ext cx="7817369" cy="4445195"/>
            </a:xfrm>
            <a:custGeom>
              <a:avLst/>
              <a:gdLst>
                <a:gd name="connsiteX0" fmla="*/ 10501911 w 10501910"/>
                <a:gd name="connsiteY0" fmla="*/ 0 h 5971706"/>
                <a:gd name="connsiteX1" fmla="*/ 10483416 w 10501910"/>
                <a:gd name="connsiteY1" fmla="*/ 259321 h 5971706"/>
                <a:gd name="connsiteX2" fmla="*/ 9174037 w 10501910"/>
                <a:gd name="connsiteY2" fmla="*/ 2345600 h 5971706"/>
                <a:gd name="connsiteX3" fmla="*/ 4761053 w 10501910"/>
                <a:gd name="connsiteY3" fmla="*/ 3982025 h 5971706"/>
                <a:gd name="connsiteX4" fmla="*/ 1717853 w 10501910"/>
                <a:gd name="connsiteY4" fmla="*/ 4850199 h 5971706"/>
                <a:gd name="connsiteX5" fmla="*/ 0 w 10501910"/>
                <a:gd name="connsiteY5" fmla="*/ 5971707 h 5971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1910" h="5971706">
                  <a:moveTo>
                    <a:pt x="10501911" y="0"/>
                  </a:moveTo>
                  <a:lnTo>
                    <a:pt x="10483416" y="259321"/>
                  </a:lnTo>
                  <a:cubicBezTo>
                    <a:pt x="10370055" y="1105142"/>
                    <a:pt x="9896384" y="1868603"/>
                    <a:pt x="9174037" y="2345600"/>
                  </a:cubicBezTo>
                  <a:cubicBezTo>
                    <a:pt x="9174037" y="2345600"/>
                    <a:pt x="7983874" y="3268592"/>
                    <a:pt x="4761053" y="3982025"/>
                  </a:cubicBezTo>
                  <a:cubicBezTo>
                    <a:pt x="3728691" y="4204490"/>
                    <a:pt x="2712162" y="4494547"/>
                    <a:pt x="1717853" y="4850199"/>
                  </a:cubicBezTo>
                  <a:cubicBezTo>
                    <a:pt x="1241788" y="5054569"/>
                    <a:pt x="567739" y="5323603"/>
                    <a:pt x="0" y="5971707"/>
                  </a:cubicBezTo>
                </a:path>
              </a:pathLst>
            </a:custGeom>
            <a:noFill/>
            <a:ln w="25400" cap="rnd">
              <a:solidFill>
                <a:schemeClr val="accent1"/>
              </a:solidFill>
              <a:prstDash val="solid"/>
              <a:miter/>
            </a:ln>
          </p:spPr>
          <p:txBody>
            <a:bodyPr rtlCol="0" anchor="ctr"/>
            <a:lstStyle/>
            <a:p>
              <a:endParaRPr lang="ja-JP" altLang="en-US"/>
            </a:p>
          </p:txBody>
        </p:sp>
      </p:grpSp>
      <p:sp>
        <p:nvSpPr>
          <p:cNvPr id="12" name="フリーフォーム: 図形 11">
            <a:extLst>
              <a:ext uri="{FF2B5EF4-FFF2-40B4-BE49-F238E27FC236}">
                <a16:creationId xmlns:a16="http://schemas.microsoft.com/office/drawing/2014/main" id="{F55C6005-3731-5F8D-D526-7D8848224340}"/>
              </a:ext>
            </a:extLst>
          </p:cNvPr>
          <p:cNvSpPr/>
          <p:nvPr userDrawn="1"/>
        </p:nvSpPr>
        <p:spPr>
          <a:xfrm>
            <a:off x="9591675" y="4291013"/>
            <a:ext cx="1271588" cy="1090612"/>
          </a:xfrm>
          <a:custGeom>
            <a:avLst/>
            <a:gdLst>
              <a:gd name="connsiteX0" fmla="*/ 0 w 1271588"/>
              <a:gd name="connsiteY0" fmla="*/ 1090612 h 1090612"/>
              <a:gd name="connsiteX1" fmla="*/ 976313 w 1271588"/>
              <a:gd name="connsiteY1" fmla="*/ 757237 h 1090612"/>
              <a:gd name="connsiteX2" fmla="*/ 1271588 w 1271588"/>
              <a:gd name="connsiteY2" fmla="*/ 0 h 1090612"/>
            </a:gdLst>
            <a:ahLst/>
            <a:cxnLst>
              <a:cxn ang="0">
                <a:pos x="connsiteX0" y="connsiteY0"/>
              </a:cxn>
              <a:cxn ang="0">
                <a:pos x="connsiteX1" y="connsiteY1"/>
              </a:cxn>
              <a:cxn ang="0">
                <a:pos x="connsiteX2" y="connsiteY2"/>
              </a:cxn>
            </a:cxnLst>
            <a:rect l="l" t="t" r="r" b="b"/>
            <a:pathLst>
              <a:path w="1271588" h="1090612">
                <a:moveTo>
                  <a:pt x="0" y="1090612"/>
                </a:moveTo>
                <a:cubicBezTo>
                  <a:pt x="382191" y="1014809"/>
                  <a:pt x="764382" y="939006"/>
                  <a:pt x="976313" y="757237"/>
                </a:cubicBezTo>
                <a:cubicBezTo>
                  <a:pt x="1188244" y="575468"/>
                  <a:pt x="1229916" y="287734"/>
                  <a:pt x="1271588" y="0"/>
                </a:cubicBezTo>
              </a:path>
            </a:pathLst>
          </a:cu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図プレースホルダー 17">
            <a:extLst>
              <a:ext uri="{FF2B5EF4-FFF2-40B4-BE49-F238E27FC236}">
                <a16:creationId xmlns:a16="http://schemas.microsoft.com/office/drawing/2014/main" id="{7EEFC563-9901-7777-EE7F-BF8C89D794FF}"/>
              </a:ext>
            </a:extLst>
          </p:cNvPr>
          <p:cNvSpPr>
            <a:spLocks noGrp="1"/>
          </p:cNvSpPr>
          <p:nvPr>
            <p:ph type="pic" sz="quarter" idx="10"/>
          </p:nvPr>
        </p:nvSpPr>
        <p:spPr>
          <a:xfrm>
            <a:off x="0" y="0"/>
            <a:ext cx="9906000" cy="3032125"/>
          </a:xfrm>
        </p:spPr>
        <p:txBody>
          <a:bodyPr/>
          <a:lstStyle/>
          <a:p>
            <a:endParaRPr kumimoji="1" lang="ja-JP" altLang="en-US"/>
          </a:p>
        </p:txBody>
      </p:sp>
      <p:sp>
        <p:nvSpPr>
          <p:cNvPr id="20" name="テキスト プレースホルダー 19">
            <a:extLst>
              <a:ext uri="{FF2B5EF4-FFF2-40B4-BE49-F238E27FC236}">
                <a16:creationId xmlns:a16="http://schemas.microsoft.com/office/drawing/2014/main" id="{C9529BF5-011C-5386-86E5-18ACB9710694}"/>
              </a:ext>
            </a:extLst>
          </p:cNvPr>
          <p:cNvSpPr>
            <a:spLocks noGrp="1"/>
          </p:cNvSpPr>
          <p:nvPr>
            <p:ph type="body" sz="quarter" idx="11"/>
          </p:nvPr>
        </p:nvSpPr>
        <p:spPr>
          <a:xfrm>
            <a:off x="522857" y="3767699"/>
            <a:ext cx="5884862" cy="333375"/>
          </a:xfrm>
        </p:spPr>
        <p:txBody>
          <a:bodyPr wrap="none">
            <a:noAutofit/>
          </a:bodyPr>
          <a:lstStyle>
            <a:lvl1pPr>
              <a:defRPr lang="ja-JP" altLang="en-US" sz="1800" b="1" dirty="0">
                <a:latin typeface="+mj-ea"/>
                <a:ea typeface="+mj-ea"/>
              </a:defRPr>
            </a:lvl1pPr>
          </a:lstStyle>
          <a:p>
            <a:pPr lvl="0">
              <a:buFont typeface="Arial" panose="020B0604020202020204" pitchFamily="34" charset="0"/>
            </a:pPr>
            <a:endParaRPr kumimoji="1" lang="ja-JP" altLang="en-US"/>
          </a:p>
        </p:txBody>
      </p:sp>
      <p:sp>
        <p:nvSpPr>
          <p:cNvPr id="21" name="テキスト プレースホルダー 19">
            <a:extLst>
              <a:ext uri="{FF2B5EF4-FFF2-40B4-BE49-F238E27FC236}">
                <a16:creationId xmlns:a16="http://schemas.microsoft.com/office/drawing/2014/main" id="{AC6A6C2C-1966-9B2E-E103-35674FAF9AEE}"/>
              </a:ext>
            </a:extLst>
          </p:cNvPr>
          <p:cNvSpPr>
            <a:spLocks noGrp="1"/>
          </p:cNvSpPr>
          <p:nvPr>
            <p:ph type="body" sz="quarter" idx="12"/>
          </p:nvPr>
        </p:nvSpPr>
        <p:spPr>
          <a:xfrm>
            <a:off x="522857" y="4857931"/>
            <a:ext cx="5884862" cy="333375"/>
          </a:xfrm>
        </p:spPr>
        <p:txBody>
          <a:bodyPr wrap="none">
            <a:noAutofit/>
          </a:bodyPr>
          <a:lstStyle>
            <a:lvl1pPr>
              <a:defRPr lang="ja-JP" altLang="en-US" sz="1800" b="1" dirty="0">
                <a:latin typeface="+mj-ea"/>
                <a:ea typeface="+mj-ea"/>
              </a:defRPr>
            </a:lvl1pPr>
          </a:lstStyle>
          <a:p>
            <a:pPr lvl="0">
              <a:buFont typeface="Arial" panose="020B0604020202020204" pitchFamily="34" charset="0"/>
            </a:pPr>
            <a:endParaRPr kumimoji="1" lang="ja-JP" altLang="en-US"/>
          </a:p>
        </p:txBody>
      </p:sp>
    </p:spTree>
    <p:extLst>
      <p:ext uri="{BB962C8B-B14F-4D97-AF65-F5344CB8AC3E}">
        <p14:creationId xmlns:p14="http://schemas.microsoft.com/office/powerpoint/2010/main" val="42624565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ロゴのみ">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3" name="think-cell スライド" r:id="rId4" imgW="360" imgH="360" progId="">
                  <p:embed/>
                </p:oleObj>
              </mc:Choice>
              <mc:Fallback>
                <p:oleObj name="think-cell スライド" r:id="rId4" imgW="360" imgH="360" progId="">
                  <p:embed/>
                  <p:pic>
                    <p:nvPicPr>
                      <p:cNvPr id="2" name="オブジェクト 1" hidden="1">
                        <a:extLst>
                          <a:ext uri="{FF2B5EF4-FFF2-40B4-BE49-F238E27FC236}">
                            <a16:creationId xmlns:a16="http://schemas.microsoft.com/office/drawing/2014/main" id="{081FAD7B-5D2E-444D-A567-4212446F5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グラフィックス 2">
            <a:extLst>
              <a:ext uri="{FF2B5EF4-FFF2-40B4-BE49-F238E27FC236}">
                <a16:creationId xmlns:a16="http://schemas.microsoft.com/office/drawing/2014/main" id="{BCD89A1B-09F9-DB72-AFE7-96522FE2D3A3}"/>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8422123" y="210781"/>
            <a:ext cx="1026676" cy="233049"/>
          </a:xfrm>
          <a:prstGeom prst="rect">
            <a:avLst/>
          </a:prstGeom>
        </p:spPr>
      </p:pic>
      <p:sp>
        <p:nvSpPr>
          <p:cNvPr id="4" name="スライド番号プレースホルダー 4">
            <a:extLst>
              <a:ext uri="{FF2B5EF4-FFF2-40B4-BE49-F238E27FC236}">
                <a16:creationId xmlns:a16="http://schemas.microsoft.com/office/drawing/2014/main" id="{7B8EBAF2-0A8E-B1FE-7B9D-5CDB5BB65989}"/>
              </a:ext>
            </a:extLst>
          </p:cNvPr>
          <p:cNvSpPr>
            <a:spLocks noGrp="1"/>
          </p:cNvSpPr>
          <p:nvPr>
            <p:ph type="sldNum" sz="quarter" idx="12"/>
          </p:nvPr>
        </p:nvSpPr>
        <p:spPr>
          <a:xfrm>
            <a:off x="7544584" y="6492875"/>
            <a:ext cx="2228850" cy="365125"/>
          </a:xfrm>
        </p:spPr>
        <p:txBody>
          <a:bodyPr/>
          <a:lstStyle>
            <a:lvl1pPr>
              <a:defRPr sz="1100" b="1">
                <a:solidFill>
                  <a:schemeClr val="tx1">
                    <a:lumMod val="50000"/>
                    <a:lumOff val="50000"/>
                  </a:schemeClr>
                </a:solidFill>
                <a:latin typeface="+mn-lt"/>
              </a:defRPr>
            </a:lvl1pPr>
          </a:lstStyle>
          <a:p>
            <a:fld id="{3DB74C4F-4DC2-4C31-8D08-159129179147}" type="slidenum">
              <a:rPr kumimoji="1" lang="ja-JP" altLang="en-US" smtClean="0"/>
              <a:pPr/>
              <a:t>‹#›</a:t>
            </a:fld>
            <a:endParaRPr kumimoji="1" lang="ja-JP" altLang="en-US"/>
          </a:p>
        </p:txBody>
      </p:sp>
    </p:spTree>
    <p:extLst>
      <p:ext uri="{BB962C8B-B14F-4D97-AF65-F5344CB8AC3E}">
        <p14:creationId xmlns:p14="http://schemas.microsoft.com/office/powerpoint/2010/main" val="2750017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3" name="日付プレースホルダー 2">
            <a:extLst>
              <a:ext uri="{FF2B5EF4-FFF2-40B4-BE49-F238E27FC236}">
                <a16:creationId xmlns:a16="http://schemas.microsoft.com/office/drawing/2014/main" id="{7FBA029E-FE68-AAE4-B123-E4444205D56F}"/>
              </a:ext>
            </a:extLst>
          </p:cNvPr>
          <p:cNvSpPr>
            <a:spLocks noGrp="1"/>
          </p:cNvSpPr>
          <p:nvPr>
            <p:ph type="dt" sz="half" idx="10"/>
          </p:nvPr>
        </p:nvSpPr>
        <p:spPr/>
        <p:txBody>
          <a:bodyPr/>
          <a:lstStyle/>
          <a:p>
            <a:fld id="{17EB6567-CFE2-4799-A1DC-791325A1FEE1}" type="datetime1">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0CD1F412-FB1B-8494-ACF5-64980A6E56D0}"/>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6" name="スライド番号プレースホルダー 4">
            <a:extLst>
              <a:ext uri="{FF2B5EF4-FFF2-40B4-BE49-F238E27FC236}">
                <a16:creationId xmlns:a16="http://schemas.microsoft.com/office/drawing/2014/main" id="{7667AA92-E19E-B110-94C7-C81306660C49}"/>
              </a:ext>
            </a:extLst>
          </p:cNvPr>
          <p:cNvSpPr>
            <a:spLocks noGrp="1"/>
          </p:cNvSpPr>
          <p:nvPr>
            <p:ph type="sldNum" sz="quarter" idx="12"/>
          </p:nvPr>
        </p:nvSpPr>
        <p:spPr>
          <a:xfrm>
            <a:off x="7544584" y="6492875"/>
            <a:ext cx="2228850" cy="365125"/>
          </a:xfrm>
        </p:spPr>
        <p:txBody>
          <a:bodyPr/>
          <a:lstStyle>
            <a:lvl1pPr>
              <a:defRPr sz="1100" b="1">
                <a:solidFill>
                  <a:schemeClr val="tx1">
                    <a:lumMod val="50000"/>
                    <a:lumOff val="50000"/>
                  </a:schemeClr>
                </a:solidFill>
                <a:latin typeface="+mn-lt"/>
              </a:defRPr>
            </a:lvl1pPr>
          </a:lstStyle>
          <a:p>
            <a:fld id="{3DB74C4F-4DC2-4C31-8D08-159129179147}" type="slidenum">
              <a:rPr kumimoji="1" lang="ja-JP" altLang="en-US" smtClean="0"/>
              <a:pPr/>
              <a:t>‹#›</a:t>
            </a:fld>
            <a:endParaRPr kumimoji="1" lang="ja-JP" altLang="en-US"/>
          </a:p>
        </p:txBody>
      </p:sp>
    </p:spTree>
    <p:extLst>
      <p:ext uri="{BB962C8B-B14F-4D97-AF65-F5344CB8AC3E}">
        <p14:creationId xmlns:p14="http://schemas.microsoft.com/office/powerpoint/2010/main" val="7542164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sp>
        <p:nvSpPr>
          <p:cNvPr id="3" name="日付プレースホルダー 2">
            <a:extLst>
              <a:ext uri="{FF2B5EF4-FFF2-40B4-BE49-F238E27FC236}">
                <a16:creationId xmlns:a16="http://schemas.microsoft.com/office/drawing/2014/main" id="{45EF5488-C324-4C59-D561-88D3C1482CA7}"/>
              </a:ext>
            </a:extLst>
          </p:cNvPr>
          <p:cNvSpPr>
            <a:spLocks noGrp="1"/>
          </p:cNvSpPr>
          <p:nvPr>
            <p:ph type="dt" sz="half" idx="10"/>
          </p:nvPr>
        </p:nvSpPr>
        <p:spPr/>
        <p:txBody>
          <a:bodyPr/>
          <a:lstStyle/>
          <a:p>
            <a:fld id="{B79B8F4A-8CED-472A-B485-8BA0948CF422}" type="datetime1">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D7C21C4A-35E2-52A3-389D-747978D7EC07}"/>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pic>
        <p:nvPicPr>
          <p:cNvPr id="6" name="グラフィックス 5">
            <a:extLst>
              <a:ext uri="{FF2B5EF4-FFF2-40B4-BE49-F238E27FC236}">
                <a16:creationId xmlns:a16="http://schemas.microsoft.com/office/drawing/2014/main" id="{4B5A1175-5E73-5442-40DE-ED938B23AC18}"/>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rot="16200000">
            <a:off x="1276076" y="2603794"/>
            <a:ext cx="1399380" cy="1531974"/>
          </a:xfrm>
          <a:prstGeom prst="rect">
            <a:avLst/>
          </a:prstGeom>
        </p:spPr>
      </p:pic>
      <p:grpSp>
        <p:nvGrpSpPr>
          <p:cNvPr id="9" name="グループ化 8">
            <a:extLst>
              <a:ext uri="{FF2B5EF4-FFF2-40B4-BE49-F238E27FC236}">
                <a16:creationId xmlns:a16="http://schemas.microsoft.com/office/drawing/2014/main" id="{DA78FEE1-5F62-D29D-D980-4F6F9D1688BD}"/>
              </a:ext>
            </a:extLst>
          </p:cNvPr>
          <p:cNvGrpSpPr/>
          <p:nvPr userDrawn="1"/>
        </p:nvGrpSpPr>
        <p:grpSpPr>
          <a:xfrm>
            <a:off x="-85724" y="2536524"/>
            <a:ext cx="10417175" cy="1742939"/>
            <a:chOff x="-85724" y="2559736"/>
            <a:chExt cx="13151780" cy="2200477"/>
          </a:xfrm>
        </p:grpSpPr>
        <p:sp>
          <p:nvSpPr>
            <p:cNvPr id="10" name="グラフィックス 26">
              <a:extLst>
                <a:ext uri="{FF2B5EF4-FFF2-40B4-BE49-F238E27FC236}">
                  <a16:creationId xmlns:a16="http://schemas.microsoft.com/office/drawing/2014/main" id="{F5E85047-178F-EF24-2893-F0AB6CA7FAED}"/>
                </a:ext>
              </a:extLst>
            </p:cNvPr>
            <p:cNvSpPr/>
            <p:nvPr/>
          </p:nvSpPr>
          <p:spPr>
            <a:xfrm>
              <a:off x="1069916" y="2559736"/>
              <a:ext cx="2414076" cy="1766730"/>
            </a:xfrm>
            <a:custGeom>
              <a:avLst/>
              <a:gdLst>
                <a:gd name="connsiteX0" fmla="*/ 183143 w 6120084"/>
                <a:gd name="connsiteY0" fmla="*/ 4119944 h 4478956"/>
                <a:gd name="connsiteX1" fmla="*/ 118443 w 6120084"/>
                <a:gd name="connsiteY1" fmla="*/ 3669188 h 4478956"/>
                <a:gd name="connsiteX2" fmla="*/ 169988 w 6120084"/>
                <a:gd name="connsiteY2" fmla="*/ 2840463 h 4478956"/>
                <a:gd name="connsiteX3" fmla="*/ 198294 w 6120084"/>
                <a:gd name="connsiteY3" fmla="*/ 2208811 h 4478956"/>
                <a:gd name="connsiteX4" fmla="*/ 168965 w 6120084"/>
                <a:gd name="connsiteY4" fmla="*/ 1836884 h 4478956"/>
                <a:gd name="connsiteX5" fmla="*/ 36545 w 6120084"/>
                <a:gd name="connsiteY5" fmla="*/ 1593333 h 4478956"/>
                <a:gd name="connsiteX6" fmla="*/ 3171 w 6120084"/>
                <a:gd name="connsiteY6" fmla="*/ 1193100 h 4478956"/>
                <a:gd name="connsiteX7" fmla="*/ 50673 w 6120084"/>
                <a:gd name="connsiteY7" fmla="*/ 533141 h 4478956"/>
                <a:gd name="connsiteX8" fmla="*/ 91111 w 6120084"/>
                <a:gd name="connsiteY8" fmla="*/ 381525 h 4478956"/>
                <a:gd name="connsiteX9" fmla="*/ 110306 w 6120084"/>
                <a:gd name="connsiteY9" fmla="*/ 598816 h 4478956"/>
                <a:gd name="connsiteX10" fmla="*/ 99198 w 6120084"/>
                <a:gd name="connsiteY10" fmla="*/ 1121336 h 4478956"/>
                <a:gd name="connsiteX11" fmla="*/ 144703 w 6120084"/>
                <a:gd name="connsiteY11" fmla="*/ 1273926 h 4478956"/>
                <a:gd name="connsiteX12" fmla="*/ 171986 w 6120084"/>
                <a:gd name="connsiteY12" fmla="*/ 1018245 h 4478956"/>
                <a:gd name="connsiteX13" fmla="*/ 186114 w 6120084"/>
                <a:gd name="connsiteY13" fmla="*/ 546247 h 4478956"/>
                <a:gd name="connsiteX14" fmla="*/ 252812 w 6120084"/>
                <a:gd name="connsiteY14" fmla="*/ 365350 h 4478956"/>
                <a:gd name="connsiteX15" fmla="*/ 305381 w 6120084"/>
                <a:gd name="connsiteY15" fmla="*/ 554334 h 4478956"/>
                <a:gd name="connsiteX16" fmla="*/ 316489 w 6120084"/>
                <a:gd name="connsiteY16" fmla="*/ 1147596 h 4478956"/>
                <a:gd name="connsiteX17" fmla="*/ 405451 w 6120084"/>
                <a:gd name="connsiteY17" fmla="*/ 1188033 h 4478956"/>
                <a:gd name="connsiteX18" fmla="*/ 422649 w 6120084"/>
                <a:gd name="connsiteY18" fmla="*/ 753452 h 4478956"/>
                <a:gd name="connsiteX19" fmla="*/ 440822 w 6120084"/>
                <a:gd name="connsiteY19" fmla="*/ 468441 h 4478956"/>
                <a:gd name="connsiteX20" fmla="*/ 513609 w 6120084"/>
                <a:gd name="connsiteY20" fmla="*/ 606903 h 4478956"/>
                <a:gd name="connsiteX21" fmla="*/ 552000 w 6120084"/>
                <a:gd name="connsiteY21" fmla="*/ 1308274 h 4478956"/>
                <a:gd name="connsiteX22" fmla="*/ 508542 w 6120084"/>
                <a:gd name="connsiteY22" fmla="*/ 1604393 h 4478956"/>
                <a:gd name="connsiteX23" fmla="*/ 388253 w 6120084"/>
                <a:gd name="connsiteY23" fmla="*/ 1698373 h 4478956"/>
                <a:gd name="connsiteX24" fmla="*/ 324576 w 6120084"/>
                <a:gd name="connsiteY24" fmla="*/ 1863095 h 4478956"/>
                <a:gd name="connsiteX25" fmla="*/ 338705 w 6120084"/>
                <a:gd name="connsiteY25" fmla="*/ 2428050 h 4478956"/>
                <a:gd name="connsiteX26" fmla="*/ 453927 w 6120084"/>
                <a:gd name="connsiteY26" fmla="*/ 3390169 h 4478956"/>
                <a:gd name="connsiteX27" fmla="*/ 488275 w 6120084"/>
                <a:gd name="connsiteY27" fmla="*/ 3962189 h 4478956"/>
                <a:gd name="connsiteX28" fmla="*/ 401359 w 6120084"/>
                <a:gd name="connsiteY28" fmla="*/ 4151173 h 4478956"/>
                <a:gd name="connsiteX29" fmla="*/ 372663 w 6120084"/>
                <a:gd name="connsiteY29" fmla="*/ 4084866 h 4478956"/>
                <a:gd name="connsiteX30" fmla="*/ 520430 w 6120084"/>
                <a:gd name="connsiteY30" fmla="*/ 4043210 h 4478956"/>
                <a:gd name="connsiteX31" fmla="*/ 772506 w 6120084"/>
                <a:gd name="connsiteY31" fmla="*/ 4102453 h 4478956"/>
                <a:gd name="connsiteX32" fmla="*/ 1036470 w 6120084"/>
                <a:gd name="connsiteY32" fmla="*/ 4074975 h 4478956"/>
                <a:gd name="connsiteX33" fmla="*/ 1062341 w 6120084"/>
                <a:gd name="connsiteY33" fmla="*/ 3673134 h 4478956"/>
                <a:gd name="connsiteX34" fmla="*/ 1103752 w 6120084"/>
                <a:gd name="connsiteY34" fmla="*/ 2879780 h 4478956"/>
                <a:gd name="connsiteX35" fmla="*/ 1149257 w 6120084"/>
                <a:gd name="connsiteY35" fmla="*/ 1958050 h 4478956"/>
                <a:gd name="connsiteX36" fmla="*/ 981466 w 6120084"/>
                <a:gd name="connsiteY36" fmla="*/ 1614429 h 4478956"/>
                <a:gd name="connsiteX37" fmla="*/ 854112 w 6120084"/>
                <a:gd name="connsiteY37" fmla="*/ 1237435 h 4478956"/>
                <a:gd name="connsiteX38" fmla="*/ 993597 w 6120084"/>
                <a:gd name="connsiteY38" fmla="*/ 643151 h 4478956"/>
                <a:gd name="connsiteX39" fmla="*/ 1261410 w 6120084"/>
                <a:gd name="connsiteY39" fmla="*/ 454166 h 4478956"/>
                <a:gd name="connsiteX40" fmla="*/ 1452440 w 6120084"/>
                <a:gd name="connsiteY40" fmla="*/ 518866 h 4478956"/>
                <a:gd name="connsiteX41" fmla="*/ 1530246 w 6120084"/>
                <a:gd name="connsiteY41" fmla="*/ 807921 h 4478956"/>
                <a:gd name="connsiteX42" fmla="*/ 1519138 w 6120084"/>
                <a:gd name="connsiteY42" fmla="*/ 1353681 h 4478956"/>
                <a:gd name="connsiteX43" fmla="*/ 1349349 w 6120084"/>
                <a:gd name="connsiteY43" fmla="*/ 1703391 h 4478956"/>
                <a:gd name="connsiteX44" fmla="*/ 1287718 w 6120084"/>
                <a:gd name="connsiteY44" fmla="*/ 1988402 h 4478956"/>
                <a:gd name="connsiteX45" fmla="*/ 1359483 w 6120084"/>
                <a:gd name="connsiteY45" fmla="*/ 2732257 h 4478956"/>
                <a:gd name="connsiteX46" fmla="*/ 1397874 w 6120084"/>
                <a:gd name="connsiteY46" fmla="*/ 3903628 h 4478956"/>
                <a:gd name="connsiteX47" fmla="*/ 1243237 w 6120084"/>
                <a:gd name="connsiteY47" fmla="*/ 4142160 h 4478956"/>
                <a:gd name="connsiteX48" fmla="*/ 1253322 w 6120084"/>
                <a:gd name="connsiteY48" fmla="*/ 4033028 h 4478956"/>
                <a:gd name="connsiteX49" fmla="*/ 1590902 w 6120084"/>
                <a:gd name="connsiteY49" fmla="*/ 4009788 h 4478956"/>
                <a:gd name="connsiteX50" fmla="*/ 2125553 w 6120084"/>
                <a:gd name="connsiteY50" fmla="*/ 4077509 h 4478956"/>
                <a:gd name="connsiteX51" fmla="*/ 2354975 w 6120084"/>
                <a:gd name="connsiteY51" fmla="*/ 4076486 h 4478956"/>
                <a:gd name="connsiteX52" fmla="*/ 2266061 w 6120084"/>
                <a:gd name="connsiteY52" fmla="*/ 3847064 h 4478956"/>
                <a:gd name="connsiteX53" fmla="*/ 1867874 w 6120084"/>
                <a:gd name="connsiteY53" fmla="*/ 2567584 h 4478956"/>
                <a:gd name="connsiteX54" fmla="*/ 2328374 w 6120084"/>
                <a:gd name="connsiteY54" fmla="*/ 718228 h 4478956"/>
                <a:gd name="connsiteX55" fmla="*/ 3747583 w 6120084"/>
                <a:gd name="connsiteY55" fmla="*/ 7211 h 4478956"/>
                <a:gd name="connsiteX56" fmla="*/ 5087329 w 6120084"/>
                <a:gd name="connsiteY56" fmla="*/ 309858 h 4478956"/>
                <a:gd name="connsiteX57" fmla="*/ 5954542 w 6120084"/>
                <a:gd name="connsiteY57" fmla="*/ 1329077 h 4478956"/>
                <a:gd name="connsiteX58" fmla="*/ 6069521 w 6120084"/>
                <a:gd name="connsiteY58" fmla="*/ 2884214 h 4478956"/>
                <a:gd name="connsiteX59" fmla="*/ 5453702 w 6120084"/>
                <a:gd name="connsiteY59" fmla="*/ 4032053 h 4478956"/>
                <a:gd name="connsiteX60" fmla="*/ 4389661 w 6120084"/>
                <a:gd name="connsiteY60" fmla="*/ 4460788 h 4478956"/>
                <a:gd name="connsiteX61" fmla="*/ 3305937 w 6120084"/>
                <a:gd name="connsiteY61" fmla="*/ 4321595 h 4478956"/>
                <a:gd name="connsiteX62" fmla="*/ 2647294 w 6120084"/>
                <a:gd name="connsiteY62" fmla="*/ 3679370 h 4478956"/>
                <a:gd name="connsiteX63" fmla="*/ 2487395 w 6120084"/>
                <a:gd name="connsiteY63" fmla="*/ 3222525 h 4478956"/>
                <a:gd name="connsiteX64" fmla="*/ 2956324 w 6120084"/>
                <a:gd name="connsiteY64" fmla="*/ 3436794 h 4478956"/>
                <a:gd name="connsiteX65" fmla="*/ 3973058 w 6120084"/>
                <a:gd name="connsiteY65" fmla="*/ 3566145 h 4478956"/>
                <a:gd name="connsiteX66" fmla="*/ 4854351 w 6120084"/>
                <a:gd name="connsiteY66" fmla="*/ 3145693 h 4478956"/>
                <a:gd name="connsiteX67" fmla="*/ 5065795 w 6120084"/>
                <a:gd name="connsiteY67" fmla="*/ 2131054 h 4478956"/>
                <a:gd name="connsiteX68" fmla="*/ 4634819 w 6120084"/>
                <a:gd name="connsiteY68" fmla="*/ 1278214 h 4478956"/>
                <a:gd name="connsiteX69" fmla="*/ 3866508 w 6120084"/>
                <a:gd name="connsiteY69" fmla="*/ 992910 h 4478956"/>
                <a:gd name="connsiteX70" fmla="*/ 3124651 w 6120084"/>
                <a:gd name="connsiteY70" fmla="*/ 1282550 h 4478956"/>
                <a:gd name="connsiteX71" fmla="*/ 2822393 w 6120084"/>
                <a:gd name="connsiteY71" fmla="*/ 1957660 h 4478956"/>
                <a:gd name="connsiteX72" fmla="*/ 2899565 w 6120084"/>
                <a:gd name="connsiteY72" fmla="*/ 2626194 h 4478956"/>
                <a:gd name="connsiteX73" fmla="*/ 3194125 w 6120084"/>
                <a:gd name="connsiteY73" fmla="*/ 3078314 h 4478956"/>
                <a:gd name="connsiteX74" fmla="*/ 3566735 w 6120084"/>
                <a:gd name="connsiteY74" fmla="*/ 3283132 h 4478956"/>
                <a:gd name="connsiteX0" fmla="*/ 183143 w 6120084"/>
                <a:gd name="connsiteY0" fmla="*/ 4119944 h 4478956"/>
                <a:gd name="connsiteX1" fmla="*/ 118443 w 6120084"/>
                <a:gd name="connsiteY1" fmla="*/ 3669188 h 4478956"/>
                <a:gd name="connsiteX2" fmla="*/ 169988 w 6120084"/>
                <a:gd name="connsiteY2" fmla="*/ 2840463 h 4478956"/>
                <a:gd name="connsiteX3" fmla="*/ 198294 w 6120084"/>
                <a:gd name="connsiteY3" fmla="*/ 2208811 h 4478956"/>
                <a:gd name="connsiteX4" fmla="*/ 168965 w 6120084"/>
                <a:gd name="connsiteY4" fmla="*/ 1836884 h 4478956"/>
                <a:gd name="connsiteX5" fmla="*/ 36545 w 6120084"/>
                <a:gd name="connsiteY5" fmla="*/ 1593333 h 4478956"/>
                <a:gd name="connsiteX6" fmla="*/ 3171 w 6120084"/>
                <a:gd name="connsiteY6" fmla="*/ 1193100 h 4478956"/>
                <a:gd name="connsiteX7" fmla="*/ 50673 w 6120084"/>
                <a:gd name="connsiteY7" fmla="*/ 533141 h 4478956"/>
                <a:gd name="connsiteX8" fmla="*/ 91111 w 6120084"/>
                <a:gd name="connsiteY8" fmla="*/ 381525 h 4478956"/>
                <a:gd name="connsiteX9" fmla="*/ 110306 w 6120084"/>
                <a:gd name="connsiteY9" fmla="*/ 598816 h 4478956"/>
                <a:gd name="connsiteX10" fmla="*/ 99198 w 6120084"/>
                <a:gd name="connsiteY10" fmla="*/ 1121336 h 4478956"/>
                <a:gd name="connsiteX11" fmla="*/ 144703 w 6120084"/>
                <a:gd name="connsiteY11" fmla="*/ 1273926 h 4478956"/>
                <a:gd name="connsiteX12" fmla="*/ 171986 w 6120084"/>
                <a:gd name="connsiteY12" fmla="*/ 1018245 h 4478956"/>
                <a:gd name="connsiteX13" fmla="*/ 186114 w 6120084"/>
                <a:gd name="connsiteY13" fmla="*/ 546247 h 4478956"/>
                <a:gd name="connsiteX14" fmla="*/ 252812 w 6120084"/>
                <a:gd name="connsiteY14" fmla="*/ 365350 h 4478956"/>
                <a:gd name="connsiteX15" fmla="*/ 305381 w 6120084"/>
                <a:gd name="connsiteY15" fmla="*/ 554334 h 4478956"/>
                <a:gd name="connsiteX16" fmla="*/ 316489 w 6120084"/>
                <a:gd name="connsiteY16" fmla="*/ 1147596 h 4478956"/>
                <a:gd name="connsiteX17" fmla="*/ 405451 w 6120084"/>
                <a:gd name="connsiteY17" fmla="*/ 1188033 h 4478956"/>
                <a:gd name="connsiteX18" fmla="*/ 422649 w 6120084"/>
                <a:gd name="connsiteY18" fmla="*/ 753452 h 4478956"/>
                <a:gd name="connsiteX19" fmla="*/ 440822 w 6120084"/>
                <a:gd name="connsiteY19" fmla="*/ 468441 h 4478956"/>
                <a:gd name="connsiteX20" fmla="*/ 513609 w 6120084"/>
                <a:gd name="connsiteY20" fmla="*/ 606903 h 4478956"/>
                <a:gd name="connsiteX21" fmla="*/ 552000 w 6120084"/>
                <a:gd name="connsiteY21" fmla="*/ 1308274 h 4478956"/>
                <a:gd name="connsiteX22" fmla="*/ 508542 w 6120084"/>
                <a:gd name="connsiteY22" fmla="*/ 1604393 h 4478956"/>
                <a:gd name="connsiteX23" fmla="*/ 388253 w 6120084"/>
                <a:gd name="connsiteY23" fmla="*/ 1698373 h 4478956"/>
                <a:gd name="connsiteX24" fmla="*/ 324576 w 6120084"/>
                <a:gd name="connsiteY24" fmla="*/ 1863095 h 4478956"/>
                <a:gd name="connsiteX25" fmla="*/ 338705 w 6120084"/>
                <a:gd name="connsiteY25" fmla="*/ 2428050 h 4478956"/>
                <a:gd name="connsiteX26" fmla="*/ 453927 w 6120084"/>
                <a:gd name="connsiteY26" fmla="*/ 3390169 h 4478956"/>
                <a:gd name="connsiteX27" fmla="*/ 488275 w 6120084"/>
                <a:gd name="connsiteY27" fmla="*/ 3962189 h 4478956"/>
                <a:gd name="connsiteX28" fmla="*/ 401359 w 6120084"/>
                <a:gd name="connsiteY28" fmla="*/ 4151173 h 4478956"/>
                <a:gd name="connsiteX29" fmla="*/ 372663 w 6120084"/>
                <a:gd name="connsiteY29" fmla="*/ 4084866 h 4478956"/>
                <a:gd name="connsiteX30" fmla="*/ 520430 w 6120084"/>
                <a:gd name="connsiteY30" fmla="*/ 4043210 h 4478956"/>
                <a:gd name="connsiteX31" fmla="*/ 772506 w 6120084"/>
                <a:gd name="connsiteY31" fmla="*/ 4102453 h 4478956"/>
                <a:gd name="connsiteX32" fmla="*/ 1036470 w 6120084"/>
                <a:gd name="connsiteY32" fmla="*/ 4074975 h 4478956"/>
                <a:gd name="connsiteX33" fmla="*/ 1062341 w 6120084"/>
                <a:gd name="connsiteY33" fmla="*/ 3673134 h 4478956"/>
                <a:gd name="connsiteX34" fmla="*/ 1103752 w 6120084"/>
                <a:gd name="connsiteY34" fmla="*/ 2879780 h 4478956"/>
                <a:gd name="connsiteX35" fmla="*/ 1149257 w 6120084"/>
                <a:gd name="connsiteY35" fmla="*/ 1958050 h 4478956"/>
                <a:gd name="connsiteX36" fmla="*/ 981466 w 6120084"/>
                <a:gd name="connsiteY36" fmla="*/ 1614429 h 4478956"/>
                <a:gd name="connsiteX37" fmla="*/ 854112 w 6120084"/>
                <a:gd name="connsiteY37" fmla="*/ 1237435 h 4478956"/>
                <a:gd name="connsiteX38" fmla="*/ 993597 w 6120084"/>
                <a:gd name="connsiteY38" fmla="*/ 643151 h 4478956"/>
                <a:gd name="connsiteX39" fmla="*/ 1261410 w 6120084"/>
                <a:gd name="connsiteY39" fmla="*/ 454166 h 4478956"/>
                <a:gd name="connsiteX40" fmla="*/ 1452440 w 6120084"/>
                <a:gd name="connsiteY40" fmla="*/ 518866 h 4478956"/>
                <a:gd name="connsiteX41" fmla="*/ 1530246 w 6120084"/>
                <a:gd name="connsiteY41" fmla="*/ 807921 h 4478956"/>
                <a:gd name="connsiteX42" fmla="*/ 1519138 w 6120084"/>
                <a:gd name="connsiteY42" fmla="*/ 1353681 h 4478956"/>
                <a:gd name="connsiteX43" fmla="*/ 1349349 w 6120084"/>
                <a:gd name="connsiteY43" fmla="*/ 1703391 h 4478956"/>
                <a:gd name="connsiteX44" fmla="*/ 1287718 w 6120084"/>
                <a:gd name="connsiteY44" fmla="*/ 1988402 h 4478956"/>
                <a:gd name="connsiteX45" fmla="*/ 1359483 w 6120084"/>
                <a:gd name="connsiteY45" fmla="*/ 2732257 h 4478956"/>
                <a:gd name="connsiteX46" fmla="*/ 1397874 w 6120084"/>
                <a:gd name="connsiteY46" fmla="*/ 3903628 h 4478956"/>
                <a:gd name="connsiteX47" fmla="*/ 1243237 w 6120084"/>
                <a:gd name="connsiteY47" fmla="*/ 4142160 h 4478956"/>
                <a:gd name="connsiteX48" fmla="*/ 1253322 w 6120084"/>
                <a:gd name="connsiteY48" fmla="*/ 4033028 h 4478956"/>
                <a:gd name="connsiteX49" fmla="*/ 1590902 w 6120084"/>
                <a:gd name="connsiteY49" fmla="*/ 4009788 h 4478956"/>
                <a:gd name="connsiteX50" fmla="*/ 2125553 w 6120084"/>
                <a:gd name="connsiteY50" fmla="*/ 4077509 h 4478956"/>
                <a:gd name="connsiteX51" fmla="*/ 2354975 w 6120084"/>
                <a:gd name="connsiteY51" fmla="*/ 4076486 h 4478956"/>
                <a:gd name="connsiteX52" fmla="*/ 2266061 w 6120084"/>
                <a:gd name="connsiteY52" fmla="*/ 3847064 h 4478956"/>
                <a:gd name="connsiteX53" fmla="*/ 1867874 w 6120084"/>
                <a:gd name="connsiteY53" fmla="*/ 2567584 h 4478956"/>
                <a:gd name="connsiteX54" fmla="*/ 2328374 w 6120084"/>
                <a:gd name="connsiteY54" fmla="*/ 718228 h 4478956"/>
                <a:gd name="connsiteX55" fmla="*/ 3747583 w 6120084"/>
                <a:gd name="connsiteY55" fmla="*/ 7211 h 4478956"/>
                <a:gd name="connsiteX56" fmla="*/ 5087329 w 6120084"/>
                <a:gd name="connsiteY56" fmla="*/ 309858 h 4478956"/>
                <a:gd name="connsiteX57" fmla="*/ 5954542 w 6120084"/>
                <a:gd name="connsiteY57" fmla="*/ 1329077 h 4478956"/>
                <a:gd name="connsiteX58" fmla="*/ 6069521 w 6120084"/>
                <a:gd name="connsiteY58" fmla="*/ 2884214 h 4478956"/>
                <a:gd name="connsiteX59" fmla="*/ 5453702 w 6120084"/>
                <a:gd name="connsiteY59" fmla="*/ 4032053 h 4478956"/>
                <a:gd name="connsiteX60" fmla="*/ 4389661 w 6120084"/>
                <a:gd name="connsiteY60" fmla="*/ 4460788 h 4478956"/>
                <a:gd name="connsiteX61" fmla="*/ 3305937 w 6120084"/>
                <a:gd name="connsiteY61" fmla="*/ 4321595 h 4478956"/>
                <a:gd name="connsiteX62" fmla="*/ 2647294 w 6120084"/>
                <a:gd name="connsiteY62" fmla="*/ 3679370 h 4478956"/>
                <a:gd name="connsiteX63" fmla="*/ 2487395 w 6120084"/>
                <a:gd name="connsiteY63" fmla="*/ 3222525 h 4478956"/>
                <a:gd name="connsiteX64" fmla="*/ 2956324 w 6120084"/>
                <a:gd name="connsiteY64" fmla="*/ 3436794 h 4478956"/>
                <a:gd name="connsiteX65" fmla="*/ 3973058 w 6120084"/>
                <a:gd name="connsiteY65" fmla="*/ 3566145 h 4478956"/>
                <a:gd name="connsiteX66" fmla="*/ 4854351 w 6120084"/>
                <a:gd name="connsiteY66" fmla="*/ 3145693 h 4478956"/>
                <a:gd name="connsiteX67" fmla="*/ 5065795 w 6120084"/>
                <a:gd name="connsiteY67" fmla="*/ 2131054 h 4478956"/>
                <a:gd name="connsiteX68" fmla="*/ 4634819 w 6120084"/>
                <a:gd name="connsiteY68" fmla="*/ 1278214 h 4478956"/>
                <a:gd name="connsiteX69" fmla="*/ 3866508 w 6120084"/>
                <a:gd name="connsiteY69" fmla="*/ 992910 h 4478956"/>
                <a:gd name="connsiteX70" fmla="*/ 3124651 w 6120084"/>
                <a:gd name="connsiteY70" fmla="*/ 1282550 h 4478956"/>
                <a:gd name="connsiteX71" fmla="*/ 2822393 w 6120084"/>
                <a:gd name="connsiteY71" fmla="*/ 1957660 h 4478956"/>
                <a:gd name="connsiteX72" fmla="*/ 2899565 w 6120084"/>
                <a:gd name="connsiteY72" fmla="*/ 2626194 h 4478956"/>
                <a:gd name="connsiteX73" fmla="*/ 3194125 w 6120084"/>
                <a:gd name="connsiteY73" fmla="*/ 3078314 h 4478956"/>
                <a:gd name="connsiteX74" fmla="*/ 3678519 w 6120084"/>
                <a:gd name="connsiteY74" fmla="*/ 3323779 h 447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6120084" h="4478956">
                  <a:moveTo>
                    <a:pt x="183143" y="4119944"/>
                  </a:moveTo>
                  <a:cubicBezTo>
                    <a:pt x="150793" y="4006768"/>
                    <a:pt x="118443" y="3893543"/>
                    <a:pt x="118443" y="3669188"/>
                  </a:cubicBezTo>
                  <a:cubicBezTo>
                    <a:pt x="118443" y="3444833"/>
                    <a:pt x="150793" y="3109300"/>
                    <a:pt x="169988" y="2840463"/>
                  </a:cubicBezTo>
                  <a:cubicBezTo>
                    <a:pt x="189184" y="2571628"/>
                    <a:pt x="195274" y="2369489"/>
                    <a:pt x="198294" y="2208811"/>
                  </a:cubicBezTo>
                  <a:cubicBezTo>
                    <a:pt x="201315" y="2048133"/>
                    <a:pt x="201315" y="1928867"/>
                    <a:pt x="168965" y="1836884"/>
                  </a:cubicBezTo>
                  <a:cubicBezTo>
                    <a:pt x="136615" y="1744901"/>
                    <a:pt x="71964" y="1680250"/>
                    <a:pt x="36545" y="1593333"/>
                  </a:cubicBezTo>
                  <a:cubicBezTo>
                    <a:pt x="1174" y="1506417"/>
                    <a:pt x="-4916" y="1397285"/>
                    <a:pt x="3171" y="1193100"/>
                  </a:cubicBezTo>
                  <a:cubicBezTo>
                    <a:pt x="11259" y="988964"/>
                    <a:pt x="33475" y="689775"/>
                    <a:pt x="50673" y="533141"/>
                  </a:cubicBezTo>
                  <a:cubicBezTo>
                    <a:pt x="67871" y="376507"/>
                    <a:pt x="80003" y="362329"/>
                    <a:pt x="91111" y="381525"/>
                  </a:cubicBezTo>
                  <a:cubicBezTo>
                    <a:pt x="102219" y="400721"/>
                    <a:pt x="112353" y="453289"/>
                    <a:pt x="110306" y="598816"/>
                  </a:cubicBezTo>
                  <a:cubicBezTo>
                    <a:pt x="108309" y="744342"/>
                    <a:pt x="94131" y="982874"/>
                    <a:pt x="99198" y="1121336"/>
                  </a:cubicBezTo>
                  <a:cubicBezTo>
                    <a:pt x="104265" y="1259797"/>
                    <a:pt x="128528" y="1298189"/>
                    <a:pt x="144703" y="1273926"/>
                  </a:cubicBezTo>
                  <a:cubicBezTo>
                    <a:pt x="160878" y="1249664"/>
                    <a:pt x="168965" y="1162748"/>
                    <a:pt x="171986" y="1018245"/>
                  </a:cubicBezTo>
                  <a:cubicBezTo>
                    <a:pt x="175006" y="873742"/>
                    <a:pt x="173009" y="671603"/>
                    <a:pt x="186114" y="546247"/>
                  </a:cubicBezTo>
                  <a:cubicBezTo>
                    <a:pt x="199269" y="420939"/>
                    <a:pt x="227526" y="372414"/>
                    <a:pt x="252812" y="365350"/>
                  </a:cubicBezTo>
                  <a:cubicBezTo>
                    <a:pt x="278097" y="358286"/>
                    <a:pt x="300314" y="392633"/>
                    <a:pt x="305381" y="554334"/>
                  </a:cubicBezTo>
                  <a:cubicBezTo>
                    <a:pt x="310447" y="716035"/>
                    <a:pt x="298316" y="1005090"/>
                    <a:pt x="316489" y="1147596"/>
                  </a:cubicBezTo>
                  <a:cubicBezTo>
                    <a:pt x="334661" y="1290101"/>
                    <a:pt x="383186" y="1286058"/>
                    <a:pt x="405451" y="1188033"/>
                  </a:cubicBezTo>
                  <a:cubicBezTo>
                    <a:pt x="427667" y="1090009"/>
                    <a:pt x="423624" y="897955"/>
                    <a:pt x="422649" y="753452"/>
                  </a:cubicBezTo>
                  <a:cubicBezTo>
                    <a:pt x="421626" y="608949"/>
                    <a:pt x="423672" y="511899"/>
                    <a:pt x="440822" y="468441"/>
                  </a:cubicBezTo>
                  <a:cubicBezTo>
                    <a:pt x="458020" y="424983"/>
                    <a:pt x="490321" y="435068"/>
                    <a:pt x="513609" y="606903"/>
                  </a:cubicBezTo>
                  <a:cubicBezTo>
                    <a:pt x="536848" y="778738"/>
                    <a:pt x="551026" y="1112225"/>
                    <a:pt x="552000" y="1308274"/>
                  </a:cubicBezTo>
                  <a:cubicBezTo>
                    <a:pt x="553023" y="1504322"/>
                    <a:pt x="540892" y="1562981"/>
                    <a:pt x="508542" y="1604393"/>
                  </a:cubicBezTo>
                  <a:cubicBezTo>
                    <a:pt x="476192" y="1645853"/>
                    <a:pt x="423624" y="1670067"/>
                    <a:pt x="388253" y="1698373"/>
                  </a:cubicBezTo>
                  <a:cubicBezTo>
                    <a:pt x="352882" y="1726680"/>
                    <a:pt x="334710" y="1759030"/>
                    <a:pt x="324576" y="1863095"/>
                  </a:cubicBezTo>
                  <a:cubicBezTo>
                    <a:pt x="314491" y="1967209"/>
                    <a:pt x="312445" y="2143039"/>
                    <a:pt x="338705" y="2428050"/>
                  </a:cubicBezTo>
                  <a:cubicBezTo>
                    <a:pt x="364965" y="2713061"/>
                    <a:pt x="419580" y="3107205"/>
                    <a:pt x="453927" y="3390169"/>
                  </a:cubicBezTo>
                  <a:cubicBezTo>
                    <a:pt x="488275" y="3673134"/>
                    <a:pt x="502452" y="3844969"/>
                    <a:pt x="488275" y="3962189"/>
                  </a:cubicBezTo>
                  <a:cubicBezTo>
                    <a:pt x="474146" y="4079409"/>
                    <a:pt x="431662" y="4142063"/>
                    <a:pt x="401359" y="4151173"/>
                  </a:cubicBezTo>
                  <a:cubicBezTo>
                    <a:pt x="371055" y="4160284"/>
                    <a:pt x="352834" y="4115803"/>
                    <a:pt x="372663" y="4084866"/>
                  </a:cubicBezTo>
                  <a:cubicBezTo>
                    <a:pt x="392492" y="4053928"/>
                    <a:pt x="450273" y="4036535"/>
                    <a:pt x="520430" y="4043210"/>
                  </a:cubicBezTo>
                  <a:cubicBezTo>
                    <a:pt x="590586" y="4049885"/>
                    <a:pt x="673020" y="4080627"/>
                    <a:pt x="772506" y="4102453"/>
                  </a:cubicBezTo>
                  <a:cubicBezTo>
                    <a:pt x="871943" y="4124280"/>
                    <a:pt x="988384" y="4137239"/>
                    <a:pt x="1036470" y="4074975"/>
                  </a:cubicBezTo>
                  <a:cubicBezTo>
                    <a:pt x="1084557" y="4012711"/>
                    <a:pt x="1064387" y="3875273"/>
                    <a:pt x="1062341" y="3673134"/>
                  </a:cubicBezTo>
                  <a:cubicBezTo>
                    <a:pt x="1060343" y="3470996"/>
                    <a:pt x="1076469" y="3204206"/>
                    <a:pt x="1103752" y="2879780"/>
                  </a:cubicBezTo>
                  <a:cubicBezTo>
                    <a:pt x="1131035" y="2555355"/>
                    <a:pt x="1169427" y="2173343"/>
                    <a:pt x="1149257" y="1958050"/>
                  </a:cubicBezTo>
                  <a:cubicBezTo>
                    <a:pt x="1129038" y="1742757"/>
                    <a:pt x="1050209" y="1694281"/>
                    <a:pt x="981466" y="1614429"/>
                  </a:cubicBezTo>
                  <a:cubicBezTo>
                    <a:pt x="912722" y="1534577"/>
                    <a:pt x="854112" y="1423399"/>
                    <a:pt x="854112" y="1237435"/>
                  </a:cubicBezTo>
                  <a:cubicBezTo>
                    <a:pt x="854112" y="1051472"/>
                    <a:pt x="912722" y="790723"/>
                    <a:pt x="993597" y="643151"/>
                  </a:cubicBezTo>
                  <a:cubicBezTo>
                    <a:pt x="1074472" y="495578"/>
                    <a:pt x="1177514" y="461231"/>
                    <a:pt x="1261410" y="454166"/>
                  </a:cubicBezTo>
                  <a:cubicBezTo>
                    <a:pt x="1345305" y="447102"/>
                    <a:pt x="1409957" y="467321"/>
                    <a:pt x="1452440" y="518866"/>
                  </a:cubicBezTo>
                  <a:cubicBezTo>
                    <a:pt x="1494875" y="570412"/>
                    <a:pt x="1515094" y="653284"/>
                    <a:pt x="1530246" y="807921"/>
                  </a:cubicBezTo>
                  <a:cubicBezTo>
                    <a:pt x="1545398" y="962558"/>
                    <a:pt x="1555531" y="1188959"/>
                    <a:pt x="1519138" y="1353681"/>
                  </a:cubicBezTo>
                  <a:cubicBezTo>
                    <a:pt x="1482744" y="1518402"/>
                    <a:pt x="1399871" y="1621493"/>
                    <a:pt x="1349349" y="1703391"/>
                  </a:cubicBezTo>
                  <a:cubicBezTo>
                    <a:pt x="1298827" y="1785241"/>
                    <a:pt x="1280605" y="1845897"/>
                    <a:pt x="1287718" y="1988402"/>
                  </a:cubicBezTo>
                  <a:cubicBezTo>
                    <a:pt x="1294783" y="2130908"/>
                    <a:pt x="1327133" y="2355263"/>
                    <a:pt x="1359483" y="2732257"/>
                  </a:cubicBezTo>
                  <a:cubicBezTo>
                    <a:pt x="1391833" y="3109251"/>
                    <a:pt x="1424183" y="3638836"/>
                    <a:pt x="1397874" y="3903628"/>
                  </a:cubicBezTo>
                  <a:cubicBezTo>
                    <a:pt x="1371614" y="4168420"/>
                    <a:pt x="1286695" y="4168420"/>
                    <a:pt x="1243237" y="4142160"/>
                  </a:cubicBezTo>
                  <a:cubicBezTo>
                    <a:pt x="1199779" y="4115900"/>
                    <a:pt x="1197782" y="4063331"/>
                    <a:pt x="1253322" y="4033028"/>
                  </a:cubicBezTo>
                  <a:cubicBezTo>
                    <a:pt x="1308912" y="4002724"/>
                    <a:pt x="1422088" y="3994636"/>
                    <a:pt x="1590902" y="4009788"/>
                  </a:cubicBezTo>
                  <a:cubicBezTo>
                    <a:pt x="1759667" y="4024940"/>
                    <a:pt x="1984022" y="4063331"/>
                    <a:pt x="2125553" y="4077509"/>
                  </a:cubicBezTo>
                  <a:cubicBezTo>
                    <a:pt x="2267084" y="4091686"/>
                    <a:pt x="2325646" y="4081553"/>
                    <a:pt x="2354975" y="4076486"/>
                  </a:cubicBezTo>
                  <a:cubicBezTo>
                    <a:pt x="2374526" y="4073109"/>
                    <a:pt x="2344890" y="3996634"/>
                    <a:pt x="2266061" y="3847064"/>
                  </a:cubicBezTo>
                  <a:cubicBezTo>
                    <a:pt x="2147818" y="3622709"/>
                    <a:pt x="1911332" y="3173951"/>
                    <a:pt x="1867874" y="2567584"/>
                  </a:cubicBezTo>
                  <a:cubicBezTo>
                    <a:pt x="1824416" y="1961168"/>
                    <a:pt x="1973986" y="1197144"/>
                    <a:pt x="2328374" y="718228"/>
                  </a:cubicBezTo>
                  <a:cubicBezTo>
                    <a:pt x="2682762" y="239361"/>
                    <a:pt x="3241968" y="45602"/>
                    <a:pt x="3747583" y="7211"/>
                  </a:cubicBezTo>
                  <a:cubicBezTo>
                    <a:pt x="4253246" y="-31181"/>
                    <a:pt x="4705366" y="85747"/>
                    <a:pt x="5087329" y="309858"/>
                  </a:cubicBezTo>
                  <a:cubicBezTo>
                    <a:pt x="5469293" y="533969"/>
                    <a:pt x="5781100" y="865264"/>
                    <a:pt x="5954542" y="1329077"/>
                  </a:cubicBezTo>
                  <a:cubicBezTo>
                    <a:pt x="6127985" y="1792890"/>
                    <a:pt x="6163063" y="2389221"/>
                    <a:pt x="6069521" y="2884214"/>
                  </a:cubicBezTo>
                  <a:cubicBezTo>
                    <a:pt x="5975979" y="3379207"/>
                    <a:pt x="5753816" y="3772864"/>
                    <a:pt x="5453702" y="4032053"/>
                  </a:cubicBezTo>
                  <a:cubicBezTo>
                    <a:pt x="5153588" y="4291243"/>
                    <a:pt x="4775522" y="4415965"/>
                    <a:pt x="4389661" y="4460788"/>
                  </a:cubicBezTo>
                  <a:cubicBezTo>
                    <a:pt x="4003800" y="4505610"/>
                    <a:pt x="3610144" y="4470532"/>
                    <a:pt x="3305937" y="4321595"/>
                  </a:cubicBezTo>
                  <a:cubicBezTo>
                    <a:pt x="3001731" y="4172658"/>
                    <a:pt x="2787022" y="3909815"/>
                    <a:pt x="2647294" y="3679370"/>
                  </a:cubicBezTo>
                  <a:cubicBezTo>
                    <a:pt x="2507566" y="3448925"/>
                    <a:pt x="2442914" y="3250831"/>
                    <a:pt x="2487395" y="3222525"/>
                  </a:cubicBezTo>
                  <a:cubicBezTo>
                    <a:pt x="2531877" y="3194218"/>
                    <a:pt x="2685490" y="3335701"/>
                    <a:pt x="2956324" y="3436794"/>
                  </a:cubicBezTo>
                  <a:cubicBezTo>
                    <a:pt x="3227157" y="3537839"/>
                    <a:pt x="3615259" y="3598495"/>
                    <a:pt x="3973058" y="3566145"/>
                  </a:cubicBezTo>
                  <a:cubicBezTo>
                    <a:pt x="4330808" y="3533796"/>
                    <a:pt x="4658302" y="3408488"/>
                    <a:pt x="4854351" y="3145693"/>
                  </a:cubicBezTo>
                  <a:cubicBezTo>
                    <a:pt x="5050400" y="2882947"/>
                    <a:pt x="5115099" y="2482714"/>
                    <a:pt x="5065795" y="2131054"/>
                  </a:cubicBezTo>
                  <a:cubicBezTo>
                    <a:pt x="5016490" y="1779394"/>
                    <a:pt x="4853133" y="1476308"/>
                    <a:pt x="4634819" y="1278214"/>
                  </a:cubicBezTo>
                  <a:cubicBezTo>
                    <a:pt x="4416506" y="1080119"/>
                    <a:pt x="4143236" y="987064"/>
                    <a:pt x="3866508" y="992910"/>
                  </a:cubicBezTo>
                  <a:cubicBezTo>
                    <a:pt x="3589779" y="998757"/>
                    <a:pt x="3309591" y="1103504"/>
                    <a:pt x="3124651" y="1282550"/>
                  </a:cubicBezTo>
                  <a:cubicBezTo>
                    <a:pt x="2939710" y="1461595"/>
                    <a:pt x="2850066" y="1714938"/>
                    <a:pt x="2822393" y="1957660"/>
                  </a:cubicBezTo>
                  <a:cubicBezTo>
                    <a:pt x="2794720" y="2200383"/>
                    <a:pt x="2829019" y="2432484"/>
                    <a:pt x="2899565" y="2626194"/>
                  </a:cubicBezTo>
                  <a:cubicBezTo>
                    <a:pt x="2970112" y="2819904"/>
                    <a:pt x="3076905" y="2975223"/>
                    <a:pt x="3194125" y="3078314"/>
                  </a:cubicBezTo>
                  <a:cubicBezTo>
                    <a:pt x="3311345" y="3181405"/>
                    <a:pt x="3550824" y="3272916"/>
                    <a:pt x="3678519" y="3323779"/>
                  </a:cubicBezTo>
                </a:path>
              </a:pathLst>
            </a:custGeom>
            <a:noFill/>
            <a:ln w="25400" cap="rnd">
              <a:solidFill>
                <a:schemeClr val="accent1"/>
              </a:solidFill>
              <a:prstDash val="solid"/>
              <a:round/>
            </a:ln>
          </p:spPr>
          <p:txBody>
            <a:bodyPr rtlCol="0" anchor="ctr"/>
            <a:lstStyle/>
            <a:p>
              <a:endParaRPr lang="ja-JP" altLang="en-US"/>
            </a:p>
          </p:txBody>
        </p:sp>
        <p:sp>
          <p:nvSpPr>
            <p:cNvPr id="11" name="フリーフォーム: 図形 10">
              <a:extLst>
                <a:ext uri="{FF2B5EF4-FFF2-40B4-BE49-F238E27FC236}">
                  <a16:creationId xmlns:a16="http://schemas.microsoft.com/office/drawing/2014/main" id="{C021C2CD-F9C5-A100-B964-40C27736CF41}"/>
                </a:ext>
              </a:extLst>
            </p:cNvPr>
            <p:cNvSpPr/>
            <p:nvPr/>
          </p:nvSpPr>
          <p:spPr>
            <a:xfrm rot="303880">
              <a:off x="-85724" y="4135178"/>
              <a:ext cx="1237894" cy="148576"/>
            </a:xfrm>
            <a:custGeom>
              <a:avLst/>
              <a:gdLst>
                <a:gd name="connsiteX0" fmla="*/ 1223962 w 1237894"/>
                <a:gd name="connsiteY0" fmla="*/ 0 h 148576"/>
                <a:gd name="connsiteX1" fmla="*/ 1064419 w 1237894"/>
                <a:gd name="connsiteY1" fmla="*/ 119062 h 148576"/>
                <a:gd name="connsiteX2" fmla="*/ 0 w 1237894"/>
                <a:gd name="connsiteY2" fmla="*/ 92869 h 148576"/>
              </a:gdLst>
              <a:ahLst/>
              <a:cxnLst>
                <a:cxn ang="0">
                  <a:pos x="connsiteX0" y="connsiteY0"/>
                </a:cxn>
                <a:cxn ang="0">
                  <a:pos x="connsiteX1" y="connsiteY1"/>
                </a:cxn>
                <a:cxn ang="0">
                  <a:pos x="connsiteX2" y="connsiteY2"/>
                </a:cxn>
              </a:cxnLst>
              <a:rect l="l" t="t" r="r" b="b"/>
              <a:pathLst>
                <a:path w="1237894" h="148576">
                  <a:moveTo>
                    <a:pt x="1223962" y="0"/>
                  </a:moveTo>
                  <a:cubicBezTo>
                    <a:pt x="1246187" y="51792"/>
                    <a:pt x="1268413" y="103584"/>
                    <a:pt x="1064419" y="119062"/>
                  </a:cubicBezTo>
                  <a:cubicBezTo>
                    <a:pt x="860425" y="134540"/>
                    <a:pt x="239316" y="189310"/>
                    <a:pt x="0" y="92869"/>
                  </a:cubicBezTo>
                </a:path>
              </a:pathLst>
            </a:custGeom>
            <a:noFill/>
            <a:ln w="25400" cap="rnd">
              <a:solidFill>
                <a:srgbClr val="00B0F0"/>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フリーフォーム: 図形 11">
              <a:extLst>
                <a:ext uri="{FF2B5EF4-FFF2-40B4-BE49-F238E27FC236}">
                  <a16:creationId xmlns:a16="http://schemas.microsoft.com/office/drawing/2014/main" id="{8CF83CE0-98F4-8842-238E-7667BB6AF846}"/>
                </a:ext>
              </a:extLst>
            </p:cNvPr>
            <p:cNvSpPr/>
            <p:nvPr/>
          </p:nvSpPr>
          <p:spPr>
            <a:xfrm>
              <a:off x="2489281" y="3525436"/>
              <a:ext cx="10576775" cy="1234777"/>
            </a:xfrm>
            <a:custGeom>
              <a:avLst/>
              <a:gdLst>
                <a:gd name="connsiteX0" fmla="*/ 0 w 5915025"/>
                <a:gd name="connsiteY0" fmla="*/ 0 h 761742"/>
                <a:gd name="connsiteX1" fmla="*/ 2947987 w 5915025"/>
                <a:gd name="connsiteY1" fmla="*/ 733425 h 761742"/>
                <a:gd name="connsiteX2" fmla="*/ 5915025 w 5915025"/>
                <a:gd name="connsiteY2" fmla="*/ 552450 h 761742"/>
                <a:gd name="connsiteX0" fmla="*/ 0 w 8328025"/>
                <a:gd name="connsiteY0" fmla="*/ 0 h 733425"/>
                <a:gd name="connsiteX1" fmla="*/ 2947987 w 8328025"/>
                <a:gd name="connsiteY1" fmla="*/ 733425 h 733425"/>
                <a:gd name="connsiteX2" fmla="*/ 8328025 w 8328025"/>
                <a:gd name="connsiteY2" fmla="*/ 184150 h 733425"/>
                <a:gd name="connsiteX0" fmla="*/ 0 w 8328025"/>
                <a:gd name="connsiteY0" fmla="*/ 0 h 733425"/>
                <a:gd name="connsiteX1" fmla="*/ 2947987 w 8328025"/>
                <a:gd name="connsiteY1" fmla="*/ 733425 h 733425"/>
                <a:gd name="connsiteX2" fmla="*/ 8328025 w 8328025"/>
                <a:gd name="connsiteY2" fmla="*/ 184150 h 733425"/>
                <a:gd name="connsiteX0" fmla="*/ 0 w 8328025"/>
                <a:gd name="connsiteY0" fmla="*/ 0 h 755652"/>
                <a:gd name="connsiteX1" fmla="*/ 2947987 w 8328025"/>
                <a:gd name="connsiteY1" fmla="*/ 733425 h 755652"/>
                <a:gd name="connsiteX2" fmla="*/ 8328025 w 8328025"/>
                <a:gd name="connsiteY2" fmla="*/ 184150 h 755652"/>
                <a:gd name="connsiteX0" fmla="*/ 0 w 8328025"/>
                <a:gd name="connsiteY0" fmla="*/ 0 h 755652"/>
                <a:gd name="connsiteX1" fmla="*/ 2947987 w 8328025"/>
                <a:gd name="connsiteY1" fmla="*/ 733425 h 755652"/>
                <a:gd name="connsiteX2" fmla="*/ 8328025 w 8328025"/>
                <a:gd name="connsiteY2" fmla="*/ 184150 h 755652"/>
                <a:gd name="connsiteX0" fmla="*/ 0 w 10576775"/>
                <a:gd name="connsiteY0" fmla="*/ 332943 h 1069864"/>
                <a:gd name="connsiteX1" fmla="*/ 2947987 w 10576775"/>
                <a:gd name="connsiteY1" fmla="*/ 1066368 h 1069864"/>
                <a:gd name="connsiteX2" fmla="*/ 10576775 w 10576775"/>
                <a:gd name="connsiteY2" fmla="*/ 0 h 1069864"/>
                <a:gd name="connsiteX0" fmla="*/ 0 w 10576775"/>
                <a:gd name="connsiteY0" fmla="*/ 332943 h 1069865"/>
                <a:gd name="connsiteX1" fmla="*/ 2947987 w 10576775"/>
                <a:gd name="connsiteY1" fmla="*/ 1066368 h 1069865"/>
                <a:gd name="connsiteX2" fmla="*/ 10576775 w 10576775"/>
                <a:gd name="connsiteY2" fmla="*/ 0 h 1069865"/>
                <a:gd name="connsiteX0" fmla="*/ 0 w 10576775"/>
                <a:gd name="connsiteY0" fmla="*/ 332943 h 1237511"/>
                <a:gd name="connsiteX1" fmla="*/ 3669511 w 10576775"/>
                <a:gd name="connsiteY1" fmla="*/ 1234723 h 1237511"/>
                <a:gd name="connsiteX2" fmla="*/ 10576775 w 10576775"/>
                <a:gd name="connsiteY2" fmla="*/ 0 h 1237511"/>
                <a:gd name="connsiteX0" fmla="*/ 0 w 10576775"/>
                <a:gd name="connsiteY0" fmla="*/ 332943 h 1234776"/>
                <a:gd name="connsiteX1" fmla="*/ 3669511 w 10576775"/>
                <a:gd name="connsiteY1" fmla="*/ 1234723 h 1234776"/>
                <a:gd name="connsiteX2" fmla="*/ 10576775 w 10576775"/>
                <a:gd name="connsiteY2" fmla="*/ 0 h 1234776"/>
              </a:gdLst>
              <a:ahLst/>
              <a:cxnLst>
                <a:cxn ang="0">
                  <a:pos x="connsiteX0" y="connsiteY0"/>
                </a:cxn>
                <a:cxn ang="0">
                  <a:pos x="connsiteX1" y="connsiteY1"/>
                </a:cxn>
                <a:cxn ang="0">
                  <a:pos x="connsiteX2" y="connsiteY2"/>
                </a:cxn>
              </a:cxnLst>
              <a:rect l="l" t="t" r="r" b="b"/>
              <a:pathLst>
                <a:path w="10576775" h="1234776">
                  <a:moveTo>
                    <a:pt x="0" y="332943"/>
                  </a:moveTo>
                  <a:cubicBezTo>
                    <a:pt x="623888" y="501218"/>
                    <a:pt x="1185191" y="1242111"/>
                    <a:pt x="3669511" y="1234723"/>
                  </a:cubicBezTo>
                  <a:cubicBezTo>
                    <a:pt x="6153831" y="1227335"/>
                    <a:pt x="9378863" y="768802"/>
                    <a:pt x="10576775" y="0"/>
                  </a:cubicBezTo>
                </a:path>
              </a:pathLst>
            </a:cu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3" name="タイトル 12">
            <a:extLst>
              <a:ext uri="{FF2B5EF4-FFF2-40B4-BE49-F238E27FC236}">
                <a16:creationId xmlns:a16="http://schemas.microsoft.com/office/drawing/2014/main" id="{EA0C491E-885B-E914-5C01-F8E2F9BE8610}"/>
              </a:ext>
            </a:extLst>
          </p:cNvPr>
          <p:cNvSpPr>
            <a:spLocks noGrp="1"/>
          </p:cNvSpPr>
          <p:nvPr>
            <p:ph type="title"/>
          </p:nvPr>
        </p:nvSpPr>
        <p:spPr>
          <a:xfrm>
            <a:off x="3205689" y="2851303"/>
            <a:ext cx="8543925" cy="1325563"/>
          </a:xfrm>
        </p:spPr>
        <p:txBody>
          <a:bodyPr wrap="none">
            <a:noAutofit/>
          </a:bodyPr>
          <a:lstStyle>
            <a:lvl1pPr>
              <a:defRPr lang="ja-JP" altLang="en-US" b="1">
                <a:latin typeface="+mj-ea"/>
              </a:defRPr>
            </a:lvl1pPr>
          </a:lstStyle>
          <a:p>
            <a:pPr lvl="0"/>
            <a:r>
              <a:rPr kumimoji="1" lang="ja-JP" altLang="en-US"/>
              <a:t>マスター タイトルの書式設定</a:t>
            </a:r>
          </a:p>
        </p:txBody>
      </p:sp>
      <p:sp>
        <p:nvSpPr>
          <p:cNvPr id="15" name="テキスト プレースホルダー 14">
            <a:extLst>
              <a:ext uri="{FF2B5EF4-FFF2-40B4-BE49-F238E27FC236}">
                <a16:creationId xmlns:a16="http://schemas.microsoft.com/office/drawing/2014/main" id="{5B0D631D-D79C-53F0-3B91-45D9CE85CAE4}"/>
              </a:ext>
            </a:extLst>
          </p:cNvPr>
          <p:cNvSpPr>
            <a:spLocks noGrp="1"/>
          </p:cNvSpPr>
          <p:nvPr>
            <p:ph type="body" sz="quarter" idx="12" hasCustomPrompt="1"/>
          </p:nvPr>
        </p:nvSpPr>
        <p:spPr>
          <a:xfrm>
            <a:off x="3286671" y="2634828"/>
            <a:ext cx="1192212" cy="400050"/>
          </a:xfrm>
        </p:spPr>
        <p:txBody>
          <a:bodyPr wrap="none">
            <a:noAutofit/>
          </a:bodyPr>
          <a:lstStyle>
            <a:lvl1pPr>
              <a:defRPr lang="ja-JP" altLang="en-US" sz="3200" b="1" dirty="0">
                <a:solidFill>
                  <a:schemeClr val="tx1">
                    <a:lumMod val="85000"/>
                    <a:lumOff val="15000"/>
                  </a:schemeClr>
                </a:solidFill>
                <a:latin typeface="+mj-lt"/>
                <a:ea typeface="+mj-ea"/>
              </a:defRPr>
            </a:lvl1pPr>
          </a:lstStyle>
          <a:p>
            <a:pPr lvl="0">
              <a:buFont typeface="Arial" panose="020B0604020202020204" pitchFamily="34" charset="0"/>
            </a:pPr>
            <a:r>
              <a:rPr kumimoji="1" lang="en-US" altLang="ja-JP"/>
              <a:t>00</a:t>
            </a:r>
            <a:endParaRPr kumimoji="1" lang="ja-JP" altLang="en-US"/>
          </a:p>
        </p:txBody>
      </p:sp>
    </p:spTree>
    <p:extLst>
      <p:ext uri="{BB962C8B-B14F-4D97-AF65-F5344CB8AC3E}">
        <p14:creationId xmlns:p14="http://schemas.microsoft.com/office/powerpoint/2010/main" val="24366668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ユーザー設定レイアウト">
    <p:spTree>
      <p:nvGrpSpPr>
        <p:cNvPr id="1" name=""/>
        <p:cNvGrpSpPr/>
        <p:nvPr/>
      </p:nvGrpSpPr>
      <p:grpSpPr>
        <a:xfrm>
          <a:off x="0" y="0"/>
          <a:ext cx="0" cy="0"/>
          <a:chOff x="0" y="0"/>
          <a:chExt cx="0" cy="0"/>
        </a:xfrm>
      </p:grpSpPr>
      <p:sp>
        <p:nvSpPr>
          <p:cNvPr id="3" name="日付プレースホルダー 2">
            <a:extLst>
              <a:ext uri="{FF2B5EF4-FFF2-40B4-BE49-F238E27FC236}">
                <a16:creationId xmlns:a16="http://schemas.microsoft.com/office/drawing/2014/main" id="{45EF5488-C324-4C59-D561-88D3C1482CA7}"/>
              </a:ext>
            </a:extLst>
          </p:cNvPr>
          <p:cNvSpPr>
            <a:spLocks noGrp="1"/>
          </p:cNvSpPr>
          <p:nvPr>
            <p:ph type="dt" sz="half" idx="10"/>
          </p:nvPr>
        </p:nvSpPr>
        <p:spPr/>
        <p:txBody>
          <a:bodyPr/>
          <a:lstStyle/>
          <a:p>
            <a:fld id="{669D9255-C16E-4941-852B-62540FFB68F5}" type="datetime1">
              <a:rPr kumimoji="1" lang="ja-JP" altLang="en-US" smtClean="0"/>
              <a:t>2024/7/1</a:t>
            </a:fld>
            <a:endParaRPr kumimoji="1" lang="ja-JP" altLang="en-US"/>
          </a:p>
        </p:txBody>
      </p:sp>
      <p:sp>
        <p:nvSpPr>
          <p:cNvPr id="4" name="フッター プレースホルダー 3">
            <a:extLst>
              <a:ext uri="{FF2B5EF4-FFF2-40B4-BE49-F238E27FC236}">
                <a16:creationId xmlns:a16="http://schemas.microsoft.com/office/drawing/2014/main" id="{D7C21C4A-35E2-52A3-389D-747978D7EC07}"/>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13" name="タイトル 12">
            <a:extLst>
              <a:ext uri="{FF2B5EF4-FFF2-40B4-BE49-F238E27FC236}">
                <a16:creationId xmlns:a16="http://schemas.microsoft.com/office/drawing/2014/main" id="{EA0C491E-885B-E914-5C01-F8E2F9BE8610}"/>
              </a:ext>
            </a:extLst>
          </p:cNvPr>
          <p:cNvSpPr>
            <a:spLocks noGrp="1"/>
          </p:cNvSpPr>
          <p:nvPr>
            <p:ph type="title"/>
          </p:nvPr>
        </p:nvSpPr>
        <p:spPr>
          <a:xfrm>
            <a:off x="3205689" y="2851303"/>
            <a:ext cx="8543925" cy="1325563"/>
          </a:xfrm>
        </p:spPr>
        <p:txBody>
          <a:bodyPr wrap="none">
            <a:noAutofit/>
          </a:bodyPr>
          <a:lstStyle>
            <a:lvl1pPr>
              <a:defRPr lang="ja-JP" altLang="en-US" b="1">
                <a:latin typeface="+mj-ea"/>
              </a:defRPr>
            </a:lvl1pPr>
          </a:lstStyle>
          <a:p>
            <a:pPr lvl="0"/>
            <a:r>
              <a:rPr kumimoji="1" lang="ja-JP" altLang="en-US"/>
              <a:t>マスター タイトルの書式設定</a:t>
            </a:r>
          </a:p>
        </p:txBody>
      </p:sp>
      <p:sp>
        <p:nvSpPr>
          <p:cNvPr id="15" name="テキスト プレースホルダー 14">
            <a:extLst>
              <a:ext uri="{FF2B5EF4-FFF2-40B4-BE49-F238E27FC236}">
                <a16:creationId xmlns:a16="http://schemas.microsoft.com/office/drawing/2014/main" id="{5B0D631D-D79C-53F0-3B91-45D9CE85CAE4}"/>
              </a:ext>
            </a:extLst>
          </p:cNvPr>
          <p:cNvSpPr>
            <a:spLocks noGrp="1"/>
          </p:cNvSpPr>
          <p:nvPr>
            <p:ph type="body" sz="quarter" idx="12" hasCustomPrompt="1"/>
          </p:nvPr>
        </p:nvSpPr>
        <p:spPr>
          <a:xfrm>
            <a:off x="3286671" y="2634828"/>
            <a:ext cx="1192212" cy="400050"/>
          </a:xfrm>
        </p:spPr>
        <p:txBody>
          <a:bodyPr wrap="none">
            <a:noAutofit/>
          </a:bodyPr>
          <a:lstStyle>
            <a:lvl1pPr>
              <a:defRPr lang="ja-JP" altLang="en-US" sz="3200" b="1" dirty="0">
                <a:solidFill>
                  <a:schemeClr val="tx1">
                    <a:lumMod val="85000"/>
                    <a:lumOff val="15000"/>
                  </a:schemeClr>
                </a:solidFill>
                <a:latin typeface="+mj-lt"/>
                <a:ea typeface="+mj-ea"/>
              </a:defRPr>
            </a:lvl1pPr>
          </a:lstStyle>
          <a:p>
            <a:pPr lvl="0">
              <a:buFont typeface="Arial" panose="020B0604020202020204" pitchFamily="34" charset="0"/>
            </a:pPr>
            <a:r>
              <a:rPr kumimoji="1" lang="en-US" altLang="ja-JP"/>
              <a:t>00</a:t>
            </a:r>
            <a:endParaRPr kumimoji="1" lang="ja-JP" altLang="en-US"/>
          </a:p>
        </p:txBody>
      </p:sp>
      <p:pic>
        <p:nvPicPr>
          <p:cNvPr id="2" name="グラフィックス 1">
            <a:extLst>
              <a:ext uri="{FF2B5EF4-FFF2-40B4-BE49-F238E27FC236}">
                <a16:creationId xmlns:a16="http://schemas.microsoft.com/office/drawing/2014/main" id="{FA61C89B-627A-81CF-E6EB-E6CE9EB3DB9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8183563" y="6315279"/>
            <a:ext cx="1270000" cy="288282"/>
          </a:xfrm>
          <a:prstGeom prst="rect">
            <a:avLst/>
          </a:prstGeom>
        </p:spPr>
      </p:pic>
      <p:sp>
        <p:nvSpPr>
          <p:cNvPr id="5" name="タイトル 10">
            <a:extLst>
              <a:ext uri="{FF2B5EF4-FFF2-40B4-BE49-F238E27FC236}">
                <a16:creationId xmlns:a16="http://schemas.microsoft.com/office/drawing/2014/main" id="{7A5D1473-A2D3-3677-6A1A-D02C18BA02C9}"/>
              </a:ext>
            </a:extLst>
          </p:cNvPr>
          <p:cNvSpPr txBox="1">
            <a:spLocks/>
          </p:cNvSpPr>
          <p:nvPr userDrawn="1"/>
        </p:nvSpPr>
        <p:spPr>
          <a:xfrm>
            <a:off x="339090" y="228290"/>
            <a:ext cx="1574800" cy="216475"/>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900" b="1">
                <a:solidFill>
                  <a:schemeClr val="accent1"/>
                </a:solidFill>
                <a:latin typeface="+mj-ea"/>
              </a:rPr>
              <a:t>食堂施設運営のご提案</a:t>
            </a:r>
            <a:endParaRPr lang="ja-JP" altLang="en-US" sz="900">
              <a:solidFill>
                <a:schemeClr val="accent1"/>
              </a:solidFill>
              <a:latin typeface="+mj-ea"/>
            </a:endParaRPr>
          </a:p>
        </p:txBody>
      </p:sp>
      <p:sp>
        <p:nvSpPr>
          <p:cNvPr id="6" name="スライド番号プレースホルダー 4">
            <a:extLst>
              <a:ext uri="{FF2B5EF4-FFF2-40B4-BE49-F238E27FC236}">
                <a16:creationId xmlns:a16="http://schemas.microsoft.com/office/drawing/2014/main" id="{385614E5-A226-34B2-0181-C34D500FC930}"/>
              </a:ext>
            </a:extLst>
          </p:cNvPr>
          <p:cNvSpPr>
            <a:spLocks noGrp="1"/>
          </p:cNvSpPr>
          <p:nvPr>
            <p:ph type="sldNum" sz="quarter" idx="13"/>
          </p:nvPr>
        </p:nvSpPr>
        <p:spPr>
          <a:xfrm>
            <a:off x="7544584" y="6492875"/>
            <a:ext cx="2228850" cy="365125"/>
          </a:xfrm>
        </p:spPr>
        <p:txBody>
          <a:bodyPr/>
          <a:lstStyle>
            <a:lvl1pPr>
              <a:defRPr sz="1100" b="1">
                <a:solidFill>
                  <a:schemeClr val="tx1">
                    <a:lumMod val="50000"/>
                    <a:lumOff val="50000"/>
                  </a:schemeClr>
                </a:solidFill>
                <a:latin typeface="+mn-lt"/>
              </a:defRPr>
            </a:lvl1pPr>
          </a:lstStyle>
          <a:p>
            <a:fld id="{3DB74C4F-4DC2-4C31-8D08-159129179147}" type="slidenum">
              <a:rPr kumimoji="1" lang="ja-JP" altLang="en-US" smtClean="0"/>
              <a:pPr/>
              <a:t>‹#›</a:t>
            </a:fld>
            <a:endParaRPr kumimoji="1" lang="ja-JP" altLang="en-US"/>
          </a:p>
        </p:txBody>
      </p:sp>
    </p:spTree>
    <p:extLst>
      <p:ext uri="{BB962C8B-B14F-4D97-AF65-F5344CB8AC3E}">
        <p14:creationId xmlns:p14="http://schemas.microsoft.com/office/powerpoint/2010/main" val="21678145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赤線">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590CD8F7-B765-3CB6-9036-61B8EBDC7AD2}"/>
              </a:ext>
            </a:extLst>
          </p:cNvPr>
          <p:cNvSpPr>
            <a:spLocks noGrp="1"/>
          </p:cNvSpPr>
          <p:nvPr>
            <p:ph type="dt" sz="half" idx="10"/>
          </p:nvPr>
        </p:nvSpPr>
        <p:spPr/>
        <p:txBody>
          <a:bodyPr/>
          <a:lstStyle/>
          <a:p>
            <a:fld id="{0000D271-9F35-4BF9-9EFA-0757D5D46693}" type="datetime1">
              <a:rPr kumimoji="1" lang="ja-JP" altLang="en-US" smtClean="0"/>
              <a:t>2024/7/1</a:t>
            </a:fld>
            <a:endParaRPr kumimoji="1" lang="ja-JP" altLang="en-US"/>
          </a:p>
        </p:txBody>
      </p:sp>
      <p:sp>
        <p:nvSpPr>
          <p:cNvPr id="3" name="フッター プレースホルダー 2">
            <a:extLst>
              <a:ext uri="{FF2B5EF4-FFF2-40B4-BE49-F238E27FC236}">
                <a16:creationId xmlns:a16="http://schemas.microsoft.com/office/drawing/2014/main" id="{D766499A-ED94-0F69-099E-87D5B933CB6F}"/>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5" name="スライド番号プレースホルダー 4">
            <a:extLst>
              <a:ext uri="{FF2B5EF4-FFF2-40B4-BE49-F238E27FC236}">
                <a16:creationId xmlns:a16="http://schemas.microsoft.com/office/drawing/2014/main" id="{3A43CC76-FD01-4D12-3976-5E659672B14F}"/>
              </a:ext>
            </a:extLst>
          </p:cNvPr>
          <p:cNvSpPr>
            <a:spLocks noGrp="1"/>
          </p:cNvSpPr>
          <p:nvPr>
            <p:ph type="sldNum" sz="quarter" idx="12"/>
          </p:nvPr>
        </p:nvSpPr>
        <p:spPr>
          <a:xfrm>
            <a:off x="7544584" y="6492875"/>
            <a:ext cx="2228850" cy="365125"/>
          </a:xfrm>
        </p:spPr>
        <p:txBody>
          <a:bodyPr/>
          <a:lstStyle>
            <a:lvl1pPr>
              <a:defRPr sz="1100" b="1">
                <a:solidFill>
                  <a:schemeClr val="tx1">
                    <a:lumMod val="50000"/>
                    <a:lumOff val="50000"/>
                  </a:schemeClr>
                </a:solidFill>
                <a:latin typeface="+mn-lt"/>
              </a:defRPr>
            </a:lvl1pPr>
          </a:lstStyle>
          <a:p>
            <a:fld id="{3DB74C4F-4DC2-4C31-8D08-159129179147}" type="slidenum">
              <a:rPr kumimoji="1" lang="ja-JP" altLang="en-US" smtClean="0"/>
              <a:pPr/>
              <a:t>‹#›</a:t>
            </a:fld>
            <a:endParaRPr kumimoji="1" lang="ja-JP" altLang="en-US"/>
          </a:p>
        </p:txBody>
      </p:sp>
      <p:sp>
        <p:nvSpPr>
          <p:cNvPr id="6" name="フリーフォーム: 図形 5">
            <a:extLst>
              <a:ext uri="{FF2B5EF4-FFF2-40B4-BE49-F238E27FC236}">
                <a16:creationId xmlns:a16="http://schemas.microsoft.com/office/drawing/2014/main" id="{7D8472CA-E133-8E30-FFBD-005A50E6BD3D}"/>
              </a:ext>
            </a:extLst>
          </p:cNvPr>
          <p:cNvSpPr/>
          <p:nvPr userDrawn="1"/>
        </p:nvSpPr>
        <p:spPr>
          <a:xfrm>
            <a:off x="0" y="724339"/>
            <a:ext cx="9956798" cy="179116"/>
          </a:xfrm>
          <a:custGeom>
            <a:avLst/>
            <a:gdLst>
              <a:gd name="connsiteX0" fmla="*/ 0 w 5915025"/>
              <a:gd name="connsiteY0" fmla="*/ 0 h 761742"/>
              <a:gd name="connsiteX1" fmla="*/ 2947987 w 5915025"/>
              <a:gd name="connsiteY1" fmla="*/ 733425 h 761742"/>
              <a:gd name="connsiteX2" fmla="*/ 5915025 w 5915025"/>
              <a:gd name="connsiteY2" fmla="*/ 552450 h 761742"/>
              <a:gd name="connsiteX0" fmla="*/ 0 w 8328025"/>
              <a:gd name="connsiteY0" fmla="*/ 0 h 733425"/>
              <a:gd name="connsiteX1" fmla="*/ 2947987 w 8328025"/>
              <a:gd name="connsiteY1" fmla="*/ 733425 h 733425"/>
              <a:gd name="connsiteX2" fmla="*/ 8328025 w 8328025"/>
              <a:gd name="connsiteY2" fmla="*/ 184150 h 733425"/>
              <a:gd name="connsiteX0" fmla="*/ 0 w 8328025"/>
              <a:gd name="connsiteY0" fmla="*/ 0 h 733425"/>
              <a:gd name="connsiteX1" fmla="*/ 2947987 w 8328025"/>
              <a:gd name="connsiteY1" fmla="*/ 733425 h 733425"/>
              <a:gd name="connsiteX2" fmla="*/ 8328025 w 8328025"/>
              <a:gd name="connsiteY2" fmla="*/ 184150 h 733425"/>
              <a:gd name="connsiteX0" fmla="*/ 0 w 8328025"/>
              <a:gd name="connsiteY0" fmla="*/ 0 h 755652"/>
              <a:gd name="connsiteX1" fmla="*/ 2947987 w 8328025"/>
              <a:gd name="connsiteY1" fmla="*/ 733425 h 755652"/>
              <a:gd name="connsiteX2" fmla="*/ 8328025 w 8328025"/>
              <a:gd name="connsiteY2" fmla="*/ 184150 h 755652"/>
              <a:gd name="connsiteX0" fmla="*/ 0 w 8328025"/>
              <a:gd name="connsiteY0" fmla="*/ 0 h 755652"/>
              <a:gd name="connsiteX1" fmla="*/ 2947987 w 8328025"/>
              <a:gd name="connsiteY1" fmla="*/ 733425 h 755652"/>
              <a:gd name="connsiteX2" fmla="*/ 8328025 w 8328025"/>
              <a:gd name="connsiteY2" fmla="*/ 184150 h 755652"/>
              <a:gd name="connsiteX0" fmla="*/ 0 w 10576775"/>
              <a:gd name="connsiteY0" fmla="*/ 332943 h 1069864"/>
              <a:gd name="connsiteX1" fmla="*/ 2947987 w 10576775"/>
              <a:gd name="connsiteY1" fmla="*/ 1066368 h 1069864"/>
              <a:gd name="connsiteX2" fmla="*/ 10576775 w 10576775"/>
              <a:gd name="connsiteY2" fmla="*/ 0 h 1069864"/>
              <a:gd name="connsiteX0" fmla="*/ 0 w 10576775"/>
              <a:gd name="connsiteY0" fmla="*/ 332943 h 1069865"/>
              <a:gd name="connsiteX1" fmla="*/ 2947987 w 10576775"/>
              <a:gd name="connsiteY1" fmla="*/ 1066368 h 1069865"/>
              <a:gd name="connsiteX2" fmla="*/ 10576775 w 10576775"/>
              <a:gd name="connsiteY2" fmla="*/ 0 h 1069865"/>
              <a:gd name="connsiteX0" fmla="*/ 0 w 10576775"/>
              <a:gd name="connsiteY0" fmla="*/ 332943 h 1237511"/>
              <a:gd name="connsiteX1" fmla="*/ 3669511 w 10576775"/>
              <a:gd name="connsiteY1" fmla="*/ 1234723 h 1237511"/>
              <a:gd name="connsiteX2" fmla="*/ 10576775 w 10576775"/>
              <a:gd name="connsiteY2" fmla="*/ 0 h 1237511"/>
              <a:gd name="connsiteX0" fmla="*/ 0 w 10576775"/>
              <a:gd name="connsiteY0" fmla="*/ 332943 h 1234776"/>
              <a:gd name="connsiteX1" fmla="*/ 3669511 w 10576775"/>
              <a:gd name="connsiteY1" fmla="*/ 1234723 h 1234776"/>
              <a:gd name="connsiteX2" fmla="*/ 10576775 w 10576775"/>
              <a:gd name="connsiteY2" fmla="*/ 0 h 1234776"/>
              <a:gd name="connsiteX0" fmla="*/ 0 w 10576775"/>
              <a:gd name="connsiteY0" fmla="*/ 332943 h 1251515"/>
              <a:gd name="connsiteX1" fmla="*/ 3669511 w 10576775"/>
              <a:gd name="connsiteY1" fmla="*/ 1234723 h 1251515"/>
              <a:gd name="connsiteX2" fmla="*/ 7221703 w 10576775"/>
              <a:gd name="connsiteY2" fmla="*/ 673308 h 1251515"/>
              <a:gd name="connsiteX3" fmla="*/ 10576775 w 10576775"/>
              <a:gd name="connsiteY3" fmla="*/ 0 h 1251515"/>
              <a:gd name="connsiteX0" fmla="*/ 0 w 10753148"/>
              <a:gd name="connsiteY0" fmla="*/ 0 h 918572"/>
              <a:gd name="connsiteX1" fmla="*/ 3669511 w 10753148"/>
              <a:gd name="connsiteY1" fmla="*/ 901780 h 918572"/>
              <a:gd name="connsiteX2" fmla="*/ 7221703 w 10753148"/>
              <a:gd name="connsiteY2" fmla="*/ 340365 h 918572"/>
              <a:gd name="connsiteX3" fmla="*/ 10753148 w 10753148"/>
              <a:gd name="connsiteY3" fmla="*/ 532873 h 918572"/>
              <a:gd name="connsiteX0" fmla="*/ 0 w 10753148"/>
              <a:gd name="connsiteY0" fmla="*/ 0 h 918572"/>
              <a:gd name="connsiteX1" fmla="*/ 3669511 w 10753148"/>
              <a:gd name="connsiteY1" fmla="*/ 901780 h 918572"/>
              <a:gd name="connsiteX2" fmla="*/ 7221703 w 10753148"/>
              <a:gd name="connsiteY2" fmla="*/ 340365 h 918572"/>
              <a:gd name="connsiteX3" fmla="*/ 10753148 w 10753148"/>
              <a:gd name="connsiteY3" fmla="*/ 532873 h 918572"/>
              <a:gd name="connsiteX0" fmla="*/ 0 w 10753148"/>
              <a:gd name="connsiteY0" fmla="*/ 0 h 918572"/>
              <a:gd name="connsiteX1" fmla="*/ 3669511 w 10753148"/>
              <a:gd name="connsiteY1" fmla="*/ 901780 h 918572"/>
              <a:gd name="connsiteX2" fmla="*/ 7221703 w 10753148"/>
              <a:gd name="connsiteY2" fmla="*/ 340365 h 918572"/>
              <a:gd name="connsiteX3" fmla="*/ 10753148 w 10753148"/>
              <a:gd name="connsiteY3" fmla="*/ 532873 h 918572"/>
              <a:gd name="connsiteX0" fmla="*/ 0 w 10753148"/>
              <a:gd name="connsiteY0" fmla="*/ 0 h 925735"/>
              <a:gd name="connsiteX1" fmla="*/ 3669511 w 10753148"/>
              <a:gd name="connsiteY1" fmla="*/ 901780 h 925735"/>
              <a:gd name="connsiteX2" fmla="*/ 7221703 w 10753148"/>
              <a:gd name="connsiteY2" fmla="*/ 340365 h 925735"/>
              <a:gd name="connsiteX3" fmla="*/ 10753148 w 10753148"/>
              <a:gd name="connsiteY3" fmla="*/ 532873 h 925735"/>
              <a:gd name="connsiteX0" fmla="*/ 0 w 10753148"/>
              <a:gd name="connsiteY0" fmla="*/ 0 h 1043474"/>
              <a:gd name="connsiteX1" fmla="*/ 3100309 w 10753148"/>
              <a:gd name="connsiteY1" fmla="*/ 1023536 h 1043474"/>
              <a:gd name="connsiteX2" fmla="*/ 7221703 w 10753148"/>
              <a:gd name="connsiteY2" fmla="*/ 340365 h 1043474"/>
              <a:gd name="connsiteX3" fmla="*/ 10753148 w 10753148"/>
              <a:gd name="connsiteY3" fmla="*/ 532873 h 1043474"/>
              <a:gd name="connsiteX0" fmla="*/ 0 w 10753148"/>
              <a:gd name="connsiteY0" fmla="*/ 0 h 1031142"/>
              <a:gd name="connsiteX1" fmla="*/ 3100309 w 10753148"/>
              <a:gd name="connsiteY1" fmla="*/ 1023536 h 1031142"/>
              <a:gd name="connsiteX2" fmla="*/ 7919177 w 10753148"/>
              <a:gd name="connsiteY2" fmla="*/ 432006 h 1031142"/>
              <a:gd name="connsiteX3" fmla="*/ 10753148 w 10753148"/>
              <a:gd name="connsiteY3" fmla="*/ 532873 h 1031142"/>
              <a:gd name="connsiteX0" fmla="*/ 0 w 10753148"/>
              <a:gd name="connsiteY0" fmla="*/ 0 h 1028248"/>
              <a:gd name="connsiteX1" fmla="*/ 3100309 w 10753148"/>
              <a:gd name="connsiteY1" fmla="*/ 1023536 h 1028248"/>
              <a:gd name="connsiteX2" fmla="*/ 7919177 w 10753148"/>
              <a:gd name="connsiteY2" fmla="*/ 432006 h 1028248"/>
              <a:gd name="connsiteX3" fmla="*/ 10753148 w 10753148"/>
              <a:gd name="connsiteY3" fmla="*/ 532873 h 1028248"/>
              <a:gd name="connsiteX0" fmla="*/ 0 w 10753148"/>
              <a:gd name="connsiteY0" fmla="*/ 0 h 1034490"/>
              <a:gd name="connsiteX1" fmla="*/ 3100309 w 10753148"/>
              <a:gd name="connsiteY1" fmla="*/ 1023536 h 1034490"/>
              <a:gd name="connsiteX2" fmla="*/ 10753148 w 10753148"/>
              <a:gd name="connsiteY2" fmla="*/ 532873 h 1034490"/>
              <a:gd name="connsiteX0" fmla="*/ 0 w 10945554"/>
              <a:gd name="connsiteY0" fmla="*/ 16986 h 1040530"/>
              <a:gd name="connsiteX1" fmla="*/ 3100309 w 10945554"/>
              <a:gd name="connsiteY1" fmla="*/ 1040522 h 1040530"/>
              <a:gd name="connsiteX2" fmla="*/ 10945554 w 10945554"/>
              <a:gd name="connsiteY2" fmla="*/ 0 h 1040530"/>
              <a:gd name="connsiteX0" fmla="*/ 0 w 10945554"/>
              <a:gd name="connsiteY0" fmla="*/ 16986 h 1055583"/>
              <a:gd name="connsiteX1" fmla="*/ 3100309 w 10945554"/>
              <a:gd name="connsiteY1" fmla="*/ 1040522 h 1055583"/>
              <a:gd name="connsiteX2" fmla="*/ 10945554 w 10945554"/>
              <a:gd name="connsiteY2" fmla="*/ 0 h 1055583"/>
              <a:gd name="connsiteX0" fmla="*/ 0 w 10945554"/>
              <a:gd name="connsiteY0" fmla="*/ 16986 h 1055577"/>
              <a:gd name="connsiteX1" fmla="*/ 3100309 w 10945554"/>
              <a:gd name="connsiteY1" fmla="*/ 1040522 h 1055577"/>
              <a:gd name="connsiteX2" fmla="*/ 10945554 w 10945554"/>
              <a:gd name="connsiteY2" fmla="*/ 0 h 1055577"/>
              <a:gd name="connsiteX0" fmla="*/ 0 w 10945554"/>
              <a:gd name="connsiteY0" fmla="*/ 16986 h 1055577"/>
              <a:gd name="connsiteX1" fmla="*/ 3100309 w 10945554"/>
              <a:gd name="connsiteY1" fmla="*/ 1040522 h 1055577"/>
              <a:gd name="connsiteX2" fmla="*/ 10945554 w 10945554"/>
              <a:gd name="connsiteY2" fmla="*/ 0 h 1055577"/>
              <a:gd name="connsiteX0" fmla="*/ 0 w 10945554"/>
              <a:gd name="connsiteY0" fmla="*/ 16986 h 1055577"/>
              <a:gd name="connsiteX1" fmla="*/ 3100309 w 10945554"/>
              <a:gd name="connsiteY1" fmla="*/ 1040522 h 1055577"/>
              <a:gd name="connsiteX2" fmla="*/ 10945554 w 10945554"/>
              <a:gd name="connsiteY2" fmla="*/ 0 h 1055577"/>
              <a:gd name="connsiteX0" fmla="*/ 0 w 10945554"/>
              <a:gd name="connsiteY0" fmla="*/ 16986 h 1055577"/>
              <a:gd name="connsiteX1" fmla="*/ 3100309 w 10945554"/>
              <a:gd name="connsiteY1" fmla="*/ 1040522 h 1055577"/>
              <a:gd name="connsiteX2" fmla="*/ 10945554 w 10945554"/>
              <a:gd name="connsiteY2" fmla="*/ 0 h 1055577"/>
            </a:gdLst>
            <a:ahLst/>
            <a:cxnLst>
              <a:cxn ang="0">
                <a:pos x="connsiteX0" y="connsiteY0"/>
              </a:cxn>
              <a:cxn ang="0">
                <a:pos x="connsiteX1" y="connsiteY1"/>
              </a:cxn>
              <a:cxn ang="0">
                <a:pos x="connsiteX2" y="connsiteY2"/>
              </a:cxn>
            </a:cxnLst>
            <a:rect l="l" t="t" r="r" b="b"/>
            <a:pathLst>
              <a:path w="10945554" h="1055577">
                <a:moveTo>
                  <a:pt x="0" y="16986"/>
                </a:moveTo>
                <a:cubicBezTo>
                  <a:pt x="135247" y="1083393"/>
                  <a:pt x="1276050" y="1043353"/>
                  <a:pt x="3100309" y="1040522"/>
                </a:cubicBezTo>
                <a:cubicBezTo>
                  <a:pt x="4924568" y="1037691"/>
                  <a:pt x="8786019" y="1270669"/>
                  <a:pt x="10945554" y="0"/>
                </a:cubicBez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7" name="グラフィックス 6">
            <a:extLst>
              <a:ext uri="{FF2B5EF4-FFF2-40B4-BE49-F238E27FC236}">
                <a16:creationId xmlns:a16="http://schemas.microsoft.com/office/drawing/2014/main" id="{9DC6F92E-6B8C-02C2-AB94-5BEFD506C8D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8406818" y="210781"/>
            <a:ext cx="1026676" cy="233049"/>
          </a:xfrm>
          <a:prstGeom prst="rect">
            <a:avLst/>
          </a:prstGeom>
        </p:spPr>
      </p:pic>
      <p:sp>
        <p:nvSpPr>
          <p:cNvPr id="8" name="フリーフォーム: 図形 7">
            <a:extLst>
              <a:ext uri="{FF2B5EF4-FFF2-40B4-BE49-F238E27FC236}">
                <a16:creationId xmlns:a16="http://schemas.microsoft.com/office/drawing/2014/main" id="{04770AE3-DA02-7881-6B6C-A46E455CFE0C}"/>
              </a:ext>
            </a:extLst>
          </p:cNvPr>
          <p:cNvSpPr/>
          <p:nvPr userDrawn="1"/>
        </p:nvSpPr>
        <p:spPr>
          <a:xfrm rot="650446">
            <a:off x="11520" y="611212"/>
            <a:ext cx="81972" cy="130278"/>
          </a:xfrm>
          <a:custGeom>
            <a:avLst/>
            <a:gdLst>
              <a:gd name="connsiteX0" fmla="*/ 6253 w 177898"/>
              <a:gd name="connsiteY0" fmla="*/ 282666 h 282735"/>
              <a:gd name="connsiteX1" fmla="*/ 50703 w 177898"/>
              <a:gd name="connsiteY1" fmla="*/ 22316 h 282735"/>
              <a:gd name="connsiteX2" fmla="*/ 177703 w 177898"/>
              <a:gd name="connsiteY2" fmla="*/ 47716 h 282735"/>
              <a:gd name="connsiteX3" fmla="*/ 6253 w 177898"/>
              <a:gd name="connsiteY3" fmla="*/ 282666 h 282735"/>
            </a:gdLst>
            <a:ahLst/>
            <a:cxnLst>
              <a:cxn ang="0">
                <a:pos x="connsiteX0" y="connsiteY0"/>
              </a:cxn>
              <a:cxn ang="0">
                <a:pos x="connsiteX1" y="connsiteY1"/>
              </a:cxn>
              <a:cxn ang="0">
                <a:pos x="connsiteX2" y="connsiteY2"/>
              </a:cxn>
              <a:cxn ang="0">
                <a:pos x="connsiteX3" y="connsiteY3"/>
              </a:cxn>
            </a:cxnLst>
            <a:rect l="l" t="t" r="r" b="b"/>
            <a:pathLst>
              <a:path w="177898" h="282735">
                <a:moveTo>
                  <a:pt x="6253" y="282666"/>
                </a:moveTo>
                <a:cubicBezTo>
                  <a:pt x="-14914" y="278433"/>
                  <a:pt x="22128" y="61474"/>
                  <a:pt x="50703" y="22316"/>
                </a:cubicBezTo>
                <a:cubicBezTo>
                  <a:pt x="79278" y="-16842"/>
                  <a:pt x="182995" y="-2026"/>
                  <a:pt x="177703" y="47716"/>
                </a:cubicBezTo>
                <a:cubicBezTo>
                  <a:pt x="172411" y="97458"/>
                  <a:pt x="27420" y="286899"/>
                  <a:pt x="6253" y="282666"/>
                </a:cubicBezTo>
                <a:close/>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グラフィックス 6">
            <a:extLst>
              <a:ext uri="{FF2B5EF4-FFF2-40B4-BE49-F238E27FC236}">
                <a16:creationId xmlns:a16="http://schemas.microsoft.com/office/drawing/2014/main" id="{45D729C5-C88C-0BFC-FA56-B1B325E1D3CD}"/>
              </a:ext>
            </a:extLst>
          </p:cNvPr>
          <p:cNvSpPr/>
          <p:nvPr userDrawn="1"/>
        </p:nvSpPr>
        <p:spPr>
          <a:xfrm flipH="1">
            <a:off x="7538926" y="387159"/>
            <a:ext cx="690674" cy="470326"/>
          </a:xfrm>
          <a:custGeom>
            <a:avLst/>
            <a:gdLst>
              <a:gd name="connsiteX0" fmla="*/ 0 w 9875100"/>
              <a:gd name="connsiteY0" fmla="*/ 3339656 h 3487140"/>
              <a:gd name="connsiteX1" fmla="*/ 659859 w 9875100"/>
              <a:gd name="connsiteY1" fmla="*/ 3395424 h 3487140"/>
              <a:gd name="connsiteX2" fmla="*/ 984944 w 9875100"/>
              <a:gd name="connsiteY2" fmla="*/ 2916759 h 3487140"/>
              <a:gd name="connsiteX3" fmla="*/ 1241411 w 9875100"/>
              <a:gd name="connsiteY3" fmla="*/ 2898295 h 3487140"/>
              <a:gd name="connsiteX4" fmla="*/ 1470762 w 9875100"/>
              <a:gd name="connsiteY4" fmla="*/ 3416675 h 3487140"/>
              <a:gd name="connsiteX5" fmla="*/ 1630581 w 9875100"/>
              <a:gd name="connsiteY5" fmla="*/ 3205871 h 3487140"/>
              <a:gd name="connsiteX6" fmla="*/ 1889834 w 9875100"/>
              <a:gd name="connsiteY6" fmla="*/ 2696848 h 3487140"/>
              <a:gd name="connsiteX7" fmla="*/ 2164182 w 9875100"/>
              <a:gd name="connsiteY7" fmla="*/ 2954187 h 3487140"/>
              <a:gd name="connsiteX8" fmla="*/ 2511516 w 9875100"/>
              <a:gd name="connsiteY8" fmla="*/ 3339906 h 3487140"/>
              <a:gd name="connsiteX9" fmla="*/ 2969638 w 9875100"/>
              <a:gd name="connsiteY9" fmla="*/ 3385485 h 3487140"/>
              <a:gd name="connsiteX10" fmla="*/ 3048320 w 9875100"/>
              <a:gd name="connsiteY10" fmla="*/ 3295741 h 3487140"/>
              <a:gd name="connsiteX11" fmla="*/ 2797218 w 9875100"/>
              <a:gd name="connsiteY11" fmla="*/ 3112384 h 3487140"/>
              <a:gd name="connsiteX12" fmla="*/ 2491055 w 9875100"/>
              <a:gd name="connsiteY12" fmla="*/ 2750287 h 3487140"/>
              <a:gd name="connsiteX13" fmla="*/ 2399523 w 9875100"/>
              <a:gd name="connsiteY13" fmla="*/ 2305432 h 3487140"/>
              <a:gd name="connsiteX14" fmla="*/ 2527111 w 9875100"/>
              <a:gd name="connsiteY14" fmla="*/ 1919713 h 3487140"/>
              <a:gd name="connsiteX15" fmla="*/ 2851323 w 9875100"/>
              <a:gd name="connsiteY15" fmla="*/ 1637837 h 3487140"/>
              <a:gd name="connsiteX16" fmla="*/ 3344627 w 9875100"/>
              <a:gd name="connsiteY16" fmla="*/ 1545972 h 3487140"/>
              <a:gd name="connsiteX17" fmla="*/ 3579302 w 9875100"/>
              <a:gd name="connsiteY17" fmla="*/ 1517651 h 3487140"/>
              <a:gd name="connsiteX18" fmla="*/ 3564039 w 9875100"/>
              <a:gd name="connsiteY18" fmla="*/ 1460718 h 3487140"/>
              <a:gd name="connsiteX19" fmla="*/ 3287985 w 9875100"/>
              <a:gd name="connsiteY19" fmla="*/ 1416969 h 3487140"/>
              <a:gd name="connsiteX20" fmla="*/ 2768565 w 9875100"/>
              <a:gd name="connsiteY20" fmla="*/ 1517318 h 3487140"/>
              <a:gd name="connsiteX21" fmla="*/ 2359267 w 9875100"/>
              <a:gd name="connsiteY21" fmla="*/ 1960593 h 3487140"/>
              <a:gd name="connsiteX22" fmla="*/ 2299797 w 9875100"/>
              <a:gd name="connsiteY22" fmla="*/ 2569342 h 3487140"/>
              <a:gd name="connsiteX23" fmla="*/ 2713504 w 9875100"/>
              <a:gd name="connsiteY23" fmla="*/ 3165532 h 3487140"/>
              <a:gd name="connsiteX24" fmla="*/ 3503489 w 9875100"/>
              <a:gd name="connsiteY24" fmla="*/ 3283181 h 3487140"/>
              <a:gd name="connsiteX25" fmla="*/ 4106125 w 9875100"/>
              <a:gd name="connsiteY25" fmla="*/ 2757481 h 3487140"/>
              <a:gd name="connsiteX26" fmla="*/ 4095894 w 9875100"/>
              <a:gd name="connsiteY26" fmla="*/ 1980430 h 3487140"/>
              <a:gd name="connsiteX27" fmla="*/ 3765860 w 9875100"/>
              <a:gd name="connsiteY27" fmla="*/ 1589139 h 3487140"/>
              <a:gd name="connsiteX28" fmla="*/ 3576806 w 9875100"/>
              <a:gd name="connsiteY28" fmla="*/ 1660710 h 3487140"/>
              <a:gd name="connsiteX29" fmla="*/ 3468389 w 9875100"/>
              <a:gd name="connsiteY29" fmla="*/ 2116627 h 3487140"/>
              <a:gd name="connsiteX30" fmla="*/ 3245026 w 9875100"/>
              <a:gd name="connsiteY30" fmla="*/ 2374258 h 3487140"/>
              <a:gd name="connsiteX31" fmla="*/ 3190090 w 9875100"/>
              <a:gd name="connsiteY31" fmla="*/ 2276986 h 3487140"/>
              <a:gd name="connsiteX32" fmla="*/ 3569362 w 9875100"/>
              <a:gd name="connsiteY32" fmla="*/ 2021601 h 3487140"/>
              <a:gd name="connsiteX33" fmla="*/ 3829281 w 9875100"/>
              <a:gd name="connsiteY33" fmla="*/ 1234153 h 3487140"/>
              <a:gd name="connsiteX34" fmla="*/ 4059381 w 9875100"/>
              <a:gd name="connsiteY34" fmla="*/ 725296 h 3487140"/>
              <a:gd name="connsiteX35" fmla="*/ 4167964 w 9875100"/>
              <a:gd name="connsiteY35" fmla="*/ 539984 h 3487140"/>
              <a:gd name="connsiteX36" fmla="*/ 4136816 w 9875100"/>
              <a:gd name="connsiteY36" fmla="*/ 435851 h 3487140"/>
              <a:gd name="connsiteX37" fmla="*/ 4030478 w 9875100"/>
              <a:gd name="connsiteY37" fmla="*/ 350265 h 3487140"/>
              <a:gd name="connsiteX38" fmla="*/ 3985190 w 9875100"/>
              <a:gd name="connsiteY38" fmla="*/ 209327 h 3487140"/>
              <a:gd name="connsiteX39" fmla="*/ 4030020 w 9875100"/>
              <a:gd name="connsiteY39" fmla="*/ 82237 h 3487140"/>
              <a:gd name="connsiteX40" fmla="*/ 4210300 w 9875100"/>
              <a:gd name="connsiteY40" fmla="*/ 6716 h 3487140"/>
              <a:gd name="connsiteX41" fmla="*/ 4478993 w 9875100"/>
              <a:gd name="connsiteY41" fmla="*/ 10167 h 3487140"/>
              <a:gd name="connsiteX42" fmla="*/ 4562666 w 9875100"/>
              <a:gd name="connsiteY42" fmla="*/ 49800 h 3487140"/>
              <a:gd name="connsiteX43" fmla="*/ 4515631 w 9875100"/>
              <a:gd name="connsiteY43" fmla="*/ 86812 h 3487140"/>
              <a:gd name="connsiteX44" fmla="*/ 4279708 w 9875100"/>
              <a:gd name="connsiteY44" fmla="*/ 91886 h 3487140"/>
              <a:gd name="connsiteX45" fmla="*/ 4036175 w 9875100"/>
              <a:gd name="connsiteY45" fmla="*/ 75833 h 3487140"/>
              <a:gd name="connsiteX46" fmla="*/ 3928424 w 9875100"/>
              <a:gd name="connsiteY46" fmla="*/ 176931 h 3487140"/>
              <a:gd name="connsiteX47" fmla="*/ 3943686 w 9875100"/>
              <a:gd name="connsiteY47" fmla="*/ 370393 h 3487140"/>
              <a:gd name="connsiteX48" fmla="*/ 3888459 w 9875100"/>
              <a:gd name="connsiteY48" fmla="*/ 589348 h 3487140"/>
              <a:gd name="connsiteX49" fmla="*/ 3731925 w 9875100"/>
              <a:gd name="connsiteY49" fmla="*/ 903953 h 3487140"/>
              <a:gd name="connsiteX50" fmla="*/ 3521454 w 9875100"/>
              <a:gd name="connsiteY50" fmla="*/ 922501 h 3487140"/>
              <a:gd name="connsiteX51" fmla="*/ 3327035 w 9875100"/>
              <a:gd name="connsiteY51" fmla="*/ 866816 h 3487140"/>
              <a:gd name="connsiteX52" fmla="*/ 3268190 w 9875100"/>
              <a:gd name="connsiteY52" fmla="*/ 751038 h 3487140"/>
              <a:gd name="connsiteX53" fmla="*/ 3280126 w 9875100"/>
              <a:gd name="connsiteY53" fmla="*/ 369436 h 3487140"/>
              <a:gd name="connsiteX54" fmla="*/ 3341799 w 9875100"/>
              <a:gd name="connsiteY54" fmla="*/ 155805 h 3487140"/>
              <a:gd name="connsiteX55" fmla="*/ 3543163 w 9875100"/>
              <a:gd name="connsiteY55" fmla="*/ 156761 h 3487140"/>
              <a:gd name="connsiteX56" fmla="*/ 3796094 w 9875100"/>
              <a:gd name="connsiteY56" fmla="*/ 245175 h 3487140"/>
              <a:gd name="connsiteX57" fmla="*/ 3965186 w 9875100"/>
              <a:gd name="connsiteY57" fmla="*/ 357792 h 3487140"/>
              <a:gd name="connsiteX58" fmla="*/ 4069777 w 9875100"/>
              <a:gd name="connsiteY58" fmla="*/ 483301 h 3487140"/>
              <a:gd name="connsiteX59" fmla="*/ 4093981 w 9875100"/>
              <a:gd name="connsiteY59" fmla="*/ 600951 h 3487140"/>
              <a:gd name="connsiteX60" fmla="*/ 4066450 w 9875100"/>
              <a:gd name="connsiteY60" fmla="*/ 761726 h 3487140"/>
              <a:gd name="connsiteX61" fmla="*/ 4238371 w 9875100"/>
              <a:gd name="connsiteY61" fmla="*/ 1160004 h 3487140"/>
              <a:gd name="connsiteX62" fmla="*/ 4661351 w 9875100"/>
              <a:gd name="connsiteY62" fmla="*/ 1793622 h 3487140"/>
              <a:gd name="connsiteX63" fmla="*/ 5078842 w 9875100"/>
              <a:gd name="connsiteY63" fmla="*/ 2087475 h 3487140"/>
              <a:gd name="connsiteX64" fmla="*/ 5188465 w 9875100"/>
              <a:gd name="connsiteY64" fmla="*/ 2185620 h 3487140"/>
              <a:gd name="connsiteX65" fmla="*/ 5075516 w 9875100"/>
              <a:gd name="connsiteY65" fmla="*/ 2468120 h 3487140"/>
              <a:gd name="connsiteX66" fmla="*/ 4909417 w 9875100"/>
              <a:gd name="connsiteY66" fmla="*/ 2505548 h 3487140"/>
              <a:gd name="connsiteX67" fmla="*/ 4600967 w 9875100"/>
              <a:gd name="connsiteY67" fmla="*/ 2278109 h 3487140"/>
              <a:gd name="connsiteX68" fmla="*/ 4156278 w 9875100"/>
              <a:gd name="connsiteY68" fmla="*/ 1678800 h 3487140"/>
              <a:gd name="connsiteX69" fmla="*/ 4036425 w 9875100"/>
              <a:gd name="connsiteY69" fmla="*/ 1175432 h 3487140"/>
              <a:gd name="connsiteX70" fmla="*/ 4190879 w 9875100"/>
              <a:gd name="connsiteY70" fmla="*/ 1377420 h 3487140"/>
              <a:gd name="connsiteX71" fmla="*/ 4552519 w 9875100"/>
              <a:gd name="connsiteY71" fmla="*/ 2268710 h 3487140"/>
              <a:gd name="connsiteX72" fmla="*/ 4872321 w 9875100"/>
              <a:gd name="connsiteY72" fmla="*/ 2693105 h 3487140"/>
              <a:gd name="connsiteX73" fmla="*/ 5105749 w 9875100"/>
              <a:gd name="connsiteY73" fmla="*/ 2746586 h 3487140"/>
              <a:gd name="connsiteX74" fmla="*/ 5272970 w 9875100"/>
              <a:gd name="connsiteY74" fmla="*/ 2631432 h 3487140"/>
              <a:gd name="connsiteX75" fmla="*/ 5284157 w 9875100"/>
              <a:gd name="connsiteY75" fmla="*/ 2436680 h 3487140"/>
              <a:gd name="connsiteX76" fmla="*/ 5130327 w 9875100"/>
              <a:gd name="connsiteY76" fmla="*/ 2309258 h 3487140"/>
              <a:gd name="connsiteX77" fmla="*/ 4923141 w 9875100"/>
              <a:gd name="connsiteY77" fmla="*/ 2375007 h 3487140"/>
              <a:gd name="connsiteX78" fmla="*/ 4900642 w 9875100"/>
              <a:gd name="connsiteY78" fmla="*/ 2581402 h 3487140"/>
              <a:gd name="connsiteX79" fmla="*/ 5043327 w 9875100"/>
              <a:gd name="connsiteY79" fmla="*/ 2671064 h 3487140"/>
              <a:gd name="connsiteX80" fmla="*/ 5139892 w 9875100"/>
              <a:gd name="connsiteY80" fmla="*/ 2596831 h 3487140"/>
              <a:gd name="connsiteX81" fmla="*/ 5106706 w 9875100"/>
              <a:gd name="connsiteY81" fmla="*/ 2530750 h 3487140"/>
              <a:gd name="connsiteX82" fmla="*/ 4984648 w 9875100"/>
              <a:gd name="connsiteY82" fmla="*/ 2615379 h 3487140"/>
              <a:gd name="connsiteX83" fmla="*/ 4838969 w 9875100"/>
              <a:gd name="connsiteY83" fmla="*/ 2907028 h 3487140"/>
              <a:gd name="connsiteX84" fmla="*/ 4791144 w 9875100"/>
              <a:gd name="connsiteY84" fmla="*/ 3008333 h 3487140"/>
              <a:gd name="connsiteX85" fmla="*/ 4755296 w 9875100"/>
              <a:gd name="connsiteY85" fmla="*/ 3024053 h 3487140"/>
              <a:gd name="connsiteX86" fmla="*/ 4660270 w 9875100"/>
              <a:gd name="connsiteY86" fmla="*/ 3013989 h 3487140"/>
              <a:gd name="connsiteX87" fmla="*/ 4667173 w 9875100"/>
              <a:gd name="connsiteY87" fmla="*/ 2956724 h 3487140"/>
              <a:gd name="connsiteX88" fmla="*/ 4855936 w 9875100"/>
              <a:gd name="connsiteY88" fmla="*/ 2951068 h 3487140"/>
              <a:gd name="connsiteX89" fmla="*/ 4942146 w 9875100"/>
              <a:gd name="connsiteY89" fmla="*/ 2951068 h 3487140"/>
              <a:gd name="connsiteX90" fmla="*/ 5023324 w 9875100"/>
              <a:gd name="connsiteY90" fmla="*/ 2822066 h 3487140"/>
              <a:gd name="connsiteX91" fmla="*/ 5163638 w 9875100"/>
              <a:gd name="connsiteY91" fmla="*/ 2789337 h 3487140"/>
              <a:gd name="connsiteX92" fmla="*/ 5291351 w 9875100"/>
              <a:gd name="connsiteY92" fmla="*/ 2713815 h 3487140"/>
              <a:gd name="connsiteX93" fmla="*/ 5377561 w 9875100"/>
              <a:gd name="connsiteY93" fmla="*/ 2544556 h 3487140"/>
              <a:gd name="connsiteX94" fmla="*/ 5597140 w 9875100"/>
              <a:gd name="connsiteY94" fmla="*/ 2482883 h 3487140"/>
              <a:gd name="connsiteX95" fmla="*/ 6132114 w 9875100"/>
              <a:gd name="connsiteY95" fmla="*/ 2466831 h 3487140"/>
              <a:gd name="connsiteX96" fmla="*/ 6287856 w 9875100"/>
              <a:gd name="connsiteY96" fmla="*/ 2420918 h 3487140"/>
              <a:gd name="connsiteX97" fmla="*/ 6137769 w 9875100"/>
              <a:gd name="connsiteY97" fmla="*/ 2252907 h 3487140"/>
              <a:gd name="connsiteX98" fmla="*/ 5662390 w 9875100"/>
              <a:gd name="connsiteY98" fmla="*/ 1791709 h 3487140"/>
              <a:gd name="connsiteX99" fmla="*/ 5398271 w 9875100"/>
              <a:gd name="connsiteY99" fmla="*/ 1600118 h 3487140"/>
              <a:gd name="connsiteX100" fmla="*/ 5274301 w 9875100"/>
              <a:gd name="connsiteY100" fmla="*/ 1733529 h 3487140"/>
              <a:gd name="connsiteX101" fmla="*/ 5212003 w 9875100"/>
              <a:gd name="connsiteY101" fmla="*/ 1995900 h 3487140"/>
              <a:gd name="connsiteX102" fmla="*/ 5252883 w 9875100"/>
              <a:gd name="connsiteY102" fmla="*/ 2048133 h 3487140"/>
              <a:gd name="connsiteX103" fmla="*/ 5315804 w 9875100"/>
              <a:gd name="connsiteY103" fmla="*/ 1778817 h 3487140"/>
              <a:gd name="connsiteX104" fmla="*/ 5437571 w 9875100"/>
              <a:gd name="connsiteY104" fmla="*/ 1356918 h 3487140"/>
              <a:gd name="connsiteX105" fmla="*/ 5543908 w 9875100"/>
              <a:gd name="connsiteY105" fmla="*/ 986960 h 3487140"/>
              <a:gd name="connsiteX106" fmla="*/ 5514631 w 9875100"/>
              <a:gd name="connsiteY106" fmla="*/ 867107 h 3487140"/>
              <a:gd name="connsiteX107" fmla="*/ 5339717 w 9875100"/>
              <a:gd name="connsiteY107" fmla="*/ 840034 h 3487140"/>
              <a:gd name="connsiteX108" fmla="*/ 5195618 w 9875100"/>
              <a:gd name="connsiteY108" fmla="*/ 782769 h 3487140"/>
              <a:gd name="connsiteX109" fmla="*/ 5211962 w 9875100"/>
              <a:gd name="connsiteY109" fmla="*/ 714816 h 3487140"/>
              <a:gd name="connsiteX110" fmla="*/ 5385629 w 9875100"/>
              <a:gd name="connsiteY110" fmla="*/ 723008 h 3487140"/>
              <a:gd name="connsiteX111" fmla="*/ 5588240 w 9875100"/>
              <a:gd name="connsiteY111" fmla="*/ 729288 h 3487140"/>
              <a:gd name="connsiteX112" fmla="*/ 5754962 w 9875100"/>
              <a:gd name="connsiteY112" fmla="*/ 682087 h 3487140"/>
              <a:gd name="connsiteX113" fmla="*/ 5872611 w 9875100"/>
              <a:gd name="connsiteY113" fmla="*/ 703463 h 3487140"/>
              <a:gd name="connsiteX114" fmla="*/ 5895276 w 9875100"/>
              <a:gd name="connsiteY114" fmla="*/ 797199 h 3487140"/>
              <a:gd name="connsiteX115" fmla="*/ 5767563 w 9875100"/>
              <a:gd name="connsiteY115" fmla="*/ 890936 h 3487140"/>
              <a:gd name="connsiteX116" fmla="*/ 5597680 w 9875100"/>
              <a:gd name="connsiteY116" fmla="*/ 918009 h 3487140"/>
              <a:gd name="connsiteX117" fmla="*/ 5469967 w 9875100"/>
              <a:gd name="connsiteY117" fmla="*/ 1002306 h 3487140"/>
              <a:gd name="connsiteX118" fmla="*/ 5369077 w 9875100"/>
              <a:gd name="connsiteY118" fmla="*/ 1299902 h 3487140"/>
              <a:gd name="connsiteX119" fmla="*/ 5430127 w 9875100"/>
              <a:gd name="connsiteY119" fmla="*/ 1545930 h 3487140"/>
              <a:gd name="connsiteX120" fmla="*/ 5642802 w 9875100"/>
              <a:gd name="connsiteY120" fmla="*/ 1536490 h 3487140"/>
              <a:gd name="connsiteX121" fmla="*/ 5822333 w 9875100"/>
              <a:gd name="connsiteY121" fmla="*/ 1376048 h 3487140"/>
              <a:gd name="connsiteX122" fmla="*/ 5825494 w 9875100"/>
              <a:gd name="connsiteY122" fmla="*/ 1231949 h 3487140"/>
              <a:gd name="connsiteX123" fmla="*/ 5607453 w 9875100"/>
              <a:gd name="connsiteY123" fmla="*/ 1191693 h 3487140"/>
              <a:gd name="connsiteX124" fmla="*/ 5615937 w 9875100"/>
              <a:gd name="connsiteY124" fmla="*/ 1255238 h 3487140"/>
              <a:gd name="connsiteX125" fmla="*/ 6040955 w 9875100"/>
              <a:gd name="connsiteY125" fmla="*/ 1241722 h 3487140"/>
              <a:gd name="connsiteX126" fmla="*/ 6525775 w 9875100"/>
              <a:gd name="connsiteY126" fmla="*/ 1259646 h 3487140"/>
              <a:gd name="connsiteX127" fmla="*/ 6755127 w 9875100"/>
              <a:gd name="connsiteY127" fmla="*/ 1236981 h 3487140"/>
              <a:gd name="connsiteX128" fmla="*/ 6736871 w 9875100"/>
              <a:gd name="connsiteY128" fmla="*/ 1185995 h 3487140"/>
              <a:gd name="connsiteX129" fmla="*/ 6376353 w 9875100"/>
              <a:gd name="connsiteY129" fmla="*/ 1177512 h 3487140"/>
              <a:gd name="connsiteX130" fmla="*/ 6005773 w 9875100"/>
              <a:gd name="connsiteY130" fmla="*/ 1331342 h 3487140"/>
              <a:gd name="connsiteX131" fmla="*/ 5660019 w 9875100"/>
              <a:gd name="connsiteY131" fmla="*/ 1604110 h 3487140"/>
              <a:gd name="connsiteX132" fmla="*/ 5427216 w 9875100"/>
              <a:gd name="connsiteY132" fmla="*/ 1921252 h 3487140"/>
              <a:gd name="connsiteX133" fmla="*/ 5331566 w 9875100"/>
              <a:gd name="connsiteY133" fmla="*/ 2419255 h 3487140"/>
              <a:gd name="connsiteX134" fmla="*/ 5561874 w 9875100"/>
              <a:gd name="connsiteY134" fmla="*/ 3048465 h 3487140"/>
              <a:gd name="connsiteX135" fmla="*/ 6140099 w 9875100"/>
              <a:gd name="connsiteY135" fmla="*/ 3394510 h 3487140"/>
              <a:gd name="connsiteX136" fmla="*/ 6778748 w 9875100"/>
              <a:gd name="connsiteY136" fmla="*/ 3330632 h 3487140"/>
              <a:gd name="connsiteX137" fmla="*/ 7273923 w 9875100"/>
              <a:gd name="connsiteY137" fmla="*/ 2841404 h 3487140"/>
              <a:gd name="connsiteX138" fmla="*/ 7307276 w 9875100"/>
              <a:gd name="connsiteY138" fmla="*/ 2052999 h 3487140"/>
              <a:gd name="connsiteX139" fmla="*/ 6876269 w 9875100"/>
              <a:gd name="connsiteY139" fmla="*/ 1482011 h 3487140"/>
              <a:gd name="connsiteX140" fmla="*/ 6409415 w 9875100"/>
              <a:gd name="connsiteY140" fmla="*/ 1352717 h 3487140"/>
              <a:gd name="connsiteX141" fmla="*/ 6248973 w 9875100"/>
              <a:gd name="connsiteY141" fmla="*/ 1466624 h 3487140"/>
              <a:gd name="connsiteX142" fmla="*/ 6271014 w 9875100"/>
              <a:gd name="connsiteY142" fmla="*/ 2001140 h 3487140"/>
              <a:gd name="connsiteX143" fmla="*/ 6304990 w 9875100"/>
              <a:gd name="connsiteY143" fmla="*/ 2313208 h 3487140"/>
              <a:gd name="connsiteX144" fmla="*/ 6396690 w 9875100"/>
              <a:gd name="connsiteY144" fmla="*/ 2399085 h 3487140"/>
              <a:gd name="connsiteX145" fmla="*/ 6501156 w 9875100"/>
              <a:gd name="connsiteY145" fmla="*/ 2362905 h 3487140"/>
              <a:gd name="connsiteX146" fmla="*/ 6465765 w 9875100"/>
              <a:gd name="connsiteY146" fmla="*/ 2271372 h 3487140"/>
              <a:gd name="connsiteX147" fmla="*/ 6368161 w 9875100"/>
              <a:gd name="connsiteY147" fmla="*/ 2303394 h 3487140"/>
              <a:gd name="connsiteX148" fmla="*/ 6351775 w 9875100"/>
              <a:gd name="connsiteY148" fmla="*/ 2437262 h 3487140"/>
              <a:gd name="connsiteX149" fmla="*/ 6350694 w 9875100"/>
              <a:gd name="connsiteY149" fmla="*/ 2519521 h 3487140"/>
              <a:gd name="connsiteX150" fmla="*/ 6171580 w 9875100"/>
              <a:gd name="connsiteY150" fmla="*/ 2539400 h 3487140"/>
              <a:gd name="connsiteX151" fmla="*/ 5761325 w 9875100"/>
              <a:gd name="connsiteY151" fmla="*/ 2545679 h 3487140"/>
              <a:gd name="connsiteX152" fmla="*/ 5520953 w 9875100"/>
              <a:gd name="connsiteY152" fmla="*/ 2602944 h 3487140"/>
              <a:gd name="connsiteX153" fmla="*/ 5511346 w 9875100"/>
              <a:gd name="connsiteY153" fmla="*/ 2790460 h 3487140"/>
              <a:gd name="connsiteX154" fmla="*/ 5704683 w 9875100"/>
              <a:gd name="connsiteY154" fmla="*/ 3133385 h 3487140"/>
              <a:gd name="connsiteX155" fmla="*/ 6196573 w 9875100"/>
              <a:gd name="connsiteY155" fmla="*/ 3465290 h 3487140"/>
              <a:gd name="connsiteX156" fmla="*/ 6937319 w 9875100"/>
              <a:gd name="connsiteY156" fmla="*/ 3390434 h 3487140"/>
              <a:gd name="connsiteX157" fmla="*/ 7377142 w 9875100"/>
              <a:gd name="connsiteY157" fmla="*/ 3017940 h 3487140"/>
              <a:gd name="connsiteX158" fmla="*/ 7691123 w 9875100"/>
              <a:gd name="connsiteY158" fmla="*/ 2655510 h 3487140"/>
              <a:gd name="connsiteX159" fmla="*/ 8063617 w 9875100"/>
              <a:gd name="connsiteY159" fmla="*/ 3163577 h 3487140"/>
              <a:gd name="connsiteX160" fmla="*/ 8287604 w 9875100"/>
              <a:gd name="connsiteY160" fmla="*/ 3255443 h 3487140"/>
              <a:gd name="connsiteX161" fmla="*/ 8365621 w 9875100"/>
              <a:gd name="connsiteY161" fmla="*/ 2786675 h 3487140"/>
              <a:gd name="connsiteX162" fmla="*/ 8675194 w 9875100"/>
              <a:gd name="connsiteY162" fmla="*/ 2869724 h 3487140"/>
              <a:gd name="connsiteX163" fmla="*/ 8913986 w 9875100"/>
              <a:gd name="connsiteY163" fmla="*/ 3245046 h 3487140"/>
              <a:gd name="connsiteX164" fmla="*/ 9286479 w 9875100"/>
              <a:gd name="connsiteY164" fmla="*/ 3329676 h 3487140"/>
              <a:gd name="connsiteX165" fmla="*/ 9875101 w 9875100"/>
              <a:gd name="connsiteY165" fmla="*/ 3217682 h 3487140"/>
              <a:gd name="connsiteX0" fmla="*/ 0 w 9215242"/>
              <a:gd name="connsiteY0" fmla="*/ 3395424 h 3487140"/>
              <a:gd name="connsiteX1" fmla="*/ 325085 w 9215242"/>
              <a:gd name="connsiteY1" fmla="*/ 2916759 h 3487140"/>
              <a:gd name="connsiteX2" fmla="*/ 581552 w 9215242"/>
              <a:gd name="connsiteY2" fmla="*/ 2898295 h 3487140"/>
              <a:gd name="connsiteX3" fmla="*/ 810903 w 9215242"/>
              <a:gd name="connsiteY3" fmla="*/ 3416675 h 3487140"/>
              <a:gd name="connsiteX4" fmla="*/ 970722 w 9215242"/>
              <a:gd name="connsiteY4" fmla="*/ 3205871 h 3487140"/>
              <a:gd name="connsiteX5" fmla="*/ 1229975 w 9215242"/>
              <a:gd name="connsiteY5" fmla="*/ 2696848 h 3487140"/>
              <a:gd name="connsiteX6" fmla="*/ 1504323 w 9215242"/>
              <a:gd name="connsiteY6" fmla="*/ 2954187 h 3487140"/>
              <a:gd name="connsiteX7" fmla="*/ 1851657 w 9215242"/>
              <a:gd name="connsiteY7" fmla="*/ 3339906 h 3487140"/>
              <a:gd name="connsiteX8" fmla="*/ 2309779 w 9215242"/>
              <a:gd name="connsiteY8" fmla="*/ 3385485 h 3487140"/>
              <a:gd name="connsiteX9" fmla="*/ 2388461 w 9215242"/>
              <a:gd name="connsiteY9" fmla="*/ 3295741 h 3487140"/>
              <a:gd name="connsiteX10" fmla="*/ 2137359 w 9215242"/>
              <a:gd name="connsiteY10" fmla="*/ 3112384 h 3487140"/>
              <a:gd name="connsiteX11" fmla="*/ 1831196 w 9215242"/>
              <a:gd name="connsiteY11" fmla="*/ 2750287 h 3487140"/>
              <a:gd name="connsiteX12" fmla="*/ 1739664 w 9215242"/>
              <a:gd name="connsiteY12" fmla="*/ 2305432 h 3487140"/>
              <a:gd name="connsiteX13" fmla="*/ 1867252 w 9215242"/>
              <a:gd name="connsiteY13" fmla="*/ 1919713 h 3487140"/>
              <a:gd name="connsiteX14" fmla="*/ 2191464 w 9215242"/>
              <a:gd name="connsiteY14" fmla="*/ 1637837 h 3487140"/>
              <a:gd name="connsiteX15" fmla="*/ 2684768 w 9215242"/>
              <a:gd name="connsiteY15" fmla="*/ 1545972 h 3487140"/>
              <a:gd name="connsiteX16" fmla="*/ 2919443 w 9215242"/>
              <a:gd name="connsiteY16" fmla="*/ 1517651 h 3487140"/>
              <a:gd name="connsiteX17" fmla="*/ 2904180 w 9215242"/>
              <a:gd name="connsiteY17" fmla="*/ 1460718 h 3487140"/>
              <a:gd name="connsiteX18" fmla="*/ 2628126 w 9215242"/>
              <a:gd name="connsiteY18" fmla="*/ 1416969 h 3487140"/>
              <a:gd name="connsiteX19" fmla="*/ 2108706 w 9215242"/>
              <a:gd name="connsiteY19" fmla="*/ 1517318 h 3487140"/>
              <a:gd name="connsiteX20" fmla="*/ 1699408 w 9215242"/>
              <a:gd name="connsiteY20" fmla="*/ 1960593 h 3487140"/>
              <a:gd name="connsiteX21" fmla="*/ 1639938 w 9215242"/>
              <a:gd name="connsiteY21" fmla="*/ 2569342 h 3487140"/>
              <a:gd name="connsiteX22" fmla="*/ 2053645 w 9215242"/>
              <a:gd name="connsiteY22" fmla="*/ 3165532 h 3487140"/>
              <a:gd name="connsiteX23" fmla="*/ 2843630 w 9215242"/>
              <a:gd name="connsiteY23" fmla="*/ 3283181 h 3487140"/>
              <a:gd name="connsiteX24" fmla="*/ 3446266 w 9215242"/>
              <a:gd name="connsiteY24" fmla="*/ 2757481 h 3487140"/>
              <a:gd name="connsiteX25" fmla="*/ 3436035 w 9215242"/>
              <a:gd name="connsiteY25" fmla="*/ 1980430 h 3487140"/>
              <a:gd name="connsiteX26" fmla="*/ 3106001 w 9215242"/>
              <a:gd name="connsiteY26" fmla="*/ 1589139 h 3487140"/>
              <a:gd name="connsiteX27" fmla="*/ 2916947 w 9215242"/>
              <a:gd name="connsiteY27" fmla="*/ 1660710 h 3487140"/>
              <a:gd name="connsiteX28" fmla="*/ 2808530 w 9215242"/>
              <a:gd name="connsiteY28" fmla="*/ 2116627 h 3487140"/>
              <a:gd name="connsiteX29" fmla="*/ 2585167 w 9215242"/>
              <a:gd name="connsiteY29" fmla="*/ 2374258 h 3487140"/>
              <a:gd name="connsiteX30" fmla="*/ 2530231 w 9215242"/>
              <a:gd name="connsiteY30" fmla="*/ 2276986 h 3487140"/>
              <a:gd name="connsiteX31" fmla="*/ 2909503 w 9215242"/>
              <a:gd name="connsiteY31" fmla="*/ 2021601 h 3487140"/>
              <a:gd name="connsiteX32" fmla="*/ 3169422 w 9215242"/>
              <a:gd name="connsiteY32" fmla="*/ 1234153 h 3487140"/>
              <a:gd name="connsiteX33" fmla="*/ 3399522 w 9215242"/>
              <a:gd name="connsiteY33" fmla="*/ 725296 h 3487140"/>
              <a:gd name="connsiteX34" fmla="*/ 3508105 w 9215242"/>
              <a:gd name="connsiteY34" fmla="*/ 539984 h 3487140"/>
              <a:gd name="connsiteX35" fmla="*/ 3476957 w 9215242"/>
              <a:gd name="connsiteY35" fmla="*/ 435851 h 3487140"/>
              <a:gd name="connsiteX36" fmla="*/ 3370619 w 9215242"/>
              <a:gd name="connsiteY36" fmla="*/ 350265 h 3487140"/>
              <a:gd name="connsiteX37" fmla="*/ 3325331 w 9215242"/>
              <a:gd name="connsiteY37" fmla="*/ 209327 h 3487140"/>
              <a:gd name="connsiteX38" fmla="*/ 3370161 w 9215242"/>
              <a:gd name="connsiteY38" fmla="*/ 82237 h 3487140"/>
              <a:gd name="connsiteX39" fmla="*/ 3550441 w 9215242"/>
              <a:gd name="connsiteY39" fmla="*/ 6716 h 3487140"/>
              <a:gd name="connsiteX40" fmla="*/ 3819134 w 9215242"/>
              <a:gd name="connsiteY40" fmla="*/ 10167 h 3487140"/>
              <a:gd name="connsiteX41" fmla="*/ 3902807 w 9215242"/>
              <a:gd name="connsiteY41" fmla="*/ 49800 h 3487140"/>
              <a:gd name="connsiteX42" fmla="*/ 3855772 w 9215242"/>
              <a:gd name="connsiteY42" fmla="*/ 86812 h 3487140"/>
              <a:gd name="connsiteX43" fmla="*/ 3619849 w 9215242"/>
              <a:gd name="connsiteY43" fmla="*/ 91886 h 3487140"/>
              <a:gd name="connsiteX44" fmla="*/ 3376316 w 9215242"/>
              <a:gd name="connsiteY44" fmla="*/ 75833 h 3487140"/>
              <a:gd name="connsiteX45" fmla="*/ 3268565 w 9215242"/>
              <a:gd name="connsiteY45" fmla="*/ 176931 h 3487140"/>
              <a:gd name="connsiteX46" fmla="*/ 3283827 w 9215242"/>
              <a:gd name="connsiteY46" fmla="*/ 370393 h 3487140"/>
              <a:gd name="connsiteX47" fmla="*/ 3228600 w 9215242"/>
              <a:gd name="connsiteY47" fmla="*/ 589348 h 3487140"/>
              <a:gd name="connsiteX48" fmla="*/ 3072066 w 9215242"/>
              <a:gd name="connsiteY48" fmla="*/ 903953 h 3487140"/>
              <a:gd name="connsiteX49" fmla="*/ 2861595 w 9215242"/>
              <a:gd name="connsiteY49" fmla="*/ 922501 h 3487140"/>
              <a:gd name="connsiteX50" fmla="*/ 2667176 w 9215242"/>
              <a:gd name="connsiteY50" fmla="*/ 866816 h 3487140"/>
              <a:gd name="connsiteX51" fmla="*/ 2608331 w 9215242"/>
              <a:gd name="connsiteY51" fmla="*/ 751038 h 3487140"/>
              <a:gd name="connsiteX52" fmla="*/ 2620267 w 9215242"/>
              <a:gd name="connsiteY52" fmla="*/ 369436 h 3487140"/>
              <a:gd name="connsiteX53" fmla="*/ 2681940 w 9215242"/>
              <a:gd name="connsiteY53" fmla="*/ 155805 h 3487140"/>
              <a:gd name="connsiteX54" fmla="*/ 2883304 w 9215242"/>
              <a:gd name="connsiteY54" fmla="*/ 156761 h 3487140"/>
              <a:gd name="connsiteX55" fmla="*/ 3136235 w 9215242"/>
              <a:gd name="connsiteY55" fmla="*/ 245175 h 3487140"/>
              <a:gd name="connsiteX56" fmla="*/ 3305327 w 9215242"/>
              <a:gd name="connsiteY56" fmla="*/ 357792 h 3487140"/>
              <a:gd name="connsiteX57" fmla="*/ 3409918 w 9215242"/>
              <a:gd name="connsiteY57" fmla="*/ 483301 h 3487140"/>
              <a:gd name="connsiteX58" fmla="*/ 3434122 w 9215242"/>
              <a:gd name="connsiteY58" fmla="*/ 600951 h 3487140"/>
              <a:gd name="connsiteX59" fmla="*/ 3406591 w 9215242"/>
              <a:gd name="connsiteY59" fmla="*/ 761726 h 3487140"/>
              <a:gd name="connsiteX60" fmla="*/ 3578512 w 9215242"/>
              <a:gd name="connsiteY60" fmla="*/ 1160004 h 3487140"/>
              <a:gd name="connsiteX61" fmla="*/ 4001492 w 9215242"/>
              <a:gd name="connsiteY61" fmla="*/ 1793622 h 3487140"/>
              <a:gd name="connsiteX62" fmla="*/ 4418983 w 9215242"/>
              <a:gd name="connsiteY62" fmla="*/ 2087475 h 3487140"/>
              <a:gd name="connsiteX63" fmla="*/ 4528606 w 9215242"/>
              <a:gd name="connsiteY63" fmla="*/ 2185620 h 3487140"/>
              <a:gd name="connsiteX64" fmla="*/ 4415657 w 9215242"/>
              <a:gd name="connsiteY64" fmla="*/ 2468120 h 3487140"/>
              <a:gd name="connsiteX65" fmla="*/ 4249558 w 9215242"/>
              <a:gd name="connsiteY65" fmla="*/ 2505548 h 3487140"/>
              <a:gd name="connsiteX66" fmla="*/ 3941108 w 9215242"/>
              <a:gd name="connsiteY66" fmla="*/ 2278109 h 3487140"/>
              <a:gd name="connsiteX67" fmla="*/ 3496419 w 9215242"/>
              <a:gd name="connsiteY67" fmla="*/ 1678800 h 3487140"/>
              <a:gd name="connsiteX68" fmla="*/ 3376566 w 9215242"/>
              <a:gd name="connsiteY68" fmla="*/ 1175432 h 3487140"/>
              <a:gd name="connsiteX69" fmla="*/ 3531020 w 9215242"/>
              <a:gd name="connsiteY69" fmla="*/ 1377420 h 3487140"/>
              <a:gd name="connsiteX70" fmla="*/ 3892660 w 9215242"/>
              <a:gd name="connsiteY70" fmla="*/ 2268710 h 3487140"/>
              <a:gd name="connsiteX71" fmla="*/ 4212462 w 9215242"/>
              <a:gd name="connsiteY71" fmla="*/ 2693105 h 3487140"/>
              <a:gd name="connsiteX72" fmla="*/ 4445890 w 9215242"/>
              <a:gd name="connsiteY72" fmla="*/ 2746586 h 3487140"/>
              <a:gd name="connsiteX73" fmla="*/ 4613111 w 9215242"/>
              <a:gd name="connsiteY73" fmla="*/ 2631432 h 3487140"/>
              <a:gd name="connsiteX74" fmla="*/ 4624298 w 9215242"/>
              <a:gd name="connsiteY74" fmla="*/ 2436680 h 3487140"/>
              <a:gd name="connsiteX75" fmla="*/ 4470468 w 9215242"/>
              <a:gd name="connsiteY75" fmla="*/ 2309258 h 3487140"/>
              <a:gd name="connsiteX76" fmla="*/ 4263282 w 9215242"/>
              <a:gd name="connsiteY76" fmla="*/ 2375007 h 3487140"/>
              <a:gd name="connsiteX77" fmla="*/ 4240783 w 9215242"/>
              <a:gd name="connsiteY77" fmla="*/ 2581402 h 3487140"/>
              <a:gd name="connsiteX78" fmla="*/ 4383468 w 9215242"/>
              <a:gd name="connsiteY78" fmla="*/ 2671064 h 3487140"/>
              <a:gd name="connsiteX79" fmla="*/ 4480033 w 9215242"/>
              <a:gd name="connsiteY79" fmla="*/ 2596831 h 3487140"/>
              <a:gd name="connsiteX80" fmla="*/ 4446847 w 9215242"/>
              <a:gd name="connsiteY80" fmla="*/ 2530750 h 3487140"/>
              <a:gd name="connsiteX81" fmla="*/ 4324789 w 9215242"/>
              <a:gd name="connsiteY81" fmla="*/ 2615379 h 3487140"/>
              <a:gd name="connsiteX82" fmla="*/ 4179110 w 9215242"/>
              <a:gd name="connsiteY82" fmla="*/ 2907028 h 3487140"/>
              <a:gd name="connsiteX83" fmla="*/ 4131285 w 9215242"/>
              <a:gd name="connsiteY83" fmla="*/ 3008333 h 3487140"/>
              <a:gd name="connsiteX84" fmla="*/ 4095437 w 9215242"/>
              <a:gd name="connsiteY84" fmla="*/ 3024053 h 3487140"/>
              <a:gd name="connsiteX85" fmla="*/ 4000411 w 9215242"/>
              <a:gd name="connsiteY85" fmla="*/ 3013989 h 3487140"/>
              <a:gd name="connsiteX86" fmla="*/ 4007314 w 9215242"/>
              <a:gd name="connsiteY86" fmla="*/ 2956724 h 3487140"/>
              <a:gd name="connsiteX87" fmla="*/ 4196077 w 9215242"/>
              <a:gd name="connsiteY87" fmla="*/ 2951068 h 3487140"/>
              <a:gd name="connsiteX88" fmla="*/ 4282287 w 9215242"/>
              <a:gd name="connsiteY88" fmla="*/ 2951068 h 3487140"/>
              <a:gd name="connsiteX89" fmla="*/ 4363465 w 9215242"/>
              <a:gd name="connsiteY89" fmla="*/ 2822066 h 3487140"/>
              <a:gd name="connsiteX90" fmla="*/ 4503779 w 9215242"/>
              <a:gd name="connsiteY90" fmla="*/ 2789337 h 3487140"/>
              <a:gd name="connsiteX91" fmla="*/ 4631492 w 9215242"/>
              <a:gd name="connsiteY91" fmla="*/ 2713815 h 3487140"/>
              <a:gd name="connsiteX92" fmla="*/ 4717702 w 9215242"/>
              <a:gd name="connsiteY92" fmla="*/ 2544556 h 3487140"/>
              <a:gd name="connsiteX93" fmla="*/ 4937281 w 9215242"/>
              <a:gd name="connsiteY93" fmla="*/ 2482883 h 3487140"/>
              <a:gd name="connsiteX94" fmla="*/ 5472255 w 9215242"/>
              <a:gd name="connsiteY94" fmla="*/ 2466831 h 3487140"/>
              <a:gd name="connsiteX95" fmla="*/ 5627997 w 9215242"/>
              <a:gd name="connsiteY95" fmla="*/ 2420918 h 3487140"/>
              <a:gd name="connsiteX96" fmla="*/ 5477910 w 9215242"/>
              <a:gd name="connsiteY96" fmla="*/ 2252907 h 3487140"/>
              <a:gd name="connsiteX97" fmla="*/ 5002531 w 9215242"/>
              <a:gd name="connsiteY97" fmla="*/ 1791709 h 3487140"/>
              <a:gd name="connsiteX98" fmla="*/ 4738412 w 9215242"/>
              <a:gd name="connsiteY98" fmla="*/ 1600118 h 3487140"/>
              <a:gd name="connsiteX99" fmla="*/ 4614442 w 9215242"/>
              <a:gd name="connsiteY99" fmla="*/ 1733529 h 3487140"/>
              <a:gd name="connsiteX100" fmla="*/ 4552144 w 9215242"/>
              <a:gd name="connsiteY100" fmla="*/ 1995900 h 3487140"/>
              <a:gd name="connsiteX101" fmla="*/ 4593024 w 9215242"/>
              <a:gd name="connsiteY101" fmla="*/ 2048133 h 3487140"/>
              <a:gd name="connsiteX102" fmla="*/ 4655945 w 9215242"/>
              <a:gd name="connsiteY102" fmla="*/ 1778817 h 3487140"/>
              <a:gd name="connsiteX103" fmla="*/ 4777712 w 9215242"/>
              <a:gd name="connsiteY103" fmla="*/ 1356918 h 3487140"/>
              <a:gd name="connsiteX104" fmla="*/ 4884049 w 9215242"/>
              <a:gd name="connsiteY104" fmla="*/ 986960 h 3487140"/>
              <a:gd name="connsiteX105" fmla="*/ 4854772 w 9215242"/>
              <a:gd name="connsiteY105" fmla="*/ 867107 h 3487140"/>
              <a:gd name="connsiteX106" fmla="*/ 4679858 w 9215242"/>
              <a:gd name="connsiteY106" fmla="*/ 840034 h 3487140"/>
              <a:gd name="connsiteX107" fmla="*/ 4535759 w 9215242"/>
              <a:gd name="connsiteY107" fmla="*/ 782769 h 3487140"/>
              <a:gd name="connsiteX108" fmla="*/ 4552103 w 9215242"/>
              <a:gd name="connsiteY108" fmla="*/ 714816 h 3487140"/>
              <a:gd name="connsiteX109" fmla="*/ 4725770 w 9215242"/>
              <a:gd name="connsiteY109" fmla="*/ 723008 h 3487140"/>
              <a:gd name="connsiteX110" fmla="*/ 4928381 w 9215242"/>
              <a:gd name="connsiteY110" fmla="*/ 729288 h 3487140"/>
              <a:gd name="connsiteX111" fmla="*/ 5095103 w 9215242"/>
              <a:gd name="connsiteY111" fmla="*/ 682087 h 3487140"/>
              <a:gd name="connsiteX112" fmla="*/ 5212752 w 9215242"/>
              <a:gd name="connsiteY112" fmla="*/ 703463 h 3487140"/>
              <a:gd name="connsiteX113" fmla="*/ 5235417 w 9215242"/>
              <a:gd name="connsiteY113" fmla="*/ 797199 h 3487140"/>
              <a:gd name="connsiteX114" fmla="*/ 5107704 w 9215242"/>
              <a:gd name="connsiteY114" fmla="*/ 890936 h 3487140"/>
              <a:gd name="connsiteX115" fmla="*/ 4937821 w 9215242"/>
              <a:gd name="connsiteY115" fmla="*/ 918009 h 3487140"/>
              <a:gd name="connsiteX116" fmla="*/ 4810108 w 9215242"/>
              <a:gd name="connsiteY116" fmla="*/ 1002306 h 3487140"/>
              <a:gd name="connsiteX117" fmla="*/ 4709218 w 9215242"/>
              <a:gd name="connsiteY117" fmla="*/ 1299902 h 3487140"/>
              <a:gd name="connsiteX118" fmla="*/ 4770268 w 9215242"/>
              <a:gd name="connsiteY118" fmla="*/ 1545930 h 3487140"/>
              <a:gd name="connsiteX119" fmla="*/ 4982943 w 9215242"/>
              <a:gd name="connsiteY119" fmla="*/ 1536490 h 3487140"/>
              <a:gd name="connsiteX120" fmla="*/ 5162474 w 9215242"/>
              <a:gd name="connsiteY120" fmla="*/ 1376048 h 3487140"/>
              <a:gd name="connsiteX121" fmla="*/ 5165635 w 9215242"/>
              <a:gd name="connsiteY121" fmla="*/ 1231949 h 3487140"/>
              <a:gd name="connsiteX122" fmla="*/ 4947594 w 9215242"/>
              <a:gd name="connsiteY122" fmla="*/ 1191693 h 3487140"/>
              <a:gd name="connsiteX123" fmla="*/ 4956078 w 9215242"/>
              <a:gd name="connsiteY123" fmla="*/ 1255238 h 3487140"/>
              <a:gd name="connsiteX124" fmla="*/ 5381096 w 9215242"/>
              <a:gd name="connsiteY124" fmla="*/ 1241722 h 3487140"/>
              <a:gd name="connsiteX125" fmla="*/ 5865916 w 9215242"/>
              <a:gd name="connsiteY125" fmla="*/ 1259646 h 3487140"/>
              <a:gd name="connsiteX126" fmla="*/ 6095268 w 9215242"/>
              <a:gd name="connsiteY126" fmla="*/ 1236981 h 3487140"/>
              <a:gd name="connsiteX127" fmla="*/ 6077012 w 9215242"/>
              <a:gd name="connsiteY127" fmla="*/ 1185995 h 3487140"/>
              <a:gd name="connsiteX128" fmla="*/ 5716494 w 9215242"/>
              <a:gd name="connsiteY128" fmla="*/ 1177512 h 3487140"/>
              <a:gd name="connsiteX129" fmla="*/ 5345914 w 9215242"/>
              <a:gd name="connsiteY129" fmla="*/ 1331342 h 3487140"/>
              <a:gd name="connsiteX130" fmla="*/ 5000160 w 9215242"/>
              <a:gd name="connsiteY130" fmla="*/ 1604110 h 3487140"/>
              <a:gd name="connsiteX131" fmla="*/ 4767357 w 9215242"/>
              <a:gd name="connsiteY131" fmla="*/ 1921252 h 3487140"/>
              <a:gd name="connsiteX132" fmla="*/ 4671707 w 9215242"/>
              <a:gd name="connsiteY132" fmla="*/ 2419255 h 3487140"/>
              <a:gd name="connsiteX133" fmla="*/ 4902015 w 9215242"/>
              <a:gd name="connsiteY133" fmla="*/ 3048465 h 3487140"/>
              <a:gd name="connsiteX134" fmla="*/ 5480240 w 9215242"/>
              <a:gd name="connsiteY134" fmla="*/ 3394510 h 3487140"/>
              <a:gd name="connsiteX135" fmla="*/ 6118889 w 9215242"/>
              <a:gd name="connsiteY135" fmla="*/ 3330632 h 3487140"/>
              <a:gd name="connsiteX136" fmla="*/ 6614064 w 9215242"/>
              <a:gd name="connsiteY136" fmla="*/ 2841404 h 3487140"/>
              <a:gd name="connsiteX137" fmla="*/ 6647417 w 9215242"/>
              <a:gd name="connsiteY137" fmla="*/ 2052999 h 3487140"/>
              <a:gd name="connsiteX138" fmla="*/ 6216410 w 9215242"/>
              <a:gd name="connsiteY138" fmla="*/ 1482011 h 3487140"/>
              <a:gd name="connsiteX139" fmla="*/ 5749556 w 9215242"/>
              <a:gd name="connsiteY139" fmla="*/ 1352717 h 3487140"/>
              <a:gd name="connsiteX140" fmla="*/ 5589114 w 9215242"/>
              <a:gd name="connsiteY140" fmla="*/ 1466624 h 3487140"/>
              <a:gd name="connsiteX141" fmla="*/ 5611155 w 9215242"/>
              <a:gd name="connsiteY141" fmla="*/ 2001140 h 3487140"/>
              <a:gd name="connsiteX142" fmla="*/ 5645131 w 9215242"/>
              <a:gd name="connsiteY142" fmla="*/ 2313208 h 3487140"/>
              <a:gd name="connsiteX143" fmla="*/ 5736831 w 9215242"/>
              <a:gd name="connsiteY143" fmla="*/ 2399085 h 3487140"/>
              <a:gd name="connsiteX144" fmla="*/ 5841297 w 9215242"/>
              <a:gd name="connsiteY144" fmla="*/ 2362905 h 3487140"/>
              <a:gd name="connsiteX145" fmla="*/ 5805906 w 9215242"/>
              <a:gd name="connsiteY145" fmla="*/ 2271372 h 3487140"/>
              <a:gd name="connsiteX146" fmla="*/ 5708302 w 9215242"/>
              <a:gd name="connsiteY146" fmla="*/ 2303394 h 3487140"/>
              <a:gd name="connsiteX147" fmla="*/ 5691916 w 9215242"/>
              <a:gd name="connsiteY147" fmla="*/ 2437262 h 3487140"/>
              <a:gd name="connsiteX148" fmla="*/ 5690835 w 9215242"/>
              <a:gd name="connsiteY148" fmla="*/ 2519521 h 3487140"/>
              <a:gd name="connsiteX149" fmla="*/ 5511721 w 9215242"/>
              <a:gd name="connsiteY149" fmla="*/ 2539400 h 3487140"/>
              <a:gd name="connsiteX150" fmla="*/ 5101466 w 9215242"/>
              <a:gd name="connsiteY150" fmla="*/ 2545679 h 3487140"/>
              <a:gd name="connsiteX151" fmla="*/ 4861094 w 9215242"/>
              <a:gd name="connsiteY151" fmla="*/ 2602944 h 3487140"/>
              <a:gd name="connsiteX152" fmla="*/ 4851487 w 9215242"/>
              <a:gd name="connsiteY152" fmla="*/ 2790460 h 3487140"/>
              <a:gd name="connsiteX153" fmla="*/ 5044824 w 9215242"/>
              <a:gd name="connsiteY153" fmla="*/ 3133385 h 3487140"/>
              <a:gd name="connsiteX154" fmla="*/ 5536714 w 9215242"/>
              <a:gd name="connsiteY154" fmla="*/ 3465290 h 3487140"/>
              <a:gd name="connsiteX155" fmla="*/ 6277460 w 9215242"/>
              <a:gd name="connsiteY155" fmla="*/ 3390434 h 3487140"/>
              <a:gd name="connsiteX156" fmla="*/ 6717283 w 9215242"/>
              <a:gd name="connsiteY156" fmla="*/ 3017940 h 3487140"/>
              <a:gd name="connsiteX157" fmla="*/ 7031264 w 9215242"/>
              <a:gd name="connsiteY157" fmla="*/ 2655510 h 3487140"/>
              <a:gd name="connsiteX158" fmla="*/ 7403758 w 9215242"/>
              <a:gd name="connsiteY158" fmla="*/ 3163577 h 3487140"/>
              <a:gd name="connsiteX159" fmla="*/ 7627745 w 9215242"/>
              <a:gd name="connsiteY159" fmla="*/ 3255443 h 3487140"/>
              <a:gd name="connsiteX160" fmla="*/ 7705762 w 9215242"/>
              <a:gd name="connsiteY160" fmla="*/ 2786675 h 3487140"/>
              <a:gd name="connsiteX161" fmla="*/ 8015335 w 9215242"/>
              <a:gd name="connsiteY161" fmla="*/ 2869724 h 3487140"/>
              <a:gd name="connsiteX162" fmla="*/ 8254127 w 9215242"/>
              <a:gd name="connsiteY162" fmla="*/ 3245046 h 3487140"/>
              <a:gd name="connsiteX163" fmla="*/ 8626620 w 9215242"/>
              <a:gd name="connsiteY163" fmla="*/ 3329676 h 3487140"/>
              <a:gd name="connsiteX164" fmla="*/ 9215242 w 9215242"/>
              <a:gd name="connsiteY164" fmla="*/ 3217682 h 3487140"/>
              <a:gd name="connsiteX0" fmla="*/ 0 w 8890157"/>
              <a:gd name="connsiteY0" fmla="*/ 2916759 h 3487140"/>
              <a:gd name="connsiteX1" fmla="*/ 256467 w 8890157"/>
              <a:gd name="connsiteY1" fmla="*/ 2898295 h 3487140"/>
              <a:gd name="connsiteX2" fmla="*/ 485818 w 8890157"/>
              <a:gd name="connsiteY2" fmla="*/ 3416675 h 3487140"/>
              <a:gd name="connsiteX3" fmla="*/ 645637 w 8890157"/>
              <a:gd name="connsiteY3" fmla="*/ 3205871 h 3487140"/>
              <a:gd name="connsiteX4" fmla="*/ 904890 w 8890157"/>
              <a:gd name="connsiteY4" fmla="*/ 2696848 h 3487140"/>
              <a:gd name="connsiteX5" fmla="*/ 1179238 w 8890157"/>
              <a:gd name="connsiteY5" fmla="*/ 2954187 h 3487140"/>
              <a:gd name="connsiteX6" fmla="*/ 1526572 w 8890157"/>
              <a:gd name="connsiteY6" fmla="*/ 3339906 h 3487140"/>
              <a:gd name="connsiteX7" fmla="*/ 1984694 w 8890157"/>
              <a:gd name="connsiteY7" fmla="*/ 3385485 h 3487140"/>
              <a:gd name="connsiteX8" fmla="*/ 2063376 w 8890157"/>
              <a:gd name="connsiteY8" fmla="*/ 3295741 h 3487140"/>
              <a:gd name="connsiteX9" fmla="*/ 1812274 w 8890157"/>
              <a:gd name="connsiteY9" fmla="*/ 3112384 h 3487140"/>
              <a:gd name="connsiteX10" fmla="*/ 1506111 w 8890157"/>
              <a:gd name="connsiteY10" fmla="*/ 2750287 h 3487140"/>
              <a:gd name="connsiteX11" fmla="*/ 1414579 w 8890157"/>
              <a:gd name="connsiteY11" fmla="*/ 2305432 h 3487140"/>
              <a:gd name="connsiteX12" fmla="*/ 1542167 w 8890157"/>
              <a:gd name="connsiteY12" fmla="*/ 1919713 h 3487140"/>
              <a:gd name="connsiteX13" fmla="*/ 1866379 w 8890157"/>
              <a:gd name="connsiteY13" fmla="*/ 1637837 h 3487140"/>
              <a:gd name="connsiteX14" fmla="*/ 2359683 w 8890157"/>
              <a:gd name="connsiteY14" fmla="*/ 1545972 h 3487140"/>
              <a:gd name="connsiteX15" fmla="*/ 2594358 w 8890157"/>
              <a:gd name="connsiteY15" fmla="*/ 1517651 h 3487140"/>
              <a:gd name="connsiteX16" fmla="*/ 2579095 w 8890157"/>
              <a:gd name="connsiteY16" fmla="*/ 1460718 h 3487140"/>
              <a:gd name="connsiteX17" fmla="*/ 2303041 w 8890157"/>
              <a:gd name="connsiteY17" fmla="*/ 1416969 h 3487140"/>
              <a:gd name="connsiteX18" fmla="*/ 1783621 w 8890157"/>
              <a:gd name="connsiteY18" fmla="*/ 1517318 h 3487140"/>
              <a:gd name="connsiteX19" fmla="*/ 1374323 w 8890157"/>
              <a:gd name="connsiteY19" fmla="*/ 1960593 h 3487140"/>
              <a:gd name="connsiteX20" fmla="*/ 1314853 w 8890157"/>
              <a:gd name="connsiteY20" fmla="*/ 2569342 h 3487140"/>
              <a:gd name="connsiteX21" fmla="*/ 1728560 w 8890157"/>
              <a:gd name="connsiteY21" fmla="*/ 3165532 h 3487140"/>
              <a:gd name="connsiteX22" fmla="*/ 2518545 w 8890157"/>
              <a:gd name="connsiteY22" fmla="*/ 3283181 h 3487140"/>
              <a:gd name="connsiteX23" fmla="*/ 3121181 w 8890157"/>
              <a:gd name="connsiteY23" fmla="*/ 2757481 h 3487140"/>
              <a:gd name="connsiteX24" fmla="*/ 3110950 w 8890157"/>
              <a:gd name="connsiteY24" fmla="*/ 1980430 h 3487140"/>
              <a:gd name="connsiteX25" fmla="*/ 2780916 w 8890157"/>
              <a:gd name="connsiteY25" fmla="*/ 1589139 h 3487140"/>
              <a:gd name="connsiteX26" fmla="*/ 2591862 w 8890157"/>
              <a:gd name="connsiteY26" fmla="*/ 1660710 h 3487140"/>
              <a:gd name="connsiteX27" fmla="*/ 2483445 w 8890157"/>
              <a:gd name="connsiteY27" fmla="*/ 2116627 h 3487140"/>
              <a:gd name="connsiteX28" fmla="*/ 2260082 w 8890157"/>
              <a:gd name="connsiteY28" fmla="*/ 2374258 h 3487140"/>
              <a:gd name="connsiteX29" fmla="*/ 2205146 w 8890157"/>
              <a:gd name="connsiteY29" fmla="*/ 2276986 h 3487140"/>
              <a:gd name="connsiteX30" fmla="*/ 2584418 w 8890157"/>
              <a:gd name="connsiteY30" fmla="*/ 2021601 h 3487140"/>
              <a:gd name="connsiteX31" fmla="*/ 2844337 w 8890157"/>
              <a:gd name="connsiteY31" fmla="*/ 1234153 h 3487140"/>
              <a:gd name="connsiteX32" fmla="*/ 3074437 w 8890157"/>
              <a:gd name="connsiteY32" fmla="*/ 725296 h 3487140"/>
              <a:gd name="connsiteX33" fmla="*/ 3183020 w 8890157"/>
              <a:gd name="connsiteY33" fmla="*/ 539984 h 3487140"/>
              <a:gd name="connsiteX34" fmla="*/ 3151872 w 8890157"/>
              <a:gd name="connsiteY34" fmla="*/ 435851 h 3487140"/>
              <a:gd name="connsiteX35" fmla="*/ 3045534 w 8890157"/>
              <a:gd name="connsiteY35" fmla="*/ 350265 h 3487140"/>
              <a:gd name="connsiteX36" fmla="*/ 3000246 w 8890157"/>
              <a:gd name="connsiteY36" fmla="*/ 209327 h 3487140"/>
              <a:gd name="connsiteX37" fmla="*/ 3045076 w 8890157"/>
              <a:gd name="connsiteY37" fmla="*/ 82237 h 3487140"/>
              <a:gd name="connsiteX38" fmla="*/ 3225356 w 8890157"/>
              <a:gd name="connsiteY38" fmla="*/ 6716 h 3487140"/>
              <a:gd name="connsiteX39" fmla="*/ 3494049 w 8890157"/>
              <a:gd name="connsiteY39" fmla="*/ 10167 h 3487140"/>
              <a:gd name="connsiteX40" fmla="*/ 3577722 w 8890157"/>
              <a:gd name="connsiteY40" fmla="*/ 49800 h 3487140"/>
              <a:gd name="connsiteX41" fmla="*/ 3530687 w 8890157"/>
              <a:gd name="connsiteY41" fmla="*/ 86812 h 3487140"/>
              <a:gd name="connsiteX42" fmla="*/ 3294764 w 8890157"/>
              <a:gd name="connsiteY42" fmla="*/ 91886 h 3487140"/>
              <a:gd name="connsiteX43" fmla="*/ 3051231 w 8890157"/>
              <a:gd name="connsiteY43" fmla="*/ 75833 h 3487140"/>
              <a:gd name="connsiteX44" fmla="*/ 2943480 w 8890157"/>
              <a:gd name="connsiteY44" fmla="*/ 176931 h 3487140"/>
              <a:gd name="connsiteX45" fmla="*/ 2958742 w 8890157"/>
              <a:gd name="connsiteY45" fmla="*/ 370393 h 3487140"/>
              <a:gd name="connsiteX46" fmla="*/ 2903515 w 8890157"/>
              <a:gd name="connsiteY46" fmla="*/ 589348 h 3487140"/>
              <a:gd name="connsiteX47" fmla="*/ 2746981 w 8890157"/>
              <a:gd name="connsiteY47" fmla="*/ 903953 h 3487140"/>
              <a:gd name="connsiteX48" fmla="*/ 2536510 w 8890157"/>
              <a:gd name="connsiteY48" fmla="*/ 922501 h 3487140"/>
              <a:gd name="connsiteX49" fmla="*/ 2342091 w 8890157"/>
              <a:gd name="connsiteY49" fmla="*/ 866816 h 3487140"/>
              <a:gd name="connsiteX50" fmla="*/ 2283246 w 8890157"/>
              <a:gd name="connsiteY50" fmla="*/ 751038 h 3487140"/>
              <a:gd name="connsiteX51" fmla="*/ 2295182 w 8890157"/>
              <a:gd name="connsiteY51" fmla="*/ 369436 h 3487140"/>
              <a:gd name="connsiteX52" fmla="*/ 2356855 w 8890157"/>
              <a:gd name="connsiteY52" fmla="*/ 155805 h 3487140"/>
              <a:gd name="connsiteX53" fmla="*/ 2558219 w 8890157"/>
              <a:gd name="connsiteY53" fmla="*/ 156761 h 3487140"/>
              <a:gd name="connsiteX54" fmla="*/ 2811150 w 8890157"/>
              <a:gd name="connsiteY54" fmla="*/ 245175 h 3487140"/>
              <a:gd name="connsiteX55" fmla="*/ 2980242 w 8890157"/>
              <a:gd name="connsiteY55" fmla="*/ 357792 h 3487140"/>
              <a:gd name="connsiteX56" fmla="*/ 3084833 w 8890157"/>
              <a:gd name="connsiteY56" fmla="*/ 483301 h 3487140"/>
              <a:gd name="connsiteX57" fmla="*/ 3109037 w 8890157"/>
              <a:gd name="connsiteY57" fmla="*/ 600951 h 3487140"/>
              <a:gd name="connsiteX58" fmla="*/ 3081506 w 8890157"/>
              <a:gd name="connsiteY58" fmla="*/ 761726 h 3487140"/>
              <a:gd name="connsiteX59" fmla="*/ 3253427 w 8890157"/>
              <a:gd name="connsiteY59" fmla="*/ 1160004 h 3487140"/>
              <a:gd name="connsiteX60" fmla="*/ 3676407 w 8890157"/>
              <a:gd name="connsiteY60" fmla="*/ 1793622 h 3487140"/>
              <a:gd name="connsiteX61" fmla="*/ 4093898 w 8890157"/>
              <a:gd name="connsiteY61" fmla="*/ 2087475 h 3487140"/>
              <a:gd name="connsiteX62" fmla="*/ 4203521 w 8890157"/>
              <a:gd name="connsiteY62" fmla="*/ 2185620 h 3487140"/>
              <a:gd name="connsiteX63" fmla="*/ 4090572 w 8890157"/>
              <a:gd name="connsiteY63" fmla="*/ 2468120 h 3487140"/>
              <a:gd name="connsiteX64" fmla="*/ 3924473 w 8890157"/>
              <a:gd name="connsiteY64" fmla="*/ 2505548 h 3487140"/>
              <a:gd name="connsiteX65" fmla="*/ 3616023 w 8890157"/>
              <a:gd name="connsiteY65" fmla="*/ 2278109 h 3487140"/>
              <a:gd name="connsiteX66" fmla="*/ 3171334 w 8890157"/>
              <a:gd name="connsiteY66" fmla="*/ 1678800 h 3487140"/>
              <a:gd name="connsiteX67" fmla="*/ 3051481 w 8890157"/>
              <a:gd name="connsiteY67" fmla="*/ 1175432 h 3487140"/>
              <a:gd name="connsiteX68" fmla="*/ 3205935 w 8890157"/>
              <a:gd name="connsiteY68" fmla="*/ 1377420 h 3487140"/>
              <a:gd name="connsiteX69" fmla="*/ 3567575 w 8890157"/>
              <a:gd name="connsiteY69" fmla="*/ 2268710 h 3487140"/>
              <a:gd name="connsiteX70" fmla="*/ 3887377 w 8890157"/>
              <a:gd name="connsiteY70" fmla="*/ 2693105 h 3487140"/>
              <a:gd name="connsiteX71" fmla="*/ 4120805 w 8890157"/>
              <a:gd name="connsiteY71" fmla="*/ 2746586 h 3487140"/>
              <a:gd name="connsiteX72" fmla="*/ 4288026 w 8890157"/>
              <a:gd name="connsiteY72" fmla="*/ 2631432 h 3487140"/>
              <a:gd name="connsiteX73" fmla="*/ 4299213 w 8890157"/>
              <a:gd name="connsiteY73" fmla="*/ 2436680 h 3487140"/>
              <a:gd name="connsiteX74" fmla="*/ 4145383 w 8890157"/>
              <a:gd name="connsiteY74" fmla="*/ 2309258 h 3487140"/>
              <a:gd name="connsiteX75" fmla="*/ 3938197 w 8890157"/>
              <a:gd name="connsiteY75" fmla="*/ 2375007 h 3487140"/>
              <a:gd name="connsiteX76" fmla="*/ 3915698 w 8890157"/>
              <a:gd name="connsiteY76" fmla="*/ 2581402 h 3487140"/>
              <a:gd name="connsiteX77" fmla="*/ 4058383 w 8890157"/>
              <a:gd name="connsiteY77" fmla="*/ 2671064 h 3487140"/>
              <a:gd name="connsiteX78" fmla="*/ 4154948 w 8890157"/>
              <a:gd name="connsiteY78" fmla="*/ 2596831 h 3487140"/>
              <a:gd name="connsiteX79" fmla="*/ 4121762 w 8890157"/>
              <a:gd name="connsiteY79" fmla="*/ 2530750 h 3487140"/>
              <a:gd name="connsiteX80" fmla="*/ 3999704 w 8890157"/>
              <a:gd name="connsiteY80" fmla="*/ 2615379 h 3487140"/>
              <a:gd name="connsiteX81" fmla="*/ 3854025 w 8890157"/>
              <a:gd name="connsiteY81" fmla="*/ 2907028 h 3487140"/>
              <a:gd name="connsiteX82" fmla="*/ 3806200 w 8890157"/>
              <a:gd name="connsiteY82" fmla="*/ 3008333 h 3487140"/>
              <a:gd name="connsiteX83" fmla="*/ 3770352 w 8890157"/>
              <a:gd name="connsiteY83" fmla="*/ 3024053 h 3487140"/>
              <a:gd name="connsiteX84" fmla="*/ 3675326 w 8890157"/>
              <a:gd name="connsiteY84" fmla="*/ 3013989 h 3487140"/>
              <a:gd name="connsiteX85" fmla="*/ 3682229 w 8890157"/>
              <a:gd name="connsiteY85" fmla="*/ 2956724 h 3487140"/>
              <a:gd name="connsiteX86" fmla="*/ 3870992 w 8890157"/>
              <a:gd name="connsiteY86" fmla="*/ 2951068 h 3487140"/>
              <a:gd name="connsiteX87" fmla="*/ 3957202 w 8890157"/>
              <a:gd name="connsiteY87" fmla="*/ 2951068 h 3487140"/>
              <a:gd name="connsiteX88" fmla="*/ 4038380 w 8890157"/>
              <a:gd name="connsiteY88" fmla="*/ 2822066 h 3487140"/>
              <a:gd name="connsiteX89" fmla="*/ 4178694 w 8890157"/>
              <a:gd name="connsiteY89" fmla="*/ 2789337 h 3487140"/>
              <a:gd name="connsiteX90" fmla="*/ 4306407 w 8890157"/>
              <a:gd name="connsiteY90" fmla="*/ 2713815 h 3487140"/>
              <a:gd name="connsiteX91" fmla="*/ 4392617 w 8890157"/>
              <a:gd name="connsiteY91" fmla="*/ 2544556 h 3487140"/>
              <a:gd name="connsiteX92" fmla="*/ 4612196 w 8890157"/>
              <a:gd name="connsiteY92" fmla="*/ 2482883 h 3487140"/>
              <a:gd name="connsiteX93" fmla="*/ 5147170 w 8890157"/>
              <a:gd name="connsiteY93" fmla="*/ 2466831 h 3487140"/>
              <a:gd name="connsiteX94" fmla="*/ 5302912 w 8890157"/>
              <a:gd name="connsiteY94" fmla="*/ 2420918 h 3487140"/>
              <a:gd name="connsiteX95" fmla="*/ 5152825 w 8890157"/>
              <a:gd name="connsiteY95" fmla="*/ 2252907 h 3487140"/>
              <a:gd name="connsiteX96" fmla="*/ 4677446 w 8890157"/>
              <a:gd name="connsiteY96" fmla="*/ 1791709 h 3487140"/>
              <a:gd name="connsiteX97" fmla="*/ 4413327 w 8890157"/>
              <a:gd name="connsiteY97" fmla="*/ 1600118 h 3487140"/>
              <a:gd name="connsiteX98" fmla="*/ 4289357 w 8890157"/>
              <a:gd name="connsiteY98" fmla="*/ 1733529 h 3487140"/>
              <a:gd name="connsiteX99" fmla="*/ 4227059 w 8890157"/>
              <a:gd name="connsiteY99" fmla="*/ 1995900 h 3487140"/>
              <a:gd name="connsiteX100" fmla="*/ 4267939 w 8890157"/>
              <a:gd name="connsiteY100" fmla="*/ 2048133 h 3487140"/>
              <a:gd name="connsiteX101" fmla="*/ 4330860 w 8890157"/>
              <a:gd name="connsiteY101" fmla="*/ 1778817 h 3487140"/>
              <a:gd name="connsiteX102" fmla="*/ 4452627 w 8890157"/>
              <a:gd name="connsiteY102" fmla="*/ 1356918 h 3487140"/>
              <a:gd name="connsiteX103" fmla="*/ 4558964 w 8890157"/>
              <a:gd name="connsiteY103" fmla="*/ 986960 h 3487140"/>
              <a:gd name="connsiteX104" fmla="*/ 4529687 w 8890157"/>
              <a:gd name="connsiteY104" fmla="*/ 867107 h 3487140"/>
              <a:gd name="connsiteX105" fmla="*/ 4354773 w 8890157"/>
              <a:gd name="connsiteY105" fmla="*/ 840034 h 3487140"/>
              <a:gd name="connsiteX106" fmla="*/ 4210674 w 8890157"/>
              <a:gd name="connsiteY106" fmla="*/ 782769 h 3487140"/>
              <a:gd name="connsiteX107" fmla="*/ 4227018 w 8890157"/>
              <a:gd name="connsiteY107" fmla="*/ 714816 h 3487140"/>
              <a:gd name="connsiteX108" fmla="*/ 4400685 w 8890157"/>
              <a:gd name="connsiteY108" fmla="*/ 723008 h 3487140"/>
              <a:gd name="connsiteX109" fmla="*/ 4603296 w 8890157"/>
              <a:gd name="connsiteY109" fmla="*/ 729288 h 3487140"/>
              <a:gd name="connsiteX110" fmla="*/ 4770018 w 8890157"/>
              <a:gd name="connsiteY110" fmla="*/ 682087 h 3487140"/>
              <a:gd name="connsiteX111" fmla="*/ 4887667 w 8890157"/>
              <a:gd name="connsiteY111" fmla="*/ 703463 h 3487140"/>
              <a:gd name="connsiteX112" fmla="*/ 4910332 w 8890157"/>
              <a:gd name="connsiteY112" fmla="*/ 797199 h 3487140"/>
              <a:gd name="connsiteX113" fmla="*/ 4782619 w 8890157"/>
              <a:gd name="connsiteY113" fmla="*/ 890936 h 3487140"/>
              <a:gd name="connsiteX114" fmla="*/ 4612736 w 8890157"/>
              <a:gd name="connsiteY114" fmla="*/ 918009 h 3487140"/>
              <a:gd name="connsiteX115" fmla="*/ 4485023 w 8890157"/>
              <a:gd name="connsiteY115" fmla="*/ 1002306 h 3487140"/>
              <a:gd name="connsiteX116" fmla="*/ 4384133 w 8890157"/>
              <a:gd name="connsiteY116" fmla="*/ 1299902 h 3487140"/>
              <a:gd name="connsiteX117" fmla="*/ 4445183 w 8890157"/>
              <a:gd name="connsiteY117" fmla="*/ 1545930 h 3487140"/>
              <a:gd name="connsiteX118" fmla="*/ 4657858 w 8890157"/>
              <a:gd name="connsiteY118" fmla="*/ 1536490 h 3487140"/>
              <a:gd name="connsiteX119" fmla="*/ 4837389 w 8890157"/>
              <a:gd name="connsiteY119" fmla="*/ 1376048 h 3487140"/>
              <a:gd name="connsiteX120" fmla="*/ 4840550 w 8890157"/>
              <a:gd name="connsiteY120" fmla="*/ 1231949 h 3487140"/>
              <a:gd name="connsiteX121" fmla="*/ 4622509 w 8890157"/>
              <a:gd name="connsiteY121" fmla="*/ 1191693 h 3487140"/>
              <a:gd name="connsiteX122" fmla="*/ 4630993 w 8890157"/>
              <a:gd name="connsiteY122" fmla="*/ 1255238 h 3487140"/>
              <a:gd name="connsiteX123" fmla="*/ 5056011 w 8890157"/>
              <a:gd name="connsiteY123" fmla="*/ 1241722 h 3487140"/>
              <a:gd name="connsiteX124" fmla="*/ 5540831 w 8890157"/>
              <a:gd name="connsiteY124" fmla="*/ 1259646 h 3487140"/>
              <a:gd name="connsiteX125" fmla="*/ 5770183 w 8890157"/>
              <a:gd name="connsiteY125" fmla="*/ 1236981 h 3487140"/>
              <a:gd name="connsiteX126" fmla="*/ 5751927 w 8890157"/>
              <a:gd name="connsiteY126" fmla="*/ 1185995 h 3487140"/>
              <a:gd name="connsiteX127" fmla="*/ 5391409 w 8890157"/>
              <a:gd name="connsiteY127" fmla="*/ 1177512 h 3487140"/>
              <a:gd name="connsiteX128" fmla="*/ 5020829 w 8890157"/>
              <a:gd name="connsiteY128" fmla="*/ 1331342 h 3487140"/>
              <a:gd name="connsiteX129" fmla="*/ 4675075 w 8890157"/>
              <a:gd name="connsiteY129" fmla="*/ 1604110 h 3487140"/>
              <a:gd name="connsiteX130" fmla="*/ 4442272 w 8890157"/>
              <a:gd name="connsiteY130" fmla="*/ 1921252 h 3487140"/>
              <a:gd name="connsiteX131" fmla="*/ 4346622 w 8890157"/>
              <a:gd name="connsiteY131" fmla="*/ 2419255 h 3487140"/>
              <a:gd name="connsiteX132" fmla="*/ 4576930 w 8890157"/>
              <a:gd name="connsiteY132" fmla="*/ 3048465 h 3487140"/>
              <a:gd name="connsiteX133" fmla="*/ 5155155 w 8890157"/>
              <a:gd name="connsiteY133" fmla="*/ 3394510 h 3487140"/>
              <a:gd name="connsiteX134" fmla="*/ 5793804 w 8890157"/>
              <a:gd name="connsiteY134" fmla="*/ 3330632 h 3487140"/>
              <a:gd name="connsiteX135" fmla="*/ 6288979 w 8890157"/>
              <a:gd name="connsiteY135" fmla="*/ 2841404 h 3487140"/>
              <a:gd name="connsiteX136" fmla="*/ 6322332 w 8890157"/>
              <a:gd name="connsiteY136" fmla="*/ 2052999 h 3487140"/>
              <a:gd name="connsiteX137" fmla="*/ 5891325 w 8890157"/>
              <a:gd name="connsiteY137" fmla="*/ 1482011 h 3487140"/>
              <a:gd name="connsiteX138" fmla="*/ 5424471 w 8890157"/>
              <a:gd name="connsiteY138" fmla="*/ 1352717 h 3487140"/>
              <a:gd name="connsiteX139" fmla="*/ 5264029 w 8890157"/>
              <a:gd name="connsiteY139" fmla="*/ 1466624 h 3487140"/>
              <a:gd name="connsiteX140" fmla="*/ 5286070 w 8890157"/>
              <a:gd name="connsiteY140" fmla="*/ 2001140 h 3487140"/>
              <a:gd name="connsiteX141" fmla="*/ 5320046 w 8890157"/>
              <a:gd name="connsiteY141" fmla="*/ 2313208 h 3487140"/>
              <a:gd name="connsiteX142" fmla="*/ 5411746 w 8890157"/>
              <a:gd name="connsiteY142" fmla="*/ 2399085 h 3487140"/>
              <a:gd name="connsiteX143" fmla="*/ 5516212 w 8890157"/>
              <a:gd name="connsiteY143" fmla="*/ 2362905 h 3487140"/>
              <a:gd name="connsiteX144" fmla="*/ 5480821 w 8890157"/>
              <a:gd name="connsiteY144" fmla="*/ 2271372 h 3487140"/>
              <a:gd name="connsiteX145" fmla="*/ 5383217 w 8890157"/>
              <a:gd name="connsiteY145" fmla="*/ 2303394 h 3487140"/>
              <a:gd name="connsiteX146" fmla="*/ 5366831 w 8890157"/>
              <a:gd name="connsiteY146" fmla="*/ 2437262 h 3487140"/>
              <a:gd name="connsiteX147" fmla="*/ 5365750 w 8890157"/>
              <a:gd name="connsiteY147" fmla="*/ 2519521 h 3487140"/>
              <a:gd name="connsiteX148" fmla="*/ 5186636 w 8890157"/>
              <a:gd name="connsiteY148" fmla="*/ 2539400 h 3487140"/>
              <a:gd name="connsiteX149" fmla="*/ 4776381 w 8890157"/>
              <a:gd name="connsiteY149" fmla="*/ 2545679 h 3487140"/>
              <a:gd name="connsiteX150" fmla="*/ 4536009 w 8890157"/>
              <a:gd name="connsiteY150" fmla="*/ 2602944 h 3487140"/>
              <a:gd name="connsiteX151" fmla="*/ 4526402 w 8890157"/>
              <a:gd name="connsiteY151" fmla="*/ 2790460 h 3487140"/>
              <a:gd name="connsiteX152" fmla="*/ 4719739 w 8890157"/>
              <a:gd name="connsiteY152" fmla="*/ 3133385 h 3487140"/>
              <a:gd name="connsiteX153" fmla="*/ 5211629 w 8890157"/>
              <a:gd name="connsiteY153" fmla="*/ 3465290 h 3487140"/>
              <a:gd name="connsiteX154" fmla="*/ 5952375 w 8890157"/>
              <a:gd name="connsiteY154" fmla="*/ 3390434 h 3487140"/>
              <a:gd name="connsiteX155" fmla="*/ 6392198 w 8890157"/>
              <a:gd name="connsiteY155" fmla="*/ 3017940 h 3487140"/>
              <a:gd name="connsiteX156" fmla="*/ 6706179 w 8890157"/>
              <a:gd name="connsiteY156" fmla="*/ 2655510 h 3487140"/>
              <a:gd name="connsiteX157" fmla="*/ 7078673 w 8890157"/>
              <a:gd name="connsiteY157" fmla="*/ 3163577 h 3487140"/>
              <a:gd name="connsiteX158" fmla="*/ 7302660 w 8890157"/>
              <a:gd name="connsiteY158" fmla="*/ 3255443 h 3487140"/>
              <a:gd name="connsiteX159" fmla="*/ 7380677 w 8890157"/>
              <a:gd name="connsiteY159" fmla="*/ 2786675 h 3487140"/>
              <a:gd name="connsiteX160" fmla="*/ 7690250 w 8890157"/>
              <a:gd name="connsiteY160" fmla="*/ 2869724 h 3487140"/>
              <a:gd name="connsiteX161" fmla="*/ 7929042 w 8890157"/>
              <a:gd name="connsiteY161" fmla="*/ 3245046 h 3487140"/>
              <a:gd name="connsiteX162" fmla="*/ 8301535 w 8890157"/>
              <a:gd name="connsiteY162" fmla="*/ 3329676 h 3487140"/>
              <a:gd name="connsiteX163" fmla="*/ 8890157 w 8890157"/>
              <a:gd name="connsiteY163" fmla="*/ 3217682 h 3487140"/>
              <a:gd name="connsiteX0" fmla="*/ 0 w 8633690"/>
              <a:gd name="connsiteY0" fmla="*/ 2898295 h 3487140"/>
              <a:gd name="connsiteX1" fmla="*/ 229351 w 8633690"/>
              <a:gd name="connsiteY1" fmla="*/ 3416675 h 3487140"/>
              <a:gd name="connsiteX2" fmla="*/ 389170 w 8633690"/>
              <a:gd name="connsiteY2" fmla="*/ 3205871 h 3487140"/>
              <a:gd name="connsiteX3" fmla="*/ 648423 w 8633690"/>
              <a:gd name="connsiteY3" fmla="*/ 2696848 h 3487140"/>
              <a:gd name="connsiteX4" fmla="*/ 922771 w 8633690"/>
              <a:gd name="connsiteY4" fmla="*/ 2954187 h 3487140"/>
              <a:gd name="connsiteX5" fmla="*/ 1270105 w 8633690"/>
              <a:gd name="connsiteY5" fmla="*/ 3339906 h 3487140"/>
              <a:gd name="connsiteX6" fmla="*/ 1728227 w 8633690"/>
              <a:gd name="connsiteY6" fmla="*/ 3385485 h 3487140"/>
              <a:gd name="connsiteX7" fmla="*/ 1806909 w 8633690"/>
              <a:gd name="connsiteY7" fmla="*/ 3295741 h 3487140"/>
              <a:gd name="connsiteX8" fmla="*/ 1555807 w 8633690"/>
              <a:gd name="connsiteY8" fmla="*/ 3112384 h 3487140"/>
              <a:gd name="connsiteX9" fmla="*/ 1249644 w 8633690"/>
              <a:gd name="connsiteY9" fmla="*/ 2750287 h 3487140"/>
              <a:gd name="connsiteX10" fmla="*/ 1158112 w 8633690"/>
              <a:gd name="connsiteY10" fmla="*/ 2305432 h 3487140"/>
              <a:gd name="connsiteX11" fmla="*/ 1285700 w 8633690"/>
              <a:gd name="connsiteY11" fmla="*/ 1919713 h 3487140"/>
              <a:gd name="connsiteX12" fmla="*/ 1609912 w 8633690"/>
              <a:gd name="connsiteY12" fmla="*/ 1637837 h 3487140"/>
              <a:gd name="connsiteX13" fmla="*/ 2103216 w 8633690"/>
              <a:gd name="connsiteY13" fmla="*/ 1545972 h 3487140"/>
              <a:gd name="connsiteX14" fmla="*/ 2337891 w 8633690"/>
              <a:gd name="connsiteY14" fmla="*/ 1517651 h 3487140"/>
              <a:gd name="connsiteX15" fmla="*/ 2322628 w 8633690"/>
              <a:gd name="connsiteY15" fmla="*/ 1460718 h 3487140"/>
              <a:gd name="connsiteX16" fmla="*/ 2046574 w 8633690"/>
              <a:gd name="connsiteY16" fmla="*/ 1416969 h 3487140"/>
              <a:gd name="connsiteX17" fmla="*/ 1527154 w 8633690"/>
              <a:gd name="connsiteY17" fmla="*/ 1517318 h 3487140"/>
              <a:gd name="connsiteX18" fmla="*/ 1117856 w 8633690"/>
              <a:gd name="connsiteY18" fmla="*/ 1960593 h 3487140"/>
              <a:gd name="connsiteX19" fmla="*/ 1058386 w 8633690"/>
              <a:gd name="connsiteY19" fmla="*/ 2569342 h 3487140"/>
              <a:gd name="connsiteX20" fmla="*/ 1472093 w 8633690"/>
              <a:gd name="connsiteY20" fmla="*/ 3165532 h 3487140"/>
              <a:gd name="connsiteX21" fmla="*/ 2262078 w 8633690"/>
              <a:gd name="connsiteY21" fmla="*/ 3283181 h 3487140"/>
              <a:gd name="connsiteX22" fmla="*/ 2864714 w 8633690"/>
              <a:gd name="connsiteY22" fmla="*/ 2757481 h 3487140"/>
              <a:gd name="connsiteX23" fmla="*/ 2854483 w 8633690"/>
              <a:gd name="connsiteY23" fmla="*/ 1980430 h 3487140"/>
              <a:gd name="connsiteX24" fmla="*/ 2524449 w 8633690"/>
              <a:gd name="connsiteY24" fmla="*/ 1589139 h 3487140"/>
              <a:gd name="connsiteX25" fmla="*/ 2335395 w 8633690"/>
              <a:gd name="connsiteY25" fmla="*/ 1660710 h 3487140"/>
              <a:gd name="connsiteX26" fmla="*/ 2226978 w 8633690"/>
              <a:gd name="connsiteY26" fmla="*/ 2116627 h 3487140"/>
              <a:gd name="connsiteX27" fmla="*/ 2003615 w 8633690"/>
              <a:gd name="connsiteY27" fmla="*/ 2374258 h 3487140"/>
              <a:gd name="connsiteX28" fmla="*/ 1948679 w 8633690"/>
              <a:gd name="connsiteY28" fmla="*/ 2276986 h 3487140"/>
              <a:gd name="connsiteX29" fmla="*/ 2327951 w 8633690"/>
              <a:gd name="connsiteY29" fmla="*/ 2021601 h 3487140"/>
              <a:gd name="connsiteX30" fmla="*/ 2587870 w 8633690"/>
              <a:gd name="connsiteY30" fmla="*/ 1234153 h 3487140"/>
              <a:gd name="connsiteX31" fmla="*/ 2817970 w 8633690"/>
              <a:gd name="connsiteY31" fmla="*/ 725296 h 3487140"/>
              <a:gd name="connsiteX32" fmla="*/ 2926553 w 8633690"/>
              <a:gd name="connsiteY32" fmla="*/ 539984 h 3487140"/>
              <a:gd name="connsiteX33" fmla="*/ 2895405 w 8633690"/>
              <a:gd name="connsiteY33" fmla="*/ 435851 h 3487140"/>
              <a:gd name="connsiteX34" fmla="*/ 2789067 w 8633690"/>
              <a:gd name="connsiteY34" fmla="*/ 350265 h 3487140"/>
              <a:gd name="connsiteX35" fmla="*/ 2743779 w 8633690"/>
              <a:gd name="connsiteY35" fmla="*/ 209327 h 3487140"/>
              <a:gd name="connsiteX36" fmla="*/ 2788609 w 8633690"/>
              <a:gd name="connsiteY36" fmla="*/ 82237 h 3487140"/>
              <a:gd name="connsiteX37" fmla="*/ 2968889 w 8633690"/>
              <a:gd name="connsiteY37" fmla="*/ 6716 h 3487140"/>
              <a:gd name="connsiteX38" fmla="*/ 3237582 w 8633690"/>
              <a:gd name="connsiteY38" fmla="*/ 10167 h 3487140"/>
              <a:gd name="connsiteX39" fmla="*/ 3321255 w 8633690"/>
              <a:gd name="connsiteY39" fmla="*/ 49800 h 3487140"/>
              <a:gd name="connsiteX40" fmla="*/ 3274220 w 8633690"/>
              <a:gd name="connsiteY40" fmla="*/ 86812 h 3487140"/>
              <a:gd name="connsiteX41" fmla="*/ 3038297 w 8633690"/>
              <a:gd name="connsiteY41" fmla="*/ 91886 h 3487140"/>
              <a:gd name="connsiteX42" fmla="*/ 2794764 w 8633690"/>
              <a:gd name="connsiteY42" fmla="*/ 75833 h 3487140"/>
              <a:gd name="connsiteX43" fmla="*/ 2687013 w 8633690"/>
              <a:gd name="connsiteY43" fmla="*/ 176931 h 3487140"/>
              <a:gd name="connsiteX44" fmla="*/ 2702275 w 8633690"/>
              <a:gd name="connsiteY44" fmla="*/ 370393 h 3487140"/>
              <a:gd name="connsiteX45" fmla="*/ 2647048 w 8633690"/>
              <a:gd name="connsiteY45" fmla="*/ 589348 h 3487140"/>
              <a:gd name="connsiteX46" fmla="*/ 2490514 w 8633690"/>
              <a:gd name="connsiteY46" fmla="*/ 903953 h 3487140"/>
              <a:gd name="connsiteX47" fmla="*/ 2280043 w 8633690"/>
              <a:gd name="connsiteY47" fmla="*/ 922501 h 3487140"/>
              <a:gd name="connsiteX48" fmla="*/ 2085624 w 8633690"/>
              <a:gd name="connsiteY48" fmla="*/ 866816 h 3487140"/>
              <a:gd name="connsiteX49" fmla="*/ 2026779 w 8633690"/>
              <a:gd name="connsiteY49" fmla="*/ 751038 h 3487140"/>
              <a:gd name="connsiteX50" fmla="*/ 2038715 w 8633690"/>
              <a:gd name="connsiteY50" fmla="*/ 369436 h 3487140"/>
              <a:gd name="connsiteX51" fmla="*/ 2100388 w 8633690"/>
              <a:gd name="connsiteY51" fmla="*/ 155805 h 3487140"/>
              <a:gd name="connsiteX52" fmla="*/ 2301752 w 8633690"/>
              <a:gd name="connsiteY52" fmla="*/ 156761 h 3487140"/>
              <a:gd name="connsiteX53" fmla="*/ 2554683 w 8633690"/>
              <a:gd name="connsiteY53" fmla="*/ 245175 h 3487140"/>
              <a:gd name="connsiteX54" fmla="*/ 2723775 w 8633690"/>
              <a:gd name="connsiteY54" fmla="*/ 357792 h 3487140"/>
              <a:gd name="connsiteX55" fmla="*/ 2828366 w 8633690"/>
              <a:gd name="connsiteY55" fmla="*/ 483301 h 3487140"/>
              <a:gd name="connsiteX56" fmla="*/ 2852570 w 8633690"/>
              <a:gd name="connsiteY56" fmla="*/ 600951 h 3487140"/>
              <a:gd name="connsiteX57" fmla="*/ 2825039 w 8633690"/>
              <a:gd name="connsiteY57" fmla="*/ 761726 h 3487140"/>
              <a:gd name="connsiteX58" fmla="*/ 2996960 w 8633690"/>
              <a:gd name="connsiteY58" fmla="*/ 1160004 h 3487140"/>
              <a:gd name="connsiteX59" fmla="*/ 3419940 w 8633690"/>
              <a:gd name="connsiteY59" fmla="*/ 1793622 h 3487140"/>
              <a:gd name="connsiteX60" fmla="*/ 3837431 w 8633690"/>
              <a:gd name="connsiteY60" fmla="*/ 2087475 h 3487140"/>
              <a:gd name="connsiteX61" fmla="*/ 3947054 w 8633690"/>
              <a:gd name="connsiteY61" fmla="*/ 2185620 h 3487140"/>
              <a:gd name="connsiteX62" fmla="*/ 3834105 w 8633690"/>
              <a:gd name="connsiteY62" fmla="*/ 2468120 h 3487140"/>
              <a:gd name="connsiteX63" fmla="*/ 3668006 w 8633690"/>
              <a:gd name="connsiteY63" fmla="*/ 2505548 h 3487140"/>
              <a:gd name="connsiteX64" fmla="*/ 3359556 w 8633690"/>
              <a:gd name="connsiteY64" fmla="*/ 2278109 h 3487140"/>
              <a:gd name="connsiteX65" fmla="*/ 2914867 w 8633690"/>
              <a:gd name="connsiteY65" fmla="*/ 1678800 h 3487140"/>
              <a:gd name="connsiteX66" fmla="*/ 2795014 w 8633690"/>
              <a:gd name="connsiteY66" fmla="*/ 1175432 h 3487140"/>
              <a:gd name="connsiteX67" fmla="*/ 2949468 w 8633690"/>
              <a:gd name="connsiteY67" fmla="*/ 1377420 h 3487140"/>
              <a:gd name="connsiteX68" fmla="*/ 3311108 w 8633690"/>
              <a:gd name="connsiteY68" fmla="*/ 2268710 h 3487140"/>
              <a:gd name="connsiteX69" fmla="*/ 3630910 w 8633690"/>
              <a:gd name="connsiteY69" fmla="*/ 2693105 h 3487140"/>
              <a:gd name="connsiteX70" fmla="*/ 3864338 w 8633690"/>
              <a:gd name="connsiteY70" fmla="*/ 2746586 h 3487140"/>
              <a:gd name="connsiteX71" fmla="*/ 4031559 w 8633690"/>
              <a:gd name="connsiteY71" fmla="*/ 2631432 h 3487140"/>
              <a:gd name="connsiteX72" fmla="*/ 4042746 w 8633690"/>
              <a:gd name="connsiteY72" fmla="*/ 2436680 h 3487140"/>
              <a:gd name="connsiteX73" fmla="*/ 3888916 w 8633690"/>
              <a:gd name="connsiteY73" fmla="*/ 2309258 h 3487140"/>
              <a:gd name="connsiteX74" fmla="*/ 3681730 w 8633690"/>
              <a:gd name="connsiteY74" fmla="*/ 2375007 h 3487140"/>
              <a:gd name="connsiteX75" fmla="*/ 3659231 w 8633690"/>
              <a:gd name="connsiteY75" fmla="*/ 2581402 h 3487140"/>
              <a:gd name="connsiteX76" fmla="*/ 3801916 w 8633690"/>
              <a:gd name="connsiteY76" fmla="*/ 2671064 h 3487140"/>
              <a:gd name="connsiteX77" fmla="*/ 3898481 w 8633690"/>
              <a:gd name="connsiteY77" fmla="*/ 2596831 h 3487140"/>
              <a:gd name="connsiteX78" fmla="*/ 3865295 w 8633690"/>
              <a:gd name="connsiteY78" fmla="*/ 2530750 h 3487140"/>
              <a:gd name="connsiteX79" fmla="*/ 3743237 w 8633690"/>
              <a:gd name="connsiteY79" fmla="*/ 2615379 h 3487140"/>
              <a:gd name="connsiteX80" fmla="*/ 3597558 w 8633690"/>
              <a:gd name="connsiteY80" fmla="*/ 2907028 h 3487140"/>
              <a:gd name="connsiteX81" fmla="*/ 3549733 w 8633690"/>
              <a:gd name="connsiteY81" fmla="*/ 3008333 h 3487140"/>
              <a:gd name="connsiteX82" fmla="*/ 3513885 w 8633690"/>
              <a:gd name="connsiteY82" fmla="*/ 3024053 h 3487140"/>
              <a:gd name="connsiteX83" fmla="*/ 3418859 w 8633690"/>
              <a:gd name="connsiteY83" fmla="*/ 3013989 h 3487140"/>
              <a:gd name="connsiteX84" fmla="*/ 3425762 w 8633690"/>
              <a:gd name="connsiteY84" fmla="*/ 2956724 h 3487140"/>
              <a:gd name="connsiteX85" fmla="*/ 3614525 w 8633690"/>
              <a:gd name="connsiteY85" fmla="*/ 2951068 h 3487140"/>
              <a:gd name="connsiteX86" fmla="*/ 3700735 w 8633690"/>
              <a:gd name="connsiteY86" fmla="*/ 2951068 h 3487140"/>
              <a:gd name="connsiteX87" fmla="*/ 3781913 w 8633690"/>
              <a:gd name="connsiteY87" fmla="*/ 2822066 h 3487140"/>
              <a:gd name="connsiteX88" fmla="*/ 3922227 w 8633690"/>
              <a:gd name="connsiteY88" fmla="*/ 2789337 h 3487140"/>
              <a:gd name="connsiteX89" fmla="*/ 4049940 w 8633690"/>
              <a:gd name="connsiteY89" fmla="*/ 2713815 h 3487140"/>
              <a:gd name="connsiteX90" fmla="*/ 4136150 w 8633690"/>
              <a:gd name="connsiteY90" fmla="*/ 2544556 h 3487140"/>
              <a:gd name="connsiteX91" fmla="*/ 4355729 w 8633690"/>
              <a:gd name="connsiteY91" fmla="*/ 2482883 h 3487140"/>
              <a:gd name="connsiteX92" fmla="*/ 4890703 w 8633690"/>
              <a:gd name="connsiteY92" fmla="*/ 2466831 h 3487140"/>
              <a:gd name="connsiteX93" fmla="*/ 5046445 w 8633690"/>
              <a:gd name="connsiteY93" fmla="*/ 2420918 h 3487140"/>
              <a:gd name="connsiteX94" fmla="*/ 4896358 w 8633690"/>
              <a:gd name="connsiteY94" fmla="*/ 2252907 h 3487140"/>
              <a:gd name="connsiteX95" fmla="*/ 4420979 w 8633690"/>
              <a:gd name="connsiteY95" fmla="*/ 1791709 h 3487140"/>
              <a:gd name="connsiteX96" fmla="*/ 4156860 w 8633690"/>
              <a:gd name="connsiteY96" fmla="*/ 1600118 h 3487140"/>
              <a:gd name="connsiteX97" fmla="*/ 4032890 w 8633690"/>
              <a:gd name="connsiteY97" fmla="*/ 1733529 h 3487140"/>
              <a:gd name="connsiteX98" fmla="*/ 3970592 w 8633690"/>
              <a:gd name="connsiteY98" fmla="*/ 1995900 h 3487140"/>
              <a:gd name="connsiteX99" fmla="*/ 4011472 w 8633690"/>
              <a:gd name="connsiteY99" fmla="*/ 2048133 h 3487140"/>
              <a:gd name="connsiteX100" fmla="*/ 4074393 w 8633690"/>
              <a:gd name="connsiteY100" fmla="*/ 1778817 h 3487140"/>
              <a:gd name="connsiteX101" fmla="*/ 4196160 w 8633690"/>
              <a:gd name="connsiteY101" fmla="*/ 1356918 h 3487140"/>
              <a:gd name="connsiteX102" fmla="*/ 4302497 w 8633690"/>
              <a:gd name="connsiteY102" fmla="*/ 986960 h 3487140"/>
              <a:gd name="connsiteX103" fmla="*/ 4273220 w 8633690"/>
              <a:gd name="connsiteY103" fmla="*/ 867107 h 3487140"/>
              <a:gd name="connsiteX104" fmla="*/ 4098306 w 8633690"/>
              <a:gd name="connsiteY104" fmla="*/ 840034 h 3487140"/>
              <a:gd name="connsiteX105" fmla="*/ 3954207 w 8633690"/>
              <a:gd name="connsiteY105" fmla="*/ 782769 h 3487140"/>
              <a:gd name="connsiteX106" fmla="*/ 3970551 w 8633690"/>
              <a:gd name="connsiteY106" fmla="*/ 714816 h 3487140"/>
              <a:gd name="connsiteX107" fmla="*/ 4144218 w 8633690"/>
              <a:gd name="connsiteY107" fmla="*/ 723008 h 3487140"/>
              <a:gd name="connsiteX108" fmla="*/ 4346829 w 8633690"/>
              <a:gd name="connsiteY108" fmla="*/ 729288 h 3487140"/>
              <a:gd name="connsiteX109" fmla="*/ 4513551 w 8633690"/>
              <a:gd name="connsiteY109" fmla="*/ 682087 h 3487140"/>
              <a:gd name="connsiteX110" fmla="*/ 4631200 w 8633690"/>
              <a:gd name="connsiteY110" fmla="*/ 703463 h 3487140"/>
              <a:gd name="connsiteX111" fmla="*/ 4653865 w 8633690"/>
              <a:gd name="connsiteY111" fmla="*/ 797199 h 3487140"/>
              <a:gd name="connsiteX112" fmla="*/ 4526152 w 8633690"/>
              <a:gd name="connsiteY112" fmla="*/ 890936 h 3487140"/>
              <a:gd name="connsiteX113" fmla="*/ 4356269 w 8633690"/>
              <a:gd name="connsiteY113" fmla="*/ 918009 h 3487140"/>
              <a:gd name="connsiteX114" fmla="*/ 4228556 w 8633690"/>
              <a:gd name="connsiteY114" fmla="*/ 1002306 h 3487140"/>
              <a:gd name="connsiteX115" fmla="*/ 4127666 w 8633690"/>
              <a:gd name="connsiteY115" fmla="*/ 1299902 h 3487140"/>
              <a:gd name="connsiteX116" fmla="*/ 4188716 w 8633690"/>
              <a:gd name="connsiteY116" fmla="*/ 1545930 h 3487140"/>
              <a:gd name="connsiteX117" fmla="*/ 4401391 w 8633690"/>
              <a:gd name="connsiteY117" fmla="*/ 1536490 h 3487140"/>
              <a:gd name="connsiteX118" fmla="*/ 4580922 w 8633690"/>
              <a:gd name="connsiteY118" fmla="*/ 1376048 h 3487140"/>
              <a:gd name="connsiteX119" fmla="*/ 4584083 w 8633690"/>
              <a:gd name="connsiteY119" fmla="*/ 1231949 h 3487140"/>
              <a:gd name="connsiteX120" fmla="*/ 4366042 w 8633690"/>
              <a:gd name="connsiteY120" fmla="*/ 1191693 h 3487140"/>
              <a:gd name="connsiteX121" fmla="*/ 4374526 w 8633690"/>
              <a:gd name="connsiteY121" fmla="*/ 1255238 h 3487140"/>
              <a:gd name="connsiteX122" fmla="*/ 4799544 w 8633690"/>
              <a:gd name="connsiteY122" fmla="*/ 1241722 h 3487140"/>
              <a:gd name="connsiteX123" fmla="*/ 5284364 w 8633690"/>
              <a:gd name="connsiteY123" fmla="*/ 1259646 h 3487140"/>
              <a:gd name="connsiteX124" fmla="*/ 5513716 w 8633690"/>
              <a:gd name="connsiteY124" fmla="*/ 1236981 h 3487140"/>
              <a:gd name="connsiteX125" fmla="*/ 5495460 w 8633690"/>
              <a:gd name="connsiteY125" fmla="*/ 1185995 h 3487140"/>
              <a:gd name="connsiteX126" fmla="*/ 5134942 w 8633690"/>
              <a:gd name="connsiteY126" fmla="*/ 1177512 h 3487140"/>
              <a:gd name="connsiteX127" fmla="*/ 4764362 w 8633690"/>
              <a:gd name="connsiteY127" fmla="*/ 1331342 h 3487140"/>
              <a:gd name="connsiteX128" fmla="*/ 4418608 w 8633690"/>
              <a:gd name="connsiteY128" fmla="*/ 1604110 h 3487140"/>
              <a:gd name="connsiteX129" fmla="*/ 4185805 w 8633690"/>
              <a:gd name="connsiteY129" fmla="*/ 1921252 h 3487140"/>
              <a:gd name="connsiteX130" fmla="*/ 4090155 w 8633690"/>
              <a:gd name="connsiteY130" fmla="*/ 2419255 h 3487140"/>
              <a:gd name="connsiteX131" fmla="*/ 4320463 w 8633690"/>
              <a:gd name="connsiteY131" fmla="*/ 3048465 h 3487140"/>
              <a:gd name="connsiteX132" fmla="*/ 4898688 w 8633690"/>
              <a:gd name="connsiteY132" fmla="*/ 3394510 h 3487140"/>
              <a:gd name="connsiteX133" fmla="*/ 5537337 w 8633690"/>
              <a:gd name="connsiteY133" fmla="*/ 3330632 h 3487140"/>
              <a:gd name="connsiteX134" fmla="*/ 6032512 w 8633690"/>
              <a:gd name="connsiteY134" fmla="*/ 2841404 h 3487140"/>
              <a:gd name="connsiteX135" fmla="*/ 6065865 w 8633690"/>
              <a:gd name="connsiteY135" fmla="*/ 2052999 h 3487140"/>
              <a:gd name="connsiteX136" fmla="*/ 5634858 w 8633690"/>
              <a:gd name="connsiteY136" fmla="*/ 1482011 h 3487140"/>
              <a:gd name="connsiteX137" fmla="*/ 5168004 w 8633690"/>
              <a:gd name="connsiteY137" fmla="*/ 1352717 h 3487140"/>
              <a:gd name="connsiteX138" fmla="*/ 5007562 w 8633690"/>
              <a:gd name="connsiteY138" fmla="*/ 1466624 h 3487140"/>
              <a:gd name="connsiteX139" fmla="*/ 5029603 w 8633690"/>
              <a:gd name="connsiteY139" fmla="*/ 2001140 h 3487140"/>
              <a:gd name="connsiteX140" fmla="*/ 5063579 w 8633690"/>
              <a:gd name="connsiteY140" fmla="*/ 2313208 h 3487140"/>
              <a:gd name="connsiteX141" fmla="*/ 5155279 w 8633690"/>
              <a:gd name="connsiteY141" fmla="*/ 2399085 h 3487140"/>
              <a:gd name="connsiteX142" fmla="*/ 5259745 w 8633690"/>
              <a:gd name="connsiteY142" fmla="*/ 2362905 h 3487140"/>
              <a:gd name="connsiteX143" fmla="*/ 5224354 w 8633690"/>
              <a:gd name="connsiteY143" fmla="*/ 2271372 h 3487140"/>
              <a:gd name="connsiteX144" fmla="*/ 5126750 w 8633690"/>
              <a:gd name="connsiteY144" fmla="*/ 2303394 h 3487140"/>
              <a:gd name="connsiteX145" fmla="*/ 5110364 w 8633690"/>
              <a:gd name="connsiteY145" fmla="*/ 2437262 h 3487140"/>
              <a:gd name="connsiteX146" fmla="*/ 5109283 w 8633690"/>
              <a:gd name="connsiteY146" fmla="*/ 2519521 h 3487140"/>
              <a:gd name="connsiteX147" fmla="*/ 4930169 w 8633690"/>
              <a:gd name="connsiteY147" fmla="*/ 2539400 h 3487140"/>
              <a:gd name="connsiteX148" fmla="*/ 4519914 w 8633690"/>
              <a:gd name="connsiteY148" fmla="*/ 2545679 h 3487140"/>
              <a:gd name="connsiteX149" fmla="*/ 4279542 w 8633690"/>
              <a:gd name="connsiteY149" fmla="*/ 2602944 h 3487140"/>
              <a:gd name="connsiteX150" fmla="*/ 4269935 w 8633690"/>
              <a:gd name="connsiteY150" fmla="*/ 2790460 h 3487140"/>
              <a:gd name="connsiteX151" fmla="*/ 4463272 w 8633690"/>
              <a:gd name="connsiteY151" fmla="*/ 3133385 h 3487140"/>
              <a:gd name="connsiteX152" fmla="*/ 4955162 w 8633690"/>
              <a:gd name="connsiteY152" fmla="*/ 3465290 h 3487140"/>
              <a:gd name="connsiteX153" fmla="*/ 5695908 w 8633690"/>
              <a:gd name="connsiteY153" fmla="*/ 3390434 h 3487140"/>
              <a:gd name="connsiteX154" fmla="*/ 6135731 w 8633690"/>
              <a:gd name="connsiteY154" fmla="*/ 3017940 h 3487140"/>
              <a:gd name="connsiteX155" fmla="*/ 6449712 w 8633690"/>
              <a:gd name="connsiteY155" fmla="*/ 2655510 h 3487140"/>
              <a:gd name="connsiteX156" fmla="*/ 6822206 w 8633690"/>
              <a:gd name="connsiteY156" fmla="*/ 3163577 h 3487140"/>
              <a:gd name="connsiteX157" fmla="*/ 7046193 w 8633690"/>
              <a:gd name="connsiteY157" fmla="*/ 3255443 h 3487140"/>
              <a:gd name="connsiteX158" fmla="*/ 7124210 w 8633690"/>
              <a:gd name="connsiteY158" fmla="*/ 2786675 h 3487140"/>
              <a:gd name="connsiteX159" fmla="*/ 7433783 w 8633690"/>
              <a:gd name="connsiteY159" fmla="*/ 2869724 h 3487140"/>
              <a:gd name="connsiteX160" fmla="*/ 7672575 w 8633690"/>
              <a:gd name="connsiteY160" fmla="*/ 3245046 h 3487140"/>
              <a:gd name="connsiteX161" fmla="*/ 8045068 w 8633690"/>
              <a:gd name="connsiteY161" fmla="*/ 3329676 h 3487140"/>
              <a:gd name="connsiteX162" fmla="*/ 8633690 w 8633690"/>
              <a:gd name="connsiteY162" fmla="*/ 3217682 h 3487140"/>
              <a:gd name="connsiteX0" fmla="*/ 0 w 8404339"/>
              <a:gd name="connsiteY0" fmla="*/ 3416675 h 3487140"/>
              <a:gd name="connsiteX1" fmla="*/ 159819 w 8404339"/>
              <a:gd name="connsiteY1" fmla="*/ 3205871 h 3487140"/>
              <a:gd name="connsiteX2" fmla="*/ 419072 w 8404339"/>
              <a:gd name="connsiteY2" fmla="*/ 2696848 h 3487140"/>
              <a:gd name="connsiteX3" fmla="*/ 693420 w 8404339"/>
              <a:gd name="connsiteY3" fmla="*/ 2954187 h 3487140"/>
              <a:gd name="connsiteX4" fmla="*/ 1040754 w 8404339"/>
              <a:gd name="connsiteY4" fmla="*/ 3339906 h 3487140"/>
              <a:gd name="connsiteX5" fmla="*/ 1498876 w 8404339"/>
              <a:gd name="connsiteY5" fmla="*/ 3385485 h 3487140"/>
              <a:gd name="connsiteX6" fmla="*/ 1577558 w 8404339"/>
              <a:gd name="connsiteY6" fmla="*/ 3295741 h 3487140"/>
              <a:gd name="connsiteX7" fmla="*/ 1326456 w 8404339"/>
              <a:gd name="connsiteY7" fmla="*/ 3112384 h 3487140"/>
              <a:gd name="connsiteX8" fmla="*/ 1020293 w 8404339"/>
              <a:gd name="connsiteY8" fmla="*/ 2750287 h 3487140"/>
              <a:gd name="connsiteX9" fmla="*/ 928761 w 8404339"/>
              <a:gd name="connsiteY9" fmla="*/ 2305432 h 3487140"/>
              <a:gd name="connsiteX10" fmla="*/ 1056349 w 8404339"/>
              <a:gd name="connsiteY10" fmla="*/ 1919713 h 3487140"/>
              <a:gd name="connsiteX11" fmla="*/ 1380561 w 8404339"/>
              <a:gd name="connsiteY11" fmla="*/ 1637837 h 3487140"/>
              <a:gd name="connsiteX12" fmla="*/ 1873865 w 8404339"/>
              <a:gd name="connsiteY12" fmla="*/ 1545972 h 3487140"/>
              <a:gd name="connsiteX13" fmla="*/ 2108540 w 8404339"/>
              <a:gd name="connsiteY13" fmla="*/ 1517651 h 3487140"/>
              <a:gd name="connsiteX14" fmla="*/ 2093277 w 8404339"/>
              <a:gd name="connsiteY14" fmla="*/ 1460718 h 3487140"/>
              <a:gd name="connsiteX15" fmla="*/ 1817223 w 8404339"/>
              <a:gd name="connsiteY15" fmla="*/ 1416969 h 3487140"/>
              <a:gd name="connsiteX16" fmla="*/ 1297803 w 8404339"/>
              <a:gd name="connsiteY16" fmla="*/ 1517318 h 3487140"/>
              <a:gd name="connsiteX17" fmla="*/ 888505 w 8404339"/>
              <a:gd name="connsiteY17" fmla="*/ 1960593 h 3487140"/>
              <a:gd name="connsiteX18" fmla="*/ 829035 w 8404339"/>
              <a:gd name="connsiteY18" fmla="*/ 2569342 h 3487140"/>
              <a:gd name="connsiteX19" fmla="*/ 1242742 w 8404339"/>
              <a:gd name="connsiteY19" fmla="*/ 3165532 h 3487140"/>
              <a:gd name="connsiteX20" fmla="*/ 2032727 w 8404339"/>
              <a:gd name="connsiteY20" fmla="*/ 3283181 h 3487140"/>
              <a:gd name="connsiteX21" fmla="*/ 2635363 w 8404339"/>
              <a:gd name="connsiteY21" fmla="*/ 2757481 h 3487140"/>
              <a:gd name="connsiteX22" fmla="*/ 2625132 w 8404339"/>
              <a:gd name="connsiteY22" fmla="*/ 1980430 h 3487140"/>
              <a:gd name="connsiteX23" fmla="*/ 2295098 w 8404339"/>
              <a:gd name="connsiteY23" fmla="*/ 1589139 h 3487140"/>
              <a:gd name="connsiteX24" fmla="*/ 2106044 w 8404339"/>
              <a:gd name="connsiteY24" fmla="*/ 1660710 h 3487140"/>
              <a:gd name="connsiteX25" fmla="*/ 1997627 w 8404339"/>
              <a:gd name="connsiteY25" fmla="*/ 2116627 h 3487140"/>
              <a:gd name="connsiteX26" fmla="*/ 1774264 w 8404339"/>
              <a:gd name="connsiteY26" fmla="*/ 2374258 h 3487140"/>
              <a:gd name="connsiteX27" fmla="*/ 1719328 w 8404339"/>
              <a:gd name="connsiteY27" fmla="*/ 2276986 h 3487140"/>
              <a:gd name="connsiteX28" fmla="*/ 2098600 w 8404339"/>
              <a:gd name="connsiteY28" fmla="*/ 2021601 h 3487140"/>
              <a:gd name="connsiteX29" fmla="*/ 2358519 w 8404339"/>
              <a:gd name="connsiteY29" fmla="*/ 1234153 h 3487140"/>
              <a:gd name="connsiteX30" fmla="*/ 2588619 w 8404339"/>
              <a:gd name="connsiteY30" fmla="*/ 725296 h 3487140"/>
              <a:gd name="connsiteX31" fmla="*/ 2697202 w 8404339"/>
              <a:gd name="connsiteY31" fmla="*/ 539984 h 3487140"/>
              <a:gd name="connsiteX32" fmla="*/ 2666054 w 8404339"/>
              <a:gd name="connsiteY32" fmla="*/ 435851 h 3487140"/>
              <a:gd name="connsiteX33" fmla="*/ 2559716 w 8404339"/>
              <a:gd name="connsiteY33" fmla="*/ 350265 h 3487140"/>
              <a:gd name="connsiteX34" fmla="*/ 2514428 w 8404339"/>
              <a:gd name="connsiteY34" fmla="*/ 209327 h 3487140"/>
              <a:gd name="connsiteX35" fmla="*/ 2559258 w 8404339"/>
              <a:gd name="connsiteY35" fmla="*/ 82237 h 3487140"/>
              <a:gd name="connsiteX36" fmla="*/ 2739538 w 8404339"/>
              <a:gd name="connsiteY36" fmla="*/ 6716 h 3487140"/>
              <a:gd name="connsiteX37" fmla="*/ 3008231 w 8404339"/>
              <a:gd name="connsiteY37" fmla="*/ 10167 h 3487140"/>
              <a:gd name="connsiteX38" fmla="*/ 3091904 w 8404339"/>
              <a:gd name="connsiteY38" fmla="*/ 49800 h 3487140"/>
              <a:gd name="connsiteX39" fmla="*/ 3044869 w 8404339"/>
              <a:gd name="connsiteY39" fmla="*/ 86812 h 3487140"/>
              <a:gd name="connsiteX40" fmla="*/ 2808946 w 8404339"/>
              <a:gd name="connsiteY40" fmla="*/ 91886 h 3487140"/>
              <a:gd name="connsiteX41" fmla="*/ 2565413 w 8404339"/>
              <a:gd name="connsiteY41" fmla="*/ 75833 h 3487140"/>
              <a:gd name="connsiteX42" fmla="*/ 2457662 w 8404339"/>
              <a:gd name="connsiteY42" fmla="*/ 176931 h 3487140"/>
              <a:gd name="connsiteX43" fmla="*/ 2472924 w 8404339"/>
              <a:gd name="connsiteY43" fmla="*/ 370393 h 3487140"/>
              <a:gd name="connsiteX44" fmla="*/ 2417697 w 8404339"/>
              <a:gd name="connsiteY44" fmla="*/ 589348 h 3487140"/>
              <a:gd name="connsiteX45" fmla="*/ 2261163 w 8404339"/>
              <a:gd name="connsiteY45" fmla="*/ 903953 h 3487140"/>
              <a:gd name="connsiteX46" fmla="*/ 2050692 w 8404339"/>
              <a:gd name="connsiteY46" fmla="*/ 922501 h 3487140"/>
              <a:gd name="connsiteX47" fmla="*/ 1856273 w 8404339"/>
              <a:gd name="connsiteY47" fmla="*/ 866816 h 3487140"/>
              <a:gd name="connsiteX48" fmla="*/ 1797428 w 8404339"/>
              <a:gd name="connsiteY48" fmla="*/ 751038 h 3487140"/>
              <a:gd name="connsiteX49" fmla="*/ 1809364 w 8404339"/>
              <a:gd name="connsiteY49" fmla="*/ 369436 h 3487140"/>
              <a:gd name="connsiteX50" fmla="*/ 1871037 w 8404339"/>
              <a:gd name="connsiteY50" fmla="*/ 155805 h 3487140"/>
              <a:gd name="connsiteX51" fmla="*/ 2072401 w 8404339"/>
              <a:gd name="connsiteY51" fmla="*/ 156761 h 3487140"/>
              <a:gd name="connsiteX52" fmla="*/ 2325332 w 8404339"/>
              <a:gd name="connsiteY52" fmla="*/ 245175 h 3487140"/>
              <a:gd name="connsiteX53" fmla="*/ 2494424 w 8404339"/>
              <a:gd name="connsiteY53" fmla="*/ 357792 h 3487140"/>
              <a:gd name="connsiteX54" fmla="*/ 2599015 w 8404339"/>
              <a:gd name="connsiteY54" fmla="*/ 483301 h 3487140"/>
              <a:gd name="connsiteX55" fmla="*/ 2623219 w 8404339"/>
              <a:gd name="connsiteY55" fmla="*/ 600951 h 3487140"/>
              <a:gd name="connsiteX56" fmla="*/ 2595688 w 8404339"/>
              <a:gd name="connsiteY56" fmla="*/ 761726 h 3487140"/>
              <a:gd name="connsiteX57" fmla="*/ 2767609 w 8404339"/>
              <a:gd name="connsiteY57" fmla="*/ 1160004 h 3487140"/>
              <a:gd name="connsiteX58" fmla="*/ 3190589 w 8404339"/>
              <a:gd name="connsiteY58" fmla="*/ 1793622 h 3487140"/>
              <a:gd name="connsiteX59" fmla="*/ 3608080 w 8404339"/>
              <a:gd name="connsiteY59" fmla="*/ 2087475 h 3487140"/>
              <a:gd name="connsiteX60" fmla="*/ 3717703 w 8404339"/>
              <a:gd name="connsiteY60" fmla="*/ 2185620 h 3487140"/>
              <a:gd name="connsiteX61" fmla="*/ 3604754 w 8404339"/>
              <a:gd name="connsiteY61" fmla="*/ 2468120 h 3487140"/>
              <a:gd name="connsiteX62" fmla="*/ 3438655 w 8404339"/>
              <a:gd name="connsiteY62" fmla="*/ 2505548 h 3487140"/>
              <a:gd name="connsiteX63" fmla="*/ 3130205 w 8404339"/>
              <a:gd name="connsiteY63" fmla="*/ 2278109 h 3487140"/>
              <a:gd name="connsiteX64" fmla="*/ 2685516 w 8404339"/>
              <a:gd name="connsiteY64" fmla="*/ 1678800 h 3487140"/>
              <a:gd name="connsiteX65" fmla="*/ 2565663 w 8404339"/>
              <a:gd name="connsiteY65" fmla="*/ 1175432 h 3487140"/>
              <a:gd name="connsiteX66" fmla="*/ 2720117 w 8404339"/>
              <a:gd name="connsiteY66" fmla="*/ 1377420 h 3487140"/>
              <a:gd name="connsiteX67" fmla="*/ 3081757 w 8404339"/>
              <a:gd name="connsiteY67" fmla="*/ 2268710 h 3487140"/>
              <a:gd name="connsiteX68" fmla="*/ 3401559 w 8404339"/>
              <a:gd name="connsiteY68" fmla="*/ 2693105 h 3487140"/>
              <a:gd name="connsiteX69" fmla="*/ 3634987 w 8404339"/>
              <a:gd name="connsiteY69" fmla="*/ 2746586 h 3487140"/>
              <a:gd name="connsiteX70" fmla="*/ 3802208 w 8404339"/>
              <a:gd name="connsiteY70" fmla="*/ 2631432 h 3487140"/>
              <a:gd name="connsiteX71" fmla="*/ 3813395 w 8404339"/>
              <a:gd name="connsiteY71" fmla="*/ 2436680 h 3487140"/>
              <a:gd name="connsiteX72" fmla="*/ 3659565 w 8404339"/>
              <a:gd name="connsiteY72" fmla="*/ 2309258 h 3487140"/>
              <a:gd name="connsiteX73" fmla="*/ 3452379 w 8404339"/>
              <a:gd name="connsiteY73" fmla="*/ 2375007 h 3487140"/>
              <a:gd name="connsiteX74" fmla="*/ 3429880 w 8404339"/>
              <a:gd name="connsiteY74" fmla="*/ 2581402 h 3487140"/>
              <a:gd name="connsiteX75" fmla="*/ 3572565 w 8404339"/>
              <a:gd name="connsiteY75" fmla="*/ 2671064 h 3487140"/>
              <a:gd name="connsiteX76" fmla="*/ 3669130 w 8404339"/>
              <a:gd name="connsiteY76" fmla="*/ 2596831 h 3487140"/>
              <a:gd name="connsiteX77" fmla="*/ 3635944 w 8404339"/>
              <a:gd name="connsiteY77" fmla="*/ 2530750 h 3487140"/>
              <a:gd name="connsiteX78" fmla="*/ 3513886 w 8404339"/>
              <a:gd name="connsiteY78" fmla="*/ 2615379 h 3487140"/>
              <a:gd name="connsiteX79" fmla="*/ 3368207 w 8404339"/>
              <a:gd name="connsiteY79" fmla="*/ 2907028 h 3487140"/>
              <a:gd name="connsiteX80" fmla="*/ 3320382 w 8404339"/>
              <a:gd name="connsiteY80" fmla="*/ 3008333 h 3487140"/>
              <a:gd name="connsiteX81" fmla="*/ 3284534 w 8404339"/>
              <a:gd name="connsiteY81" fmla="*/ 3024053 h 3487140"/>
              <a:gd name="connsiteX82" fmla="*/ 3189508 w 8404339"/>
              <a:gd name="connsiteY82" fmla="*/ 3013989 h 3487140"/>
              <a:gd name="connsiteX83" fmla="*/ 3196411 w 8404339"/>
              <a:gd name="connsiteY83" fmla="*/ 2956724 h 3487140"/>
              <a:gd name="connsiteX84" fmla="*/ 3385174 w 8404339"/>
              <a:gd name="connsiteY84" fmla="*/ 2951068 h 3487140"/>
              <a:gd name="connsiteX85" fmla="*/ 3471384 w 8404339"/>
              <a:gd name="connsiteY85" fmla="*/ 2951068 h 3487140"/>
              <a:gd name="connsiteX86" fmla="*/ 3552562 w 8404339"/>
              <a:gd name="connsiteY86" fmla="*/ 2822066 h 3487140"/>
              <a:gd name="connsiteX87" fmla="*/ 3692876 w 8404339"/>
              <a:gd name="connsiteY87" fmla="*/ 2789337 h 3487140"/>
              <a:gd name="connsiteX88" fmla="*/ 3820589 w 8404339"/>
              <a:gd name="connsiteY88" fmla="*/ 2713815 h 3487140"/>
              <a:gd name="connsiteX89" fmla="*/ 3906799 w 8404339"/>
              <a:gd name="connsiteY89" fmla="*/ 2544556 h 3487140"/>
              <a:gd name="connsiteX90" fmla="*/ 4126378 w 8404339"/>
              <a:gd name="connsiteY90" fmla="*/ 2482883 h 3487140"/>
              <a:gd name="connsiteX91" fmla="*/ 4661352 w 8404339"/>
              <a:gd name="connsiteY91" fmla="*/ 2466831 h 3487140"/>
              <a:gd name="connsiteX92" fmla="*/ 4817094 w 8404339"/>
              <a:gd name="connsiteY92" fmla="*/ 2420918 h 3487140"/>
              <a:gd name="connsiteX93" fmla="*/ 4667007 w 8404339"/>
              <a:gd name="connsiteY93" fmla="*/ 2252907 h 3487140"/>
              <a:gd name="connsiteX94" fmla="*/ 4191628 w 8404339"/>
              <a:gd name="connsiteY94" fmla="*/ 1791709 h 3487140"/>
              <a:gd name="connsiteX95" fmla="*/ 3927509 w 8404339"/>
              <a:gd name="connsiteY95" fmla="*/ 1600118 h 3487140"/>
              <a:gd name="connsiteX96" fmla="*/ 3803539 w 8404339"/>
              <a:gd name="connsiteY96" fmla="*/ 1733529 h 3487140"/>
              <a:gd name="connsiteX97" fmla="*/ 3741241 w 8404339"/>
              <a:gd name="connsiteY97" fmla="*/ 1995900 h 3487140"/>
              <a:gd name="connsiteX98" fmla="*/ 3782121 w 8404339"/>
              <a:gd name="connsiteY98" fmla="*/ 2048133 h 3487140"/>
              <a:gd name="connsiteX99" fmla="*/ 3845042 w 8404339"/>
              <a:gd name="connsiteY99" fmla="*/ 1778817 h 3487140"/>
              <a:gd name="connsiteX100" fmla="*/ 3966809 w 8404339"/>
              <a:gd name="connsiteY100" fmla="*/ 1356918 h 3487140"/>
              <a:gd name="connsiteX101" fmla="*/ 4073146 w 8404339"/>
              <a:gd name="connsiteY101" fmla="*/ 986960 h 3487140"/>
              <a:gd name="connsiteX102" fmla="*/ 4043869 w 8404339"/>
              <a:gd name="connsiteY102" fmla="*/ 867107 h 3487140"/>
              <a:gd name="connsiteX103" fmla="*/ 3868955 w 8404339"/>
              <a:gd name="connsiteY103" fmla="*/ 840034 h 3487140"/>
              <a:gd name="connsiteX104" fmla="*/ 3724856 w 8404339"/>
              <a:gd name="connsiteY104" fmla="*/ 782769 h 3487140"/>
              <a:gd name="connsiteX105" fmla="*/ 3741200 w 8404339"/>
              <a:gd name="connsiteY105" fmla="*/ 714816 h 3487140"/>
              <a:gd name="connsiteX106" fmla="*/ 3914867 w 8404339"/>
              <a:gd name="connsiteY106" fmla="*/ 723008 h 3487140"/>
              <a:gd name="connsiteX107" fmla="*/ 4117478 w 8404339"/>
              <a:gd name="connsiteY107" fmla="*/ 729288 h 3487140"/>
              <a:gd name="connsiteX108" fmla="*/ 4284200 w 8404339"/>
              <a:gd name="connsiteY108" fmla="*/ 682087 h 3487140"/>
              <a:gd name="connsiteX109" fmla="*/ 4401849 w 8404339"/>
              <a:gd name="connsiteY109" fmla="*/ 703463 h 3487140"/>
              <a:gd name="connsiteX110" fmla="*/ 4424514 w 8404339"/>
              <a:gd name="connsiteY110" fmla="*/ 797199 h 3487140"/>
              <a:gd name="connsiteX111" fmla="*/ 4296801 w 8404339"/>
              <a:gd name="connsiteY111" fmla="*/ 890936 h 3487140"/>
              <a:gd name="connsiteX112" fmla="*/ 4126918 w 8404339"/>
              <a:gd name="connsiteY112" fmla="*/ 918009 h 3487140"/>
              <a:gd name="connsiteX113" fmla="*/ 3999205 w 8404339"/>
              <a:gd name="connsiteY113" fmla="*/ 1002306 h 3487140"/>
              <a:gd name="connsiteX114" fmla="*/ 3898315 w 8404339"/>
              <a:gd name="connsiteY114" fmla="*/ 1299902 h 3487140"/>
              <a:gd name="connsiteX115" fmla="*/ 3959365 w 8404339"/>
              <a:gd name="connsiteY115" fmla="*/ 1545930 h 3487140"/>
              <a:gd name="connsiteX116" fmla="*/ 4172040 w 8404339"/>
              <a:gd name="connsiteY116" fmla="*/ 1536490 h 3487140"/>
              <a:gd name="connsiteX117" fmla="*/ 4351571 w 8404339"/>
              <a:gd name="connsiteY117" fmla="*/ 1376048 h 3487140"/>
              <a:gd name="connsiteX118" fmla="*/ 4354732 w 8404339"/>
              <a:gd name="connsiteY118" fmla="*/ 1231949 h 3487140"/>
              <a:gd name="connsiteX119" fmla="*/ 4136691 w 8404339"/>
              <a:gd name="connsiteY119" fmla="*/ 1191693 h 3487140"/>
              <a:gd name="connsiteX120" fmla="*/ 4145175 w 8404339"/>
              <a:gd name="connsiteY120" fmla="*/ 1255238 h 3487140"/>
              <a:gd name="connsiteX121" fmla="*/ 4570193 w 8404339"/>
              <a:gd name="connsiteY121" fmla="*/ 1241722 h 3487140"/>
              <a:gd name="connsiteX122" fmla="*/ 5055013 w 8404339"/>
              <a:gd name="connsiteY122" fmla="*/ 1259646 h 3487140"/>
              <a:gd name="connsiteX123" fmla="*/ 5284365 w 8404339"/>
              <a:gd name="connsiteY123" fmla="*/ 1236981 h 3487140"/>
              <a:gd name="connsiteX124" fmla="*/ 5266109 w 8404339"/>
              <a:gd name="connsiteY124" fmla="*/ 1185995 h 3487140"/>
              <a:gd name="connsiteX125" fmla="*/ 4905591 w 8404339"/>
              <a:gd name="connsiteY125" fmla="*/ 1177512 h 3487140"/>
              <a:gd name="connsiteX126" fmla="*/ 4535011 w 8404339"/>
              <a:gd name="connsiteY126" fmla="*/ 1331342 h 3487140"/>
              <a:gd name="connsiteX127" fmla="*/ 4189257 w 8404339"/>
              <a:gd name="connsiteY127" fmla="*/ 1604110 h 3487140"/>
              <a:gd name="connsiteX128" fmla="*/ 3956454 w 8404339"/>
              <a:gd name="connsiteY128" fmla="*/ 1921252 h 3487140"/>
              <a:gd name="connsiteX129" fmla="*/ 3860804 w 8404339"/>
              <a:gd name="connsiteY129" fmla="*/ 2419255 h 3487140"/>
              <a:gd name="connsiteX130" fmla="*/ 4091112 w 8404339"/>
              <a:gd name="connsiteY130" fmla="*/ 3048465 h 3487140"/>
              <a:gd name="connsiteX131" fmla="*/ 4669337 w 8404339"/>
              <a:gd name="connsiteY131" fmla="*/ 3394510 h 3487140"/>
              <a:gd name="connsiteX132" fmla="*/ 5307986 w 8404339"/>
              <a:gd name="connsiteY132" fmla="*/ 3330632 h 3487140"/>
              <a:gd name="connsiteX133" fmla="*/ 5803161 w 8404339"/>
              <a:gd name="connsiteY133" fmla="*/ 2841404 h 3487140"/>
              <a:gd name="connsiteX134" fmla="*/ 5836514 w 8404339"/>
              <a:gd name="connsiteY134" fmla="*/ 2052999 h 3487140"/>
              <a:gd name="connsiteX135" fmla="*/ 5405507 w 8404339"/>
              <a:gd name="connsiteY135" fmla="*/ 1482011 h 3487140"/>
              <a:gd name="connsiteX136" fmla="*/ 4938653 w 8404339"/>
              <a:gd name="connsiteY136" fmla="*/ 1352717 h 3487140"/>
              <a:gd name="connsiteX137" fmla="*/ 4778211 w 8404339"/>
              <a:gd name="connsiteY137" fmla="*/ 1466624 h 3487140"/>
              <a:gd name="connsiteX138" fmla="*/ 4800252 w 8404339"/>
              <a:gd name="connsiteY138" fmla="*/ 2001140 h 3487140"/>
              <a:gd name="connsiteX139" fmla="*/ 4834228 w 8404339"/>
              <a:gd name="connsiteY139" fmla="*/ 2313208 h 3487140"/>
              <a:gd name="connsiteX140" fmla="*/ 4925928 w 8404339"/>
              <a:gd name="connsiteY140" fmla="*/ 2399085 h 3487140"/>
              <a:gd name="connsiteX141" fmla="*/ 5030394 w 8404339"/>
              <a:gd name="connsiteY141" fmla="*/ 2362905 h 3487140"/>
              <a:gd name="connsiteX142" fmla="*/ 4995003 w 8404339"/>
              <a:gd name="connsiteY142" fmla="*/ 2271372 h 3487140"/>
              <a:gd name="connsiteX143" fmla="*/ 4897399 w 8404339"/>
              <a:gd name="connsiteY143" fmla="*/ 2303394 h 3487140"/>
              <a:gd name="connsiteX144" fmla="*/ 4881013 w 8404339"/>
              <a:gd name="connsiteY144" fmla="*/ 2437262 h 3487140"/>
              <a:gd name="connsiteX145" fmla="*/ 4879932 w 8404339"/>
              <a:gd name="connsiteY145" fmla="*/ 2519521 h 3487140"/>
              <a:gd name="connsiteX146" fmla="*/ 4700818 w 8404339"/>
              <a:gd name="connsiteY146" fmla="*/ 2539400 h 3487140"/>
              <a:gd name="connsiteX147" fmla="*/ 4290563 w 8404339"/>
              <a:gd name="connsiteY147" fmla="*/ 2545679 h 3487140"/>
              <a:gd name="connsiteX148" fmla="*/ 4050191 w 8404339"/>
              <a:gd name="connsiteY148" fmla="*/ 2602944 h 3487140"/>
              <a:gd name="connsiteX149" fmla="*/ 4040584 w 8404339"/>
              <a:gd name="connsiteY149" fmla="*/ 2790460 h 3487140"/>
              <a:gd name="connsiteX150" fmla="*/ 4233921 w 8404339"/>
              <a:gd name="connsiteY150" fmla="*/ 3133385 h 3487140"/>
              <a:gd name="connsiteX151" fmla="*/ 4725811 w 8404339"/>
              <a:gd name="connsiteY151" fmla="*/ 3465290 h 3487140"/>
              <a:gd name="connsiteX152" fmla="*/ 5466557 w 8404339"/>
              <a:gd name="connsiteY152" fmla="*/ 3390434 h 3487140"/>
              <a:gd name="connsiteX153" fmla="*/ 5906380 w 8404339"/>
              <a:gd name="connsiteY153" fmla="*/ 3017940 h 3487140"/>
              <a:gd name="connsiteX154" fmla="*/ 6220361 w 8404339"/>
              <a:gd name="connsiteY154" fmla="*/ 2655510 h 3487140"/>
              <a:gd name="connsiteX155" fmla="*/ 6592855 w 8404339"/>
              <a:gd name="connsiteY155" fmla="*/ 3163577 h 3487140"/>
              <a:gd name="connsiteX156" fmla="*/ 6816842 w 8404339"/>
              <a:gd name="connsiteY156" fmla="*/ 3255443 h 3487140"/>
              <a:gd name="connsiteX157" fmla="*/ 6894859 w 8404339"/>
              <a:gd name="connsiteY157" fmla="*/ 2786675 h 3487140"/>
              <a:gd name="connsiteX158" fmla="*/ 7204432 w 8404339"/>
              <a:gd name="connsiteY158" fmla="*/ 2869724 h 3487140"/>
              <a:gd name="connsiteX159" fmla="*/ 7443224 w 8404339"/>
              <a:gd name="connsiteY159" fmla="*/ 3245046 h 3487140"/>
              <a:gd name="connsiteX160" fmla="*/ 7815717 w 8404339"/>
              <a:gd name="connsiteY160" fmla="*/ 3329676 h 3487140"/>
              <a:gd name="connsiteX161" fmla="*/ 8404339 w 8404339"/>
              <a:gd name="connsiteY161" fmla="*/ 3217682 h 3487140"/>
              <a:gd name="connsiteX0" fmla="*/ 0 w 8244520"/>
              <a:gd name="connsiteY0" fmla="*/ 3205871 h 3487140"/>
              <a:gd name="connsiteX1" fmla="*/ 259253 w 8244520"/>
              <a:gd name="connsiteY1" fmla="*/ 2696848 h 3487140"/>
              <a:gd name="connsiteX2" fmla="*/ 533601 w 8244520"/>
              <a:gd name="connsiteY2" fmla="*/ 2954187 h 3487140"/>
              <a:gd name="connsiteX3" fmla="*/ 880935 w 8244520"/>
              <a:gd name="connsiteY3" fmla="*/ 3339906 h 3487140"/>
              <a:gd name="connsiteX4" fmla="*/ 1339057 w 8244520"/>
              <a:gd name="connsiteY4" fmla="*/ 3385485 h 3487140"/>
              <a:gd name="connsiteX5" fmla="*/ 1417739 w 8244520"/>
              <a:gd name="connsiteY5" fmla="*/ 3295741 h 3487140"/>
              <a:gd name="connsiteX6" fmla="*/ 1166637 w 8244520"/>
              <a:gd name="connsiteY6" fmla="*/ 3112384 h 3487140"/>
              <a:gd name="connsiteX7" fmla="*/ 860474 w 8244520"/>
              <a:gd name="connsiteY7" fmla="*/ 2750287 h 3487140"/>
              <a:gd name="connsiteX8" fmla="*/ 768942 w 8244520"/>
              <a:gd name="connsiteY8" fmla="*/ 2305432 h 3487140"/>
              <a:gd name="connsiteX9" fmla="*/ 896530 w 8244520"/>
              <a:gd name="connsiteY9" fmla="*/ 1919713 h 3487140"/>
              <a:gd name="connsiteX10" fmla="*/ 1220742 w 8244520"/>
              <a:gd name="connsiteY10" fmla="*/ 1637837 h 3487140"/>
              <a:gd name="connsiteX11" fmla="*/ 1714046 w 8244520"/>
              <a:gd name="connsiteY11" fmla="*/ 1545972 h 3487140"/>
              <a:gd name="connsiteX12" fmla="*/ 1948721 w 8244520"/>
              <a:gd name="connsiteY12" fmla="*/ 1517651 h 3487140"/>
              <a:gd name="connsiteX13" fmla="*/ 1933458 w 8244520"/>
              <a:gd name="connsiteY13" fmla="*/ 1460718 h 3487140"/>
              <a:gd name="connsiteX14" fmla="*/ 1657404 w 8244520"/>
              <a:gd name="connsiteY14" fmla="*/ 1416969 h 3487140"/>
              <a:gd name="connsiteX15" fmla="*/ 1137984 w 8244520"/>
              <a:gd name="connsiteY15" fmla="*/ 1517318 h 3487140"/>
              <a:gd name="connsiteX16" fmla="*/ 728686 w 8244520"/>
              <a:gd name="connsiteY16" fmla="*/ 1960593 h 3487140"/>
              <a:gd name="connsiteX17" fmla="*/ 669216 w 8244520"/>
              <a:gd name="connsiteY17" fmla="*/ 2569342 h 3487140"/>
              <a:gd name="connsiteX18" fmla="*/ 1082923 w 8244520"/>
              <a:gd name="connsiteY18" fmla="*/ 3165532 h 3487140"/>
              <a:gd name="connsiteX19" fmla="*/ 1872908 w 8244520"/>
              <a:gd name="connsiteY19" fmla="*/ 3283181 h 3487140"/>
              <a:gd name="connsiteX20" fmla="*/ 2475544 w 8244520"/>
              <a:gd name="connsiteY20" fmla="*/ 2757481 h 3487140"/>
              <a:gd name="connsiteX21" fmla="*/ 2465313 w 8244520"/>
              <a:gd name="connsiteY21" fmla="*/ 1980430 h 3487140"/>
              <a:gd name="connsiteX22" fmla="*/ 2135279 w 8244520"/>
              <a:gd name="connsiteY22" fmla="*/ 1589139 h 3487140"/>
              <a:gd name="connsiteX23" fmla="*/ 1946225 w 8244520"/>
              <a:gd name="connsiteY23" fmla="*/ 1660710 h 3487140"/>
              <a:gd name="connsiteX24" fmla="*/ 1837808 w 8244520"/>
              <a:gd name="connsiteY24" fmla="*/ 2116627 h 3487140"/>
              <a:gd name="connsiteX25" fmla="*/ 1614445 w 8244520"/>
              <a:gd name="connsiteY25" fmla="*/ 2374258 h 3487140"/>
              <a:gd name="connsiteX26" fmla="*/ 1559509 w 8244520"/>
              <a:gd name="connsiteY26" fmla="*/ 2276986 h 3487140"/>
              <a:gd name="connsiteX27" fmla="*/ 1938781 w 8244520"/>
              <a:gd name="connsiteY27" fmla="*/ 2021601 h 3487140"/>
              <a:gd name="connsiteX28" fmla="*/ 2198700 w 8244520"/>
              <a:gd name="connsiteY28" fmla="*/ 1234153 h 3487140"/>
              <a:gd name="connsiteX29" fmla="*/ 2428800 w 8244520"/>
              <a:gd name="connsiteY29" fmla="*/ 725296 h 3487140"/>
              <a:gd name="connsiteX30" fmla="*/ 2537383 w 8244520"/>
              <a:gd name="connsiteY30" fmla="*/ 539984 h 3487140"/>
              <a:gd name="connsiteX31" fmla="*/ 2506235 w 8244520"/>
              <a:gd name="connsiteY31" fmla="*/ 435851 h 3487140"/>
              <a:gd name="connsiteX32" fmla="*/ 2399897 w 8244520"/>
              <a:gd name="connsiteY32" fmla="*/ 350265 h 3487140"/>
              <a:gd name="connsiteX33" fmla="*/ 2354609 w 8244520"/>
              <a:gd name="connsiteY33" fmla="*/ 209327 h 3487140"/>
              <a:gd name="connsiteX34" fmla="*/ 2399439 w 8244520"/>
              <a:gd name="connsiteY34" fmla="*/ 82237 h 3487140"/>
              <a:gd name="connsiteX35" fmla="*/ 2579719 w 8244520"/>
              <a:gd name="connsiteY35" fmla="*/ 6716 h 3487140"/>
              <a:gd name="connsiteX36" fmla="*/ 2848412 w 8244520"/>
              <a:gd name="connsiteY36" fmla="*/ 10167 h 3487140"/>
              <a:gd name="connsiteX37" fmla="*/ 2932085 w 8244520"/>
              <a:gd name="connsiteY37" fmla="*/ 49800 h 3487140"/>
              <a:gd name="connsiteX38" fmla="*/ 2885050 w 8244520"/>
              <a:gd name="connsiteY38" fmla="*/ 86812 h 3487140"/>
              <a:gd name="connsiteX39" fmla="*/ 2649127 w 8244520"/>
              <a:gd name="connsiteY39" fmla="*/ 91886 h 3487140"/>
              <a:gd name="connsiteX40" fmla="*/ 2405594 w 8244520"/>
              <a:gd name="connsiteY40" fmla="*/ 75833 h 3487140"/>
              <a:gd name="connsiteX41" fmla="*/ 2297843 w 8244520"/>
              <a:gd name="connsiteY41" fmla="*/ 176931 h 3487140"/>
              <a:gd name="connsiteX42" fmla="*/ 2313105 w 8244520"/>
              <a:gd name="connsiteY42" fmla="*/ 370393 h 3487140"/>
              <a:gd name="connsiteX43" fmla="*/ 2257878 w 8244520"/>
              <a:gd name="connsiteY43" fmla="*/ 589348 h 3487140"/>
              <a:gd name="connsiteX44" fmla="*/ 2101344 w 8244520"/>
              <a:gd name="connsiteY44" fmla="*/ 903953 h 3487140"/>
              <a:gd name="connsiteX45" fmla="*/ 1890873 w 8244520"/>
              <a:gd name="connsiteY45" fmla="*/ 922501 h 3487140"/>
              <a:gd name="connsiteX46" fmla="*/ 1696454 w 8244520"/>
              <a:gd name="connsiteY46" fmla="*/ 866816 h 3487140"/>
              <a:gd name="connsiteX47" fmla="*/ 1637609 w 8244520"/>
              <a:gd name="connsiteY47" fmla="*/ 751038 h 3487140"/>
              <a:gd name="connsiteX48" fmla="*/ 1649545 w 8244520"/>
              <a:gd name="connsiteY48" fmla="*/ 369436 h 3487140"/>
              <a:gd name="connsiteX49" fmla="*/ 1711218 w 8244520"/>
              <a:gd name="connsiteY49" fmla="*/ 155805 h 3487140"/>
              <a:gd name="connsiteX50" fmla="*/ 1912582 w 8244520"/>
              <a:gd name="connsiteY50" fmla="*/ 156761 h 3487140"/>
              <a:gd name="connsiteX51" fmla="*/ 2165513 w 8244520"/>
              <a:gd name="connsiteY51" fmla="*/ 245175 h 3487140"/>
              <a:gd name="connsiteX52" fmla="*/ 2334605 w 8244520"/>
              <a:gd name="connsiteY52" fmla="*/ 357792 h 3487140"/>
              <a:gd name="connsiteX53" fmla="*/ 2439196 w 8244520"/>
              <a:gd name="connsiteY53" fmla="*/ 483301 h 3487140"/>
              <a:gd name="connsiteX54" fmla="*/ 2463400 w 8244520"/>
              <a:gd name="connsiteY54" fmla="*/ 600951 h 3487140"/>
              <a:gd name="connsiteX55" fmla="*/ 2435869 w 8244520"/>
              <a:gd name="connsiteY55" fmla="*/ 761726 h 3487140"/>
              <a:gd name="connsiteX56" fmla="*/ 2607790 w 8244520"/>
              <a:gd name="connsiteY56" fmla="*/ 1160004 h 3487140"/>
              <a:gd name="connsiteX57" fmla="*/ 3030770 w 8244520"/>
              <a:gd name="connsiteY57" fmla="*/ 1793622 h 3487140"/>
              <a:gd name="connsiteX58" fmla="*/ 3448261 w 8244520"/>
              <a:gd name="connsiteY58" fmla="*/ 2087475 h 3487140"/>
              <a:gd name="connsiteX59" fmla="*/ 3557884 w 8244520"/>
              <a:gd name="connsiteY59" fmla="*/ 2185620 h 3487140"/>
              <a:gd name="connsiteX60" fmla="*/ 3444935 w 8244520"/>
              <a:gd name="connsiteY60" fmla="*/ 2468120 h 3487140"/>
              <a:gd name="connsiteX61" fmla="*/ 3278836 w 8244520"/>
              <a:gd name="connsiteY61" fmla="*/ 2505548 h 3487140"/>
              <a:gd name="connsiteX62" fmla="*/ 2970386 w 8244520"/>
              <a:gd name="connsiteY62" fmla="*/ 2278109 h 3487140"/>
              <a:gd name="connsiteX63" fmla="*/ 2525697 w 8244520"/>
              <a:gd name="connsiteY63" fmla="*/ 1678800 h 3487140"/>
              <a:gd name="connsiteX64" fmla="*/ 2405844 w 8244520"/>
              <a:gd name="connsiteY64" fmla="*/ 1175432 h 3487140"/>
              <a:gd name="connsiteX65" fmla="*/ 2560298 w 8244520"/>
              <a:gd name="connsiteY65" fmla="*/ 1377420 h 3487140"/>
              <a:gd name="connsiteX66" fmla="*/ 2921938 w 8244520"/>
              <a:gd name="connsiteY66" fmla="*/ 2268710 h 3487140"/>
              <a:gd name="connsiteX67" fmla="*/ 3241740 w 8244520"/>
              <a:gd name="connsiteY67" fmla="*/ 2693105 h 3487140"/>
              <a:gd name="connsiteX68" fmla="*/ 3475168 w 8244520"/>
              <a:gd name="connsiteY68" fmla="*/ 2746586 h 3487140"/>
              <a:gd name="connsiteX69" fmla="*/ 3642389 w 8244520"/>
              <a:gd name="connsiteY69" fmla="*/ 2631432 h 3487140"/>
              <a:gd name="connsiteX70" fmla="*/ 3653576 w 8244520"/>
              <a:gd name="connsiteY70" fmla="*/ 2436680 h 3487140"/>
              <a:gd name="connsiteX71" fmla="*/ 3499746 w 8244520"/>
              <a:gd name="connsiteY71" fmla="*/ 2309258 h 3487140"/>
              <a:gd name="connsiteX72" fmla="*/ 3292560 w 8244520"/>
              <a:gd name="connsiteY72" fmla="*/ 2375007 h 3487140"/>
              <a:gd name="connsiteX73" fmla="*/ 3270061 w 8244520"/>
              <a:gd name="connsiteY73" fmla="*/ 2581402 h 3487140"/>
              <a:gd name="connsiteX74" fmla="*/ 3412746 w 8244520"/>
              <a:gd name="connsiteY74" fmla="*/ 2671064 h 3487140"/>
              <a:gd name="connsiteX75" fmla="*/ 3509311 w 8244520"/>
              <a:gd name="connsiteY75" fmla="*/ 2596831 h 3487140"/>
              <a:gd name="connsiteX76" fmla="*/ 3476125 w 8244520"/>
              <a:gd name="connsiteY76" fmla="*/ 2530750 h 3487140"/>
              <a:gd name="connsiteX77" fmla="*/ 3354067 w 8244520"/>
              <a:gd name="connsiteY77" fmla="*/ 2615379 h 3487140"/>
              <a:gd name="connsiteX78" fmla="*/ 3208388 w 8244520"/>
              <a:gd name="connsiteY78" fmla="*/ 2907028 h 3487140"/>
              <a:gd name="connsiteX79" fmla="*/ 3160563 w 8244520"/>
              <a:gd name="connsiteY79" fmla="*/ 3008333 h 3487140"/>
              <a:gd name="connsiteX80" fmla="*/ 3124715 w 8244520"/>
              <a:gd name="connsiteY80" fmla="*/ 3024053 h 3487140"/>
              <a:gd name="connsiteX81" fmla="*/ 3029689 w 8244520"/>
              <a:gd name="connsiteY81" fmla="*/ 3013989 h 3487140"/>
              <a:gd name="connsiteX82" fmla="*/ 3036592 w 8244520"/>
              <a:gd name="connsiteY82" fmla="*/ 2956724 h 3487140"/>
              <a:gd name="connsiteX83" fmla="*/ 3225355 w 8244520"/>
              <a:gd name="connsiteY83" fmla="*/ 2951068 h 3487140"/>
              <a:gd name="connsiteX84" fmla="*/ 3311565 w 8244520"/>
              <a:gd name="connsiteY84" fmla="*/ 2951068 h 3487140"/>
              <a:gd name="connsiteX85" fmla="*/ 3392743 w 8244520"/>
              <a:gd name="connsiteY85" fmla="*/ 2822066 h 3487140"/>
              <a:gd name="connsiteX86" fmla="*/ 3533057 w 8244520"/>
              <a:gd name="connsiteY86" fmla="*/ 2789337 h 3487140"/>
              <a:gd name="connsiteX87" fmla="*/ 3660770 w 8244520"/>
              <a:gd name="connsiteY87" fmla="*/ 2713815 h 3487140"/>
              <a:gd name="connsiteX88" fmla="*/ 3746980 w 8244520"/>
              <a:gd name="connsiteY88" fmla="*/ 2544556 h 3487140"/>
              <a:gd name="connsiteX89" fmla="*/ 3966559 w 8244520"/>
              <a:gd name="connsiteY89" fmla="*/ 2482883 h 3487140"/>
              <a:gd name="connsiteX90" fmla="*/ 4501533 w 8244520"/>
              <a:gd name="connsiteY90" fmla="*/ 2466831 h 3487140"/>
              <a:gd name="connsiteX91" fmla="*/ 4657275 w 8244520"/>
              <a:gd name="connsiteY91" fmla="*/ 2420918 h 3487140"/>
              <a:gd name="connsiteX92" fmla="*/ 4507188 w 8244520"/>
              <a:gd name="connsiteY92" fmla="*/ 2252907 h 3487140"/>
              <a:gd name="connsiteX93" fmla="*/ 4031809 w 8244520"/>
              <a:gd name="connsiteY93" fmla="*/ 1791709 h 3487140"/>
              <a:gd name="connsiteX94" fmla="*/ 3767690 w 8244520"/>
              <a:gd name="connsiteY94" fmla="*/ 1600118 h 3487140"/>
              <a:gd name="connsiteX95" fmla="*/ 3643720 w 8244520"/>
              <a:gd name="connsiteY95" fmla="*/ 1733529 h 3487140"/>
              <a:gd name="connsiteX96" fmla="*/ 3581422 w 8244520"/>
              <a:gd name="connsiteY96" fmla="*/ 1995900 h 3487140"/>
              <a:gd name="connsiteX97" fmla="*/ 3622302 w 8244520"/>
              <a:gd name="connsiteY97" fmla="*/ 2048133 h 3487140"/>
              <a:gd name="connsiteX98" fmla="*/ 3685223 w 8244520"/>
              <a:gd name="connsiteY98" fmla="*/ 1778817 h 3487140"/>
              <a:gd name="connsiteX99" fmla="*/ 3806990 w 8244520"/>
              <a:gd name="connsiteY99" fmla="*/ 1356918 h 3487140"/>
              <a:gd name="connsiteX100" fmla="*/ 3913327 w 8244520"/>
              <a:gd name="connsiteY100" fmla="*/ 986960 h 3487140"/>
              <a:gd name="connsiteX101" fmla="*/ 3884050 w 8244520"/>
              <a:gd name="connsiteY101" fmla="*/ 867107 h 3487140"/>
              <a:gd name="connsiteX102" fmla="*/ 3709136 w 8244520"/>
              <a:gd name="connsiteY102" fmla="*/ 840034 h 3487140"/>
              <a:gd name="connsiteX103" fmla="*/ 3565037 w 8244520"/>
              <a:gd name="connsiteY103" fmla="*/ 782769 h 3487140"/>
              <a:gd name="connsiteX104" fmla="*/ 3581381 w 8244520"/>
              <a:gd name="connsiteY104" fmla="*/ 714816 h 3487140"/>
              <a:gd name="connsiteX105" fmla="*/ 3755048 w 8244520"/>
              <a:gd name="connsiteY105" fmla="*/ 723008 h 3487140"/>
              <a:gd name="connsiteX106" fmla="*/ 3957659 w 8244520"/>
              <a:gd name="connsiteY106" fmla="*/ 729288 h 3487140"/>
              <a:gd name="connsiteX107" fmla="*/ 4124381 w 8244520"/>
              <a:gd name="connsiteY107" fmla="*/ 682087 h 3487140"/>
              <a:gd name="connsiteX108" fmla="*/ 4242030 w 8244520"/>
              <a:gd name="connsiteY108" fmla="*/ 703463 h 3487140"/>
              <a:gd name="connsiteX109" fmla="*/ 4264695 w 8244520"/>
              <a:gd name="connsiteY109" fmla="*/ 797199 h 3487140"/>
              <a:gd name="connsiteX110" fmla="*/ 4136982 w 8244520"/>
              <a:gd name="connsiteY110" fmla="*/ 890936 h 3487140"/>
              <a:gd name="connsiteX111" fmla="*/ 3967099 w 8244520"/>
              <a:gd name="connsiteY111" fmla="*/ 918009 h 3487140"/>
              <a:gd name="connsiteX112" fmla="*/ 3839386 w 8244520"/>
              <a:gd name="connsiteY112" fmla="*/ 1002306 h 3487140"/>
              <a:gd name="connsiteX113" fmla="*/ 3738496 w 8244520"/>
              <a:gd name="connsiteY113" fmla="*/ 1299902 h 3487140"/>
              <a:gd name="connsiteX114" fmla="*/ 3799546 w 8244520"/>
              <a:gd name="connsiteY114" fmla="*/ 1545930 h 3487140"/>
              <a:gd name="connsiteX115" fmla="*/ 4012221 w 8244520"/>
              <a:gd name="connsiteY115" fmla="*/ 1536490 h 3487140"/>
              <a:gd name="connsiteX116" fmla="*/ 4191752 w 8244520"/>
              <a:gd name="connsiteY116" fmla="*/ 1376048 h 3487140"/>
              <a:gd name="connsiteX117" fmla="*/ 4194913 w 8244520"/>
              <a:gd name="connsiteY117" fmla="*/ 1231949 h 3487140"/>
              <a:gd name="connsiteX118" fmla="*/ 3976872 w 8244520"/>
              <a:gd name="connsiteY118" fmla="*/ 1191693 h 3487140"/>
              <a:gd name="connsiteX119" fmla="*/ 3985356 w 8244520"/>
              <a:gd name="connsiteY119" fmla="*/ 1255238 h 3487140"/>
              <a:gd name="connsiteX120" fmla="*/ 4410374 w 8244520"/>
              <a:gd name="connsiteY120" fmla="*/ 1241722 h 3487140"/>
              <a:gd name="connsiteX121" fmla="*/ 4895194 w 8244520"/>
              <a:gd name="connsiteY121" fmla="*/ 1259646 h 3487140"/>
              <a:gd name="connsiteX122" fmla="*/ 5124546 w 8244520"/>
              <a:gd name="connsiteY122" fmla="*/ 1236981 h 3487140"/>
              <a:gd name="connsiteX123" fmla="*/ 5106290 w 8244520"/>
              <a:gd name="connsiteY123" fmla="*/ 1185995 h 3487140"/>
              <a:gd name="connsiteX124" fmla="*/ 4745772 w 8244520"/>
              <a:gd name="connsiteY124" fmla="*/ 1177512 h 3487140"/>
              <a:gd name="connsiteX125" fmla="*/ 4375192 w 8244520"/>
              <a:gd name="connsiteY125" fmla="*/ 1331342 h 3487140"/>
              <a:gd name="connsiteX126" fmla="*/ 4029438 w 8244520"/>
              <a:gd name="connsiteY126" fmla="*/ 1604110 h 3487140"/>
              <a:gd name="connsiteX127" fmla="*/ 3796635 w 8244520"/>
              <a:gd name="connsiteY127" fmla="*/ 1921252 h 3487140"/>
              <a:gd name="connsiteX128" fmla="*/ 3700985 w 8244520"/>
              <a:gd name="connsiteY128" fmla="*/ 2419255 h 3487140"/>
              <a:gd name="connsiteX129" fmla="*/ 3931293 w 8244520"/>
              <a:gd name="connsiteY129" fmla="*/ 3048465 h 3487140"/>
              <a:gd name="connsiteX130" fmla="*/ 4509518 w 8244520"/>
              <a:gd name="connsiteY130" fmla="*/ 3394510 h 3487140"/>
              <a:gd name="connsiteX131" fmla="*/ 5148167 w 8244520"/>
              <a:gd name="connsiteY131" fmla="*/ 3330632 h 3487140"/>
              <a:gd name="connsiteX132" fmla="*/ 5643342 w 8244520"/>
              <a:gd name="connsiteY132" fmla="*/ 2841404 h 3487140"/>
              <a:gd name="connsiteX133" fmla="*/ 5676695 w 8244520"/>
              <a:gd name="connsiteY133" fmla="*/ 2052999 h 3487140"/>
              <a:gd name="connsiteX134" fmla="*/ 5245688 w 8244520"/>
              <a:gd name="connsiteY134" fmla="*/ 1482011 h 3487140"/>
              <a:gd name="connsiteX135" fmla="*/ 4778834 w 8244520"/>
              <a:gd name="connsiteY135" fmla="*/ 1352717 h 3487140"/>
              <a:gd name="connsiteX136" fmla="*/ 4618392 w 8244520"/>
              <a:gd name="connsiteY136" fmla="*/ 1466624 h 3487140"/>
              <a:gd name="connsiteX137" fmla="*/ 4640433 w 8244520"/>
              <a:gd name="connsiteY137" fmla="*/ 2001140 h 3487140"/>
              <a:gd name="connsiteX138" fmla="*/ 4674409 w 8244520"/>
              <a:gd name="connsiteY138" fmla="*/ 2313208 h 3487140"/>
              <a:gd name="connsiteX139" fmla="*/ 4766109 w 8244520"/>
              <a:gd name="connsiteY139" fmla="*/ 2399085 h 3487140"/>
              <a:gd name="connsiteX140" fmla="*/ 4870575 w 8244520"/>
              <a:gd name="connsiteY140" fmla="*/ 2362905 h 3487140"/>
              <a:gd name="connsiteX141" fmla="*/ 4835184 w 8244520"/>
              <a:gd name="connsiteY141" fmla="*/ 2271372 h 3487140"/>
              <a:gd name="connsiteX142" fmla="*/ 4737580 w 8244520"/>
              <a:gd name="connsiteY142" fmla="*/ 2303394 h 3487140"/>
              <a:gd name="connsiteX143" fmla="*/ 4721194 w 8244520"/>
              <a:gd name="connsiteY143" fmla="*/ 2437262 h 3487140"/>
              <a:gd name="connsiteX144" fmla="*/ 4720113 w 8244520"/>
              <a:gd name="connsiteY144" fmla="*/ 2519521 h 3487140"/>
              <a:gd name="connsiteX145" fmla="*/ 4540999 w 8244520"/>
              <a:gd name="connsiteY145" fmla="*/ 2539400 h 3487140"/>
              <a:gd name="connsiteX146" fmla="*/ 4130744 w 8244520"/>
              <a:gd name="connsiteY146" fmla="*/ 2545679 h 3487140"/>
              <a:gd name="connsiteX147" fmla="*/ 3890372 w 8244520"/>
              <a:gd name="connsiteY147" fmla="*/ 2602944 h 3487140"/>
              <a:gd name="connsiteX148" fmla="*/ 3880765 w 8244520"/>
              <a:gd name="connsiteY148" fmla="*/ 2790460 h 3487140"/>
              <a:gd name="connsiteX149" fmla="*/ 4074102 w 8244520"/>
              <a:gd name="connsiteY149" fmla="*/ 3133385 h 3487140"/>
              <a:gd name="connsiteX150" fmla="*/ 4565992 w 8244520"/>
              <a:gd name="connsiteY150" fmla="*/ 3465290 h 3487140"/>
              <a:gd name="connsiteX151" fmla="*/ 5306738 w 8244520"/>
              <a:gd name="connsiteY151" fmla="*/ 3390434 h 3487140"/>
              <a:gd name="connsiteX152" fmla="*/ 5746561 w 8244520"/>
              <a:gd name="connsiteY152" fmla="*/ 3017940 h 3487140"/>
              <a:gd name="connsiteX153" fmla="*/ 6060542 w 8244520"/>
              <a:gd name="connsiteY153" fmla="*/ 2655510 h 3487140"/>
              <a:gd name="connsiteX154" fmla="*/ 6433036 w 8244520"/>
              <a:gd name="connsiteY154" fmla="*/ 3163577 h 3487140"/>
              <a:gd name="connsiteX155" fmla="*/ 6657023 w 8244520"/>
              <a:gd name="connsiteY155" fmla="*/ 3255443 h 3487140"/>
              <a:gd name="connsiteX156" fmla="*/ 6735040 w 8244520"/>
              <a:gd name="connsiteY156" fmla="*/ 2786675 h 3487140"/>
              <a:gd name="connsiteX157" fmla="*/ 7044613 w 8244520"/>
              <a:gd name="connsiteY157" fmla="*/ 2869724 h 3487140"/>
              <a:gd name="connsiteX158" fmla="*/ 7283405 w 8244520"/>
              <a:gd name="connsiteY158" fmla="*/ 3245046 h 3487140"/>
              <a:gd name="connsiteX159" fmla="*/ 7655898 w 8244520"/>
              <a:gd name="connsiteY159" fmla="*/ 3329676 h 3487140"/>
              <a:gd name="connsiteX160" fmla="*/ 8244520 w 8244520"/>
              <a:gd name="connsiteY160" fmla="*/ 3217682 h 3487140"/>
              <a:gd name="connsiteX0" fmla="*/ 0 w 7985267"/>
              <a:gd name="connsiteY0" fmla="*/ 2696848 h 3487140"/>
              <a:gd name="connsiteX1" fmla="*/ 274348 w 7985267"/>
              <a:gd name="connsiteY1" fmla="*/ 2954187 h 3487140"/>
              <a:gd name="connsiteX2" fmla="*/ 621682 w 7985267"/>
              <a:gd name="connsiteY2" fmla="*/ 3339906 h 3487140"/>
              <a:gd name="connsiteX3" fmla="*/ 1079804 w 7985267"/>
              <a:gd name="connsiteY3" fmla="*/ 3385485 h 3487140"/>
              <a:gd name="connsiteX4" fmla="*/ 1158486 w 7985267"/>
              <a:gd name="connsiteY4" fmla="*/ 3295741 h 3487140"/>
              <a:gd name="connsiteX5" fmla="*/ 907384 w 7985267"/>
              <a:gd name="connsiteY5" fmla="*/ 3112384 h 3487140"/>
              <a:gd name="connsiteX6" fmla="*/ 601221 w 7985267"/>
              <a:gd name="connsiteY6" fmla="*/ 2750287 h 3487140"/>
              <a:gd name="connsiteX7" fmla="*/ 509689 w 7985267"/>
              <a:gd name="connsiteY7" fmla="*/ 2305432 h 3487140"/>
              <a:gd name="connsiteX8" fmla="*/ 637277 w 7985267"/>
              <a:gd name="connsiteY8" fmla="*/ 1919713 h 3487140"/>
              <a:gd name="connsiteX9" fmla="*/ 961489 w 7985267"/>
              <a:gd name="connsiteY9" fmla="*/ 1637837 h 3487140"/>
              <a:gd name="connsiteX10" fmla="*/ 1454793 w 7985267"/>
              <a:gd name="connsiteY10" fmla="*/ 1545972 h 3487140"/>
              <a:gd name="connsiteX11" fmla="*/ 1689468 w 7985267"/>
              <a:gd name="connsiteY11" fmla="*/ 1517651 h 3487140"/>
              <a:gd name="connsiteX12" fmla="*/ 1674205 w 7985267"/>
              <a:gd name="connsiteY12" fmla="*/ 1460718 h 3487140"/>
              <a:gd name="connsiteX13" fmla="*/ 1398151 w 7985267"/>
              <a:gd name="connsiteY13" fmla="*/ 1416969 h 3487140"/>
              <a:gd name="connsiteX14" fmla="*/ 878731 w 7985267"/>
              <a:gd name="connsiteY14" fmla="*/ 1517318 h 3487140"/>
              <a:gd name="connsiteX15" fmla="*/ 469433 w 7985267"/>
              <a:gd name="connsiteY15" fmla="*/ 1960593 h 3487140"/>
              <a:gd name="connsiteX16" fmla="*/ 409963 w 7985267"/>
              <a:gd name="connsiteY16" fmla="*/ 2569342 h 3487140"/>
              <a:gd name="connsiteX17" fmla="*/ 823670 w 7985267"/>
              <a:gd name="connsiteY17" fmla="*/ 3165532 h 3487140"/>
              <a:gd name="connsiteX18" fmla="*/ 1613655 w 7985267"/>
              <a:gd name="connsiteY18" fmla="*/ 3283181 h 3487140"/>
              <a:gd name="connsiteX19" fmla="*/ 2216291 w 7985267"/>
              <a:gd name="connsiteY19" fmla="*/ 2757481 h 3487140"/>
              <a:gd name="connsiteX20" fmla="*/ 2206060 w 7985267"/>
              <a:gd name="connsiteY20" fmla="*/ 1980430 h 3487140"/>
              <a:gd name="connsiteX21" fmla="*/ 1876026 w 7985267"/>
              <a:gd name="connsiteY21" fmla="*/ 1589139 h 3487140"/>
              <a:gd name="connsiteX22" fmla="*/ 1686972 w 7985267"/>
              <a:gd name="connsiteY22" fmla="*/ 1660710 h 3487140"/>
              <a:gd name="connsiteX23" fmla="*/ 1578555 w 7985267"/>
              <a:gd name="connsiteY23" fmla="*/ 2116627 h 3487140"/>
              <a:gd name="connsiteX24" fmla="*/ 1355192 w 7985267"/>
              <a:gd name="connsiteY24" fmla="*/ 2374258 h 3487140"/>
              <a:gd name="connsiteX25" fmla="*/ 1300256 w 7985267"/>
              <a:gd name="connsiteY25" fmla="*/ 2276986 h 3487140"/>
              <a:gd name="connsiteX26" fmla="*/ 1679528 w 7985267"/>
              <a:gd name="connsiteY26" fmla="*/ 2021601 h 3487140"/>
              <a:gd name="connsiteX27" fmla="*/ 1939447 w 7985267"/>
              <a:gd name="connsiteY27" fmla="*/ 1234153 h 3487140"/>
              <a:gd name="connsiteX28" fmla="*/ 2169547 w 7985267"/>
              <a:gd name="connsiteY28" fmla="*/ 725296 h 3487140"/>
              <a:gd name="connsiteX29" fmla="*/ 2278130 w 7985267"/>
              <a:gd name="connsiteY29" fmla="*/ 539984 h 3487140"/>
              <a:gd name="connsiteX30" fmla="*/ 2246982 w 7985267"/>
              <a:gd name="connsiteY30" fmla="*/ 435851 h 3487140"/>
              <a:gd name="connsiteX31" fmla="*/ 2140644 w 7985267"/>
              <a:gd name="connsiteY31" fmla="*/ 350265 h 3487140"/>
              <a:gd name="connsiteX32" fmla="*/ 2095356 w 7985267"/>
              <a:gd name="connsiteY32" fmla="*/ 209327 h 3487140"/>
              <a:gd name="connsiteX33" fmla="*/ 2140186 w 7985267"/>
              <a:gd name="connsiteY33" fmla="*/ 82237 h 3487140"/>
              <a:gd name="connsiteX34" fmla="*/ 2320466 w 7985267"/>
              <a:gd name="connsiteY34" fmla="*/ 6716 h 3487140"/>
              <a:gd name="connsiteX35" fmla="*/ 2589159 w 7985267"/>
              <a:gd name="connsiteY35" fmla="*/ 10167 h 3487140"/>
              <a:gd name="connsiteX36" fmla="*/ 2672832 w 7985267"/>
              <a:gd name="connsiteY36" fmla="*/ 49800 h 3487140"/>
              <a:gd name="connsiteX37" fmla="*/ 2625797 w 7985267"/>
              <a:gd name="connsiteY37" fmla="*/ 86812 h 3487140"/>
              <a:gd name="connsiteX38" fmla="*/ 2389874 w 7985267"/>
              <a:gd name="connsiteY38" fmla="*/ 91886 h 3487140"/>
              <a:gd name="connsiteX39" fmla="*/ 2146341 w 7985267"/>
              <a:gd name="connsiteY39" fmla="*/ 75833 h 3487140"/>
              <a:gd name="connsiteX40" fmla="*/ 2038590 w 7985267"/>
              <a:gd name="connsiteY40" fmla="*/ 176931 h 3487140"/>
              <a:gd name="connsiteX41" fmla="*/ 2053852 w 7985267"/>
              <a:gd name="connsiteY41" fmla="*/ 370393 h 3487140"/>
              <a:gd name="connsiteX42" fmla="*/ 1998625 w 7985267"/>
              <a:gd name="connsiteY42" fmla="*/ 589348 h 3487140"/>
              <a:gd name="connsiteX43" fmla="*/ 1842091 w 7985267"/>
              <a:gd name="connsiteY43" fmla="*/ 903953 h 3487140"/>
              <a:gd name="connsiteX44" fmla="*/ 1631620 w 7985267"/>
              <a:gd name="connsiteY44" fmla="*/ 922501 h 3487140"/>
              <a:gd name="connsiteX45" fmla="*/ 1437201 w 7985267"/>
              <a:gd name="connsiteY45" fmla="*/ 866816 h 3487140"/>
              <a:gd name="connsiteX46" fmla="*/ 1378356 w 7985267"/>
              <a:gd name="connsiteY46" fmla="*/ 751038 h 3487140"/>
              <a:gd name="connsiteX47" fmla="*/ 1390292 w 7985267"/>
              <a:gd name="connsiteY47" fmla="*/ 369436 h 3487140"/>
              <a:gd name="connsiteX48" fmla="*/ 1451965 w 7985267"/>
              <a:gd name="connsiteY48" fmla="*/ 155805 h 3487140"/>
              <a:gd name="connsiteX49" fmla="*/ 1653329 w 7985267"/>
              <a:gd name="connsiteY49" fmla="*/ 156761 h 3487140"/>
              <a:gd name="connsiteX50" fmla="*/ 1906260 w 7985267"/>
              <a:gd name="connsiteY50" fmla="*/ 245175 h 3487140"/>
              <a:gd name="connsiteX51" fmla="*/ 2075352 w 7985267"/>
              <a:gd name="connsiteY51" fmla="*/ 357792 h 3487140"/>
              <a:gd name="connsiteX52" fmla="*/ 2179943 w 7985267"/>
              <a:gd name="connsiteY52" fmla="*/ 483301 h 3487140"/>
              <a:gd name="connsiteX53" fmla="*/ 2204147 w 7985267"/>
              <a:gd name="connsiteY53" fmla="*/ 600951 h 3487140"/>
              <a:gd name="connsiteX54" fmla="*/ 2176616 w 7985267"/>
              <a:gd name="connsiteY54" fmla="*/ 761726 h 3487140"/>
              <a:gd name="connsiteX55" fmla="*/ 2348537 w 7985267"/>
              <a:gd name="connsiteY55" fmla="*/ 1160004 h 3487140"/>
              <a:gd name="connsiteX56" fmla="*/ 2771517 w 7985267"/>
              <a:gd name="connsiteY56" fmla="*/ 1793622 h 3487140"/>
              <a:gd name="connsiteX57" fmla="*/ 3189008 w 7985267"/>
              <a:gd name="connsiteY57" fmla="*/ 2087475 h 3487140"/>
              <a:gd name="connsiteX58" fmla="*/ 3298631 w 7985267"/>
              <a:gd name="connsiteY58" fmla="*/ 2185620 h 3487140"/>
              <a:gd name="connsiteX59" fmla="*/ 3185682 w 7985267"/>
              <a:gd name="connsiteY59" fmla="*/ 2468120 h 3487140"/>
              <a:gd name="connsiteX60" fmla="*/ 3019583 w 7985267"/>
              <a:gd name="connsiteY60" fmla="*/ 2505548 h 3487140"/>
              <a:gd name="connsiteX61" fmla="*/ 2711133 w 7985267"/>
              <a:gd name="connsiteY61" fmla="*/ 2278109 h 3487140"/>
              <a:gd name="connsiteX62" fmla="*/ 2266444 w 7985267"/>
              <a:gd name="connsiteY62" fmla="*/ 1678800 h 3487140"/>
              <a:gd name="connsiteX63" fmla="*/ 2146591 w 7985267"/>
              <a:gd name="connsiteY63" fmla="*/ 1175432 h 3487140"/>
              <a:gd name="connsiteX64" fmla="*/ 2301045 w 7985267"/>
              <a:gd name="connsiteY64" fmla="*/ 1377420 h 3487140"/>
              <a:gd name="connsiteX65" fmla="*/ 2662685 w 7985267"/>
              <a:gd name="connsiteY65" fmla="*/ 2268710 h 3487140"/>
              <a:gd name="connsiteX66" fmla="*/ 2982487 w 7985267"/>
              <a:gd name="connsiteY66" fmla="*/ 2693105 h 3487140"/>
              <a:gd name="connsiteX67" fmla="*/ 3215915 w 7985267"/>
              <a:gd name="connsiteY67" fmla="*/ 2746586 h 3487140"/>
              <a:gd name="connsiteX68" fmla="*/ 3383136 w 7985267"/>
              <a:gd name="connsiteY68" fmla="*/ 2631432 h 3487140"/>
              <a:gd name="connsiteX69" fmla="*/ 3394323 w 7985267"/>
              <a:gd name="connsiteY69" fmla="*/ 2436680 h 3487140"/>
              <a:gd name="connsiteX70" fmla="*/ 3240493 w 7985267"/>
              <a:gd name="connsiteY70" fmla="*/ 2309258 h 3487140"/>
              <a:gd name="connsiteX71" fmla="*/ 3033307 w 7985267"/>
              <a:gd name="connsiteY71" fmla="*/ 2375007 h 3487140"/>
              <a:gd name="connsiteX72" fmla="*/ 3010808 w 7985267"/>
              <a:gd name="connsiteY72" fmla="*/ 2581402 h 3487140"/>
              <a:gd name="connsiteX73" fmla="*/ 3153493 w 7985267"/>
              <a:gd name="connsiteY73" fmla="*/ 2671064 h 3487140"/>
              <a:gd name="connsiteX74" fmla="*/ 3250058 w 7985267"/>
              <a:gd name="connsiteY74" fmla="*/ 2596831 h 3487140"/>
              <a:gd name="connsiteX75" fmla="*/ 3216872 w 7985267"/>
              <a:gd name="connsiteY75" fmla="*/ 2530750 h 3487140"/>
              <a:gd name="connsiteX76" fmla="*/ 3094814 w 7985267"/>
              <a:gd name="connsiteY76" fmla="*/ 2615379 h 3487140"/>
              <a:gd name="connsiteX77" fmla="*/ 2949135 w 7985267"/>
              <a:gd name="connsiteY77" fmla="*/ 2907028 h 3487140"/>
              <a:gd name="connsiteX78" fmla="*/ 2901310 w 7985267"/>
              <a:gd name="connsiteY78" fmla="*/ 3008333 h 3487140"/>
              <a:gd name="connsiteX79" fmla="*/ 2865462 w 7985267"/>
              <a:gd name="connsiteY79" fmla="*/ 3024053 h 3487140"/>
              <a:gd name="connsiteX80" fmla="*/ 2770436 w 7985267"/>
              <a:gd name="connsiteY80" fmla="*/ 3013989 h 3487140"/>
              <a:gd name="connsiteX81" fmla="*/ 2777339 w 7985267"/>
              <a:gd name="connsiteY81" fmla="*/ 2956724 h 3487140"/>
              <a:gd name="connsiteX82" fmla="*/ 2966102 w 7985267"/>
              <a:gd name="connsiteY82" fmla="*/ 2951068 h 3487140"/>
              <a:gd name="connsiteX83" fmla="*/ 3052312 w 7985267"/>
              <a:gd name="connsiteY83" fmla="*/ 2951068 h 3487140"/>
              <a:gd name="connsiteX84" fmla="*/ 3133490 w 7985267"/>
              <a:gd name="connsiteY84" fmla="*/ 2822066 h 3487140"/>
              <a:gd name="connsiteX85" fmla="*/ 3273804 w 7985267"/>
              <a:gd name="connsiteY85" fmla="*/ 2789337 h 3487140"/>
              <a:gd name="connsiteX86" fmla="*/ 3401517 w 7985267"/>
              <a:gd name="connsiteY86" fmla="*/ 2713815 h 3487140"/>
              <a:gd name="connsiteX87" fmla="*/ 3487727 w 7985267"/>
              <a:gd name="connsiteY87" fmla="*/ 2544556 h 3487140"/>
              <a:gd name="connsiteX88" fmla="*/ 3707306 w 7985267"/>
              <a:gd name="connsiteY88" fmla="*/ 2482883 h 3487140"/>
              <a:gd name="connsiteX89" fmla="*/ 4242280 w 7985267"/>
              <a:gd name="connsiteY89" fmla="*/ 2466831 h 3487140"/>
              <a:gd name="connsiteX90" fmla="*/ 4398022 w 7985267"/>
              <a:gd name="connsiteY90" fmla="*/ 2420918 h 3487140"/>
              <a:gd name="connsiteX91" fmla="*/ 4247935 w 7985267"/>
              <a:gd name="connsiteY91" fmla="*/ 2252907 h 3487140"/>
              <a:gd name="connsiteX92" fmla="*/ 3772556 w 7985267"/>
              <a:gd name="connsiteY92" fmla="*/ 1791709 h 3487140"/>
              <a:gd name="connsiteX93" fmla="*/ 3508437 w 7985267"/>
              <a:gd name="connsiteY93" fmla="*/ 1600118 h 3487140"/>
              <a:gd name="connsiteX94" fmla="*/ 3384467 w 7985267"/>
              <a:gd name="connsiteY94" fmla="*/ 1733529 h 3487140"/>
              <a:gd name="connsiteX95" fmla="*/ 3322169 w 7985267"/>
              <a:gd name="connsiteY95" fmla="*/ 1995900 h 3487140"/>
              <a:gd name="connsiteX96" fmla="*/ 3363049 w 7985267"/>
              <a:gd name="connsiteY96" fmla="*/ 2048133 h 3487140"/>
              <a:gd name="connsiteX97" fmla="*/ 3425970 w 7985267"/>
              <a:gd name="connsiteY97" fmla="*/ 1778817 h 3487140"/>
              <a:gd name="connsiteX98" fmla="*/ 3547737 w 7985267"/>
              <a:gd name="connsiteY98" fmla="*/ 1356918 h 3487140"/>
              <a:gd name="connsiteX99" fmla="*/ 3654074 w 7985267"/>
              <a:gd name="connsiteY99" fmla="*/ 986960 h 3487140"/>
              <a:gd name="connsiteX100" fmla="*/ 3624797 w 7985267"/>
              <a:gd name="connsiteY100" fmla="*/ 867107 h 3487140"/>
              <a:gd name="connsiteX101" fmla="*/ 3449883 w 7985267"/>
              <a:gd name="connsiteY101" fmla="*/ 840034 h 3487140"/>
              <a:gd name="connsiteX102" fmla="*/ 3305784 w 7985267"/>
              <a:gd name="connsiteY102" fmla="*/ 782769 h 3487140"/>
              <a:gd name="connsiteX103" fmla="*/ 3322128 w 7985267"/>
              <a:gd name="connsiteY103" fmla="*/ 714816 h 3487140"/>
              <a:gd name="connsiteX104" fmla="*/ 3495795 w 7985267"/>
              <a:gd name="connsiteY104" fmla="*/ 723008 h 3487140"/>
              <a:gd name="connsiteX105" fmla="*/ 3698406 w 7985267"/>
              <a:gd name="connsiteY105" fmla="*/ 729288 h 3487140"/>
              <a:gd name="connsiteX106" fmla="*/ 3865128 w 7985267"/>
              <a:gd name="connsiteY106" fmla="*/ 682087 h 3487140"/>
              <a:gd name="connsiteX107" fmla="*/ 3982777 w 7985267"/>
              <a:gd name="connsiteY107" fmla="*/ 703463 h 3487140"/>
              <a:gd name="connsiteX108" fmla="*/ 4005442 w 7985267"/>
              <a:gd name="connsiteY108" fmla="*/ 797199 h 3487140"/>
              <a:gd name="connsiteX109" fmla="*/ 3877729 w 7985267"/>
              <a:gd name="connsiteY109" fmla="*/ 890936 h 3487140"/>
              <a:gd name="connsiteX110" fmla="*/ 3707846 w 7985267"/>
              <a:gd name="connsiteY110" fmla="*/ 918009 h 3487140"/>
              <a:gd name="connsiteX111" fmla="*/ 3580133 w 7985267"/>
              <a:gd name="connsiteY111" fmla="*/ 1002306 h 3487140"/>
              <a:gd name="connsiteX112" fmla="*/ 3479243 w 7985267"/>
              <a:gd name="connsiteY112" fmla="*/ 1299902 h 3487140"/>
              <a:gd name="connsiteX113" fmla="*/ 3540293 w 7985267"/>
              <a:gd name="connsiteY113" fmla="*/ 1545930 h 3487140"/>
              <a:gd name="connsiteX114" fmla="*/ 3752968 w 7985267"/>
              <a:gd name="connsiteY114" fmla="*/ 1536490 h 3487140"/>
              <a:gd name="connsiteX115" fmla="*/ 3932499 w 7985267"/>
              <a:gd name="connsiteY115" fmla="*/ 1376048 h 3487140"/>
              <a:gd name="connsiteX116" fmla="*/ 3935660 w 7985267"/>
              <a:gd name="connsiteY116" fmla="*/ 1231949 h 3487140"/>
              <a:gd name="connsiteX117" fmla="*/ 3717619 w 7985267"/>
              <a:gd name="connsiteY117" fmla="*/ 1191693 h 3487140"/>
              <a:gd name="connsiteX118" fmla="*/ 3726103 w 7985267"/>
              <a:gd name="connsiteY118" fmla="*/ 1255238 h 3487140"/>
              <a:gd name="connsiteX119" fmla="*/ 4151121 w 7985267"/>
              <a:gd name="connsiteY119" fmla="*/ 1241722 h 3487140"/>
              <a:gd name="connsiteX120" fmla="*/ 4635941 w 7985267"/>
              <a:gd name="connsiteY120" fmla="*/ 1259646 h 3487140"/>
              <a:gd name="connsiteX121" fmla="*/ 4865293 w 7985267"/>
              <a:gd name="connsiteY121" fmla="*/ 1236981 h 3487140"/>
              <a:gd name="connsiteX122" fmla="*/ 4847037 w 7985267"/>
              <a:gd name="connsiteY122" fmla="*/ 1185995 h 3487140"/>
              <a:gd name="connsiteX123" fmla="*/ 4486519 w 7985267"/>
              <a:gd name="connsiteY123" fmla="*/ 1177512 h 3487140"/>
              <a:gd name="connsiteX124" fmla="*/ 4115939 w 7985267"/>
              <a:gd name="connsiteY124" fmla="*/ 1331342 h 3487140"/>
              <a:gd name="connsiteX125" fmla="*/ 3770185 w 7985267"/>
              <a:gd name="connsiteY125" fmla="*/ 1604110 h 3487140"/>
              <a:gd name="connsiteX126" fmla="*/ 3537382 w 7985267"/>
              <a:gd name="connsiteY126" fmla="*/ 1921252 h 3487140"/>
              <a:gd name="connsiteX127" fmla="*/ 3441732 w 7985267"/>
              <a:gd name="connsiteY127" fmla="*/ 2419255 h 3487140"/>
              <a:gd name="connsiteX128" fmla="*/ 3672040 w 7985267"/>
              <a:gd name="connsiteY128" fmla="*/ 3048465 h 3487140"/>
              <a:gd name="connsiteX129" fmla="*/ 4250265 w 7985267"/>
              <a:gd name="connsiteY129" fmla="*/ 3394510 h 3487140"/>
              <a:gd name="connsiteX130" fmla="*/ 4888914 w 7985267"/>
              <a:gd name="connsiteY130" fmla="*/ 3330632 h 3487140"/>
              <a:gd name="connsiteX131" fmla="*/ 5384089 w 7985267"/>
              <a:gd name="connsiteY131" fmla="*/ 2841404 h 3487140"/>
              <a:gd name="connsiteX132" fmla="*/ 5417442 w 7985267"/>
              <a:gd name="connsiteY132" fmla="*/ 2052999 h 3487140"/>
              <a:gd name="connsiteX133" fmla="*/ 4986435 w 7985267"/>
              <a:gd name="connsiteY133" fmla="*/ 1482011 h 3487140"/>
              <a:gd name="connsiteX134" fmla="*/ 4519581 w 7985267"/>
              <a:gd name="connsiteY134" fmla="*/ 1352717 h 3487140"/>
              <a:gd name="connsiteX135" fmla="*/ 4359139 w 7985267"/>
              <a:gd name="connsiteY135" fmla="*/ 1466624 h 3487140"/>
              <a:gd name="connsiteX136" fmla="*/ 4381180 w 7985267"/>
              <a:gd name="connsiteY136" fmla="*/ 2001140 h 3487140"/>
              <a:gd name="connsiteX137" fmla="*/ 4415156 w 7985267"/>
              <a:gd name="connsiteY137" fmla="*/ 2313208 h 3487140"/>
              <a:gd name="connsiteX138" fmla="*/ 4506856 w 7985267"/>
              <a:gd name="connsiteY138" fmla="*/ 2399085 h 3487140"/>
              <a:gd name="connsiteX139" fmla="*/ 4611322 w 7985267"/>
              <a:gd name="connsiteY139" fmla="*/ 2362905 h 3487140"/>
              <a:gd name="connsiteX140" fmla="*/ 4575931 w 7985267"/>
              <a:gd name="connsiteY140" fmla="*/ 2271372 h 3487140"/>
              <a:gd name="connsiteX141" fmla="*/ 4478327 w 7985267"/>
              <a:gd name="connsiteY141" fmla="*/ 2303394 h 3487140"/>
              <a:gd name="connsiteX142" fmla="*/ 4461941 w 7985267"/>
              <a:gd name="connsiteY142" fmla="*/ 2437262 h 3487140"/>
              <a:gd name="connsiteX143" fmla="*/ 4460860 w 7985267"/>
              <a:gd name="connsiteY143" fmla="*/ 2519521 h 3487140"/>
              <a:gd name="connsiteX144" fmla="*/ 4281746 w 7985267"/>
              <a:gd name="connsiteY144" fmla="*/ 2539400 h 3487140"/>
              <a:gd name="connsiteX145" fmla="*/ 3871491 w 7985267"/>
              <a:gd name="connsiteY145" fmla="*/ 2545679 h 3487140"/>
              <a:gd name="connsiteX146" fmla="*/ 3631119 w 7985267"/>
              <a:gd name="connsiteY146" fmla="*/ 2602944 h 3487140"/>
              <a:gd name="connsiteX147" fmla="*/ 3621512 w 7985267"/>
              <a:gd name="connsiteY147" fmla="*/ 2790460 h 3487140"/>
              <a:gd name="connsiteX148" fmla="*/ 3814849 w 7985267"/>
              <a:gd name="connsiteY148" fmla="*/ 3133385 h 3487140"/>
              <a:gd name="connsiteX149" fmla="*/ 4306739 w 7985267"/>
              <a:gd name="connsiteY149" fmla="*/ 3465290 h 3487140"/>
              <a:gd name="connsiteX150" fmla="*/ 5047485 w 7985267"/>
              <a:gd name="connsiteY150" fmla="*/ 3390434 h 3487140"/>
              <a:gd name="connsiteX151" fmla="*/ 5487308 w 7985267"/>
              <a:gd name="connsiteY151" fmla="*/ 3017940 h 3487140"/>
              <a:gd name="connsiteX152" fmla="*/ 5801289 w 7985267"/>
              <a:gd name="connsiteY152" fmla="*/ 2655510 h 3487140"/>
              <a:gd name="connsiteX153" fmla="*/ 6173783 w 7985267"/>
              <a:gd name="connsiteY153" fmla="*/ 3163577 h 3487140"/>
              <a:gd name="connsiteX154" fmla="*/ 6397770 w 7985267"/>
              <a:gd name="connsiteY154" fmla="*/ 3255443 h 3487140"/>
              <a:gd name="connsiteX155" fmla="*/ 6475787 w 7985267"/>
              <a:gd name="connsiteY155" fmla="*/ 2786675 h 3487140"/>
              <a:gd name="connsiteX156" fmla="*/ 6785360 w 7985267"/>
              <a:gd name="connsiteY156" fmla="*/ 2869724 h 3487140"/>
              <a:gd name="connsiteX157" fmla="*/ 7024152 w 7985267"/>
              <a:gd name="connsiteY157" fmla="*/ 3245046 h 3487140"/>
              <a:gd name="connsiteX158" fmla="*/ 7396645 w 7985267"/>
              <a:gd name="connsiteY158" fmla="*/ 3329676 h 3487140"/>
              <a:gd name="connsiteX159" fmla="*/ 7985267 w 7985267"/>
              <a:gd name="connsiteY159" fmla="*/ 3217682 h 3487140"/>
              <a:gd name="connsiteX0" fmla="*/ 0 w 7710919"/>
              <a:gd name="connsiteY0" fmla="*/ 2954187 h 3487140"/>
              <a:gd name="connsiteX1" fmla="*/ 347334 w 7710919"/>
              <a:gd name="connsiteY1" fmla="*/ 3339906 h 3487140"/>
              <a:gd name="connsiteX2" fmla="*/ 805456 w 7710919"/>
              <a:gd name="connsiteY2" fmla="*/ 3385485 h 3487140"/>
              <a:gd name="connsiteX3" fmla="*/ 884138 w 7710919"/>
              <a:gd name="connsiteY3" fmla="*/ 3295741 h 3487140"/>
              <a:gd name="connsiteX4" fmla="*/ 633036 w 7710919"/>
              <a:gd name="connsiteY4" fmla="*/ 3112384 h 3487140"/>
              <a:gd name="connsiteX5" fmla="*/ 326873 w 7710919"/>
              <a:gd name="connsiteY5" fmla="*/ 2750287 h 3487140"/>
              <a:gd name="connsiteX6" fmla="*/ 235341 w 7710919"/>
              <a:gd name="connsiteY6" fmla="*/ 2305432 h 3487140"/>
              <a:gd name="connsiteX7" fmla="*/ 362929 w 7710919"/>
              <a:gd name="connsiteY7" fmla="*/ 1919713 h 3487140"/>
              <a:gd name="connsiteX8" fmla="*/ 687141 w 7710919"/>
              <a:gd name="connsiteY8" fmla="*/ 1637837 h 3487140"/>
              <a:gd name="connsiteX9" fmla="*/ 1180445 w 7710919"/>
              <a:gd name="connsiteY9" fmla="*/ 1545972 h 3487140"/>
              <a:gd name="connsiteX10" fmla="*/ 1415120 w 7710919"/>
              <a:gd name="connsiteY10" fmla="*/ 1517651 h 3487140"/>
              <a:gd name="connsiteX11" fmla="*/ 1399857 w 7710919"/>
              <a:gd name="connsiteY11" fmla="*/ 1460718 h 3487140"/>
              <a:gd name="connsiteX12" fmla="*/ 1123803 w 7710919"/>
              <a:gd name="connsiteY12" fmla="*/ 1416969 h 3487140"/>
              <a:gd name="connsiteX13" fmla="*/ 604383 w 7710919"/>
              <a:gd name="connsiteY13" fmla="*/ 1517318 h 3487140"/>
              <a:gd name="connsiteX14" fmla="*/ 195085 w 7710919"/>
              <a:gd name="connsiteY14" fmla="*/ 1960593 h 3487140"/>
              <a:gd name="connsiteX15" fmla="*/ 135615 w 7710919"/>
              <a:gd name="connsiteY15" fmla="*/ 2569342 h 3487140"/>
              <a:gd name="connsiteX16" fmla="*/ 549322 w 7710919"/>
              <a:gd name="connsiteY16" fmla="*/ 3165532 h 3487140"/>
              <a:gd name="connsiteX17" fmla="*/ 1339307 w 7710919"/>
              <a:gd name="connsiteY17" fmla="*/ 3283181 h 3487140"/>
              <a:gd name="connsiteX18" fmla="*/ 1941943 w 7710919"/>
              <a:gd name="connsiteY18" fmla="*/ 2757481 h 3487140"/>
              <a:gd name="connsiteX19" fmla="*/ 1931712 w 7710919"/>
              <a:gd name="connsiteY19" fmla="*/ 1980430 h 3487140"/>
              <a:gd name="connsiteX20" fmla="*/ 1601678 w 7710919"/>
              <a:gd name="connsiteY20" fmla="*/ 1589139 h 3487140"/>
              <a:gd name="connsiteX21" fmla="*/ 1412624 w 7710919"/>
              <a:gd name="connsiteY21" fmla="*/ 1660710 h 3487140"/>
              <a:gd name="connsiteX22" fmla="*/ 1304207 w 7710919"/>
              <a:gd name="connsiteY22" fmla="*/ 2116627 h 3487140"/>
              <a:gd name="connsiteX23" fmla="*/ 1080844 w 7710919"/>
              <a:gd name="connsiteY23" fmla="*/ 2374258 h 3487140"/>
              <a:gd name="connsiteX24" fmla="*/ 1025908 w 7710919"/>
              <a:gd name="connsiteY24" fmla="*/ 2276986 h 3487140"/>
              <a:gd name="connsiteX25" fmla="*/ 1405180 w 7710919"/>
              <a:gd name="connsiteY25" fmla="*/ 2021601 h 3487140"/>
              <a:gd name="connsiteX26" fmla="*/ 1665099 w 7710919"/>
              <a:gd name="connsiteY26" fmla="*/ 1234153 h 3487140"/>
              <a:gd name="connsiteX27" fmla="*/ 1895199 w 7710919"/>
              <a:gd name="connsiteY27" fmla="*/ 725296 h 3487140"/>
              <a:gd name="connsiteX28" fmla="*/ 2003782 w 7710919"/>
              <a:gd name="connsiteY28" fmla="*/ 539984 h 3487140"/>
              <a:gd name="connsiteX29" fmla="*/ 1972634 w 7710919"/>
              <a:gd name="connsiteY29" fmla="*/ 435851 h 3487140"/>
              <a:gd name="connsiteX30" fmla="*/ 1866296 w 7710919"/>
              <a:gd name="connsiteY30" fmla="*/ 350265 h 3487140"/>
              <a:gd name="connsiteX31" fmla="*/ 1821008 w 7710919"/>
              <a:gd name="connsiteY31" fmla="*/ 209327 h 3487140"/>
              <a:gd name="connsiteX32" fmla="*/ 1865838 w 7710919"/>
              <a:gd name="connsiteY32" fmla="*/ 82237 h 3487140"/>
              <a:gd name="connsiteX33" fmla="*/ 2046118 w 7710919"/>
              <a:gd name="connsiteY33" fmla="*/ 6716 h 3487140"/>
              <a:gd name="connsiteX34" fmla="*/ 2314811 w 7710919"/>
              <a:gd name="connsiteY34" fmla="*/ 10167 h 3487140"/>
              <a:gd name="connsiteX35" fmla="*/ 2398484 w 7710919"/>
              <a:gd name="connsiteY35" fmla="*/ 49800 h 3487140"/>
              <a:gd name="connsiteX36" fmla="*/ 2351449 w 7710919"/>
              <a:gd name="connsiteY36" fmla="*/ 86812 h 3487140"/>
              <a:gd name="connsiteX37" fmla="*/ 2115526 w 7710919"/>
              <a:gd name="connsiteY37" fmla="*/ 91886 h 3487140"/>
              <a:gd name="connsiteX38" fmla="*/ 1871993 w 7710919"/>
              <a:gd name="connsiteY38" fmla="*/ 75833 h 3487140"/>
              <a:gd name="connsiteX39" fmla="*/ 1764242 w 7710919"/>
              <a:gd name="connsiteY39" fmla="*/ 176931 h 3487140"/>
              <a:gd name="connsiteX40" fmla="*/ 1779504 w 7710919"/>
              <a:gd name="connsiteY40" fmla="*/ 370393 h 3487140"/>
              <a:gd name="connsiteX41" fmla="*/ 1724277 w 7710919"/>
              <a:gd name="connsiteY41" fmla="*/ 589348 h 3487140"/>
              <a:gd name="connsiteX42" fmla="*/ 1567743 w 7710919"/>
              <a:gd name="connsiteY42" fmla="*/ 903953 h 3487140"/>
              <a:gd name="connsiteX43" fmla="*/ 1357272 w 7710919"/>
              <a:gd name="connsiteY43" fmla="*/ 922501 h 3487140"/>
              <a:gd name="connsiteX44" fmla="*/ 1162853 w 7710919"/>
              <a:gd name="connsiteY44" fmla="*/ 866816 h 3487140"/>
              <a:gd name="connsiteX45" fmla="*/ 1104008 w 7710919"/>
              <a:gd name="connsiteY45" fmla="*/ 751038 h 3487140"/>
              <a:gd name="connsiteX46" fmla="*/ 1115944 w 7710919"/>
              <a:gd name="connsiteY46" fmla="*/ 369436 h 3487140"/>
              <a:gd name="connsiteX47" fmla="*/ 1177617 w 7710919"/>
              <a:gd name="connsiteY47" fmla="*/ 155805 h 3487140"/>
              <a:gd name="connsiteX48" fmla="*/ 1378981 w 7710919"/>
              <a:gd name="connsiteY48" fmla="*/ 156761 h 3487140"/>
              <a:gd name="connsiteX49" fmla="*/ 1631912 w 7710919"/>
              <a:gd name="connsiteY49" fmla="*/ 245175 h 3487140"/>
              <a:gd name="connsiteX50" fmla="*/ 1801004 w 7710919"/>
              <a:gd name="connsiteY50" fmla="*/ 357792 h 3487140"/>
              <a:gd name="connsiteX51" fmla="*/ 1905595 w 7710919"/>
              <a:gd name="connsiteY51" fmla="*/ 483301 h 3487140"/>
              <a:gd name="connsiteX52" fmla="*/ 1929799 w 7710919"/>
              <a:gd name="connsiteY52" fmla="*/ 600951 h 3487140"/>
              <a:gd name="connsiteX53" fmla="*/ 1902268 w 7710919"/>
              <a:gd name="connsiteY53" fmla="*/ 761726 h 3487140"/>
              <a:gd name="connsiteX54" fmla="*/ 2074189 w 7710919"/>
              <a:gd name="connsiteY54" fmla="*/ 1160004 h 3487140"/>
              <a:gd name="connsiteX55" fmla="*/ 2497169 w 7710919"/>
              <a:gd name="connsiteY55" fmla="*/ 1793622 h 3487140"/>
              <a:gd name="connsiteX56" fmla="*/ 2914660 w 7710919"/>
              <a:gd name="connsiteY56" fmla="*/ 2087475 h 3487140"/>
              <a:gd name="connsiteX57" fmla="*/ 3024283 w 7710919"/>
              <a:gd name="connsiteY57" fmla="*/ 2185620 h 3487140"/>
              <a:gd name="connsiteX58" fmla="*/ 2911334 w 7710919"/>
              <a:gd name="connsiteY58" fmla="*/ 2468120 h 3487140"/>
              <a:gd name="connsiteX59" fmla="*/ 2745235 w 7710919"/>
              <a:gd name="connsiteY59" fmla="*/ 2505548 h 3487140"/>
              <a:gd name="connsiteX60" fmla="*/ 2436785 w 7710919"/>
              <a:gd name="connsiteY60" fmla="*/ 2278109 h 3487140"/>
              <a:gd name="connsiteX61" fmla="*/ 1992096 w 7710919"/>
              <a:gd name="connsiteY61" fmla="*/ 1678800 h 3487140"/>
              <a:gd name="connsiteX62" fmla="*/ 1872243 w 7710919"/>
              <a:gd name="connsiteY62" fmla="*/ 1175432 h 3487140"/>
              <a:gd name="connsiteX63" fmla="*/ 2026697 w 7710919"/>
              <a:gd name="connsiteY63" fmla="*/ 1377420 h 3487140"/>
              <a:gd name="connsiteX64" fmla="*/ 2388337 w 7710919"/>
              <a:gd name="connsiteY64" fmla="*/ 2268710 h 3487140"/>
              <a:gd name="connsiteX65" fmla="*/ 2708139 w 7710919"/>
              <a:gd name="connsiteY65" fmla="*/ 2693105 h 3487140"/>
              <a:gd name="connsiteX66" fmla="*/ 2941567 w 7710919"/>
              <a:gd name="connsiteY66" fmla="*/ 2746586 h 3487140"/>
              <a:gd name="connsiteX67" fmla="*/ 3108788 w 7710919"/>
              <a:gd name="connsiteY67" fmla="*/ 2631432 h 3487140"/>
              <a:gd name="connsiteX68" fmla="*/ 3119975 w 7710919"/>
              <a:gd name="connsiteY68" fmla="*/ 2436680 h 3487140"/>
              <a:gd name="connsiteX69" fmla="*/ 2966145 w 7710919"/>
              <a:gd name="connsiteY69" fmla="*/ 2309258 h 3487140"/>
              <a:gd name="connsiteX70" fmla="*/ 2758959 w 7710919"/>
              <a:gd name="connsiteY70" fmla="*/ 2375007 h 3487140"/>
              <a:gd name="connsiteX71" fmla="*/ 2736460 w 7710919"/>
              <a:gd name="connsiteY71" fmla="*/ 2581402 h 3487140"/>
              <a:gd name="connsiteX72" fmla="*/ 2879145 w 7710919"/>
              <a:gd name="connsiteY72" fmla="*/ 2671064 h 3487140"/>
              <a:gd name="connsiteX73" fmla="*/ 2975710 w 7710919"/>
              <a:gd name="connsiteY73" fmla="*/ 2596831 h 3487140"/>
              <a:gd name="connsiteX74" fmla="*/ 2942524 w 7710919"/>
              <a:gd name="connsiteY74" fmla="*/ 2530750 h 3487140"/>
              <a:gd name="connsiteX75" fmla="*/ 2820466 w 7710919"/>
              <a:gd name="connsiteY75" fmla="*/ 2615379 h 3487140"/>
              <a:gd name="connsiteX76" fmla="*/ 2674787 w 7710919"/>
              <a:gd name="connsiteY76" fmla="*/ 2907028 h 3487140"/>
              <a:gd name="connsiteX77" fmla="*/ 2626962 w 7710919"/>
              <a:gd name="connsiteY77" fmla="*/ 3008333 h 3487140"/>
              <a:gd name="connsiteX78" fmla="*/ 2591114 w 7710919"/>
              <a:gd name="connsiteY78" fmla="*/ 3024053 h 3487140"/>
              <a:gd name="connsiteX79" fmla="*/ 2496088 w 7710919"/>
              <a:gd name="connsiteY79" fmla="*/ 3013989 h 3487140"/>
              <a:gd name="connsiteX80" fmla="*/ 2502991 w 7710919"/>
              <a:gd name="connsiteY80" fmla="*/ 2956724 h 3487140"/>
              <a:gd name="connsiteX81" fmla="*/ 2691754 w 7710919"/>
              <a:gd name="connsiteY81" fmla="*/ 2951068 h 3487140"/>
              <a:gd name="connsiteX82" fmla="*/ 2777964 w 7710919"/>
              <a:gd name="connsiteY82" fmla="*/ 2951068 h 3487140"/>
              <a:gd name="connsiteX83" fmla="*/ 2859142 w 7710919"/>
              <a:gd name="connsiteY83" fmla="*/ 2822066 h 3487140"/>
              <a:gd name="connsiteX84" fmla="*/ 2999456 w 7710919"/>
              <a:gd name="connsiteY84" fmla="*/ 2789337 h 3487140"/>
              <a:gd name="connsiteX85" fmla="*/ 3127169 w 7710919"/>
              <a:gd name="connsiteY85" fmla="*/ 2713815 h 3487140"/>
              <a:gd name="connsiteX86" fmla="*/ 3213379 w 7710919"/>
              <a:gd name="connsiteY86" fmla="*/ 2544556 h 3487140"/>
              <a:gd name="connsiteX87" fmla="*/ 3432958 w 7710919"/>
              <a:gd name="connsiteY87" fmla="*/ 2482883 h 3487140"/>
              <a:gd name="connsiteX88" fmla="*/ 3967932 w 7710919"/>
              <a:gd name="connsiteY88" fmla="*/ 2466831 h 3487140"/>
              <a:gd name="connsiteX89" fmla="*/ 4123674 w 7710919"/>
              <a:gd name="connsiteY89" fmla="*/ 2420918 h 3487140"/>
              <a:gd name="connsiteX90" fmla="*/ 3973587 w 7710919"/>
              <a:gd name="connsiteY90" fmla="*/ 2252907 h 3487140"/>
              <a:gd name="connsiteX91" fmla="*/ 3498208 w 7710919"/>
              <a:gd name="connsiteY91" fmla="*/ 1791709 h 3487140"/>
              <a:gd name="connsiteX92" fmla="*/ 3234089 w 7710919"/>
              <a:gd name="connsiteY92" fmla="*/ 1600118 h 3487140"/>
              <a:gd name="connsiteX93" fmla="*/ 3110119 w 7710919"/>
              <a:gd name="connsiteY93" fmla="*/ 1733529 h 3487140"/>
              <a:gd name="connsiteX94" fmla="*/ 3047821 w 7710919"/>
              <a:gd name="connsiteY94" fmla="*/ 1995900 h 3487140"/>
              <a:gd name="connsiteX95" fmla="*/ 3088701 w 7710919"/>
              <a:gd name="connsiteY95" fmla="*/ 2048133 h 3487140"/>
              <a:gd name="connsiteX96" fmla="*/ 3151622 w 7710919"/>
              <a:gd name="connsiteY96" fmla="*/ 1778817 h 3487140"/>
              <a:gd name="connsiteX97" fmla="*/ 3273389 w 7710919"/>
              <a:gd name="connsiteY97" fmla="*/ 1356918 h 3487140"/>
              <a:gd name="connsiteX98" fmla="*/ 3379726 w 7710919"/>
              <a:gd name="connsiteY98" fmla="*/ 986960 h 3487140"/>
              <a:gd name="connsiteX99" fmla="*/ 3350449 w 7710919"/>
              <a:gd name="connsiteY99" fmla="*/ 867107 h 3487140"/>
              <a:gd name="connsiteX100" fmla="*/ 3175535 w 7710919"/>
              <a:gd name="connsiteY100" fmla="*/ 840034 h 3487140"/>
              <a:gd name="connsiteX101" fmla="*/ 3031436 w 7710919"/>
              <a:gd name="connsiteY101" fmla="*/ 782769 h 3487140"/>
              <a:gd name="connsiteX102" fmla="*/ 3047780 w 7710919"/>
              <a:gd name="connsiteY102" fmla="*/ 714816 h 3487140"/>
              <a:gd name="connsiteX103" fmla="*/ 3221447 w 7710919"/>
              <a:gd name="connsiteY103" fmla="*/ 723008 h 3487140"/>
              <a:gd name="connsiteX104" fmla="*/ 3424058 w 7710919"/>
              <a:gd name="connsiteY104" fmla="*/ 729288 h 3487140"/>
              <a:gd name="connsiteX105" fmla="*/ 3590780 w 7710919"/>
              <a:gd name="connsiteY105" fmla="*/ 682087 h 3487140"/>
              <a:gd name="connsiteX106" fmla="*/ 3708429 w 7710919"/>
              <a:gd name="connsiteY106" fmla="*/ 703463 h 3487140"/>
              <a:gd name="connsiteX107" fmla="*/ 3731094 w 7710919"/>
              <a:gd name="connsiteY107" fmla="*/ 797199 h 3487140"/>
              <a:gd name="connsiteX108" fmla="*/ 3603381 w 7710919"/>
              <a:gd name="connsiteY108" fmla="*/ 890936 h 3487140"/>
              <a:gd name="connsiteX109" fmla="*/ 3433498 w 7710919"/>
              <a:gd name="connsiteY109" fmla="*/ 918009 h 3487140"/>
              <a:gd name="connsiteX110" fmla="*/ 3305785 w 7710919"/>
              <a:gd name="connsiteY110" fmla="*/ 1002306 h 3487140"/>
              <a:gd name="connsiteX111" fmla="*/ 3204895 w 7710919"/>
              <a:gd name="connsiteY111" fmla="*/ 1299902 h 3487140"/>
              <a:gd name="connsiteX112" fmla="*/ 3265945 w 7710919"/>
              <a:gd name="connsiteY112" fmla="*/ 1545930 h 3487140"/>
              <a:gd name="connsiteX113" fmla="*/ 3478620 w 7710919"/>
              <a:gd name="connsiteY113" fmla="*/ 1536490 h 3487140"/>
              <a:gd name="connsiteX114" fmla="*/ 3658151 w 7710919"/>
              <a:gd name="connsiteY114" fmla="*/ 1376048 h 3487140"/>
              <a:gd name="connsiteX115" fmla="*/ 3661312 w 7710919"/>
              <a:gd name="connsiteY115" fmla="*/ 1231949 h 3487140"/>
              <a:gd name="connsiteX116" fmla="*/ 3443271 w 7710919"/>
              <a:gd name="connsiteY116" fmla="*/ 1191693 h 3487140"/>
              <a:gd name="connsiteX117" fmla="*/ 3451755 w 7710919"/>
              <a:gd name="connsiteY117" fmla="*/ 1255238 h 3487140"/>
              <a:gd name="connsiteX118" fmla="*/ 3876773 w 7710919"/>
              <a:gd name="connsiteY118" fmla="*/ 1241722 h 3487140"/>
              <a:gd name="connsiteX119" fmla="*/ 4361593 w 7710919"/>
              <a:gd name="connsiteY119" fmla="*/ 1259646 h 3487140"/>
              <a:gd name="connsiteX120" fmla="*/ 4590945 w 7710919"/>
              <a:gd name="connsiteY120" fmla="*/ 1236981 h 3487140"/>
              <a:gd name="connsiteX121" fmla="*/ 4572689 w 7710919"/>
              <a:gd name="connsiteY121" fmla="*/ 1185995 h 3487140"/>
              <a:gd name="connsiteX122" fmla="*/ 4212171 w 7710919"/>
              <a:gd name="connsiteY122" fmla="*/ 1177512 h 3487140"/>
              <a:gd name="connsiteX123" fmla="*/ 3841591 w 7710919"/>
              <a:gd name="connsiteY123" fmla="*/ 1331342 h 3487140"/>
              <a:gd name="connsiteX124" fmla="*/ 3495837 w 7710919"/>
              <a:gd name="connsiteY124" fmla="*/ 1604110 h 3487140"/>
              <a:gd name="connsiteX125" fmla="*/ 3263034 w 7710919"/>
              <a:gd name="connsiteY125" fmla="*/ 1921252 h 3487140"/>
              <a:gd name="connsiteX126" fmla="*/ 3167384 w 7710919"/>
              <a:gd name="connsiteY126" fmla="*/ 2419255 h 3487140"/>
              <a:gd name="connsiteX127" fmla="*/ 3397692 w 7710919"/>
              <a:gd name="connsiteY127" fmla="*/ 3048465 h 3487140"/>
              <a:gd name="connsiteX128" fmla="*/ 3975917 w 7710919"/>
              <a:gd name="connsiteY128" fmla="*/ 3394510 h 3487140"/>
              <a:gd name="connsiteX129" fmla="*/ 4614566 w 7710919"/>
              <a:gd name="connsiteY129" fmla="*/ 3330632 h 3487140"/>
              <a:gd name="connsiteX130" fmla="*/ 5109741 w 7710919"/>
              <a:gd name="connsiteY130" fmla="*/ 2841404 h 3487140"/>
              <a:gd name="connsiteX131" fmla="*/ 5143094 w 7710919"/>
              <a:gd name="connsiteY131" fmla="*/ 2052999 h 3487140"/>
              <a:gd name="connsiteX132" fmla="*/ 4712087 w 7710919"/>
              <a:gd name="connsiteY132" fmla="*/ 1482011 h 3487140"/>
              <a:gd name="connsiteX133" fmla="*/ 4245233 w 7710919"/>
              <a:gd name="connsiteY133" fmla="*/ 1352717 h 3487140"/>
              <a:gd name="connsiteX134" fmla="*/ 4084791 w 7710919"/>
              <a:gd name="connsiteY134" fmla="*/ 1466624 h 3487140"/>
              <a:gd name="connsiteX135" fmla="*/ 4106832 w 7710919"/>
              <a:gd name="connsiteY135" fmla="*/ 2001140 h 3487140"/>
              <a:gd name="connsiteX136" fmla="*/ 4140808 w 7710919"/>
              <a:gd name="connsiteY136" fmla="*/ 2313208 h 3487140"/>
              <a:gd name="connsiteX137" fmla="*/ 4232508 w 7710919"/>
              <a:gd name="connsiteY137" fmla="*/ 2399085 h 3487140"/>
              <a:gd name="connsiteX138" fmla="*/ 4336974 w 7710919"/>
              <a:gd name="connsiteY138" fmla="*/ 2362905 h 3487140"/>
              <a:gd name="connsiteX139" fmla="*/ 4301583 w 7710919"/>
              <a:gd name="connsiteY139" fmla="*/ 2271372 h 3487140"/>
              <a:gd name="connsiteX140" fmla="*/ 4203979 w 7710919"/>
              <a:gd name="connsiteY140" fmla="*/ 2303394 h 3487140"/>
              <a:gd name="connsiteX141" fmla="*/ 4187593 w 7710919"/>
              <a:gd name="connsiteY141" fmla="*/ 2437262 h 3487140"/>
              <a:gd name="connsiteX142" fmla="*/ 4186512 w 7710919"/>
              <a:gd name="connsiteY142" fmla="*/ 2519521 h 3487140"/>
              <a:gd name="connsiteX143" fmla="*/ 4007398 w 7710919"/>
              <a:gd name="connsiteY143" fmla="*/ 2539400 h 3487140"/>
              <a:gd name="connsiteX144" fmla="*/ 3597143 w 7710919"/>
              <a:gd name="connsiteY144" fmla="*/ 2545679 h 3487140"/>
              <a:gd name="connsiteX145" fmla="*/ 3356771 w 7710919"/>
              <a:gd name="connsiteY145" fmla="*/ 2602944 h 3487140"/>
              <a:gd name="connsiteX146" fmla="*/ 3347164 w 7710919"/>
              <a:gd name="connsiteY146" fmla="*/ 2790460 h 3487140"/>
              <a:gd name="connsiteX147" fmla="*/ 3540501 w 7710919"/>
              <a:gd name="connsiteY147" fmla="*/ 3133385 h 3487140"/>
              <a:gd name="connsiteX148" fmla="*/ 4032391 w 7710919"/>
              <a:gd name="connsiteY148" fmla="*/ 3465290 h 3487140"/>
              <a:gd name="connsiteX149" fmla="*/ 4773137 w 7710919"/>
              <a:gd name="connsiteY149" fmla="*/ 3390434 h 3487140"/>
              <a:gd name="connsiteX150" fmla="*/ 5212960 w 7710919"/>
              <a:gd name="connsiteY150" fmla="*/ 3017940 h 3487140"/>
              <a:gd name="connsiteX151" fmla="*/ 5526941 w 7710919"/>
              <a:gd name="connsiteY151" fmla="*/ 2655510 h 3487140"/>
              <a:gd name="connsiteX152" fmla="*/ 5899435 w 7710919"/>
              <a:gd name="connsiteY152" fmla="*/ 3163577 h 3487140"/>
              <a:gd name="connsiteX153" fmla="*/ 6123422 w 7710919"/>
              <a:gd name="connsiteY153" fmla="*/ 3255443 h 3487140"/>
              <a:gd name="connsiteX154" fmla="*/ 6201439 w 7710919"/>
              <a:gd name="connsiteY154" fmla="*/ 2786675 h 3487140"/>
              <a:gd name="connsiteX155" fmla="*/ 6511012 w 7710919"/>
              <a:gd name="connsiteY155" fmla="*/ 2869724 h 3487140"/>
              <a:gd name="connsiteX156" fmla="*/ 6749804 w 7710919"/>
              <a:gd name="connsiteY156" fmla="*/ 3245046 h 3487140"/>
              <a:gd name="connsiteX157" fmla="*/ 7122297 w 7710919"/>
              <a:gd name="connsiteY157" fmla="*/ 3329676 h 3487140"/>
              <a:gd name="connsiteX158" fmla="*/ 7710919 w 7710919"/>
              <a:gd name="connsiteY158" fmla="*/ 3217682 h 3487140"/>
              <a:gd name="connsiteX0" fmla="*/ 240411 w 7603996"/>
              <a:gd name="connsiteY0" fmla="*/ 3339906 h 3487140"/>
              <a:gd name="connsiteX1" fmla="*/ 698533 w 7603996"/>
              <a:gd name="connsiteY1" fmla="*/ 3385485 h 3487140"/>
              <a:gd name="connsiteX2" fmla="*/ 777215 w 7603996"/>
              <a:gd name="connsiteY2" fmla="*/ 3295741 h 3487140"/>
              <a:gd name="connsiteX3" fmla="*/ 526113 w 7603996"/>
              <a:gd name="connsiteY3" fmla="*/ 3112384 h 3487140"/>
              <a:gd name="connsiteX4" fmla="*/ 219950 w 7603996"/>
              <a:gd name="connsiteY4" fmla="*/ 2750287 h 3487140"/>
              <a:gd name="connsiteX5" fmla="*/ 128418 w 7603996"/>
              <a:gd name="connsiteY5" fmla="*/ 2305432 h 3487140"/>
              <a:gd name="connsiteX6" fmla="*/ 256006 w 7603996"/>
              <a:gd name="connsiteY6" fmla="*/ 1919713 h 3487140"/>
              <a:gd name="connsiteX7" fmla="*/ 580218 w 7603996"/>
              <a:gd name="connsiteY7" fmla="*/ 1637837 h 3487140"/>
              <a:gd name="connsiteX8" fmla="*/ 1073522 w 7603996"/>
              <a:gd name="connsiteY8" fmla="*/ 1545972 h 3487140"/>
              <a:gd name="connsiteX9" fmla="*/ 1308197 w 7603996"/>
              <a:gd name="connsiteY9" fmla="*/ 1517651 h 3487140"/>
              <a:gd name="connsiteX10" fmla="*/ 1292934 w 7603996"/>
              <a:gd name="connsiteY10" fmla="*/ 1460718 h 3487140"/>
              <a:gd name="connsiteX11" fmla="*/ 1016880 w 7603996"/>
              <a:gd name="connsiteY11" fmla="*/ 1416969 h 3487140"/>
              <a:gd name="connsiteX12" fmla="*/ 497460 w 7603996"/>
              <a:gd name="connsiteY12" fmla="*/ 1517318 h 3487140"/>
              <a:gd name="connsiteX13" fmla="*/ 88162 w 7603996"/>
              <a:gd name="connsiteY13" fmla="*/ 1960593 h 3487140"/>
              <a:gd name="connsiteX14" fmla="*/ 28692 w 7603996"/>
              <a:gd name="connsiteY14" fmla="*/ 2569342 h 3487140"/>
              <a:gd name="connsiteX15" fmla="*/ 442399 w 7603996"/>
              <a:gd name="connsiteY15" fmla="*/ 3165532 h 3487140"/>
              <a:gd name="connsiteX16" fmla="*/ 1232384 w 7603996"/>
              <a:gd name="connsiteY16" fmla="*/ 3283181 h 3487140"/>
              <a:gd name="connsiteX17" fmla="*/ 1835020 w 7603996"/>
              <a:gd name="connsiteY17" fmla="*/ 2757481 h 3487140"/>
              <a:gd name="connsiteX18" fmla="*/ 1824789 w 7603996"/>
              <a:gd name="connsiteY18" fmla="*/ 1980430 h 3487140"/>
              <a:gd name="connsiteX19" fmla="*/ 1494755 w 7603996"/>
              <a:gd name="connsiteY19" fmla="*/ 1589139 h 3487140"/>
              <a:gd name="connsiteX20" fmla="*/ 1305701 w 7603996"/>
              <a:gd name="connsiteY20" fmla="*/ 1660710 h 3487140"/>
              <a:gd name="connsiteX21" fmla="*/ 1197284 w 7603996"/>
              <a:gd name="connsiteY21" fmla="*/ 2116627 h 3487140"/>
              <a:gd name="connsiteX22" fmla="*/ 973921 w 7603996"/>
              <a:gd name="connsiteY22" fmla="*/ 2374258 h 3487140"/>
              <a:gd name="connsiteX23" fmla="*/ 918985 w 7603996"/>
              <a:gd name="connsiteY23" fmla="*/ 2276986 h 3487140"/>
              <a:gd name="connsiteX24" fmla="*/ 1298257 w 7603996"/>
              <a:gd name="connsiteY24" fmla="*/ 2021601 h 3487140"/>
              <a:gd name="connsiteX25" fmla="*/ 1558176 w 7603996"/>
              <a:gd name="connsiteY25" fmla="*/ 1234153 h 3487140"/>
              <a:gd name="connsiteX26" fmla="*/ 1788276 w 7603996"/>
              <a:gd name="connsiteY26" fmla="*/ 725296 h 3487140"/>
              <a:gd name="connsiteX27" fmla="*/ 1896859 w 7603996"/>
              <a:gd name="connsiteY27" fmla="*/ 539984 h 3487140"/>
              <a:gd name="connsiteX28" fmla="*/ 1865711 w 7603996"/>
              <a:gd name="connsiteY28" fmla="*/ 435851 h 3487140"/>
              <a:gd name="connsiteX29" fmla="*/ 1759373 w 7603996"/>
              <a:gd name="connsiteY29" fmla="*/ 350265 h 3487140"/>
              <a:gd name="connsiteX30" fmla="*/ 1714085 w 7603996"/>
              <a:gd name="connsiteY30" fmla="*/ 209327 h 3487140"/>
              <a:gd name="connsiteX31" fmla="*/ 1758915 w 7603996"/>
              <a:gd name="connsiteY31" fmla="*/ 82237 h 3487140"/>
              <a:gd name="connsiteX32" fmla="*/ 1939195 w 7603996"/>
              <a:gd name="connsiteY32" fmla="*/ 6716 h 3487140"/>
              <a:gd name="connsiteX33" fmla="*/ 2207888 w 7603996"/>
              <a:gd name="connsiteY33" fmla="*/ 10167 h 3487140"/>
              <a:gd name="connsiteX34" fmla="*/ 2291561 w 7603996"/>
              <a:gd name="connsiteY34" fmla="*/ 49800 h 3487140"/>
              <a:gd name="connsiteX35" fmla="*/ 2244526 w 7603996"/>
              <a:gd name="connsiteY35" fmla="*/ 86812 h 3487140"/>
              <a:gd name="connsiteX36" fmla="*/ 2008603 w 7603996"/>
              <a:gd name="connsiteY36" fmla="*/ 91886 h 3487140"/>
              <a:gd name="connsiteX37" fmla="*/ 1765070 w 7603996"/>
              <a:gd name="connsiteY37" fmla="*/ 75833 h 3487140"/>
              <a:gd name="connsiteX38" fmla="*/ 1657319 w 7603996"/>
              <a:gd name="connsiteY38" fmla="*/ 176931 h 3487140"/>
              <a:gd name="connsiteX39" fmla="*/ 1672581 w 7603996"/>
              <a:gd name="connsiteY39" fmla="*/ 370393 h 3487140"/>
              <a:gd name="connsiteX40" fmla="*/ 1617354 w 7603996"/>
              <a:gd name="connsiteY40" fmla="*/ 589348 h 3487140"/>
              <a:gd name="connsiteX41" fmla="*/ 1460820 w 7603996"/>
              <a:gd name="connsiteY41" fmla="*/ 903953 h 3487140"/>
              <a:gd name="connsiteX42" fmla="*/ 1250349 w 7603996"/>
              <a:gd name="connsiteY42" fmla="*/ 922501 h 3487140"/>
              <a:gd name="connsiteX43" fmla="*/ 1055930 w 7603996"/>
              <a:gd name="connsiteY43" fmla="*/ 866816 h 3487140"/>
              <a:gd name="connsiteX44" fmla="*/ 997085 w 7603996"/>
              <a:gd name="connsiteY44" fmla="*/ 751038 h 3487140"/>
              <a:gd name="connsiteX45" fmla="*/ 1009021 w 7603996"/>
              <a:gd name="connsiteY45" fmla="*/ 369436 h 3487140"/>
              <a:gd name="connsiteX46" fmla="*/ 1070694 w 7603996"/>
              <a:gd name="connsiteY46" fmla="*/ 155805 h 3487140"/>
              <a:gd name="connsiteX47" fmla="*/ 1272058 w 7603996"/>
              <a:gd name="connsiteY47" fmla="*/ 156761 h 3487140"/>
              <a:gd name="connsiteX48" fmla="*/ 1524989 w 7603996"/>
              <a:gd name="connsiteY48" fmla="*/ 245175 h 3487140"/>
              <a:gd name="connsiteX49" fmla="*/ 1694081 w 7603996"/>
              <a:gd name="connsiteY49" fmla="*/ 357792 h 3487140"/>
              <a:gd name="connsiteX50" fmla="*/ 1798672 w 7603996"/>
              <a:gd name="connsiteY50" fmla="*/ 483301 h 3487140"/>
              <a:gd name="connsiteX51" fmla="*/ 1822876 w 7603996"/>
              <a:gd name="connsiteY51" fmla="*/ 600951 h 3487140"/>
              <a:gd name="connsiteX52" fmla="*/ 1795345 w 7603996"/>
              <a:gd name="connsiteY52" fmla="*/ 761726 h 3487140"/>
              <a:gd name="connsiteX53" fmla="*/ 1967266 w 7603996"/>
              <a:gd name="connsiteY53" fmla="*/ 1160004 h 3487140"/>
              <a:gd name="connsiteX54" fmla="*/ 2390246 w 7603996"/>
              <a:gd name="connsiteY54" fmla="*/ 1793622 h 3487140"/>
              <a:gd name="connsiteX55" fmla="*/ 2807737 w 7603996"/>
              <a:gd name="connsiteY55" fmla="*/ 2087475 h 3487140"/>
              <a:gd name="connsiteX56" fmla="*/ 2917360 w 7603996"/>
              <a:gd name="connsiteY56" fmla="*/ 2185620 h 3487140"/>
              <a:gd name="connsiteX57" fmla="*/ 2804411 w 7603996"/>
              <a:gd name="connsiteY57" fmla="*/ 2468120 h 3487140"/>
              <a:gd name="connsiteX58" fmla="*/ 2638312 w 7603996"/>
              <a:gd name="connsiteY58" fmla="*/ 2505548 h 3487140"/>
              <a:gd name="connsiteX59" fmla="*/ 2329862 w 7603996"/>
              <a:gd name="connsiteY59" fmla="*/ 2278109 h 3487140"/>
              <a:gd name="connsiteX60" fmla="*/ 1885173 w 7603996"/>
              <a:gd name="connsiteY60" fmla="*/ 1678800 h 3487140"/>
              <a:gd name="connsiteX61" fmla="*/ 1765320 w 7603996"/>
              <a:gd name="connsiteY61" fmla="*/ 1175432 h 3487140"/>
              <a:gd name="connsiteX62" fmla="*/ 1919774 w 7603996"/>
              <a:gd name="connsiteY62" fmla="*/ 1377420 h 3487140"/>
              <a:gd name="connsiteX63" fmla="*/ 2281414 w 7603996"/>
              <a:gd name="connsiteY63" fmla="*/ 2268710 h 3487140"/>
              <a:gd name="connsiteX64" fmla="*/ 2601216 w 7603996"/>
              <a:gd name="connsiteY64" fmla="*/ 2693105 h 3487140"/>
              <a:gd name="connsiteX65" fmla="*/ 2834644 w 7603996"/>
              <a:gd name="connsiteY65" fmla="*/ 2746586 h 3487140"/>
              <a:gd name="connsiteX66" fmla="*/ 3001865 w 7603996"/>
              <a:gd name="connsiteY66" fmla="*/ 2631432 h 3487140"/>
              <a:gd name="connsiteX67" fmla="*/ 3013052 w 7603996"/>
              <a:gd name="connsiteY67" fmla="*/ 2436680 h 3487140"/>
              <a:gd name="connsiteX68" fmla="*/ 2859222 w 7603996"/>
              <a:gd name="connsiteY68" fmla="*/ 2309258 h 3487140"/>
              <a:gd name="connsiteX69" fmla="*/ 2652036 w 7603996"/>
              <a:gd name="connsiteY69" fmla="*/ 2375007 h 3487140"/>
              <a:gd name="connsiteX70" fmla="*/ 2629537 w 7603996"/>
              <a:gd name="connsiteY70" fmla="*/ 2581402 h 3487140"/>
              <a:gd name="connsiteX71" fmla="*/ 2772222 w 7603996"/>
              <a:gd name="connsiteY71" fmla="*/ 2671064 h 3487140"/>
              <a:gd name="connsiteX72" fmla="*/ 2868787 w 7603996"/>
              <a:gd name="connsiteY72" fmla="*/ 2596831 h 3487140"/>
              <a:gd name="connsiteX73" fmla="*/ 2835601 w 7603996"/>
              <a:gd name="connsiteY73" fmla="*/ 2530750 h 3487140"/>
              <a:gd name="connsiteX74" fmla="*/ 2713543 w 7603996"/>
              <a:gd name="connsiteY74" fmla="*/ 2615379 h 3487140"/>
              <a:gd name="connsiteX75" fmla="*/ 2567864 w 7603996"/>
              <a:gd name="connsiteY75" fmla="*/ 2907028 h 3487140"/>
              <a:gd name="connsiteX76" fmla="*/ 2520039 w 7603996"/>
              <a:gd name="connsiteY76" fmla="*/ 3008333 h 3487140"/>
              <a:gd name="connsiteX77" fmla="*/ 2484191 w 7603996"/>
              <a:gd name="connsiteY77" fmla="*/ 3024053 h 3487140"/>
              <a:gd name="connsiteX78" fmla="*/ 2389165 w 7603996"/>
              <a:gd name="connsiteY78" fmla="*/ 3013989 h 3487140"/>
              <a:gd name="connsiteX79" fmla="*/ 2396068 w 7603996"/>
              <a:gd name="connsiteY79" fmla="*/ 2956724 h 3487140"/>
              <a:gd name="connsiteX80" fmla="*/ 2584831 w 7603996"/>
              <a:gd name="connsiteY80" fmla="*/ 2951068 h 3487140"/>
              <a:gd name="connsiteX81" fmla="*/ 2671041 w 7603996"/>
              <a:gd name="connsiteY81" fmla="*/ 2951068 h 3487140"/>
              <a:gd name="connsiteX82" fmla="*/ 2752219 w 7603996"/>
              <a:gd name="connsiteY82" fmla="*/ 2822066 h 3487140"/>
              <a:gd name="connsiteX83" fmla="*/ 2892533 w 7603996"/>
              <a:gd name="connsiteY83" fmla="*/ 2789337 h 3487140"/>
              <a:gd name="connsiteX84" fmla="*/ 3020246 w 7603996"/>
              <a:gd name="connsiteY84" fmla="*/ 2713815 h 3487140"/>
              <a:gd name="connsiteX85" fmla="*/ 3106456 w 7603996"/>
              <a:gd name="connsiteY85" fmla="*/ 2544556 h 3487140"/>
              <a:gd name="connsiteX86" fmla="*/ 3326035 w 7603996"/>
              <a:gd name="connsiteY86" fmla="*/ 2482883 h 3487140"/>
              <a:gd name="connsiteX87" fmla="*/ 3861009 w 7603996"/>
              <a:gd name="connsiteY87" fmla="*/ 2466831 h 3487140"/>
              <a:gd name="connsiteX88" fmla="*/ 4016751 w 7603996"/>
              <a:gd name="connsiteY88" fmla="*/ 2420918 h 3487140"/>
              <a:gd name="connsiteX89" fmla="*/ 3866664 w 7603996"/>
              <a:gd name="connsiteY89" fmla="*/ 2252907 h 3487140"/>
              <a:gd name="connsiteX90" fmla="*/ 3391285 w 7603996"/>
              <a:gd name="connsiteY90" fmla="*/ 1791709 h 3487140"/>
              <a:gd name="connsiteX91" fmla="*/ 3127166 w 7603996"/>
              <a:gd name="connsiteY91" fmla="*/ 1600118 h 3487140"/>
              <a:gd name="connsiteX92" fmla="*/ 3003196 w 7603996"/>
              <a:gd name="connsiteY92" fmla="*/ 1733529 h 3487140"/>
              <a:gd name="connsiteX93" fmla="*/ 2940898 w 7603996"/>
              <a:gd name="connsiteY93" fmla="*/ 1995900 h 3487140"/>
              <a:gd name="connsiteX94" fmla="*/ 2981778 w 7603996"/>
              <a:gd name="connsiteY94" fmla="*/ 2048133 h 3487140"/>
              <a:gd name="connsiteX95" fmla="*/ 3044699 w 7603996"/>
              <a:gd name="connsiteY95" fmla="*/ 1778817 h 3487140"/>
              <a:gd name="connsiteX96" fmla="*/ 3166466 w 7603996"/>
              <a:gd name="connsiteY96" fmla="*/ 1356918 h 3487140"/>
              <a:gd name="connsiteX97" fmla="*/ 3272803 w 7603996"/>
              <a:gd name="connsiteY97" fmla="*/ 986960 h 3487140"/>
              <a:gd name="connsiteX98" fmla="*/ 3243526 w 7603996"/>
              <a:gd name="connsiteY98" fmla="*/ 867107 h 3487140"/>
              <a:gd name="connsiteX99" fmla="*/ 3068612 w 7603996"/>
              <a:gd name="connsiteY99" fmla="*/ 840034 h 3487140"/>
              <a:gd name="connsiteX100" fmla="*/ 2924513 w 7603996"/>
              <a:gd name="connsiteY100" fmla="*/ 782769 h 3487140"/>
              <a:gd name="connsiteX101" fmla="*/ 2940857 w 7603996"/>
              <a:gd name="connsiteY101" fmla="*/ 714816 h 3487140"/>
              <a:gd name="connsiteX102" fmla="*/ 3114524 w 7603996"/>
              <a:gd name="connsiteY102" fmla="*/ 723008 h 3487140"/>
              <a:gd name="connsiteX103" fmla="*/ 3317135 w 7603996"/>
              <a:gd name="connsiteY103" fmla="*/ 729288 h 3487140"/>
              <a:gd name="connsiteX104" fmla="*/ 3483857 w 7603996"/>
              <a:gd name="connsiteY104" fmla="*/ 682087 h 3487140"/>
              <a:gd name="connsiteX105" fmla="*/ 3601506 w 7603996"/>
              <a:gd name="connsiteY105" fmla="*/ 703463 h 3487140"/>
              <a:gd name="connsiteX106" fmla="*/ 3624171 w 7603996"/>
              <a:gd name="connsiteY106" fmla="*/ 797199 h 3487140"/>
              <a:gd name="connsiteX107" fmla="*/ 3496458 w 7603996"/>
              <a:gd name="connsiteY107" fmla="*/ 890936 h 3487140"/>
              <a:gd name="connsiteX108" fmla="*/ 3326575 w 7603996"/>
              <a:gd name="connsiteY108" fmla="*/ 918009 h 3487140"/>
              <a:gd name="connsiteX109" fmla="*/ 3198862 w 7603996"/>
              <a:gd name="connsiteY109" fmla="*/ 1002306 h 3487140"/>
              <a:gd name="connsiteX110" fmla="*/ 3097972 w 7603996"/>
              <a:gd name="connsiteY110" fmla="*/ 1299902 h 3487140"/>
              <a:gd name="connsiteX111" fmla="*/ 3159022 w 7603996"/>
              <a:gd name="connsiteY111" fmla="*/ 1545930 h 3487140"/>
              <a:gd name="connsiteX112" fmla="*/ 3371697 w 7603996"/>
              <a:gd name="connsiteY112" fmla="*/ 1536490 h 3487140"/>
              <a:gd name="connsiteX113" fmla="*/ 3551228 w 7603996"/>
              <a:gd name="connsiteY113" fmla="*/ 1376048 h 3487140"/>
              <a:gd name="connsiteX114" fmla="*/ 3554389 w 7603996"/>
              <a:gd name="connsiteY114" fmla="*/ 1231949 h 3487140"/>
              <a:gd name="connsiteX115" fmla="*/ 3336348 w 7603996"/>
              <a:gd name="connsiteY115" fmla="*/ 1191693 h 3487140"/>
              <a:gd name="connsiteX116" fmla="*/ 3344832 w 7603996"/>
              <a:gd name="connsiteY116" fmla="*/ 1255238 h 3487140"/>
              <a:gd name="connsiteX117" fmla="*/ 3769850 w 7603996"/>
              <a:gd name="connsiteY117" fmla="*/ 1241722 h 3487140"/>
              <a:gd name="connsiteX118" fmla="*/ 4254670 w 7603996"/>
              <a:gd name="connsiteY118" fmla="*/ 1259646 h 3487140"/>
              <a:gd name="connsiteX119" fmla="*/ 4484022 w 7603996"/>
              <a:gd name="connsiteY119" fmla="*/ 1236981 h 3487140"/>
              <a:gd name="connsiteX120" fmla="*/ 4465766 w 7603996"/>
              <a:gd name="connsiteY120" fmla="*/ 1185995 h 3487140"/>
              <a:gd name="connsiteX121" fmla="*/ 4105248 w 7603996"/>
              <a:gd name="connsiteY121" fmla="*/ 1177512 h 3487140"/>
              <a:gd name="connsiteX122" fmla="*/ 3734668 w 7603996"/>
              <a:gd name="connsiteY122" fmla="*/ 1331342 h 3487140"/>
              <a:gd name="connsiteX123" fmla="*/ 3388914 w 7603996"/>
              <a:gd name="connsiteY123" fmla="*/ 1604110 h 3487140"/>
              <a:gd name="connsiteX124" fmla="*/ 3156111 w 7603996"/>
              <a:gd name="connsiteY124" fmla="*/ 1921252 h 3487140"/>
              <a:gd name="connsiteX125" fmla="*/ 3060461 w 7603996"/>
              <a:gd name="connsiteY125" fmla="*/ 2419255 h 3487140"/>
              <a:gd name="connsiteX126" fmla="*/ 3290769 w 7603996"/>
              <a:gd name="connsiteY126" fmla="*/ 3048465 h 3487140"/>
              <a:gd name="connsiteX127" fmla="*/ 3868994 w 7603996"/>
              <a:gd name="connsiteY127" fmla="*/ 3394510 h 3487140"/>
              <a:gd name="connsiteX128" fmla="*/ 4507643 w 7603996"/>
              <a:gd name="connsiteY128" fmla="*/ 3330632 h 3487140"/>
              <a:gd name="connsiteX129" fmla="*/ 5002818 w 7603996"/>
              <a:gd name="connsiteY129" fmla="*/ 2841404 h 3487140"/>
              <a:gd name="connsiteX130" fmla="*/ 5036171 w 7603996"/>
              <a:gd name="connsiteY130" fmla="*/ 2052999 h 3487140"/>
              <a:gd name="connsiteX131" fmla="*/ 4605164 w 7603996"/>
              <a:gd name="connsiteY131" fmla="*/ 1482011 h 3487140"/>
              <a:gd name="connsiteX132" fmla="*/ 4138310 w 7603996"/>
              <a:gd name="connsiteY132" fmla="*/ 1352717 h 3487140"/>
              <a:gd name="connsiteX133" fmla="*/ 3977868 w 7603996"/>
              <a:gd name="connsiteY133" fmla="*/ 1466624 h 3487140"/>
              <a:gd name="connsiteX134" fmla="*/ 3999909 w 7603996"/>
              <a:gd name="connsiteY134" fmla="*/ 2001140 h 3487140"/>
              <a:gd name="connsiteX135" fmla="*/ 4033885 w 7603996"/>
              <a:gd name="connsiteY135" fmla="*/ 2313208 h 3487140"/>
              <a:gd name="connsiteX136" fmla="*/ 4125585 w 7603996"/>
              <a:gd name="connsiteY136" fmla="*/ 2399085 h 3487140"/>
              <a:gd name="connsiteX137" fmla="*/ 4230051 w 7603996"/>
              <a:gd name="connsiteY137" fmla="*/ 2362905 h 3487140"/>
              <a:gd name="connsiteX138" fmla="*/ 4194660 w 7603996"/>
              <a:gd name="connsiteY138" fmla="*/ 2271372 h 3487140"/>
              <a:gd name="connsiteX139" fmla="*/ 4097056 w 7603996"/>
              <a:gd name="connsiteY139" fmla="*/ 2303394 h 3487140"/>
              <a:gd name="connsiteX140" fmla="*/ 4080670 w 7603996"/>
              <a:gd name="connsiteY140" fmla="*/ 2437262 h 3487140"/>
              <a:gd name="connsiteX141" fmla="*/ 4079589 w 7603996"/>
              <a:gd name="connsiteY141" fmla="*/ 2519521 h 3487140"/>
              <a:gd name="connsiteX142" fmla="*/ 3900475 w 7603996"/>
              <a:gd name="connsiteY142" fmla="*/ 2539400 h 3487140"/>
              <a:gd name="connsiteX143" fmla="*/ 3490220 w 7603996"/>
              <a:gd name="connsiteY143" fmla="*/ 2545679 h 3487140"/>
              <a:gd name="connsiteX144" fmla="*/ 3249848 w 7603996"/>
              <a:gd name="connsiteY144" fmla="*/ 2602944 h 3487140"/>
              <a:gd name="connsiteX145" fmla="*/ 3240241 w 7603996"/>
              <a:gd name="connsiteY145" fmla="*/ 2790460 h 3487140"/>
              <a:gd name="connsiteX146" fmla="*/ 3433578 w 7603996"/>
              <a:gd name="connsiteY146" fmla="*/ 3133385 h 3487140"/>
              <a:gd name="connsiteX147" fmla="*/ 3925468 w 7603996"/>
              <a:gd name="connsiteY147" fmla="*/ 3465290 h 3487140"/>
              <a:gd name="connsiteX148" fmla="*/ 4666214 w 7603996"/>
              <a:gd name="connsiteY148" fmla="*/ 3390434 h 3487140"/>
              <a:gd name="connsiteX149" fmla="*/ 5106037 w 7603996"/>
              <a:gd name="connsiteY149" fmla="*/ 3017940 h 3487140"/>
              <a:gd name="connsiteX150" fmla="*/ 5420018 w 7603996"/>
              <a:gd name="connsiteY150" fmla="*/ 2655510 h 3487140"/>
              <a:gd name="connsiteX151" fmla="*/ 5792512 w 7603996"/>
              <a:gd name="connsiteY151" fmla="*/ 3163577 h 3487140"/>
              <a:gd name="connsiteX152" fmla="*/ 6016499 w 7603996"/>
              <a:gd name="connsiteY152" fmla="*/ 3255443 h 3487140"/>
              <a:gd name="connsiteX153" fmla="*/ 6094516 w 7603996"/>
              <a:gd name="connsiteY153" fmla="*/ 2786675 h 3487140"/>
              <a:gd name="connsiteX154" fmla="*/ 6404089 w 7603996"/>
              <a:gd name="connsiteY154" fmla="*/ 2869724 h 3487140"/>
              <a:gd name="connsiteX155" fmla="*/ 6642881 w 7603996"/>
              <a:gd name="connsiteY155" fmla="*/ 3245046 h 3487140"/>
              <a:gd name="connsiteX156" fmla="*/ 7015374 w 7603996"/>
              <a:gd name="connsiteY156" fmla="*/ 3329676 h 3487140"/>
              <a:gd name="connsiteX157" fmla="*/ 7603996 w 7603996"/>
              <a:gd name="connsiteY157" fmla="*/ 3217682 h 3487140"/>
              <a:gd name="connsiteX0" fmla="*/ 698533 w 7603996"/>
              <a:gd name="connsiteY0" fmla="*/ 3385485 h 3487140"/>
              <a:gd name="connsiteX1" fmla="*/ 777215 w 7603996"/>
              <a:gd name="connsiteY1" fmla="*/ 3295741 h 3487140"/>
              <a:gd name="connsiteX2" fmla="*/ 526113 w 7603996"/>
              <a:gd name="connsiteY2" fmla="*/ 3112384 h 3487140"/>
              <a:gd name="connsiteX3" fmla="*/ 219950 w 7603996"/>
              <a:gd name="connsiteY3" fmla="*/ 2750287 h 3487140"/>
              <a:gd name="connsiteX4" fmla="*/ 128418 w 7603996"/>
              <a:gd name="connsiteY4" fmla="*/ 2305432 h 3487140"/>
              <a:gd name="connsiteX5" fmla="*/ 256006 w 7603996"/>
              <a:gd name="connsiteY5" fmla="*/ 1919713 h 3487140"/>
              <a:gd name="connsiteX6" fmla="*/ 580218 w 7603996"/>
              <a:gd name="connsiteY6" fmla="*/ 1637837 h 3487140"/>
              <a:gd name="connsiteX7" fmla="*/ 1073522 w 7603996"/>
              <a:gd name="connsiteY7" fmla="*/ 1545972 h 3487140"/>
              <a:gd name="connsiteX8" fmla="*/ 1308197 w 7603996"/>
              <a:gd name="connsiteY8" fmla="*/ 1517651 h 3487140"/>
              <a:gd name="connsiteX9" fmla="*/ 1292934 w 7603996"/>
              <a:gd name="connsiteY9" fmla="*/ 1460718 h 3487140"/>
              <a:gd name="connsiteX10" fmla="*/ 1016880 w 7603996"/>
              <a:gd name="connsiteY10" fmla="*/ 1416969 h 3487140"/>
              <a:gd name="connsiteX11" fmla="*/ 497460 w 7603996"/>
              <a:gd name="connsiteY11" fmla="*/ 1517318 h 3487140"/>
              <a:gd name="connsiteX12" fmla="*/ 88162 w 7603996"/>
              <a:gd name="connsiteY12" fmla="*/ 1960593 h 3487140"/>
              <a:gd name="connsiteX13" fmla="*/ 28692 w 7603996"/>
              <a:gd name="connsiteY13" fmla="*/ 2569342 h 3487140"/>
              <a:gd name="connsiteX14" fmla="*/ 442399 w 7603996"/>
              <a:gd name="connsiteY14" fmla="*/ 3165532 h 3487140"/>
              <a:gd name="connsiteX15" fmla="*/ 1232384 w 7603996"/>
              <a:gd name="connsiteY15" fmla="*/ 3283181 h 3487140"/>
              <a:gd name="connsiteX16" fmla="*/ 1835020 w 7603996"/>
              <a:gd name="connsiteY16" fmla="*/ 2757481 h 3487140"/>
              <a:gd name="connsiteX17" fmla="*/ 1824789 w 7603996"/>
              <a:gd name="connsiteY17" fmla="*/ 1980430 h 3487140"/>
              <a:gd name="connsiteX18" fmla="*/ 1494755 w 7603996"/>
              <a:gd name="connsiteY18" fmla="*/ 1589139 h 3487140"/>
              <a:gd name="connsiteX19" fmla="*/ 1305701 w 7603996"/>
              <a:gd name="connsiteY19" fmla="*/ 1660710 h 3487140"/>
              <a:gd name="connsiteX20" fmla="*/ 1197284 w 7603996"/>
              <a:gd name="connsiteY20" fmla="*/ 2116627 h 3487140"/>
              <a:gd name="connsiteX21" fmla="*/ 973921 w 7603996"/>
              <a:gd name="connsiteY21" fmla="*/ 2374258 h 3487140"/>
              <a:gd name="connsiteX22" fmla="*/ 918985 w 7603996"/>
              <a:gd name="connsiteY22" fmla="*/ 2276986 h 3487140"/>
              <a:gd name="connsiteX23" fmla="*/ 1298257 w 7603996"/>
              <a:gd name="connsiteY23" fmla="*/ 2021601 h 3487140"/>
              <a:gd name="connsiteX24" fmla="*/ 1558176 w 7603996"/>
              <a:gd name="connsiteY24" fmla="*/ 1234153 h 3487140"/>
              <a:gd name="connsiteX25" fmla="*/ 1788276 w 7603996"/>
              <a:gd name="connsiteY25" fmla="*/ 725296 h 3487140"/>
              <a:gd name="connsiteX26" fmla="*/ 1896859 w 7603996"/>
              <a:gd name="connsiteY26" fmla="*/ 539984 h 3487140"/>
              <a:gd name="connsiteX27" fmla="*/ 1865711 w 7603996"/>
              <a:gd name="connsiteY27" fmla="*/ 435851 h 3487140"/>
              <a:gd name="connsiteX28" fmla="*/ 1759373 w 7603996"/>
              <a:gd name="connsiteY28" fmla="*/ 350265 h 3487140"/>
              <a:gd name="connsiteX29" fmla="*/ 1714085 w 7603996"/>
              <a:gd name="connsiteY29" fmla="*/ 209327 h 3487140"/>
              <a:gd name="connsiteX30" fmla="*/ 1758915 w 7603996"/>
              <a:gd name="connsiteY30" fmla="*/ 82237 h 3487140"/>
              <a:gd name="connsiteX31" fmla="*/ 1939195 w 7603996"/>
              <a:gd name="connsiteY31" fmla="*/ 6716 h 3487140"/>
              <a:gd name="connsiteX32" fmla="*/ 2207888 w 7603996"/>
              <a:gd name="connsiteY32" fmla="*/ 10167 h 3487140"/>
              <a:gd name="connsiteX33" fmla="*/ 2291561 w 7603996"/>
              <a:gd name="connsiteY33" fmla="*/ 49800 h 3487140"/>
              <a:gd name="connsiteX34" fmla="*/ 2244526 w 7603996"/>
              <a:gd name="connsiteY34" fmla="*/ 86812 h 3487140"/>
              <a:gd name="connsiteX35" fmla="*/ 2008603 w 7603996"/>
              <a:gd name="connsiteY35" fmla="*/ 91886 h 3487140"/>
              <a:gd name="connsiteX36" fmla="*/ 1765070 w 7603996"/>
              <a:gd name="connsiteY36" fmla="*/ 75833 h 3487140"/>
              <a:gd name="connsiteX37" fmla="*/ 1657319 w 7603996"/>
              <a:gd name="connsiteY37" fmla="*/ 176931 h 3487140"/>
              <a:gd name="connsiteX38" fmla="*/ 1672581 w 7603996"/>
              <a:gd name="connsiteY38" fmla="*/ 370393 h 3487140"/>
              <a:gd name="connsiteX39" fmla="*/ 1617354 w 7603996"/>
              <a:gd name="connsiteY39" fmla="*/ 589348 h 3487140"/>
              <a:gd name="connsiteX40" fmla="*/ 1460820 w 7603996"/>
              <a:gd name="connsiteY40" fmla="*/ 903953 h 3487140"/>
              <a:gd name="connsiteX41" fmla="*/ 1250349 w 7603996"/>
              <a:gd name="connsiteY41" fmla="*/ 922501 h 3487140"/>
              <a:gd name="connsiteX42" fmla="*/ 1055930 w 7603996"/>
              <a:gd name="connsiteY42" fmla="*/ 866816 h 3487140"/>
              <a:gd name="connsiteX43" fmla="*/ 997085 w 7603996"/>
              <a:gd name="connsiteY43" fmla="*/ 751038 h 3487140"/>
              <a:gd name="connsiteX44" fmla="*/ 1009021 w 7603996"/>
              <a:gd name="connsiteY44" fmla="*/ 369436 h 3487140"/>
              <a:gd name="connsiteX45" fmla="*/ 1070694 w 7603996"/>
              <a:gd name="connsiteY45" fmla="*/ 155805 h 3487140"/>
              <a:gd name="connsiteX46" fmla="*/ 1272058 w 7603996"/>
              <a:gd name="connsiteY46" fmla="*/ 156761 h 3487140"/>
              <a:gd name="connsiteX47" fmla="*/ 1524989 w 7603996"/>
              <a:gd name="connsiteY47" fmla="*/ 245175 h 3487140"/>
              <a:gd name="connsiteX48" fmla="*/ 1694081 w 7603996"/>
              <a:gd name="connsiteY48" fmla="*/ 357792 h 3487140"/>
              <a:gd name="connsiteX49" fmla="*/ 1798672 w 7603996"/>
              <a:gd name="connsiteY49" fmla="*/ 483301 h 3487140"/>
              <a:gd name="connsiteX50" fmla="*/ 1822876 w 7603996"/>
              <a:gd name="connsiteY50" fmla="*/ 600951 h 3487140"/>
              <a:gd name="connsiteX51" fmla="*/ 1795345 w 7603996"/>
              <a:gd name="connsiteY51" fmla="*/ 761726 h 3487140"/>
              <a:gd name="connsiteX52" fmla="*/ 1967266 w 7603996"/>
              <a:gd name="connsiteY52" fmla="*/ 1160004 h 3487140"/>
              <a:gd name="connsiteX53" fmla="*/ 2390246 w 7603996"/>
              <a:gd name="connsiteY53" fmla="*/ 1793622 h 3487140"/>
              <a:gd name="connsiteX54" fmla="*/ 2807737 w 7603996"/>
              <a:gd name="connsiteY54" fmla="*/ 2087475 h 3487140"/>
              <a:gd name="connsiteX55" fmla="*/ 2917360 w 7603996"/>
              <a:gd name="connsiteY55" fmla="*/ 2185620 h 3487140"/>
              <a:gd name="connsiteX56" fmla="*/ 2804411 w 7603996"/>
              <a:gd name="connsiteY56" fmla="*/ 2468120 h 3487140"/>
              <a:gd name="connsiteX57" fmla="*/ 2638312 w 7603996"/>
              <a:gd name="connsiteY57" fmla="*/ 2505548 h 3487140"/>
              <a:gd name="connsiteX58" fmla="*/ 2329862 w 7603996"/>
              <a:gd name="connsiteY58" fmla="*/ 2278109 h 3487140"/>
              <a:gd name="connsiteX59" fmla="*/ 1885173 w 7603996"/>
              <a:gd name="connsiteY59" fmla="*/ 1678800 h 3487140"/>
              <a:gd name="connsiteX60" fmla="*/ 1765320 w 7603996"/>
              <a:gd name="connsiteY60" fmla="*/ 1175432 h 3487140"/>
              <a:gd name="connsiteX61" fmla="*/ 1919774 w 7603996"/>
              <a:gd name="connsiteY61" fmla="*/ 1377420 h 3487140"/>
              <a:gd name="connsiteX62" fmla="*/ 2281414 w 7603996"/>
              <a:gd name="connsiteY62" fmla="*/ 2268710 h 3487140"/>
              <a:gd name="connsiteX63" fmla="*/ 2601216 w 7603996"/>
              <a:gd name="connsiteY63" fmla="*/ 2693105 h 3487140"/>
              <a:gd name="connsiteX64" fmla="*/ 2834644 w 7603996"/>
              <a:gd name="connsiteY64" fmla="*/ 2746586 h 3487140"/>
              <a:gd name="connsiteX65" fmla="*/ 3001865 w 7603996"/>
              <a:gd name="connsiteY65" fmla="*/ 2631432 h 3487140"/>
              <a:gd name="connsiteX66" fmla="*/ 3013052 w 7603996"/>
              <a:gd name="connsiteY66" fmla="*/ 2436680 h 3487140"/>
              <a:gd name="connsiteX67" fmla="*/ 2859222 w 7603996"/>
              <a:gd name="connsiteY67" fmla="*/ 2309258 h 3487140"/>
              <a:gd name="connsiteX68" fmla="*/ 2652036 w 7603996"/>
              <a:gd name="connsiteY68" fmla="*/ 2375007 h 3487140"/>
              <a:gd name="connsiteX69" fmla="*/ 2629537 w 7603996"/>
              <a:gd name="connsiteY69" fmla="*/ 2581402 h 3487140"/>
              <a:gd name="connsiteX70" fmla="*/ 2772222 w 7603996"/>
              <a:gd name="connsiteY70" fmla="*/ 2671064 h 3487140"/>
              <a:gd name="connsiteX71" fmla="*/ 2868787 w 7603996"/>
              <a:gd name="connsiteY71" fmla="*/ 2596831 h 3487140"/>
              <a:gd name="connsiteX72" fmla="*/ 2835601 w 7603996"/>
              <a:gd name="connsiteY72" fmla="*/ 2530750 h 3487140"/>
              <a:gd name="connsiteX73" fmla="*/ 2713543 w 7603996"/>
              <a:gd name="connsiteY73" fmla="*/ 2615379 h 3487140"/>
              <a:gd name="connsiteX74" fmla="*/ 2567864 w 7603996"/>
              <a:gd name="connsiteY74" fmla="*/ 2907028 h 3487140"/>
              <a:gd name="connsiteX75" fmla="*/ 2520039 w 7603996"/>
              <a:gd name="connsiteY75" fmla="*/ 3008333 h 3487140"/>
              <a:gd name="connsiteX76" fmla="*/ 2484191 w 7603996"/>
              <a:gd name="connsiteY76" fmla="*/ 3024053 h 3487140"/>
              <a:gd name="connsiteX77" fmla="*/ 2389165 w 7603996"/>
              <a:gd name="connsiteY77" fmla="*/ 3013989 h 3487140"/>
              <a:gd name="connsiteX78" fmla="*/ 2396068 w 7603996"/>
              <a:gd name="connsiteY78" fmla="*/ 2956724 h 3487140"/>
              <a:gd name="connsiteX79" fmla="*/ 2584831 w 7603996"/>
              <a:gd name="connsiteY79" fmla="*/ 2951068 h 3487140"/>
              <a:gd name="connsiteX80" fmla="*/ 2671041 w 7603996"/>
              <a:gd name="connsiteY80" fmla="*/ 2951068 h 3487140"/>
              <a:gd name="connsiteX81" fmla="*/ 2752219 w 7603996"/>
              <a:gd name="connsiteY81" fmla="*/ 2822066 h 3487140"/>
              <a:gd name="connsiteX82" fmla="*/ 2892533 w 7603996"/>
              <a:gd name="connsiteY82" fmla="*/ 2789337 h 3487140"/>
              <a:gd name="connsiteX83" fmla="*/ 3020246 w 7603996"/>
              <a:gd name="connsiteY83" fmla="*/ 2713815 h 3487140"/>
              <a:gd name="connsiteX84" fmla="*/ 3106456 w 7603996"/>
              <a:gd name="connsiteY84" fmla="*/ 2544556 h 3487140"/>
              <a:gd name="connsiteX85" fmla="*/ 3326035 w 7603996"/>
              <a:gd name="connsiteY85" fmla="*/ 2482883 h 3487140"/>
              <a:gd name="connsiteX86" fmla="*/ 3861009 w 7603996"/>
              <a:gd name="connsiteY86" fmla="*/ 2466831 h 3487140"/>
              <a:gd name="connsiteX87" fmla="*/ 4016751 w 7603996"/>
              <a:gd name="connsiteY87" fmla="*/ 2420918 h 3487140"/>
              <a:gd name="connsiteX88" fmla="*/ 3866664 w 7603996"/>
              <a:gd name="connsiteY88" fmla="*/ 2252907 h 3487140"/>
              <a:gd name="connsiteX89" fmla="*/ 3391285 w 7603996"/>
              <a:gd name="connsiteY89" fmla="*/ 1791709 h 3487140"/>
              <a:gd name="connsiteX90" fmla="*/ 3127166 w 7603996"/>
              <a:gd name="connsiteY90" fmla="*/ 1600118 h 3487140"/>
              <a:gd name="connsiteX91" fmla="*/ 3003196 w 7603996"/>
              <a:gd name="connsiteY91" fmla="*/ 1733529 h 3487140"/>
              <a:gd name="connsiteX92" fmla="*/ 2940898 w 7603996"/>
              <a:gd name="connsiteY92" fmla="*/ 1995900 h 3487140"/>
              <a:gd name="connsiteX93" fmla="*/ 2981778 w 7603996"/>
              <a:gd name="connsiteY93" fmla="*/ 2048133 h 3487140"/>
              <a:gd name="connsiteX94" fmla="*/ 3044699 w 7603996"/>
              <a:gd name="connsiteY94" fmla="*/ 1778817 h 3487140"/>
              <a:gd name="connsiteX95" fmla="*/ 3166466 w 7603996"/>
              <a:gd name="connsiteY95" fmla="*/ 1356918 h 3487140"/>
              <a:gd name="connsiteX96" fmla="*/ 3272803 w 7603996"/>
              <a:gd name="connsiteY96" fmla="*/ 986960 h 3487140"/>
              <a:gd name="connsiteX97" fmla="*/ 3243526 w 7603996"/>
              <a:gd name="connsiteY97" fmla="*/ 867107 h 3487140"/>
              <a:gd name="connsiteX98" fmla="*/ 3068612 w 7603996"/>
              <a:gd name="connsiteY98" fmla="*/ 840034 h 3487140"/>
              <a:gd name="connsiteX99" fmla="*/ 2924513 w 7603996"/>
              <a:gd name="connsiteY99" fmla="*/ 782769 h 3487140"/>
              <a:gd name="connsiteX100" fmla="*/ 2940857 w 7603996"/>
              <a:gd name="connsiteY100" fmla="*/ 714816 h 3487140"/>
              <a:gd name="connsiteX101" fmla="*/ 3114524 w 7603996"/>
              <a:gd name="connsiteY101" fmla="*/ 723008 h 3487140"/>
              <a:gd name="connsiteX102" fmla="*/ 3317135 w 7603996"/>
              <a:gd name="connsiteY102" fmla="*/ 729288 h 3487140"/>
              <a:gd name="connsiteX103" fmla="*/ 3483857 w 7603996"/>
              <a:gd name="connsiteY103" fmla="*/ 682087 h 3487140"/>
              <a:gd name="connsiteX104" fmla="*/ 3601506 w 7603996"/>
              <a:gd name="connsiteY104" fmla="*/ 703463 h 3487140"/>
              <a:gd name="connsiteX105" fmla="*/ 3624171 w 7603996"/>
              <a:gd name="connsiteY105" fmla="*/ 797199 h 3487140"/>
              <a:gd name="connsiteX106" fmla="*/ 3496458 w 7603996"/>
              <a:gd name="connsiteY106" fmla="*/ 890936 h 3487140"/>
              <a:gd name="connsiteX107" fmla="*/ 3326575 w 7603996"/>
              <a:gd name="connsiteY107" fmla="*/ 918009 h 3487140"/>
              <a:gd name="connsiteX108" fmla="*/ 3198862 w 7603996"/>
              <a:gd name="connsiteY108" fmla="*/ 1002306 h 3487140"/>
              <a:gd name="connsiteX109" fmla="*/ 3097972 w 7603996"/>
              <a:gd name="connsiteY109" fmla="*/ 1299902 h 3487140"/>
              <a:gd name="connsiteX110" fmla="*/ 3159022 w 7603996"/>
              <a:gd name="connsiteY110" fmla="*/ 1545930 h 3487140"/>
              <a:gd name="connsiteX111" fmla="*/ 3371697 w 7603996"/>
              <a:gd name="connsiteY111" fmla="*/ 1536490 h 3487140"/>
              <a:gd name="connsiteX112" fmla="*/ 3551228 w 7603996"/>
              <a:gd name="connsiteY112" fmla="*/ 1376048 h 3487140"/>
              <a:gd name="connsiteX113" fmla="*/ 3554389 w 7603996"/>
              <a:gd name="connsiteY113" fmla="*/ 1231949 h 3487140"/>
              <a:gd name="connsiteX114" fmla="*/ 3336348 w 7603996"/>
              <a:gd name="connsiteY114" fmla="*/ 1191693 h 3487140"/>
              <a:gd name="connsiteX115" fmla="*/ 3344832 w 7603996"/>
              <a:gd name="connsiteY115" fmla="*/ 1255238 h 3487140"/>
              <a:gd name="connsiteX116" fmla="*/ 3769850 w 7603996"/>
              <a:gd name="connsiteY116" fmla="*/ 1241722 h 3487140"/>
              <a:gd name="connsiteX117" fmla="*/ 4254670 w 7603996"/>
              <a:gd name="connsiteY117" fmla="*/ 1259646 h 3487140"/>
              <a:gd name="connsiteX118" fmla="*/ 4484022 w 7603996"/>
              <a:gd name="connsiteY118" fmla="*/ 1236981 h 3487140"/>
              <a:gd name="connsiteX119" fmla="*/ 4465766 w 7603996"/>
              <a:gd name="connsiteY119" fmla="*/ 1185995 h 3487140"/>
              <a:gd name="connsiteX120" fmla="*/ 4105248 w 7603996"/>
              <a:gd name="connsiteY120" fmla="*/ 1177512 h 3487140"/>
              <a:gd name="connsiteX121" fmla="*/ 3734668 w 7603996"/>
              <a:gd name="connsiteY121" fmla="*/ 1331342 h 3487140"/>
              <a:gd name="connsiteX122" fmla="*/ 3388914 w 7603996"/>
              <a:gd name="connsiteY122" fmla="*/ 1604110 h 3487140"/>
              <a:gd name="connsiteX123" fmla="*/ 3156111 w 7603996"/>
              <a:gd name="connsiteY123" fmla="*/ 1921252 h 3487140"/>
              <a:gd name="connsiteX124" fmla="*/ 3060461 w 7603996"/>
              <a:gd name="connsiteY124" fmla="*/ 2419255 h 3487140"/>
              <a:gd name="connsiteX125" fmla="*/ 3290769 w 7603996"/>
              <a:gd name="connsiteY125" fmla="*/ 3048465 h 3487140"/>
              <a:gd name="connsiteX126" fmla="*/ 3868994 w 7603996"/>
              <a:gd name="connsiteY126" fmla="*/ 3394510 h 3487140"/>
              <a:gd name="connsiteX127" fmla="*/ 4507643 w 7603996"/>
              <a:gd name="connsiteY127" fmla="*/ 3330632 h 3487140"/>
              <a:gd name="connsiteX128" fmla="*/ 5002818 w 7603996"/>
              <a:gd name="connsiteY128" fmla="*/ 2841404 h 3487140"/>
              <a:gd name="connsiteX129" fmla="*/ 5036171 w 7603996"/>
              <a:gd name="connsiteY129" fmla="*/ 2052999 h 3487140"/>
              <a:gd name="connsiteX130" fmla="*/ 4605164 w 7603996"/>
              <a:gd name="connsiteY130" fmla="*/ 1482011 h 3487140"/>
              <a:gd name="connsiteX131" fmla="*/ 4138310 w 7603996"/>
              <a:gd name="connsiteY131" fmla="*/ 1352717 h 3487140"/>
              <a:gd name="connsiteX132" fmla="*/ 3977868 w 7603996"/>
              <a:gd name="connsiteY132" fmla="*/ 1466624 h 3487140"/>
              <a:gd name="connsiteX133" fmla="*/ 3999909 w 7603996"/>
              <a:gd name="connsiteY133" fmla="*/ 2001140 h 3487140"/>
              <a:gd name="connsiteX134" fmla="*/ 4033885 w 7603996"/>
              <a:gd name="connsiteY134" fmla="*/ 2313208 h 3487140"/>
              <a:gd name="connsiteX135" fmla="*/ 4125585 w 7603996"/>
              <a:gd name="connsiteY135" fmla="*/ 2399085 h 3487140"/>
              <a:gd name="connsiteX136" fmla="*/ 4230051 w 7603996"/>
              <a:gd name="connsiteY136" fmla="*/ 2362905 h 3487140"/>
              <a:gd name="connsiteX137" fmla="*/ 4194660 w 7603996"/>
              <a:gd name="connsiteY137" fmla="*/ 2271372 h 3487140"/>
              <a:gd name="connsiteX138" fmla="*/ 4097056 w 7603996"/>
              <a:gd name="connsiteY138" fmla="*/ 2303394 h 3487140"/>
              <a:gd name="connsiteX139" fmla="*/ 4080670 w 7603996"/>
              <a:gd name="connsiteY139" fmla="*/ 2437262 h 3487140"/>
              <a:gd name="connsiteX140" fmla="*/ 4079589 w 7603996"/>
              <a:gd name="connsiteY140" fmla="*/ 2519521 h 3487140"/>
              <a:gd name="connsiteX141" fmla="*/ 3900475 w 7603996"/>
              <a:gd name="connsiteY141" fmla="*/ 2539400 h 3487140"/>
              <a:gd name="connsiteX142" fmla="*/ 3490220 w 7603996"/>
              <a:gd name="connsiteY142" fmla="*/ 2545679 h 3487140"/>
              <a:gd name="connsiteX143" fmla="*/ 3249848 w 7603996"/>
              <a:gd name="connsiteY143" fmla="*/ 2602944 h 3487140"/>
              <a:gd name="connsiteX144" fmla="*/ 3240241 w 7603996"/>
              <a:gd name="connsiteY144" fmla="*/ 2790460 h 3487140"/>
              <a:gd name="connsiteX145" fmla="*/ 3433578 w 7603996"/>
              <a:gd name="connsiteY145" fmla="*/ 3133385 h 3487140"/>
              <a:gd name="connsiteX146" fmla="*/ 3925468 w 7603996"/>
              <a:gd name="connsiteY146" fmla="*/ 3465290 h 3487140"/>
              <a:gd name="connsiteX147" fmla="*/ 4666214 w 7603996"/>
              <a:gd name="connsiteY147" fmla="*/ 3390434 h 3487140"/>
              <a:gd name="connsiteX148" fmla="*/ 5106037 w 7603996"/>
              <a:gd name="connsiteY148" fmla="*/ 3017940 h 3487140"/>
              <a:gd name="connsiteX149" fmla="*/ 5420018 w 7603996"/>
              <a:gd name="connsiteY149" fmla="*/ 2655510 h 3487140"/>
              <a:gd name="connsiteX150" fmla="*/ 5792512 w 7603996"/>
              <a:gd name="connsiteY150" fmla="*/ 3163577 h 3487140"/>
              <a:gd name="connsiteX151" fmla="*/ 6016499 w 7603996"/>
              <a:gd name="connsiteY151" fmla="*/ 3255443 h 3487140"/>
              <a:gd name="connsiteX152" fmla="*/ 6094516 w 7603996"/>
              <a:gd name="connsiteY152" fmla="*/ 2786675 h 3487140"/>
              <a:gd name="connsiteX153" fmla="*/ 6404089 w 7603996"/>
              <a:gd name="connsiteY153" fmla="*/ 2869724 h 3487140"/>
              <a:gd name="connsiteX154" fmla="*/ 6642881 w 7603996"/>
              <a:gd name="connsiteY154" fmla="*/ 3245046 h 3487140"/>
              <a:gd name="connsiteX155" fmla="*/ 7015374 w 7603996"/>
              <a:gd name="connsiteY155" fmla="*/ 3329676 h 3487140"/>
              <a:gd name="connsiteX156" fmla="*/ 7603996 w 7603996"/>
              <a:gd name="connsiteY156" fmla="*/ 3217682 h 3487140"/>
              <a:gd name="connsiteX0" fmla="*/ 777215 w 7603996"/>
              <a:gd name="connsiteY0" fmla="*/ 3295741 h 3487140"/>
              <a:gd name="connsiteX1" fmla="*/ 526113 w 7603996"/>
              <a:gd name="connsiteY1" fmla="*/ 3112384 h 3487140"/>
              <a:gd name="connsiteX2" fmla="*/ 219950 w 7603996"/>
              <a:gd name="connsiteY2" fmla="*/ 2750287 h 3487140"/>
              <a:gd name="connsiteX3" fmla="*/ 128418 w 7603996"/>
              <a:gd name="connsiteY3" fmla="*/ 2305432 h 3487140"/>
              <a:gd name="connsiteX4" fmla="*/ 256006 w 7603996"/>
              <a:gd name="connsiteY4" fmla="*/ 1919713 h 3487140"/>
              <a:gd name="connsiteX5" fmla="*/ 580218 w 7603996"/>
              <a:gd name="connsiteY5" fmla="*/ 1637837 h 3487140"/>
              <a:gd name="connsiteX6" fmla="*/ 1073522 w 7603996"/>
              <a:gd name="connsiteY6" fmla="*/ 1545972 h 3487140"/>
              <a:gd name="connsiteX7" fmla="*/ 1308197 w 7603996"/>
              <a:gd name="connsiteY7" fmla="*/ 1517651 h 3487140"/>
              <a:gd name="connsiteX8" fmla="*/ 1292934 w 7603996"/>
              <a:gd name="connsiteY8" fmla="*/ 1460718 h 3487140"/>
              <a:gd name="connsiteX9" fmla="*/ 1016880 w 7603996"/>
              <a:gd name="connsiteY9" fmla="*/ 1416969 h 3487140"/>
              <a:gd name="connsiteX10" fmla="*/ 497460 w 7603996"/>
              <a:gd name="connsiteY10" fmla="*/ 1517318 h 3487140"/>
              <a:gd name="connsiteX11" fmla="*/ 88162 w 7603996"/>
              <a:gd name="connsiteY11" fmla="*/ 1960593 h 3487140"/>
              <a:gd name="connsiteX12" fmla="*/ 28692 w 7603996"/>
              <a:gd name="connsiteY12" fmla="*/ 2569342 h 3487140"/>
              <a:gd name="connsiteX13" fmla="*/ 442399 w 7603996"/>
              <a:gd name="connsiteY13" fmla="*/ 3165532 h 3487140"/>
              <a:gd name="connsiteX14" fmla="*/ 1232384 w 7603996"/>
              <a:gd name="connsiteY14" fmla="*/ 3283181 h 3487140"/>
              <a:gd name="connsiteX15" fmla="*/ 1835020 w 7603996"/>
              <a:gd name="connsiteY15" fmla="*/ 2757481 h 3487140"/>
              <a:gd name="connsiteX16" fmla="*/ 1824789 w 7603996"/>
              <a:gd name="connsiteY16" fmla="*/ 1980430 h 3487140"/>
              <a:gd name="connsiteX17" fmla="*/ 1494755 w 7603996"/>
              <a:gd name="connsiteY17" fmla="*/ 1589139 h 3487140"/>
              <a:gd name="connsiteX18" fmla="*/ 1305701 w 7603996"/>
              <a:gd name="connsiteY18" fmla="*/ 1660710 h 3487140"/>
              <a:gd name="connsiteX19" fmla="*/ 1197284 w 7603996"/>
              <a:gd name="connsiteY19" fmla="*/ 2116627 h 3487140"/>
              <a:gd name="connsiteX20" fmla="*/ 973921 w 7603996"/>
              <a:gd name="connsiteY20" fmla="*/ 2374258 h 3487140"/>
              <a:gd name="connsiteX21" fmla="*/ 918985 w 7603996"/>
              <a:gd name="connsiteY21" fmla="*/ 2276986 h 3487140"/>
              <a:gd name="connsiteX22" fmla="*/ 1298257 w 7603996"/>
              <a:gd name="connsiteY22" fmla="*/ 2021601 h 3487140"/>
              <a:gd name="connsiteX23" fmla="*/ 1558176 w 7603996"/>
              <a:gd name="connsiteY23" fmla="*/ 1234153 h 3487140"/>
              <a:gd name="connsiteX24" fmla="*/ 1788276 w 7603996"/>
              <a:gd name="connsiteY24" fmla="*/ 725296 h 3487140"/>
              <a:gd name="connsiteX25" fmla="*/ 1896859 w 7603996"/>
              <a:gd name="connsiteY25" fmla="*/ 539984 h 3487140"/>
              <a:gd name="connsiteX26" fmla="*/ 1865711 w 7603996"/>
              <a:gd name="connsiteY26" fmla="*/ 435851 h 3487140"/>
              <a:gd name="connsiteX27" fmla="*/ 1759373 w 7603996"/>
              <a:gd name="connsiteY27" fmla="*/ 350265 h 3487140"/>
              <a:gd name="connsiteX28" fmla="*/ 1714085 w 7603996"/>
              <a:gd name="connsiteY28" fmla="*/ 209327 h 3487140"/>
              <a:gd name="connsiteX29" fmla="*/ 1758915 w 7603996"/>
              <a:gd name="connsiteY29" fmla="*/ 82237 h 3487140"/>
              <a:gd name="connsiteX30" fmla="*/ 1939195 w 7603996"/>
              <a:gd name="connsiteY30" fmla="*/ 6716 h 3487140"/>
              <a:gd name="connsiteX31" fmla="*/ 2207888 w 7603996"/>
              <a:gd name="connsiteY31" fmla="*/ 10167 h 3487140"/>
              <a:gd name="connsiteX32" fmla="*/ 2291561 w 7603996"/>
              <a:gd name="connsiteY32" fmla="*/ 49800 h 3487140"/>
              <a:gd name="connsiteX33" fmla="*/ 2244526 w 7603996"/>
              <a:gd name="connsiteY33" fmla="*/ 86812 h 3487140"/>
              <a:gd name="connsiteX34" fmla="*/ 2008603 w 7603996"/>
              <a:gd name="connsiteY34" fmla="*/ 91886 h 3487140"/>
              <a:gd name="connsiteX35" fmla="*/ 1765070 w 7603996"/>
              <a:gd name="connsiteY35" fmla="*/ 75833 h 3487140"/>
              <a:gd name="connsiteX36" fmla="*/ 1657319 w 7603996"/>
              <a:gd name="connsiteY36" fmla="*/ 176931 h 3487140"/>
              <a:gd name="connsiteX37" fmla="*/ 1672581 w 7603996"/>
              <a:gd name="connsiteY37" fmla="*/ 370393 h 3487140"/>
              <a:gd name="connsiteX38" fmla="*/ 1617354 w 7603996"/>
              <a:gd name="connsiteY38" fmla="*/ 589348 h 3487140"/>
              <a:gd name="connsiteX39" fmla="*/ 1460820 w 7603996"/>
              <a:gd name="connsiteY39" fmla="*/ 903953 h 3487140"/>
              <a:gd name="connsiteX40" fmla="*/ 1250349 w 7603996"/>
              <a:gd name="connsiteY40" fmla="*/ 922501 h 3487140"/>
              <a:gd name="connsiteX41" fmla="*/ 1055930 w 7603996"/>
              <a:gd name="connsiteY41" fmla="*/ 866816 h 3487140"/>
              <a:gd name="connsiteX42" fmla="*/ 997085 w 7603996"/>
              <a:gd name="connsiteY42" fmla="*/ 751038 h 3487140"/>
              <a:gd name="connsiteX43" fmla="*/ 1009021 w 7603996"/>
              <a:gd name="connsiteY43" fmla="*/ 369436 h 3487140"/>
              <a:gd name="connsiteX44" fmla="*/ 1070694 w 7603996"/>
              <a:gd name="connsiteY44" fmla="*/ 155805 h 3487140"/>
              <a:gd name="connsiteX45" fmla="*/ 1272058 w 7603996"/>
              <a:gd name="connsiteY45" fmla="*/ 156761 h 3487140"/>
              <a:gd name="connsiteX46" fmla="*/ 1524989 w 7603996"/>
              <a:gd name="connsiteY46" fmla="*/ 245175 h 3487140"/>
              <a:gd name="connsiteX47" fmla="*/ 1694081 w 7603996"/>
              <a:gd name="connsiteY47" fmla="*/ 357792 h 3487140"/>
              <a:gd name="connsiteX48" fmla="*/ 1798672 w 7603996"/>
              <a:gd name="connsiteY48" fmla="*/ 483301 h 3487140"/>
              <a:gd name="connsiteX49" fmla="*/ 1822876 w 7603996"/>
              <a:gd name="connsiteY49" fmla="*/ 600951 h 3487140"/>
              <a:gd name="connsiteX50" fmla="*/ 1795345 w 7603996"/>
              <a:gd name="connsiteY50" fmla="*/ 761726 h 3487140"/>
              <a:gd name="connsiteX51" fmla="*/ 1967266 w 7603996"/>
              <a:gd name="connsiteY51" fmla="*/ 1160004 h 3487140"/>
              <a:gd name="connsiteX52" fmla="*/ 2390246 w 7603996"/>
              <a:gd name="connsiteY52" fmla="*/ 1793622 h 3487140"/>
              <a:gd name="connsiteX53" fmla="*/ 2807737 w 7603996"/>
              <a:gd name="connsiteY53" fmla="*/ 2087475 h 3487140"/>
              <a:gd name="connsiteX54" fmla="*/ 2917360 w 7603996"/>
              <a:gd name="connsiteY54" fmla="*/ 2185620 h 3487140"/>
              <a:gd name="connsiteX55" fmla="*/ 2804411 w 7603996"/>
              <a:gd name="connsiteY55" fmla="*/ 2468120 h 3487140"/>
              <a:gd name="connsiteX56" fmla="*/ 2638312 w 7603996"/>
              <a:gd name="connsiteY56" fmla="*/ 2505548 h 3487140"/>
              <a:gd name="connsiteX57" fmla="*/ 2329862 w 7603996"/>
              <a:gd name="connsiteY57" fmla="*/ 2278109 h 3487140"/>
              <a:gd name="connsiteX58" fmla="*/ 1885173 w 7603996"/>
              <a:gd name="connsiteY58" fmla="*/ 1678800 h 3487140"/>
              <a:gd name="connsiteX59" fmla="*/ 1765320 w 7603996"/>
              <a:gd name="connsiteY59" fmla="*/ 1175432 h 3487140"/>
              <a:gd name="connsiteX60" fmla="*/ 1919774 w 7603996"/>
              <a:gd name="connsiteY60" fmla="*/ 1377420 h 3487140"/>
              <a:gd name="connsiteX61" fmla="*/ 2281414 w 7603996"/>
              <a:gd name="connsiteY61" fmla="*/ 2268710 h 3487140"/>
              <a:gd name="connsiteX62" fmla="*/ 2601216 w 7603996"/>
              <a:gd name="connsiteY62" fmla="*/ 2693105 h 3487140"/>
              <a:gd name="connsiteX63" fmla="*/ 2834644 w 7603996"/>
              <a:gd name="connsiteY63" fmla="*/ 2746586 h 3487140"/>
              <a:gd name="connsiteX64" fmla="*/ 3001865 w 7603996"/>
              <a:gd name="connsiteY64" fmla="*/ 2631432 h 3487140"/>
              <a:gd name="connsiteX65" fmla="*/ 3013052 w 7603996"/>
              <a:gd name="connsiteY65" fmla="*/ 2436680 h 3487140"/>
              <a:gd name="connsiteX66" fmla="*/ 2859222 w 7603996"/>
              <a:gd name="connsiteY66" fmla="*/ 2309258 h 3487140"/>
              <a:gd name="connsiteX67" fmla="*/ 2652036 w 7603996"/>
              <a:gd name="connsiteY67" fmla="*/ 2375007 h 3487140"/>
              <a:gd name="connsiteX68" fmla="*/ 2629537 w 7603996"/>
              <a:gd name="connsiteY68" fmla="*/ 2581402 h 3487140"/>
              <a:gd name="connsiteX69" fmla="*/ 2772222 w 7603996"/>
              <a:gd name="connsiteY69" fmla="*/ 2671064 h 3487140"/>
              <a:gd name="connsiteX70" fmla="*/ 2868787 w 7603996"/>
              <a:gd name="connsiteY70" fmla="*/ 2596831 h 3487140"/>
              <a:gd name="connsiteX71" fmla="*/ 2835601 w 7603996"/>
              <a:gd name="connsiteY71" fmla="*/ 2530750 h 3487140"/>
              <a:gd name="connsiteX72" fmla="*/ 2713543 w 7603996"/>
              <a:gd name="connsiteY72" fmla="*/ 2615379 h 3487140"/>
              <a:gd name="connsiteX73" fmla="*/ 2567864 w 7603996"/>
              <a:gd name="connsiteY73" fmla="*/ 2907028 h 3487140"/>
              <a:gd name="connsiteX74" fmla="*/ 2520039 w 7603996"/>
              <a:gd name="connsiteY74" fmla="*/ 3008333 h 3487140"/>
              <a:gd name="connsiteX75" fmla="*/ 2484191 w 7603996"/>
              <a:gd name="connsiteY75" fmla="*/ 3024053 h 3487140"/>
              <a:gd name="connsiteX76" fmla="*/ 2389165 w 7603996"/>
              <a:gd name="connsiteY76" fmla="*/ 3013989 h 3487140"/>
              <a:gd name="connsiteX77" fmla="*/ 2396068 w 7603996"/>
              <a:gd name="connsiteY77" fmla="*/ 2956724 h 3487140"/>
              <a:gd name="connsiteX78" fmla="*/ 2584831 w 7603996"/>
              <a:gd name="connsiteY78" fmla="*/ 2951068 h 3487140"/>
              <a:gd name="connsiteX79" fmla="*/ 2671041 w 7603996"/>
              <a:gd name="connsiteY79" fmla="*/ 2951068 h 3487140"/>
              <a:gd name="connsiteX80" fmla="*/ 2752219 w 7603996"/>
              <a:gd name="connsiteY80" fmla="*/ 2822066 h 3487140"/>
              <a:gd name="connsiteX81" fmla="*/ 2892533 w 7603996"/>
              <a:gd name="connsiteY81" fmla="*/ 2789337 h 3487140"/>
              <a:gd name="connsiteX82" fmla="*/ 3020246 w 7603996"/>
              <a:gd name="connsiteY82" fmla="*/ 2713815 h 3487140"/>
              <a:gd name="connsiteX83" fmla="*/ 3106456 w 7603996"/>
              <a:gd name="connsiteY83" fmla="*/ 2544556 h 3487140"/>
              <a:gd name="connsiteX84" fmla="*/ 3326035 w 7603996"/>
              <a:gd name="connsiteY84" fmla="*/ 2482883 h 3487140"/>
              <a:gd name="connsiteX85" fmla="*/ 3861009 w 7603996"/>
              <a:gd name="connsiteY85" fmla="*/ 2466831 h 3487140"/>
              <a:gd name="connsiteX86" fmla="*/ 4016751 w 7603996"/>
              <a:gd name="connsiteY86" fmla="*/ 2420918 h 3487140"/>
              <a:gd name="connsiteX87" fmla="*/ 3866664 w 7603996"/>
              <a:gd name="connsiteY87" fmla="*/ 2252907 h 3487140"/>
              <a:gd name="connsiteX88" fmla="*/ 3391285 w 7603996"/>
              <a:gd name="connsiteY88" fmla="*/ 1791709 h 3487140"/>
              <a:gd name="connsiteX89" fmla="*/ 3127166 w 7603996"/>
              <a:gd name="connsiteY89" fmla="*/ 1600118 h 3487140"/>
              <a:gd name="connsiteX90" fmla="*/ 3003196 w 7603996"/>
              <a:gd name="connsiteY90" fmla="*/ 1733529 h 3487140"/>
              <a:gd name="connsiteX91" fmla="*/ 2940898 w 7603996"/>
              <a:gd name="connsiteY91" fmla="*/ 1995900 h 3487140"/>
              <a:gd name="connsiteX92" fmla="*/ 2981778 w 7603996"/>
              <a:gd name="connsiteY92" fmla="*/ 2048133 h 3487140"/>
              <a:gd name="connsiteX93" fmla="*/ 3044699 w 7603996"/>
              <a:gd name="connsiteY93" fmla="*/ 1778817 h 3487140"/>
              <a:gd name="connsiteX94" fmla="*/ 3166466 w 7603996"/>
              <a:gd name="connsiteY94" fmla="*/ 1356918 h 3487140"/>
              <a:gd name="connsiteX95" fmla="*/ 3272803 w 7603996"/>
              <a:gd name="connsiteY95" fmla="*/ 986960 h 3487140"/>
              <a:gd name="connsiteX96" fmla="*/ 3243526 w 7603996"/>
              <a:gd name="connsiteY96" fmla="*/ 867107 h 3487140"/>
              <a:gd name="connsiteX97" fmla="*/ 3068612 w 7603996"/>
              <a:gd name="connsiteY97" fmla="*/ 840034 h 3487140"/>
              <a:gd name="connsiteX98" fmla="*/ 2924513 w 7603996"/>
              <a:gd name="connsiteY98" fmla="*/ 782769 h 3487140"/>
              <a:gd name="connsiteX99" fmla="*/ 2940857 w 7603996"/>
              <a:gd name="connsiteY99" fmla="*/ 714816 h 3487140"/>
              <a:gd name="connsiteX100" fmla="*/ 3114524 w 7603996"/>
              <a:gd name="connsiteY100" fmla="*/ 723008 h 3487140"/>
              <a:gd name="connsiteX101" fmla="*/ 3317135 w 7603996"/>
              <a:gd name="connsiteY101" fmla="*/ 729288 h 3487140"/>
              <a:gd name="connsiteX102" fmla="*/ 3483857 w 7603996"/>
              <a:gd name="connsiteY102" fmla="*/ 682087 h 3487140"/>
              <a:gd name="connsiteX103" fmla="*/ 3601506 w 7603996"/>
              <a:gd name="connsiteY103" fmla="*/ 703463 h 3487140"/>
              <a:gd name="connsiteX104" fmla="*/ 3624171 w 7603996"/>
              <a:gd name="connsiteY104" fmla="*/ 797199 h 3487140"/>
              <a:gd name="connsiteX105" fmla="*/ 3496458 w 7603996"/>
              <a:gd name="connsiteY105" fmla="*/ 890936 h 3487140"/>
              <a:gd name="connsiteX106" fmla="*/ 3326575 w 7603996"/>
              <a:gd name="connsiteY106" fmla="*/ 918009 h 3487140"/>
              <a:gd name="connsiteX107" fmla="*/ 3198862 w 7603996"/>
              <a:gd name="connsiteY107" fmla="*/ 1002306 h 3487140"/>
              <a:gd name="connsiteX108" fmla="*/ 3097972 w 7603996"/>
              <a:gd name="connsiteY108" fmla="*/ 1299902 h 3487140"/>
              <a:gd name="connsiteX109" fmla="*/ 3159022 w 7603996"/>
              <a:gd name="connsiteY109" fmla="*/ 1545930 h 3487140"/>
              <a:gd name="connsiteX110" fmla="*/ 3371697 w 7603996"/>
              <a:gd name="connsiteY110" fmla="*/ 1536490 h 3487140"/>
              <a:gd name="connsiteX111" fmla="*/ 3551228 w 7603996"/>
              <a:gd name="connsiteY111" fmla="*/ 1376048 h 3487140"/>
              <a:gd name="connsiteX112" fmla="*/ 3554389 w 7603996"/>
              <a:gd name="connsiteY112" fmla="*/ 1231949 h 3487140"/>
              <a:gd name="connsiteX113" fmla="*/ 3336348 w 7603996"/>
              <a:gd name="connsiteY113" fmla="*/ 1191693 h 3487140"/>
              <a:gd name="connsiteX114" fmla="*/ 3344832 w 7603996"/>
              <a:gd name="connsiteY114" fmla="*/ 1255238 h 3487140"/>
              <a:gd name="connsiteX115" fmla="*/ 3769850 w 7603996"/>
              <a:gd name="connsiteY115" fmla="*/ 1241722 h 3487140"/>
              <a:gd name="connsiteX116" fmla="*/ 4254670 w 7603996"/>
              <a:gd name="connsiteY116" fmla="*/ 1259646 h 3487140"/>
              <a:gd name="connsiteX117" fmla="*/ 4484022 w 7603996"/>
              <a:gd name="connsiteY117" fmla="*/ 1236981 h 3487140"/>
              <a:gd name="connsiteX118" fmla="*/ 4465766 w 7603996"/>
              <a:gd name="connsiteY118" fmla="*/ 1185995 h 3487140"/>
              <a:gd name="connsiteX119" fmla="*/ 4105248 w 7603996"/>
              <a:gd name="connsiteY119" fmla="*/ 1177512 h 3487140"/>
              <a:gd name="connsiteX120" fmla="*/ 3734668 w 7603996"/>
              <a:gd name="connsiteY120" fmla="*/ 1331342 h 3487140"/>
              <a:gd name="connsiteX121" fmla="*/ 3388914 w 7603996"/>
              <a:gd name="connsiteY121" fmla="*/ 1604110 h 3487140"/>
              <a:gd name="connsiteX122" fmla="*/ 3156111 w 7603996"/>
              <a:gd name="connsiteY122" fmla="*/ 1921252 h 3487140"/>
              <a:gd name="connsiteX123" fmla="*/ 3060461 w 7603996"/>
              <a:gd name="connsiteY123" fmla="*/ 2419255 h 3487140"/>
              <a:gd name="connsiteX124" fmla="*/ 3290769 w 7603996"/>
              <a:gd name="connsiteY124" fmla="*/ 3048465 h 3487140"/>
              <a:gd name="connsiteX125" fmla="*/ 3868994 w 7603996"/>
              <a:gd name="connsiteY125" fmla="*/ 3394510 h 3487140"/>
              <a:gd name="connsiteX126" fmla="*/ 4507643 w 7603996"/>
              <a:gd name="connsiteY126" fmla="*/ 3330632 h 3487140"/>
              <a:gd name="connsiteX127" fmla="*/ 5002818 w 7603996"/>
              <a:gd name="connsiteY127" fmla="*/ 2841404 h 3487140"/>
              <a:gd name="connsiteX128" fmla="*/ 5036171 w 7603996"/>
              <a:gd name="connsiteY128" fmla="*/ 2052999 h 3487140"/>
              <a:gd name="connsiteX129" fmla="*/ 4605164 w 7603996"/>
              <a:gd name="connsiteY129" fmla="*/ 1482011 h 3487140"/>
              <a:gd name="connsiteX130" fmla="*/ 4138310 w 7603996"/>
              <a:gd name="connsiteY130" fmla="*/ 1352717 h 3487140"/>
              <a:gd name="connsiteX131" fmla="*/ 3977868 w 7603996"/>
              <a:gd name="connsiteY131" fmla="*/ 1466624 h 3487140"/>
              <a:gd name="connsiteX132" fmla="*/ 3999909 w 7603996"/>
              <a:gd name="connsiteY132" fmla="*/ 2001140 h 3487140"/>
              <a:gd name="connsiteX133" fmla="*/ 4033885 w 7603996"/>
              <a:gd name="connsiteY133" fmla="*/ 2313208 h 3487140"/>
              <a:gd name="connsiteX134" fmla="*/ 4125585 w 7603996"/>
              <a:gd name="connsiteY134" fmla="*/ 2399085 h 3487140"/>
              <a:gd name="connsiteX135" fmla="*/ 4230051 w 7603996"/>
              <a:gd name="connsiteY135" fmla="*/ 2362905 h 3487140"/>
              <a:gd name="connsiteX136" fmla="*/ 4194660 w 7603996"/>
              <a:gd name="connsiteY136" fmla="*/ 2271372 h 3487140"/>
              <a:gd name="connsiteX137" fmla="*/ 4097056 w 7603996"/>
              <a:gd name="connsiteY137" fmla="*/ 2303394 h 3487140"/>
              <a:gd name="connsiteX138" fmla="*/ 4080670 w 7603996"/>
              <a:gd name="connsiteY138" fmla="*/ 2437262 h 3487140"/>
              <a:gd name="connsiteX139" fmla="*/ 4079589 w 7603996"/>
              <a:gd name="connsiteY139" fmla="*/ 2519521 h 3487140"/>
              <a:gd name="connsiteX140" fmla="*/ 3900475 w 7603996"/>
              <a:gd name="connsiteY140" fmla="*/ 2539400 h 3487140"/>
              <a:gd name="connsiteX141" fmla="*/ 3490220 w 7603996"/>
              <a:gd name="connsiteY141" fmla="*/ 2545679 h 3487140"/>
              <a:gd name="connsiteX142" fmla="*/ 3249848 w 7603996"/>
              <a:gd name="connsiteY142" fmla="*/ 2602944 h 3487140"/>
              <a:gd name="connsiteX143" fmla="*/ 3240241 w 7603996"/>
              <a:gd name="connsiteY143" fmla="*/ 2790460 h 3487140"/>
              <a:gd name="connsiteX144" fmla="*/ 3433578 w 7603996"/>
              <a:gd name="connsiteY144" fmla="*/ 3133385 h 3487140"/>
              <a:gd name="connsiteX145" fmla="*/ 3925468 w 7603996"/>
              <a:gd name="connsiteY145" fmla="*/ 3465290 h 3487140"/>
              <a:gd name="connsiteX146" fmla="*/ 4666214 w 7603996"/>
              <a:gd name="connsiteY146" fmla="*/ 3390434 h 3487140"/>
              <a:gd name="connsiteX147" fmla="*/ 5106037 w 7603996"/>
              <a:gd name="connsiteY147" fmla="*/ 3017940 h 3487140"/>
              <a:gd name="connsiteX148" fmla="*/ 5420018 w 7603996"/>
              <a:gd name="connsiteY148" fmla="*/ 2655510 h 3487140"/>
              <a:gd name="connsiteX149" fmla="*/ 5792512 w 7603996"/>
              <a:gd name="connsiteY149" fmla="*/ 3163577 h 3487140"/>
              <a:gd name="connsiteX150" fmla="*/ 6016499 w 7603996"/>
              <a:gd name="connsiteY150" fmla="*/ 3255443 h 3487140"/>
              <a:gd name="connsiteX151" fmla="*/ 6094516 w 7603996"/>
              <a:gd name="connsiteY151" fmla="*/ 2786675 h 3487140"/>
              <a:gd name="connsiteX152" fmla="*/ 6404089 w 7603996"/>
              <a:gd name="connsiteY152" fmla="*/ 2869724 h 3487140"/>
              <a:gd name="connsiteX153" fmla="*/ 6642881 w 7603996"/>
              <a:gd name="connsiteY153" fmla="*/ 3245046 h 3487140"/>
              <a:gd name="connsiteX154" fmla="*/ 7015374 w 7603996"/>
              <a:gd name="connsiteY154" fmla="*/ 3329676 h 3487140"/>
              <a:gd name="connsiteX155" fmla="*/ 7603996 w 7603996"/>
              <a:gd name="connsiteY155" fmla="*/ 3217682 h 3487140"/>
              <a:gd name="connsiteX0" fmla="*/ 777215 w 7015374"/>
              <a:gd name="connsiteY0" fmla="*/ 3295741 h 3487140"/>
              <a:gd name="connsiteX1" fmla="*/ 526113 w 7015374"/>
              <a:gd name="connsiteY1" fmla="*/ 3112384 h 3487140"/>
              <a:gd name="connsiteX2" fmla="*/ 219950 w 7015374"/>
              <a:gd name="connsiteY2" fmla="*/ 2750287 h 3487140"/>
              <a:gd name="connsiteX3" fmla="*/ 128418 w 7015374"/>
              <a:gd name="connsiteY3" fmla="*/ 2305432 h 3487140"/>
              <a:gd name="connsiteX4" fmla="*/ 256006 w 7015374"/>
              <a:gd name="connsiteY4" fmla="*/ 1919713 h 3487140"/>
              <a:gd name="connsiteX5" fmla="*/ 580218 w 7015374"/>
              <a:gd name="connsiteY5" fmla="*/ 1637837 h 3487140"/>
              <a:gd name="connsiteX6" fmla="*/ 1073522 w 7015374"/>
              <a:gd name="connsiteY6" fmla="*/ 1545972 h 3487140"/>
              <a:gd name="connsiteX7" fmla="*/ 1308197 w 7015374"/>
              <a:gd name="connsiteY7" fmla="*/ 1517651 h 3487140"/>
              <a:gd name="connsiteX8" fmla="*/ 1292934 w 7015374"/>
              <a:gd name="connsiteY8" fmla="*/ 1460718 h 3487140"/>
              <a:gd name="connsiteX9" fmla="*/ 1016880 w 7015374"/>
              <a:gd name="connsiteY9" fmla="*/ 1416969 h 3487140"/>
              <a:gd name="connsiteX10" fmla="*/ 497460 w 7015374"/>
              <a:gd name="connsiteY10" fmla="*/ 1517318 h 3487140"/>
              <a:gd name="connsiteX11" fmla="*/ 88162 w 7015374"/>
              <a:gd name="connsiteY11" fmla="*/ 1960593 h 3487140"/>
              <a:gd name="connsiteX12" fmla="*/ 28692 w 7015374"/>
              <a:gd name="connsiteY12" fmla="*/ 2569342 h 3487140"/>
              <a:gd name="connsiteX13" fmla="*/ 442399 w 7015374"/>
              <a:gd name="connsiteY13" fmla="*/ 3165532 h 3487140"/>
              <a:gd name="connsiteX14" fmla="*/ 1232384 w 7015374"/>
              <a:gd name="connsiteY14" fmla="*/ 3283181 h 3487140"/>
              <a:gd name="connsiteX15" fmla="*/ 1835020 w 7015374"/>
              <a:gd name="connsiteY15" fmla="*/ 2757481 h 3487140"/>
              <a:gd name="connsiteX16" fmla="*/ 1824789 w 7015374"/>
              <a:gd name="connsiteY16" fmla="*/ 1980430 h 3487140"/>
              <a:gd name="connsiteX17" fmla="*/ 1494755 w 7015374"/>
              <a:gd name="connsiteY17" fmla="*/ 1589139 h 3487140"/>
              <a:gd name="connsiteX18" fmla="*/ 1305701 w 7015374"/>
              <a:gd name="connsiteY18" fmla="*/ 1660710 h 3487140"/>
              <a:gd name="connsiteX19" fmla="*/ 1197284 w 7015374"/>
              <a:gd name="connsiteY19" fmla="*/ 2116627 h 3487140"/>
              <a:gd name="connsiteX20" fmla="*/ 973921 w 7015374"/>
              <a:gd name="connsiteY20" fmla="*/ 2374258 h 3487140"/>
              <a:gd name="connsiteX21" fmla="*/ 918985 w 7015374"/>
              <a:gd name="connsiteY21" fmla="*/ 2276986 h 3487140"/>
              <a:gd name="connsiteX22" fmla="*/ 1298257 w 7015374"/>
              <a:gd name="connsiteY22" fmla="*/ 2021601 h 3487140"/>
              <a:gd name="connsiteX23" fmla="*/ 1558176 w 7015374"/>
              <a:gd name="connsiteY23" fmla="*/ 1234153 h 3487140"/>
              <a:gd name="connsiteX24" fmla="*/ 1788276 w 7015374"/>
              <a:gd name="connsiteY24" fmla="*/ 725296 h 3487140"/>
              <a:gd name="connsiteX25" fmla="*/ 1896859 w 7015374"/>
              <a:gd name="connsiteY25" fmla="*/ 539984 h 3487140"/>
              <a:gd name="connsiteX26" fmla="*/ 1865711 w 7015374"/>
              <a:gd name="connsiteY26" fmla="*/ 435851 h 3487140"/>
              <a:gd name="connsiteX27" fmla="*/ 1759373 w 7015374"/>
              <a:gd name="connsiteY27" fmla="*/ 350265 h 3487140"/>
              <a:gd name="connsiteX28" fmla="*/ 1714085 w 7015374"/>
              <a:gd name="connsiteY28" fmla="*/ 209327 h 3487140"/>
              <a:gd name="connsiteX29" fmla="*/ 1758915 w 7015374"/>
              <a:gd name="connsiteY29" fmla="*/ 82237 h 3487140"/>
              <a:gd name="connsiteX30" fmla="*/ 1939195 w 7015374"/>
              <a:gd name="connsiteY30" fmla="*/ 6716 h 3487140"/>
              <a:gd name="connsiteX31" fmla="*/ 2207888 w 7015374"/>
              <a:gd name="connsiteY31" fmla="*/ 10167 h 3487140"/>
              <a:gd name="connsiteX32" fmla="*/ 2291561 w 7015374"/>
              <a:gd name="connsiteY32" fmla="*/ 49800 h 3487140"/>
              <a:gd name="connsiteX33" fmla="*/ 2244526 w 7015374"/>
              <a:gd name="connsiteY33" fmla="*/ 86812 h 3487140"/>
              <a:gd name="connsiteX34" fmla="*/ 2008603 w 7015374"/>
              <a:gd name="connsiteY34" fmla="*/ 91886 h 3487140"/>
              <a:gd name="connsiteX35" fmla="*/ 1765070 w 7015374"/>
              <a:gd name="connsiteY35" fmla="*/ 75833 h 3487140"/>
              <a:gd name="connsiteX36" fmla="*/ 1657319 w 7015374"/>
              <a:gd name="connsiteY36" fmla="*/ 176931 h 3487140"/>
              <a:gd name="connsiteX37" fmla="*/ 1672581 w 7015374"/>
              <a:gd name="connsiteY37" fmla="*/ 370393 h 3487140"/>
              <a:gd name="connsiteX38" fmla="*/ 1617354 w 7015374"/>
              <a:gd name="connsiteY38" fmla="*/ 589348 h 3487140"/>
              <a:gd name="connsiteX39" fmla="*/ 1460820 w 7015374"/>
              <a:gd name="connsiteY39" fmla="*/ 903953 h 3487140"/>
              <a:gd name="connsiteX40" fmla="*/ 1250349 w 7015374"/>
              <a:gd name="connsiteY40" fmla="*/ 922501 h 3487140"/>
              <a:gd name="connsiteX41" fmla="*/ 1055930 w 7015374"/>
              <a:gd name="connsiteY41" fmla="*/ 866816 h 3487140"/>
              <a:gd name="connsiteX42" fmla="*/ 997085 w 7015374"/>
              <a:gd name="connsiteY42" fmla="*/ 751038 h 3487140"/>
              <a:gd name="connsiteX43" fmla="*/ 1009021 w 7015374"/>
              <a:gd name="connsiteY43" fmla="*/ 369436 h 3487140"/>
              <a:gd name="connsiteX44" fmla="*/ 1070694 w 7015374"/>
              <a:gd name="connsiteY44" fmla="*/ 155805 h 3487140"/>
              <a:gd name="connsiteX45" fmla="*/ 1272058 w 7015374"/>
              <a:gd name="connsiteY45" fmla="*/ 156761 h 3487140"/>
              <a:gd name="connsiteX46" fmla="*/ 1524989 w 7015374"/>
              <a:gd name="connsiteY46" fmla="*/ 245175 h 3487140"/>
              <a:gd name="connsiteX47" fmla="*/ 1694081 w 7015374"/>
              <a:gd name="connsiteY47" fmla="*/ 357792 h 3487140"/>
              <a:gd name="connsiteX48" fmla="*/ 1798672 w 7015374"/>
              <a:gd name="connsiteY48" fmla="*/ 483301 h 3487140"/>
              <a:gd name="connsiteX49" fmla="*/ 1822876 w 7015374"/>
              <a:gd name="connsiteY49" fmla="*/ 600951 h 3487140"/>
              <a:gd name="connsiteX50" fmla="*/ 1795345 w 7015374"/>
              <a:gd name="connsiteY50" fmla="*/ 761726 h 3487140"/>
              <a:gd name="connsiteX51" fmla="*/ 1967266 w 7015374"/>
              <a:gd name="connsiteY51" fmla="*/ 1160004 h 3487140"/>
              <a:gd name="connsiteX52" fmla="*/ 2390246 w 7015374"/>
              <a:gd name="connsiteY52" fmla="*/ 1793622 h 3487140"/>
              <a:gd name="connsiteX53" fmla="*/ 2807737 w 7015374"/>
              <a:gd name="connsiteY53" fmla="*/ 2087475 h 3487140"/>
              <a:gd name="connsiteX54" fmla="*/ 2917360 w 7015374"/>
              <a:gd name="connsiteY54" fmla="*/ 2185620 h 3487140"/>
              <a:gd name="connsiteX55" fmla="*/ 2804411 w 7015374"/>
              <a:gd name="connsiteY55" fmla="*/ 2468120 h 3487140"/>
              <a:gd name="connsiteX56" fmla="*/ 2638312 w 7015374"/>
              <a:gd name="connsiteY56" fmla="*/ 2505548 h 3487140"/>
              <a:gd name="connsiteX57" fmla="*/ 2329862 w 7015374"/>
              <a:gd name="connsiteY57" fmla="*/ 2278109 h 3487140"/>
              <a:gd name="connsiteX58" fmla="*/ 1885173 w 7015374"/>
              <a:gd name="connsiteY58" fmla="*/ 1678800 h 3487140"/>
              <a:gd name="connsiteX59" fmla="*/ 1765320 w 7015374"/>
              <a:gd name="connsiteY59" fmla="*/ 1175432 h 3487140"/>
              <a:gd name="connsiteX60" fmla="*/ 1919774 w 7015374"/>
              <a:gd name="connsiteY60" fmla="*/ 1377420 h 3487140"/>
              <a:gd name="connsiteX61" fmla="*/ 2281414 w 7015374"/>
              <a:gd name="connsiteY61" fmla="*/ 2268710 h 3487140"/>
              <a:gd name="connsiteX62" fmla="*/ 2601216 w 7015374"/>
              <a:gd name="connsiteY62" fmla="*/ 2693105 h 3487140"/>
              <a:gd name="connsiteX63" fmla="*/ 2834644 w 7015374"/>
              <a:gd name="connsiteY63" fmla="*/ 2746586 h 3487140"/>
              <a:gd name="connsiteX64" fmla="*/ 3001865 w 7015374"/>
              <a:gd name="connsiteY64" fmla="*/ 2631432 h 3487140"/>
              <a:gd name="connsiteX65" fmla="*/ 3013052 w 7015374"/>
              <a:gd name="connsiteY65" fmla="*/ 2436680 h 3487140"/>
              <a:gd name="connsiteX66" fmla="*/ 2859222 w 7015374"/>
              <a:gd name="connsiteY66" fmla="*/ 2309258 h 3487140"/>
              <a:gd name="connsiteX67" fmla="*/ 2652036 w 7015374"/>
              <a:gd name="connsiteY67" fmla="*/ 2375007 h 3487140"/>
              <a:gd name="connsiteX68" fmla="*/ 2629537 w 7015374"/>
              <a:gd name="connsiteY68" fmla="*/ 2581402 h 3487140"/>
              <a:gd name="connsiteX69" fmla="*/ 2772222 w 7015374"/>
              <a:gd name="connsiteY69" fmla="*/ 2671064 h 3487140"/>
              <a:gd name="connsiteX70" fmla="*/ 2868787 w 7015374"/>
              <a:gd name="connsiteY70" fmla="*/ 2596831 h 3487140"/>
              <a:gd name="connsiteX71" fmla="*/ 2835601 w 7015374"/>
              <a:gd name="connsiteY71" fmla="*/ 2530750 h 3487140"/>
              <a:gd name="connsiteX72" fmla="*/ 2713543 w 7015374"/>
              <a:gd name="connsiteY72" fmla="*/ 2615379 h 3487140"/>
              <a:gd name="connsiteX73" fmla="*/ 2567864 w 7015374"/>
              <a:gd name="connsiteY73" fmla="*/ 2907028 h 3487140"/>
              <a:gd name="connsiteX74" fmla="*/ 2520039 w 7015374"/>
              <a:gd name="connsiteY74" fmla="*/ 3008333 h 3487140"/>
              <a:gd name="connsiteX75" fmla="*/ 2484191 w 7015374"/>
              <a:gd name="connsiteY75" fmla="*/ 3024053 h 3487140"/>
              <a:gd name="connsiteX76" fmla="*/ 2389165 w 7015374"/>
              <a:gd name="connsiteY76" fmla="*/ 3013989 h 3487140"/>
              <a:gd name="connsiteX77" fmla="*/ 2396068 w 7015374"/>
              <a:gd name="connsiteY77" fmla="*/ 2956724 h 3487140"/>
              <a:gd name="connsiteX78" fmla="*/ 2584831 w 7015374"/>
              <a:gd name="connsiteY78" fmla="*/ 2951068 h 3487140"/>
              <a:gd name="connsiteX79" fmla="*/ 2671041 w 7015374"/>
              <a:gd name="connsiteY79" fmla="*/ 2951068 h 3487140"/>
              <a:gd name="connsiteX80" fmla="*/ 2752219 w 7015374"/>
              <a:gd name="connsiteY80" fmla="*/ 2822066 h 3487140"/>
              <a:gd name="connsiteX81" fmla="*/ 2892533 w 7015374"/>
              <a:gd name="connsiteY81" fmla="*/ 2789337 h 3487140"/>
              <a:gd name="connsiteX82" fmla="*/ 3020246 w 7015374"/>
              <a:gd name="connsiteY82" fmla="*/ 2713815 h 3487140"/>
              <a:gd name="connsiteX83" fmla="*/ 3106456 w 7015374"/>
              <a:gd name="connsiteY83" fmla="*/ 2544556 h 3487140"/>
              <a:gd name="connsiteX84" fmla="*/ 3326035 w 7015374"/>
              <a:gd name="connsiteY84" fmla="*/ 2482883 h 3487140"/>
              <a:gd name="connsiteX85" fmla="*/ 3861009 w 7015374"/>
              <a:gd name="connsiteY85" fmla="*/ 2466831 h 3487140"/>
              <a:gd name="connsiteX86" fmla="*/ 4016751 w 7015374"/>
              <a:gd name="connsiteY86" fmla="*/ 2420918 h 3487140"/>
              <a:gd name="connsiteX87" fmla="*/ 3866664 w 7015374"/>
              <a:gd name="connsiteY87" fmla="*/ 2252907 h 3487140"/>
              <a:gd name="connsiteX88" fmla="*/ 3391285 w 7015374"/>
              <a:gd name="connsiteY88" fmla="*/ 1791709 h 3487140"/>
              <a:gd name="connsiteX89" fmla="*/ 3127166 w 7015374"/>
              <a:gd name="connsiteY89" fmla="*/ 1600118 h 3487140"/>
              <a:gd name="connsiteX90" fmla="*/ 3003196 w 7015374"/>
              <a:gd name="connsiteY90" fmla="*/ 1733529 h 3487140"/>
              <a:gd name="connsiteX91" fmla="*/ 2940898 w 7015374"/>
              <a:gd name="connsiteY91" fmla="*/ 1995900 h 3487140"/>
              <a:gd name="connsiteX92" fmla="*/ 2981778 w 7015374"/>
              <a:gd name="connsiteY92" fmla="*/ 2048133 h 3487140"/>
              <a:gd name="connsiteX93" fmla="*/ 3044699 w 7015374"/>
              <a:gd name="connsiteY93" fmla="*/ 1778817 h 3487140"/>
              <a:gd name="connsiteX94" fmla="*/ 3166466 w 7015374"/>
              <a:gd name="connsiteY94" fmla="*/ 1356918 h 3487140"/>
              <a:gd name="connsiteX95" fmla="*/ 3272803 w 7015374"/>
              <a:gd name="connsiteY95" fmla="*/ 986960 h 3487140"/>
              <a:gd name="connsiteX96" fmla="*/ 3243526 w 7015374"/>
              <a:gd name="connsiteY96" fmla="*/ 867107 h 3487140"/>
              <a:gd name="connsiteX97" fmla="*/ 3068612 w 7015374"/>
              <a:gd name="connsiteY97" fmla="*/ 840034 h 3487140"/>
              <a:gd name="connsiteX98" fmla="*/ 2924513 w 7015374"/>
              <a:gd name="connsiteY98" fmla="*/ 782769 h 3487140"/>
              <a:gd name="connsiteX99" fmla="*/ 2940857 w 7015374"/>
              <a:gd name="connsiteY99" fmla="*/ 714816 h 3487140"/>
              <a:gd name="connsiteX100" fmla="*/ 3114524 w 7015374"/>
              <a:gd name="connsiteY100" fmla="*/ 723008 h 3487140"/>
              <a:gd name="connsiteX101" fmla="*/ 3317135 w 7015374"/>
              <a:gd name="connsiteY101" fmla="*/ 729288 h 3487140"/>
              <a:gd name="connsiteX102" fmla="*/ 3483857 w 7015374"/>
              <a:gd name="connsiteY102" fmla="*/ 682087 h 3487140"/>
              <a:gd name="connsiteX103" fmla="*/ 3601506 w 7015374"/>
              <a:gd name="connsiteY103" fmla="*/ 703463 h 3487140"/>
              <a:gd name="connsiteX104" fmla="*/ 3624171 w 7015374"/>
              <a:gd name="connsiteY104" fmla="*/ 797199 h 3487140"/>
              <a:gd name="connsiteX105" fmla="*/ 3496458 w 7015374"/>
              <a:gd name="connsiteY105" fmla="*/ 890936 h 3487140"/>
              <a:gd name="connsiteX106" fmla="*/ 3326575 w 7015374"/>
              <a:gd name="connsiteY106" fmla="*/ 918009 h 3487140"/>
              <a:gd name="connsiteX107" fmla="*/ 3198862 w 7015374"/>
              <a:gd name="connsiteY107" fmla="*/ 1002306 h 3487140"/>
              <a:gd name="connsiteX108" fmla="*/ 3097972 w 7015374"/>
              <a:gd name="connsiteY108" fmla="*/ 1299902 h 3487140"/>
              <a:gd name="connsiteX109" fmla="*/ 3159022 w 7015374"/>
              <a:gd name="connsiteY109" fmla="*/ 1545930 h 3487140"/>
              <a:gd name="connsiteX110" fmla="*/ 3371697 w 7015374"/>
              <a:gd name="connsiteY110" fmla="*/ 1536490 h 3487140"/>
              <a:gd name="connsiteX111" fmla="*/ 3551228 w 7015374"/>
              <a:gd name="connsiteY111" fmla="*/ 1376048 h 3487140"/>
              <a:gd name="connsiteX112" fmla="*/ 3554389 w 7015374"/>
              <a:gd name="connsiteY112" fmla="*/ 1231949 h 3487140"/>
              <a:gd name="connsiteX113" fmla="*/ 3336348 w 7015374"/>
              <a:gd name="connsiteY113" fmla="*/ 1191693 h 3487140"/>
              <a:gd name="connsiteX114" fmla="*/ 3344832 w 7015374"/>
              <a:gd name="connsiteY114" fmla="*/ 1255238 h 3487140"/>
              <a:gd name="connsiteX115" fmla="*/ 3769850 w 7015374"/>
              <a:gd name="connsiteY115" fmla="*/ 1241722 h 3487140"/>
              <a:gd name="connsiteX116" fmla="*/ 4254670 w 7015374"/>
              <a:gd name="connsiteY116" fmla="*/ 1259646 h 3487140"/>
              <a:gd name="connsiteX117" fmla="*/ 4484022 w 7015374"/>
              <a:gd name="connsiteY117" fmla="*/ 1236981 h 3487140"/>
              <a:gd name="connsiteX118" fmla="*/ 4465766 w 7015374"/>
              <a:gd name="connsiteY118" fmla="*/ 1185995 h 3487140"/>
              <a:gd name="connsiteX119" fmla="*/ 4105248 w 7015374"/>
              <a:gd name="connsiteY119" fmla="*/ 1177512 h 3487140"/>
              <a:gd name="connsiteX120" fmla="*/ 3734668 w 7015374"/>
              <a:gd name="connsiteY120" fmla="*/ 1331342 h 3487140"/>
              <a:gd name="connsiteX121" fmla="*/ 3388914 w 7015374"/>
              <a:gd name="connsiteY121" fmla="*/ 1604110 h 3487140"/>
              <a:gd name="connsiteX122" fmla="*/ 3156111 w 7015374"/>
              <a:gd name="connsiteY122" fmla="*/ 1921252 h 3487140"/>
              <a:gd name="connsiteX123" fmla="*/ 3060461 w 7015374"/>
              <a:gd name="connsiteY123" fmla="*/ 2419255 h 3487140"/>
              <a:gd name="connsiteX124" fmla="*/ 3290769 w 7015374"/>
              <a:gd name="connsiteY124" fmla="*/ 3048465 h 3487140"/>
              <a:gd name="connsiteX125" fmla="*/ 3868994 w 7015374"/>
              <a:gd name="connsiteY125" fmla="*/ 3394510 h 3487140"/>
              <a:gd name="connsiteX126" fmla="*/ 4507643 w 7015374"/>
              <a:gd name="connsiteY126" fmla="*/ 3330632 h 3487140"/>
              <a:gd name="connsiteX127" fmla="*/ 5002818 w 7015374"/>
              <a:gd name="connsiteY127" fmla="*/ 2841404 h 3487140"/>
              <a:gd name="connsiteX128" fmla="*/ 5036171 w 7015374"/>
              <a:gd name="connsiteY128" fmla="*/ 2052999 h 3487140"/>
              <a:gd name="connsiteX129" fmla="*/ 4605164 w 7015374"/>
              <a:gd name="connsiteY129" fmla="*/ 1482011 h 3487140"/>
              <a:gd name="connsiteX130" fmla="*/ 4138310 w 7015374"/>
              <a:gd name="connsiteY130" fmla="*/ 1352717 h 3487140"/>
              <a:gd name="connsiteX131" fmla="*/ 3977868 w 7015374"/>
              <a:gd name="connsiteY131" fmla="*/ 1466624 h 3487140"/>
              <a:gd name="connsiteX132" fmla="*/ 3999909 w 7015374"/>
              <a:gd name="connsiteY132" fmla="*/ 2001140 h 3487140"/>
              <a:gd name="connsiteX133" fmla="*/ 4033885 w 7015374"/>
              <a:gd name="connsiteY133" fmla="*/ 2313208 h 3487140"/>
              <a:gd name="connsiteX134" fmla="*/ 4125585 w 7015374"/>
              <a:gd name="connsiteY134" fmla="*/ 2399085 h 3487140"/>
              <a:gd name="connsiteX135" fmla="*/ 4230051 w 7015374"/>
              <a:gd name="connsiteY135" fmla="*/ 2362905 h 3487140"/>
              <a:gd name="connsiteX136" fmla="*/ 4194660 w 7015374"/>
              <a:gd name="connsiteY136" fmla="*/ 2271372 h 3487140"/>
              <a:gd name="connsiteX137" fmla="*/ 4097056 w 7015374"/>
              <a:gd name="connsiteY137" fmla="*/ 2303394 h 3487140"/>
              <a:gd name="connsiteX138" fmla="*/ 4080670 w 7015374"/>
              <a:gd name="connsiteY138" fmla="*/ 2437262 h 3487140"/>
              <a:gd name="connsiteX139" fmla="*/ 4079589 w 7015374"/>
              <a:gd name="connsiteY139" fmla="*/ 2519521 h 3487140"/>
              <a:gd name="connsiteX140" fmla="*/ 3900475 w 7015374"/>
              <a:gd name="connsiteY140" fmla="*/ 2539400 h 3487140"/>
              <a:gd name="connsiteX141" fmla="*/ 3490220 w 7015374"/>
              <a:gd name="connsiteY141" fmla="*/ 2545679 h 3487140"/>
              <a:gd name="connsiteX142" fmla="*/ 3249848 w 7015374"/>
              <a:gd name="connsiteY142" fmla="*/ 2602944 h 3487140"/>
              <a:gd name="connsiteX143" fmla="*/ 3240241 w 7015374"/>
              <a:gd name="connsiteY143" fmla="*/ 2790460 h 3487140"/>
              <a:gd name="connsiteX144" fmla="*/ 3433578 w 7015374"/>
              <a:gd name="connsiteY144" fmla="*/ 3133385 h 3487140"/>
              <a:gd name="connsiteX145" fmla="*/ 3925468 w 7015374"/>
              <a:gd name="connsiteY145" fmla="*/ 3465290 h 3487140"/>
              <a:gd name="connsiteX146" fmla="*/ 4666214 w 7015374"/>
              <a:gd name="connsiteY146" fmla="*/ 3390434 h 3487140"/>
              <a:gd name="connsiteX147" fmla="*/ 5106037 w 7015374"/>
              <a:gd name="connsiteY147" fmla="*/ 3017940 h 3487140"/>
              <a:gd name="connsiteX148" fmla="*/ 5420018 w 7015374"/>
              <a:gd name="connsiteY148" fmla="*/ 2655510 h 3487140"/>
              <a:gd name="connsiteX149" fmla="*/ 5792512 w 7015374"/>
              <a:gd name="connsiteY149" fmla="*/ 3163577 h 3487140"/>
              <a:gd name="connsiteX150" fmla="*/ 6016499 w 7015374"/>
              <a:gd name="connsiteY150" fmla="*/ 3255443 h 3487140"/>
              <a:gd name="connsiteX151" fmla="*/ 6094516 w 7015374"/>
              <a:gd name="connsiteY151" fmla="*/ 2786675 h 3487140"/>
              <a:gd name="connsiteX152" fmla="*/ 6404089 w 7015374"/>
              <a:gd name="connsiteY152" fmla="*/ 2869724 h 3487140"/>
              <a:gd name="connsiteX153" fmla="*/ 6642881 w 7015374"/>
              <a:gd name="connsiteY153" fmla="*/ 3245046 h 3487140"/>
              <a:gd name="connsiteX154" fmla="*/ 7015374 w 7015374"/>
              <a:gd name="connsiteY154" fmla="*/ 3329676 h 3487140"/>
              <a:gd name="connsiteX0" fmla="*/ 777215 w 6642881"/>
              <a:gd name="connsiteY0" fmla="*/ 3295741 h 3487140"/>
              <a:gd name="connsiteX1" fmla="*/ 526113 w 6642881"/>
              <a:gd name="connsiteY1" fmla="*/ 3112384 h 3487140"/>
              <a:gd name="connsiteX2" fmla="*/ 219950 w 6642881"/>
              <a:gd name="connsiteY2" fmla="*/ 2750287 h 3487140"/>
              <a:gd name="connsiteX3" fmla="*/ 128418 w 6642881"/>
              <a:gd name="connsiteY3" fmla="*/ 2305432 h 3487140"/>
              <a:gd name="connsiteX4" fmla="*/ 256006 w 6642881"/>
              <a:gd name="connsiteY4" fmla="*/ 1919713 h 3487140"/>
              <a:gd name="connsiteX5" fmla="*/ 580218 w 6642881"/>
              <a:gd name="connsiteY5" fmla="*/ 1637837 h 3487140"/>
              <a:gd name="connsiteX6" fmla="*/ 1073522 w 6642881"/>
              <a:gd name="connsiteY6" fmla="*/ 1545972 h 3487140"/>
              <a:gd name="connsiteX7" fmla="*/ 1308197 w 6642881"/>
              <a:gd name="connsiteY7" fmla="*/ 1517651 h 3487140"/>
              <a:gd name="connsiteX8" fmla="*/ 1292934 w 6642881"/>
              <a:gd name="connsiteY8" fmla="*/ 1460718 h 3487140"/>
              <a:gd name="connsiteX9" fmla="*/ 1016880 w 6642881"/>
              <a:gd name="connsiteY9" fmla="*/ 1416969 h 3487140"/>
              <a:gd name="connsiteX10" fmla="*/ 497460 w 6642881"/>
              <a:gd name="connsiteY10" fmla="*/ 1517318 h 3487140"/>
              <a:gd name="connsiteX11" fmla="*/ 88162 w 6642881"/>
              <a:gd name="connsiteY11" fmla="*/ 1960593 h 3487140"/>
              <a:gd name="connsiteX12" fmla="*/ 28692 w 6642881"/>
              <a:gd name="connsiteY12" fmla="*/ 2569342 h 3487140"/>
              <a:gd name="connsiteX13" fmla="*/ 442399 w 6642881"/>
              <a:gd name="connsiteY13" fmla="*/ 3165532 h 3487140"/>
              <a:gd name="connsiteX14" fmla="*/ 1232384 w 6642881"/>
              <a:gd name="connsiteY14" fmla="*/ 3283181 h 3487140"/>
              <a:gd name="connsiteX15" fmla="*/ 1835020 w 6642881"/>
              <a:gd name="connsiteY15" fmla="*/ 2757481 h 3487140"/>
              <a:gd name="connsiteX16" fmla="*/ 1824789 w 6642881"/>
              <a:gd name="connsiteY16" fmla="*/ 1980430 h 3487140"/>
              <a:gd name="connsiteX17" fmla="*/ 1494755 w 6642881"/>
              <a:gd name="connsiteY17" fmla="*/ 1589139 h 3487140"/>
              <a:gd name="connsiteX18" fmla="*/ 1305701 w 6642881"/>
              <a:gd name="connsiteY18" fmla="*/ 1660710 h 3487140"/>
              <a:gd name="connsiteX19" fmla="*/ 1197284 w 6642881"/>
              <a:gd name="connsiteY19" fmla="*/ 2116627 h 3487140"/>
              <a:gd name="connsiteX20" fmla="*/ 973921 w 6642881"/>
              <a:gd name="connsiteY20" fmla="*/ 2374258 h 3487140"/>
              <a:gd name="connsiteX21" fmla="*/ 918985 w 6642881"/>
              <a:gd name="connsiteY21" fmla="*/ 2276986 h 3487140"/>
              <a:gd name="connsiteX22" fmla="*/ 1298257 w 6642881"/>
              <a:gd name="connsiteY22" fmla="*/ 2021601 h 3487140"/>
              <a:gd name="connsiteX23" fmla="*/ 1558176 w 6642881"/>
              <a:gd name="connsiteY23" fmla="*/ 1234153 h 3487140"/>
              <a:gd name="connsiteX24" fmla="*/ 1788276 w 6642881"/>
              <a:gd name="connsiteY24" fmla="*/ 725296 h 3487140"/>
              <a:gd name="connsiteX25" fmla="*/ 1896859 w 6642881"/>
              <a:gd name="connsiteY25" fmla="*/ 539984 h 3487140"/>
              <a:gd name="connsiteX26" fmla="*/ 1865711 w 6642881"/>
              <a:gd name="connsiteY26" fmla="*/ 435851 h 3487140"/>
              <a:gd name="connsiteX27" fmla="*/ 1759373 w 6642881"/>
              <a:gd name="connsiteY27" fmla="*/ 350265 h 3487140"/>
              <a:gd name="connsiteX28" fmla="*/ 1714085 w 6642881"/>
              <a:gd name="connsiteY28" fmla="*/ 209327 h 3487140"/>
              <a:gd name="connsiteX29" fmla="*/ 1758915 w 6642881"/>
              <a:gd name="connsiteY29" fmla="*/ 82237 h 3487140"/>
              <a:gd name="connsiteX30" fmla="*/ 1939195 w 6642881"/>
              <a:gd name="connsiteY30" fmla="*/ 6716 h 3487140"/>
              <a:gd name="connsiteX31" fmla="*/ 2207888 w 6642881"/>
              <a:gd name="connsiteY31" fmla="*/ 10167 h 3487140"/>
              <a:gd name="connsiteX32" fmla="*/ 2291561 w 6642881"/>
              <a:gd name="connsiteY32" fmla="*/ 49800 h 3487140"/>
              <a:gd name="connsiteX33" fmla="*/ 2244526 w 6642881"/>
              <a:gd name="connsiteY33" fmla="*/ 86812 h 3487140"/>
              <a:gd name="connsiteX34" fmla="*/ 2008603 w 6642881"/>
              <a:gd name="connsiteY34" fmla="*/ 91886 h 3487140"/>
              <a:gd name="connsiteX35" fmla="*/ 1765070 w 6642881"/>
              <a:gd name="connsiteY35" fmla="*/ 75833 h 3487140"/>
              <a:gd name="connsiteX36" fmla="*/ 1657319 w 6642881"/>
              <a:gd name="connsiteY36" fmla="*/ 176931 h 3487140"/>
              <a:gd name="connsiteX37" fmla="*/ 1672581 w 6642881"/>
              <a:gd name="connsiteY37" fmla="*/ 370393 h 3487140"/>
              <a:gd name="connsiteX38" fmla="*/ 1617354 w 6642881"/>
              <a:gd name="connsiteY38" fmla="*/ 589348 h 3487140"/>
              <a:gd name="connsiteX39" fmla="*/ 1460820 w 6642881"/>
              <a:gd name="connsiteY39" fmla="*/ 903953 h 3487140"/>
              <a:gd name="connsiteX40" fmla="*/ 1250349 w 6642881"/>
              <a:gd name="connsiteY40" fmla="*/ 922501 h 3487140"/>
              <a:gd name="connsiteX41" fmla="*/ 1055930 w 6642881"/>
              <a:gd name="connsiteY41" fmla="*/ 866816 h 3487140"/>
              <a:gd name="connsiteX42" fmla="*/ 997085 w 6642881"/>
              <a:gd name="connsiteY42" fmla="*/ 751038 h 3487140"/>
              <a:gd name="connsiteX43" fmla="*/ 1009021 w 6642881"/>
              <a:gd name="connsiteY43" fmla="*/ 369436 h 3487140"/>
              <a:gd name="connsiteX44" fmla="*/ 1070694 w 6642881"/>
              <a:gd name="connsiteY44" fmla="*/ 155805 h 3487140"/>
              <a:gd name="connsiteX45" fmla="*/ 1272058 w 6642881"/>
              <a:gd name="connsiteY45" fmla="*/ 156761 h 3487140"/>
              <a:gd name="connsiteX46" fmla="*/ 1524989 w 6642881"/>
              <a:gd name="connsiteY46" fmla="*/ 245175 h 3487140"/>
              <a:gd name="connsiteX47" fmla="*/ 1694081 w 6642881"/>
              <a:gd name="connsiteY47" fmla="*/ 357792 h 3487140"/>
              <a:gd name="connsiteX48" fmla="*/ 1798672 w 6642881"/>
              <a:gd name="connsiteY48" fmla="*/ 483301 h 3487140"/>
              <a:gd name="connsiteX49" fmla="*/ 1822876 w 6642881"/>
              <a:gd name="connsiteY49" fmla="*/ 600951 h 3487140"/>
              <a:gd name="connsiteX50" fmla="*/ 1795345 w 6642881"/>
              <a:gd name="connsiteY50" fmla="*/ 761726 h 3487140"/>
              <a:gd name="connsiteX51" fmla="*/ 1967266 w 6642881"/>
              <a:gd name="connsiteY51" fmla="*/ 1160004 h 3487140"/>
              <a:gd name="connsiteX52" fmla="*/ 2390246 w 6642881"/>
              <a:gd name="connsiteY52" fmla="*/ 1793622 h 3487140"/>
              <a:gd name="connsiteX53" fmla="*/ 2807737 w 6642881"/>
              <a:gd name="connsiteY53" fmla="*/ 2087475 h 3487140"/>
              <a:gd name="connsiteX54" fmla="*/ 2917360 w 6642881"/>
              <a:gd name="connsiteY54" fmla="*/ 2185620 h 3487140"/>
              <a:gd name="connsiteX55" fmla="*/ 2804411 w 6642881"/>
              <a:gd name="connsiteY55" fmla="*/ 2468120 h 3487140"/>
              <a:gd name="connsiteX56" fmla="*/ 2638312 w 6642881"/>
              <a:gd name="connsiteY56" fmla="*/ 2505548 h 3487140"/>
              <a:gd name="connsiteX57" fmla="*/ 2329862 w 6642881"/>
              <a:gd name="connsiteY57" fmla="*/ 2278109 h 3487140"/>
              <a:gd name="connsiteX58" fmla="*/ 1885173 w 6642881"/>
              <a:gd name="connsiteY58" fmla="*/ 1678800 h 3487140"/>
              <a:gd name="connsiteX59" fmla="*/ 1765320 w 6642881"/>
              <a:gd name="connsiteY59" fmla="*/ 1175432 h 3487140"/>
              <a:gd name="connsiteX60" fmla="*/ 1919774 w 6642881"/>
              <a:gd name="connsiteY60" fmla="*/ 1377420 h 3487140"/>
              <a:gd name="connsiteX61" fmla="*/ 2281414 w 6642881"/>
              <a:gd name="connsiteY61" fmla="*/ 2268710 h 3487140"/>
              <a:gd name="connsiteX62" fmla="*/ 2601216 w 6642881"/>
              <a:gd name="connsiteY62" fmla="*/ 2693105 h 3487140"/>
              <a:gd name="connsiteX63" fmla="*/ 2834644 w 6642881"/>
              <a:gd name="connsiteY63" fmla="*/ 2746586 h 3487140"/>
              <a:gd name="connsiteX64" fmla="*/ 3001865 w 6642881"/>
              <a:gd name="connsiteY64" fmla="*/ 2631432 h 3487140"/>
              <a:gd name="connsiteX65" fmla="*/ 3013052 w 6642881"/>
              <a:gd name="connsiteY65" fmla="*/ 2436680 h 3487140"/>
              <a:gd name="connsiteX66" fmla="*/ 2859222 w 6642881"/>
              <a:gd name="connsiteY66" fmla="*/ 2309258 h 3487140"/>
              <a:gd name="connsiteX67" fmla="*/ 2652036 w 6642881"/>
              <a:gd name="connsiteY67" fmla="*/ 2375007 h 3487140"/>
              <a:gd name="connsiteX68" fmla="*/ 2629537 w 6642881"/>
              <a:gd name="connsiteY68" fmla="*/ 2581402 h 3487140"/>
              <a:gd name="connsiteX69" fmla="*/ 2772222 w 6642881"/>
              <a:gd name="connsiteY69" fmla="*/ 2671064 h 3487140"/>
              <a:gd name="connsiteX70" fmla="*/ 2868787 w 6642881"/>
              <a:gd name="connsiteY70" fmla="*/ 2596831 h 3487140"/>
              <a:gd name="connsiteX71" fmla="*/ 2835601 w 6642881"/>
              <a:gd name="connsiteY71" fmla="*/ 2530750 h 3487140"/>
              <a:gd name="connsiteX72" fmla="*/ 2713543 w 6642881"/>
              <a:gd name="connsiteY72" fmla="*/ 2615379 h 3487140"/>
              <a:gd name="connsiteX73" fmla="*/ 2567864 w 6642881"/>
              <a:gd name="connsiteY73" fmla="*/ 2907028 h 3487140"/>
              <a:gd name="connsiteX74" fmla="*/ 2520039 w 6642881"/>
              <a:gd name="connsiteY74" fmla="*/ 3008333 h 3487140"/>
              <a:gd name="connsiteX75" fmla="*/ 2484191 w 6642881"/>
              <a:gd name="connsiteY75" fmla="*/ 3024053 h 3487140"/>
              <a:gd name="connsiteX76" fmla="*/ 2389165 w 6642881"/>
              <a:gd name="connsiteY76" fmla="*/ 3013989 h 3487140"/>
              <a:gd name="connsiteX77" fmla="*/ 2396068 w 6642881"/>
              <a:gd name="connsiteY77" fmla="*/ 2956724 h 3487140"/>
              <a:gd name="connsiteX78" fmla="*/ 2584831 w 6642881"/>
              <a:gd name="connsiteY78" fmla="*/ 2951068 h 3487140"/>
              <a:gd name="connsiteX79" fmla="*/ 2671041 w 6642881"/>
              <a:gd name="connsiteY79" fmla="*/ 2951068 h 3487140"/>
              <a:gd name="connsiteX80" fmla="*/ 2752219 w 6642881"/>
              <a:gd name="connsiteY80" fmla="*/ 2822066 h 3487140"/>
              <a:gd name="connsiteX81" fmla="*/ 2892533 w 6642881"/>
              <a:gd name="connsiteY81" fmla="*/ 2789337 h 3487140"/>
              <a:gd name="connsiteX82" fmla="*/ 3020246 w 6642881"/>
              <a:gd name="connsiteY82" fmla="*/ 2713815 h 3487140"/>
              <a:gd name="connsiteX83" fmla="*/ 3106456 w 6642881"/>
              <a:gd name="connsiteY83" fmla="*/ 2544556 h 3487140"/>
              <a:gd name="connsiteX84" fmla="*/ 3326035 w 6642881"/>
              <a:gd name="connsiteY84" fmla="*/ 2482883 h 3487140"/>
              <a:gd name="connsiteX85" fmla="*/ 3861009 w 6642881"/>
              <a:gd name="connsiteY85" fmla="*/ 2466831 h 3487140"/>
              <a:gd name="connsiteX86" fmla="*/ 4016751 w 6642881"/>
              <a:gd name="connsiteY86" fmla="*/ 2420918 h 3487140"/>
              <a:gd name="connsiteX87" fmla="*/ 3866664 w 6642881"/>
              <a:gd name="connsiteY87" fmla="*/ 2252907 h 3487140"/>
              <a:gd name="connsiteX88" fmla="*/ 3391285 w 6642881"/>
              <a:gd name="connsiteY88" fmla="*/ 1791709 h 3487140"/>
              <a:gd name="connsiteX89" fmla="*/ 3127166 w 6642881"/>
              <a:gd name="connsiteY89" fmla="*/ 1600118 h 3487140"/>
              <a:gd name="connsiteX90" fmla="*/ 3003196 w 6642881"/>
              <a:gd name="connsiteY90" fmla="*/ 1733529 h 3487140"/>
              <a:gd name="connsiteX91" fmla="*/ 2940898 w 6642881"/>
              <a:gd name="connsiteY91" fmla="*/ 1995900 h 3487140"/>
              <a:gd name="connsiteX92" fmla="*/ 2981778 w 6642881"/>
              <a:gd name="connsiteY92" fmla="*/ 2048133 h 3487140"/>
              <a:gd name="connsiteX93" fmla="*/ 3044699 w 6642881"/>
              <a:gd name="connsiteY93" fmla="*/ 1778817 h 3487140"/>
              <a:gd name="connsiteX94" fmla="*/ 3166466 w 6642881"/>
              <a:gd name="connsiteY94" fmla="*/ 1356918 h 3487140"/>
              <a:gd name="connsiteX95" fmla="*/ 3272803 w 6642881"/>
              <a:gd name="connsiteY95" fmla="*/ 986960 h 3487140"/>
              <a:gd name="connsiteX96" fmla="*/ 3243526 w 6642881"/>
              <a:gd name="connsiteY96" fmla="*/ 867107 h 3487140"/>
              <a:gd name="connsiteX97" fmla="*/ 3068612 w 6642881"/>
              <a:gd name="connsiteY97" fmla="*/ 840034 h 3487140"/>
              <a:gd name="connsiteX98" fmla="*/ 2924513 w 6642881"/>
              <a:gd name="connsiteY98" fmla="*/ 782769 h 3487140"/>
              <a:gd name="connsiteX99" fmla="*/ 2940857 w 6642881"/>
              <a:gd name="connsiteY99" fmla="*/ 714816 h 3487140"/>
              <a:gd name="connsiteX100" fmla="*/ 3114524 w 6642881"/>
              <a:gd name="connsiteY100" fmla="*/ 723008 h 3487140"/>
              <a:gd name="connsiteX101" fmla="*/ 3317135 w 6642881"/>
              <a:gd name="connsiteY101" fmla="*/ 729288 h 3487140"/>
              <a:gd name="connsiteX102" fmla="*/ 3483857 w 6642881"/>
              <a:gd name="connsiteY102" fmla="*/ 682087 h 3487140"/>
              <a:gd name="connsiteX103" fmla="*/ 3601506 w 6642881"/>
              <a:gd name="connsiteY103" fmla="*/ 703463 h 3487140"/>
              <a:gd name="connsiteX104" fmla="*/ 3624171 w 6642881"/>
              <a:gd name="connsiteY104" fmla="*/ 797199 h 3487140"/>
              <a:gd name="connsiteX105" fmla="*/ 3496458 w 6642881"/>
              <a:gd name="connsiteY105" fmla="*/ 890936 h 3487140"/>
              <a:gd name="connsiteX106" fmla="*/ 3326575 w 6642881"/>
              <a:gd name="connsiteY106" fmla="*/ 918009 h 3487140"/>
              <a:gd name="connsiteX107" fmla="*/ 3198862 w 6642881"/>
              <a:gd name="connsiteY107" fmla="*/ 1002306 h 3487140"/>
              <a:gd name="connsiteX108" fmla="*/ 3097972 w 6642881"/>
              <a:gd name="connsiteY108" fmla="*/ 1299902 h 3487140"/>
              <a:gd name="connsiteX109" fmla="*/ 3159022 w 6642881"/>
              <a:gd name="connsiteY109" fmla="*/ 1545930 h 3487140"/>
              <a:gd name="connsiteX110" fmla="*/ 3371697 w 6642881"/>
              <a:gd name="connsiteY110" fmla="*/ 1536490 h 3487140"/>
              <a:gd name="connsiteX111" fmla="*/ 3551228 w 6642881"/>
              <a:gd name="connsiteY111" fmla="*/ 1376048 h 3487140"/>
              <a:gd name="connsiteX112" fmla="*/ 3554389 w 6642881"/>
              <a:gd name="connsiteY112" fmla="*/ 1231949 h 3487140"/>
              <a:gd name="connsiteX113" fmla="*/ 3336348 w 6642881"/>
              <a:gd name="connsiteY113" fmla="*/ 1191693 h 3487140"/>
              <a:gd name="connsiteX114" fmla="*/ 3344832 w 6642881"/>
              <a:gd name="connsiteY114" fmla="*/ 1255238 h 3487140"/>
              <a:gd name="connsiteX115" fmla="*/ 3769850 w 6642881"/>
              <a:gd name="connsiteY115" fmla="*/ 1241722 h 3487140"/>
              <a:gd name="connsiteX116" fmla="*/ 4254670 w 6642881"/>
              <a:gd name="connsiteY116" fmla="*/ 1259646 h 3487140"/>
              <a:gd name="connsiteX117" fmla="*/ 4484022 w 6642881"/>
              <a:gd name="connsiteY117" fmla="*/ 1236981 h 3487140"/>
              <a:gd name="connsiteX118" fmla="*/ 4465766 w 6642881"/>
              <a:gd name="connsiteY118" fmla="*/ 1185995 h 3487140"/>
              <a:gd name="connsiteX119" fmla="*/ 4105248 w 6642881"/>
              <a:gd name="connsiteY119" fmla="*/ 1177512 h 3487140"/>
              <a:gd name="connsiteX120" fmla="*/ 3734668 w 6642881"/>
              <a:gd name="connsiteY120" fmla="*/ 1331342 h 3487140"/>
              <a:gd name="connsiteX121" fmla="*/ 3388914 w 6642881"/>
              <a:gd name="connsiteY121" fmla="*/ 1604110 h 3487140"/>
              <a:gd name="connsiteX122" fmla="*/ 3156111 w 6642881"/>
              <a:gd name="connsiteY122" fmla="*/ 1921252 h 3487140"/>
              <a:gd name="connsiteX123" fmla="*/ 3060461 w 6642881"/>
              <a:gd name="connsiteY123" fmla="*/ 2419255 h 3487140"/>
              <a:gd name="connsiteX124" fmla="*/ 3290769 w 6642881"/>
              <a:gd name="connsiteY124" fmla="*/ 3048465 h 3487140"/>
              <a:gd name="connsiteX125" fmla="*/ 3868994 w 6642881"/>
              <a:gd name="connsiteY125" fmla="*/ 3394510 h 3487140"/>
              <a:gd name="connsiteX126" fmla="*/ 4507643 w 6642881"/>
              <a:gd name="connsiteY126" fmla="*/ 3330632 h 3487140"/>
              <a:gd name="connsiteX127" fmla="*/ 5002818 w 6642881"/>
              <a:gd name="connsiteY127" fmla="*/ 2841404 h 3487140"/>
              <a:gd name="connsiteX128" fmla="*/ 5036171 w 6642881"/>
              <a:gd name="connsiteY128" fmla="*/ 2052999 h 3487140"/>
              <a:gd name="connsiteX129" fmla="*/ 4605164 w 6642881"/>
              <a:gd name="connsiteY129" fmla="*/ 1482011 h 3487140"/>
              <a:gd name="connsiteX130" fmla="*/ 4138310 w 6642881"/>
              <a:gd name="connsiteY130" fmla="*/ 1352717 h 3487140"/>
              <a:gd name="connsiteX131" fmla="*/ 3977868 w 6642881"/>
              <a:gd name="connsiteY131" fmla="*/ 1466624 h 3487140"/>
              <a:gd name="connsiteX132" fmla="*/ 3999909 w 6642881"/>
              <a:gd name="connsiteY132" fmla="*/ 2001140 h 3487140"/>
              <a:gd name="connsiteX133" fmla="*/ 4033885 w 6642881"/>
              <a:gd name="connsiteY133" fmla="*/ 2313208 h 3487140"/>
              <a:gd name="connsiteX134" fmla="*/ 4125585 w 6642881"/>
              <a:gd name="connsiteY134" fmla="*/ 2399085 h 3487140"/>
              <a:gd name="connsiteX135" fmla="*/ 4230051 w 6642881"/>
              <a:gd name="connsiteY135" fmla="*/ 2362905 h 3487140"/>
              <a:gd name="connsiteX136" fmla="*/ 4194660 w 6642881"/>
              <a:gd name="connsiteY136" fmla="*/ 2271372 h 3487140"/>
              <a:gd name="connsiteX137" fmla="*/ 4097056 w 6642881"/>
              <a:gd name="connsiteY137" fmla="*/ 2303394 h 3487140"/>
              <a:gd name="connsiteX138" fmla="*/ 4080670 w 6642881"/>
              <a:gd name="connsiteY138" fmla="*/ 2437262 h 3487140"/>
              <a:gd name="connsiteX139" fmla="*/ 4079589 w 6642881"/>
              <a:gd name="connsiteY139" fmla="*/ 2519521 h 3487140"/>
              <a:gd name="connsiteX140" fmla="*/ 3900475 w 6642881"/>
              <a:gd name="connsiteY140" fmla="*/ 2539400 h 3487140"/>
              <a:gd name="connsiteX141" fmla="*/ 3490220 w 6642881"/>
              <a:gd name="connsiteY141" fmla="*/ 2545679 h 3487140"/>
              <a:gd name="connsiteX142" fmla="*/ 3249848 w 6642881"/>
              <a:gd name="connsiteY142" fmla="*/ 2602944 h 3487140"/>
              <a:gd name="connsiteX143" fmla="*/ 3240241 w 6642881"/>
              <a:gd name="connsiteY143" fmla="*/ 2790460 h 3487140"/>
              <a:gd name="connsiteX144" fmla="*/ 3433578 w 6642881"/>
              <a:gd name="connsiteY144" fmla="*/ 3133385 h 3487140"/>
              <a:gd name="connsiteX145" fmla="*/ 3925468 w 6642881"/>
              <a:gd name="connsiteY145" fmla="*/ 3465290 h 3487140"/>
              <a:gd name="connsiteX146" fmla="*/ 4666214 w 6642881"/>
              <a:gd name="connsiteY146" fmla="*/ 3390434 h 3487140"/>
              <a:gd name="connsiteX147" fmla="*/ 5106037 w 6642881"/>
              <a:gd name="connsiteY147" fmla="*/ 3017940 h 3487140"/>
              <a:gd name="connsiteX148" fmla="*/ 5420018 w 6642881"/>
              <a:gd name="connsiteY148" fmla="*/ 2655510 h 3487140"/>
              <a:gd name="connsiteX149" fmla="*/ 5792512 w 6642881"/>
              <a:gd name="connsiteY149" fmla="*/ 3163577 h 3487140"/>
              <a:gd name="connsiteX150" fmla="*/ 6016499 w 6642881"/>
              <a:gd name="connsiteY150" fmla="*/ 3255443 h 3487140"/>
              <a:gd name="connsiteX151" fmla="*/ 6094516 w 6642881"/>
              <a:gd name="connsiteY151" fmla="*/ 2786675 h 3487140"/>
              <a:gd name="connsiteX152" fmla="*/ 6404089 w 6642881"/>
              <a:gd name="connsiteY152" fmla="*/ 2869724 h 3487140"/>
              <a:gd name="connsiteX153" fmla="*/ 6642881 w 6642881"/>
              <a:gd name="connsiteY153" fmla="*/ 3245046 h 3487140"/>
              <a:gd name="connsiteX0" fmla="*/ 777215 w 6404089"/>
              <a:gd name="connsiteY0" fmla="*/ 3295741 h 3487140"/>
              <a:gd name="connsiteX1" fmla="*/ 526113 w 6404089"/>
              <a:gd name="connsiteY1" fmla="*/ 3112384 h 3487140"/>
              <a:gd name="connsiteX2" fmla="*/ 219950 w 6404089"/>
              <a:gd name="connsiteY2" fmla="*/ 2750287 h 3487140"/>
              <a:gd name="connsiteX3" fmla="*/ 128418 w 6404089"/>
              <a:gd name="connsiteY3" fmla="*/ 2305432 h 3487140"/>
              <a:gd name="connsiteX4" fmla="*/ 256006 w 6404089"/>
              <a:gd name="connsiteY4" fmla="*/ 1919713 h 3487140"/>
              <a:gd name="connsiteX5" fmla="*/ 580218 w 6404089"/>
              <a:gd name="connsiteY5" fmla="*/ 1637837 h 3487140"/>
              <a:gd name="connsiteX6" fmla="*/ 1073522 w 6404089"/>
              <a:gd name="connsiteY6" fmla="*/ 1545972 h 3487140"/>
              <a:gd name="connsiteX7" fmla="*/ 1308197 w 6404089"/>
              <a:gd name="connsiteY7" fmla="*/ 1517651 h 3487140"/>
              <a:gd name="connsiteX8" fmla="*/ 1292934 w 6404089"/>
              <a:gd name="connsiteY8" fmla="*/ 1460718 h 3487140"/>
              <a:gd name="connsiteX9" fmla="*/ 1016880 w 6404089"/>
              <a:gd name="connsiteY9" fmla="*/ 1416969 h 3487140"/>
              <a:gd name="connsiteX10" fmla="*/ 497460 w 6404089"/>
              <a:gd name="connsiteY10" fmla="*/ 1517318 h 3487140"/>
              <a:gd name="connsiteX11" fmla="*/ 88162 w 6404089"/>
              <a:gd name="connsiteY11" fmla="*/ 1960593 h 3487140"/>
              <a:gd name="connsiteX12" fmla="*/ 28692 w 6404089"/>
              <a:gd name="connsiteY12" fmla="*/ 2569342 h 3487140"/>
              <a:gd name="connsiteX13" fmla="*/ 442399 w 6404089"/>
              <a:gd name="connsiteY13" fmla="*/ 3165532 h 3487140"/>
              <a:gd name="connsiteX14" fmla="*/ 1232384 w 6404089"/>
              <a:gd name="connsiteY14" fmla="*/ 3283181 h 3487140"/>
              <a:gd name="connsiteX15" fmla="*/ 1835020 w 6404089"/>
              <a:gd name="connsiteY15" fmla="*/ 2757481 h 3487140"/>
              <a:gd name="connsiteX16" fmla="*/ 1824789 w 6404089"/>
              <a:gd name="connsiteY16" fmla="*/ 1980430 h 3487140"/>
              <a:gd name="connsiteX17" fmla="*/ 1494755 w 6404089"/>
              <a:gd name="connsiteY17" fmla="*/ 1589139 h 3487140"/>
              <a:gd name="connsiteX18" fmla="*/ 1305701 w 6404089"/>
              <a:gd name="connsiteY18" fmla="*/ 1660710 h 3487140"/>
              <a:gd name="connsiteX19" fmla="*/ 1197284 w 6404089"/>
              <a:gd name="connsiteY19" fmla="*/ 2116627 h 3487140"/>
              <a:gd name="connsiteX20" fmla="*/ 973921 w 6404089"/>
              <a:gd name="connsiteY20" fmla="*/ 2374258 h 3487140"/>
              <a:gd name="connsiteX21" fmla="*/ 918985 w 6404089"/>
              <a:gd name="connsiteY21" fmla="*/ 2276986 h 3487140"/>
              <a:gd name="connsiteX22" fmla="*/ 1298257 w 6404089"/>
              <a:gd name="connsiteY22" fmla="*/ 2021601 h 3487140"/>
              <a:gd name="connsiteX23" fmla="*/ 1558176 w 6404089"/>
              <a:gd name="connsiteY23" fmla="*/ 1234153 h 3487140"/>
              <a:gd name="connsiteX24" fmla="*/ 1788276 w 6404089"/>
              <a:gd name="connsiteY24" fmla="*/ 725296 h 3487140"/>
              <a:gd name="connsiteX25" fmla="*/ 1896859 w 6404089"/>
              <a:gd name="connsiteY25" fmla="*/ 539984 h 3487140"/>
              <a:gd name="connsiteX26" fmla="*/ 1865711 w 6404089"/>
              <a:gd name="connsiteY26" fmla="*/ 435851 h 3487140"/>
              <a:gd name="connsiteX27" fmla="*/ 1759373 w 6404089"/>
              <a:gd name="connsiteY27" fmla="*/ 350265 h 3487140"/>
              <a:gd name="connsiteX28" fmla="*/ 1714085 w 6404089"/>
              <a:gd name="connsiteY28" fmla="*/ 209327 h 3487140"/>
              <a:gd name="connsiteX29" fmla="*/ 1758915 w 6404089"/>
              <a:gd name="connsiteY29" fmla="*/ 82237 h 3487140"/>
              <a:gd name="connsiteX30" fmla="*/ 1939195 w 6404089"/>
              <a:gd name="connsiteY30" fmla="*/ 6716 h 3487140"/>
              <a:gd name="connsiteX31" fmla="*/ 2207888 w 6404089"/>
              <a:gd name="connsiteY31" fmla="*/ 10167 h 3487140"/>
              <a:gd name="connsiteX32" fmla="*/ 2291561 w 6404089"/>
              <a:gd name="connsiteY32" fmla="*/ 49800 h 3487140"/>
              <a:gd name="connsiteX33" fmla="*/ 2244526 w 6404089"/>
              <a:gd name="connsiteY33" fmla="*/ 86812 h 3487140"/>
              <a:gd name="connsiteX34" fmla="*/ 2008603 w 6404089"/>
              <a:gd name="connsiteY34" fmla="*/ 91886 h 3487140"/>
              <a:gd name="connsiteX35" fmla="*/ 1765070 w 6404089"/>
              <a:gd name="connsiteY35" fmla="*/ 75833 h 3487140"/>
              <a:gd name="connsiteX36" fmla="*/ 1657319 w 6404089"/>
              <a:gd name="connsiteY36" fmla="*/ 176931 h 3487140"/>
              <a:gd name="connsiteX37" fmla="*/ 1672581 w 6404089"/>
              <a:gd name="connsiteY37" fmla="*/ 370393 h 3487140"/>
              <a:gd name="connsiteX38" fmla="*/ 1617354 w 6404089"/>
              <a:gd name="connsiteY38" fmla="*/ 589348 h 3487140"/>
              <a:gd name="connsiteX39" fmla="*/ 1460820 w 6404089"/>
              <a:gd name="connsiteY39" fmla="*/ 903953 h 3487140"/>
              <a:gd name="connsiteX40" fmla="*/ 1250349 w 6404089"/>
              <a:gd name="connsiteY40" fmla="*/ 922501 h 3487140"/>
              <a:gd name="connsiteX41" fmla="*/ 1055930 w 6404089"/>
              <a:gd name="connsiteY41" fmla="*/ 866816 h 3487140"/>
              <a:gd name="connsiteX42" fmla="*/ 997085 w 6404089"/>
              <a:gd name="connsiteY42" fmla="*/ 751038 h 3487140"/>
              <a:gd name="connsiteX43" fmla="*/ 1009021 w 6404089"/>
              <a:gd name="connsiteY43" fmla="*/ 369436 h 3487140"/>
              <a:gd name="connsiteX44" fmla="*/ 1070694 w 6404089"/>
              <a:gd name="connsiteY44" fmla="*/ 155805 h 3487140"/>
              <a:gd name="connsiteX45" fmla="*/ 1272058 w 6404089"/>
              <a:gd name="connsiteY45" fmla="*/ 156761 h 3487140"/>
              <a:gd name="connsiteX46" fmla="*/ 1524989 w 6404089"/>
              <a:gd name="connsiteY46" fmla="*/ 245175 h 3487140"/>
              <a:gd name="connsiteX47" fmla="*/ 1694081 w 6404089"/>
              <a:gd name="connsiteY47" fmla="*/ 357792 h 3487140"/>
              <a:gd name="connsiteX48" fmla="*/ 1798672 w 6404089"/>
              <a:gd name="connsiteY48" fmla="*/ 483301 h 3487140"/>
              <a:gd name="connsiteX49" fmla="*/ 1822876 w 6404089"/>
              <a:gd name="connsiteY49" fmla="*/ 600951 h 3487140"/>
              <a:gd name="connsiteX50" fmla="*/ 1795345 w 6404089"/>
              <a:gd name="connsiteY50" fmla="*/ 761726 h 3487140"/>
              <a:gd name="connsiteX51" fmla="*/ 1967266 w 6404089"/>
              <a:gd name="connsiteY51" fmla="*/ 1160004 h 3487140"/>
              <a:gd name="connsiteX52" fmla="*/ 2390246 w 6404089"/>
              <a:gd name="connsiteY52" fmla="*/ 1793622 h 3487140"/>
              <a:gd name="connsiteX53" fmla="*/ 2807737 w 6404089"/>
              <a:gd name="connsiteY53" fmla="*/ 2087475 h 3487140"/>
              <a:gd name="connsiteX54" fmla="*/ 2917360 w 6404089"/>
              <a:gd name="connsiteY54" fmla="*/ 2185620 h 3487140"/>
              <a:gd name="connsiteX55" fmla="*/ 2804411 w 6404089"/>
              <a:gd name="connsiteY55" fmla="*/ 2468120 h 3487140"/>
              <a:gd name="connsiteX56" fmla="*/ 2638312 w 6404089"/>
              <a:gd name="connsiteY56" fmla="*/ 2505548 h 3487140"/>
              <a:gd name="connsiteX57" fmla="*/ 2329862 w 6404089"/>
              <a:gd name="connsiteY57" fmla="*/ 2278109 h 3487140"/>
              <a:gd name="connsiteX58" fmla="*/ 1885173 w 6404089"/>
              <a:gd name="connsiteY58" fmla="*/ 1678800 h 3487140"/>
              <a:gd name="connsiteX59" fmla="*/ 1765320 w 6404089"/>
              <a:gd name="connsiteY59" fmla="*/ 1175432 h 3487140"/>
              <a:gd name="connsiteX60" fmla="*/ 1919774 w 6404089"/>
              <a:gd name="connsiteY60" fmla="*/ 1377420 h 3487140"/>
              <a:gd name="connsiteX61" fmla="*/ 2281414 w 6404089"/>
              <a:gd name="connsiteY61" fmla="*/ 2268710 h 3487140"/>
              <a:gd name="connsiteX62" fmla="*/ 2601216 w 6404089"/>
              <a:gd name="connsiteY62" fmla="*/ 2693105 h 3487140"/>
              <a:gd name="connsiteX63" fmla="*/ 2834644 w 6404089"/>
              <a:gd name="connsiteY63" fmla="*/ 2746586 h 3487140"/>
              <a:gd name="connsiteX64" fmla="*/ 3001865 w 6404089"/>
              <a:gd name="connsiteY64" fmla="*/ 2631432 h 3487140"/>
              <a:gd name="connsiteX65" fmla="*/ 3013052 w 6404089"/>
              <a:gd name="connsiteY65" fmla="*/ 2436680 h 3487140"/>
              <a:gd name="connsiteX66" fmla="*/ 2859222 w 6404089"/>
              <a:gd name="connsiteY66" fmla="*/ 2309258 h 3487140"/>
              <a:gd name="connsiteX67" fmla="*/ 2652036 w 6404089"/>
              <a:gd name="connsiteY67" fmla="*/ 2375007 h 3487140"/>
              <a:gd name="connsiteX68" fmla="*/ 2629537 w 6404089"/>
              <a:gd name="connsiteY68" fmla="*/ 2581402 h 3487140"/>
              <a:gd name="connsiteX69" fmla="*/ 2772222 w 6404089"/>
              <a:gd name="connsiteY69" fmla="*/ 2671064 h 3487140"/>
              <a:gd name="connsiteX70" fmla="*/ 2868787 w 6404089"/>
              <a:gd name="connsiteY70" fmla="*/ 2596831 h 3487140"/>
              <a:gd name="connsiteX71" fmla="*/ 2835601 w 6404089"/>
              <a:gd name="connsiteY71" fmla="*/ 2530750 h 3487140"/>
              <a:gd name="connsiteX72" fmla="*/ 2713543 w 6404089"/>
              <a:gd name="connsiteY72" fmla="*/ 2615379 h 3487140"/>
              <a:gd name="connsiteX73" fmla="*/ 2567864 w 6404089"/>
              <a:gd name="connsiteY73" fmla="*/ 2907028 h 3487140"/>
              <a:gd name="connsiteX74" fmla="*/ 2520039 w 6404089"/>
              <a:gd name="connsiteY74" fmla="*/ 3008333 h 3487140"/>
              <a:gd name="connsiteX75" fmla="*/ 2484191 w 6404089"/>
              <a:gd name="connsiteY75" fmla="*/ 3024053 h 3487140"/>
              <a:gd name="connsiteX76" fmla="*/ 2389165 w 6404089"/>
              <a:gd name="connsiteY76" fmla="*/ 3013989 h 3487140"/>
              <a:gd name="connsiteX77" fmla="*/ 2396068 w 6404089"/>
              <a:gd name="connsiteY77" fmla="*/ 2956724 h 3487140"/>
              <a:gd name="connsiteX78" fmla="*/ 2584831 w 6404089"/>
              <a:gd name="connsiteY78" fmla="*/ 2951068 h 3487140"/>
              <a:gd name="connsiteX79" fmla="*/ 2671041 w 6404089"/>
              <a:gd name="connsiteY79" fmla="*/ 2951068 h 3487140"/>
              <a:gd name="connsiteX80" fmla="*/ 2752219 w 6404089"/>
              <a:gd name="connsiteY80" fmla="*/ 2822066 h 3487140"/>
              <a:gd name="connsiteX81" fmla="*/ 2892533 w 6404089"/>
              <a:gd name="connsiteY81" fmla="*/ 2789337 h 3487140"/>
              <a:gd name="connsiteX82" fmla="*/ 3020246 w 6404089"/>
              <a:gd name="connsiteY82" fmla="*/ 2713815 h 3487140"/>
              <a:gd name="connsiteX83" fmla="*/ 3106456 w 6404089"/>
              <a:gd name="connsiteY83" fmla="*/ 2544556 h 3487140"/>
              <a:gd name="connsiteX84" fmla="*/ 3326035 w 6404089"/>
              <a:gd name="connsiteY84" fmla="*/ 2482883 h 3487140"/>
              <a:gd name="connsiteX85" fmla="*/ 3861009 w 6404089"/>
              <a:gd name="connsiteY85" fmla="*/ 2466831 h 3487140"/>
              <a:gd name="connsiteX86" fmla="*/ 4016751 w 6404089"/>
              <a:gd name="connsiteY86" fmla="*/ 2420918 h 3487140"/>
              <a:gd name="connsiteX87" fmla="*/ 3866664 w 6404089"/>
              <a:gd name="connsiteY87" fmla="*/ 2252907 h 3487140"/>
              <a:gd name="connsiteX88" fmla="*/ 3391285 w 6404089"/>
              <a:gd name="connsiteY88" fmla="*/ 1791709 h 3487140"/>
              <a:gd name="connsiteX89" fmla="*/ 3127166 w 6404089"/>
              <a:gd name="connsiteY89" fmla="*/ 1600118 h 3487140"/>
              <a:gd name="connsiteX90" fmla="*/ 3003196 w 6404089"/>
              <a:gd name="connsiteY90" fmla="*/ 1733529 h 3487140"/>
              <a:gd name="connsiteX91" fmla="*/ 2940898 w 6404089"/>
              <a:gd name="connsiteY91" fmla="*/ 1995900 h 3487140"/>
              <a:gd name="connsiteX92" fmla="*/ 2981778 w 6404089"/>
              <a:gd name="connsiteY92" fmla="*/ 2048133 h 3487140"/>
              <a:gd name="connsiteX93" fmla="*/ 3044699 w 6404089"/>
              <a:gd name="connsiteY93" fmla="*/ 1778817 h 3487140"/>
              <a:gd name="connsiteX94" fmla="*/ 3166466 w 6404089"/>
              <a:gd name="connsiteY94" fmla="*/ 1356918 h 3487140"/>
              <a:gd name="connsiteX95" fmla="*/ 3272803 w 6404089"/>
              <a:gd name="connsiteY95" fmla="*/ 986960 h 3487140"/>
              <a:gd name="connsiteX96" fmla="*/ 3243526 w 6404089"/>
              <a:gd name="connsiteY96" fmla="*/ 867107 h 3487140"/>
              <a:gd name="connsiteX97" fmla="*/ 3068612 w 6404089"/>
              <a:gd name="connsiteY97" fmla="*/ 840034 h 3487140"/>
              <a:gd name="connsiteX98" fmla="*/ 2924513 w 6404089"/>
              <a:gd name="connsiteY98" fmla="*/ 782769 h 3487140"/>
              <a:gd name="connsiteX99" fmla="*/ 2940857 w 6404089"/>
              <a:gd name="connsiteY99" fmla="*/ 714816 h 3487140"/>
              <a:gd name="connsiteX100" fmla="*/ 3114524 w 6404089"/>
              <a:gd name="connsiteY100" fmla="*/ 723008 h 3487140"/>
              <a:gd name="connsiteX101" fmla="*/ 3317135 w 6404089"/>
              <a:gd name="connsiteY101" fmla="*/ 729288 h 3487140"/>
              <a:gd name="connsiteX102" fmla="*/ 3483857 w 6404089"/>
              <a:gd name="connsiteY102" fmla="*/ 682087 h 3487140"/>
              <a:gd name="connsiteX103" fmla="*/ 3601506 w 6404089"/>
              <a:gd name="connsiteY103" fmla="*/ 703463 h 3487140"/>
              <a:gd name="connsiteX104" fmla="*/ 3624171 w 6404089"/>
              <a:gd name="connsiteY104" fmla="*/ 797199 h 3487140"/>
              <a:gd name="connsiteX105" fmla="*/ 3496458 w 6404089"/>
              <a:gd name="connsiteY105" fmla="*/ 890936 h 3487140"/>
              <a:gd name="connsiteX106" fmla="*/ 3326575 w 6404089"/>
              <a:gd name="connsiteY106" fmla="*/ 918009 h 3487140"/>
              <a:gd name="connsiteX107" fmla="*/ 3198862 w 6404089"/>
              <a:gd name="connsiteY107" fmla="*/ 1002306 h 3487140"/>
              <a:gd name="connsiteX108" fmla="*/ 3097972 w 6404089"/>
              <a:gd name="connsiteY108" fmla="*/ 1299902 h 3487140"/>
              <a:gd name="connsiteX109" fmla="*/ 3159022 w 6404089"/>
              <a:gd name="connsiteY109" fmla="*/ 1545930 h 3487140"/>
              <a:gd name="connsiteX110" fmla="*/ 3371697 w 6404089"/>
              <a:gd name="connsiteY110" fmla="*/ 1536490 h 3487140"/>
              <a:gd name="connsiteX111" fmla="*/ 3551228 w 6404089"/>
              <a:gd name="connsiteY111" fmla="*/ 1376048 h 3487140"/>
              <a:gd name="connsiteX112" fmla="*/ 3554389 w 6404089"/>
              <a:gd name="connsiteY112" fmla="*/ 1231949 h 3487140"/>
              <a:gd name="connsiteX113" fmla="*/ 3336348 w 6404089"/>
              <a:gd name="connsiteY113" fmla="*/ 1191693 h 3487140"/>
              <a:gd name="connsiteX114" fmla="*/ 3344832 w 6404089"/>
              <a:gd name="connsiteY114" fmla="*/ 1255238 h 3487140"/>
              <a:gd name="connsiteX115" fmla="*/ 3769850 w 6404089"/>
              <a:gd name="connsiteY115" fmla="*/ 1241722 h 3487140"/>
              <a:gd name="connsiteX116" fmla="*/ 4254670 w 6404089"/>
              <a:gd name="connsiteY116" fmla="*/ 1259646 h 3487140"/>
              <a:gd name="connsiteX117" fmla="*/ 4484022 w 6404089"/>
              <a:gd name="connsiteY117" fmla="*/ 1236981 h 3487140"/>
              <a:gd name="connsiteX118" fmla="*/ 4465766 w 6404089"/>
              <a:gd name="connsiteY118" fmla="*/ 1185995 h 3487140"/>
              <a:gd name="connsiteX119" fmla="*/ 4105248 w 6404089"/>
              <a:gd name="connsiteY119" fmla="*/ 1177512 h 3487140"/>
              <a:gd name="connsiteX120" fmla="*/ 3734668 w 6404089"/>
              <a:gd name="connsiteY120" fmla="*/ 1331342 h 3487140"/>
              <a:gd name="connsiteX121" fmla="*/ 3388914 w 6404089"/>
              <a:gd name="connsiteY121" fmla="*/ 1604110 h 3487140"/>
              <a:gd name="connsiteX122" fmla="*/ 3156111 w 6404089"/>
              <a:gd name="connsiteY122" fmla="*/ 1921252 h 3487140"/>
              <a:gd name="connsiteX123" fmla="*/ 3060461 w 6404089"/>
              <a:gd name="connsiteY123" fmla="*/ 2419255 h 3487140"/>
              <a:gd name="connsiteX124" fmla="*/ 3290769 w 6404089"/>
              <a:gd name="connsiteY124" fmla="*/ 3048465 h 3487140"/>
              <a:gd name="connsiteX125" fmla="*/ 3868994 w 6404089"/>
              <a:gd name="connsiteY125" fmla="*/ 3394510 h 3487140"/>
              <a:gd name="connsiteX126" fmla="*/ 4507643 w 6404089"/>
              <a:gd name="connsiteY126" fmla="*/ 3330632 h 3487140"/>
              <a:gd name="connsiteX127" fmla="*/ 5002818 w 6404089"/>
              <a:gd name="connsiteY127" fmla="*/ 2841404 h 3487140"/>
              <a:gd name="connsiteX128" fmla="*/ 5036171 w 6404089"/>
              <a:gd name="connsiteY128" fmla="*/ 2052999 h 3487140"/>
              <a:gd name="connsiteX129" fmla="*/ 4605164 w 6404089"/>
              <a:gd name="connsiteY129" fmla="*/ 1482011 h 3487140"/>
              <a:gd name="connsiteX130" fmla="*/ 4138310 w 6404089"/>
              <a:gd name="connsiteY130" fmla="*/ 1352717 h 3487140"/>
              <a:gd name="connsiteX131" fmla="*/ 3977868 w 6404089"/>
              <a:gd name="connsiteY131" fmla="*/ 1466624 h 3487140"/>
              <a:gd name="connsiteX132" fmla="*/ 3999909 w 6404089"/>
              <a:gd name="connsiteY132" fmla="*/ 2001140 h 3487140"/>
              <a:gd name="connsiteX133" fmla="*/ 4033885 w 6404089"/>
              <a:gd name="connsiteY133" fmla="*/ 2313208 h 3487140"/>
              <a:gd name="connsiteX134" fmla="*/ 4125585 w 6404089"/>
              <a:gd name="connsiteY134" fmla="*/ 2399085 h 3487140"/>
              <a:gd name="connsiteX135" fmla="*/ 4230051 w 6404089"/>
              <a:gd name="connsiteY135" fmla="*/ 2362905 h 3487140"/>
              <a:gd name="connsiteX136" fmla="*/ 4194660 w 6404089"/>
              <a:gd name="connsiteY136" fmla="*/ 2271372 h 3487140"/>
              <a:gd name="connsiteX137" fmla="*/ 4097056 w 6404089"/>
              <a:gd name="connsiteY137" fmla="*/ 2303394 h 3487140"/>
              <a:gd name="connsiteX138" fmla="*/ 4080670 w 6404089"/>
              <a:gd name="connsiteY138" fmla="*/ 2437262 h 3487140"/>
              <a:gd name="connsiteX139" fmla="*/ 4079589 w 6404089"/>
              <a:gd name="connsiteY139" fmla="*/ 2519521 h 3487140"/>
              <a:gd name="connsiteX140" fmla="*/ 3900475 w 6404089"/>
              <a:gd name="connsiteY140" fmla="*/ 2539400 h 3487140"/>
              <a:gd name="connsiteX141" fmla="*/ 3490220 w 6404089"/>
              <a:gd name="connsiteY141" fmla="*/ 2545679 h 3487140"/>
              <a:gd name="connsiteX142" fmla="*/ 3249848 w 6404089"/>
              <a:gd name="connsiteY142" fmla="*/ 2602944 h 3487140"/>
              <a:gd name="connsiteX143" fmla="*/ 3240241 w 6404089"/>
              <a:gd name="connsiteY143" fmla="*/ 2790460 h 3487140"/>
              <a:gd name="connsiteX144" fmla="*/ 3433578 w 6404089"/>
              <a:gd name="connsiteY144" fmla="*/ 3133385 h 3487140"/>
              <a:gd name="connsiteX145" fmla="*/ 3925468 w 6404089"/>
              <a:gd name="connsiteY145" fmla="*/ 3465290 h 3487140"/>
              <a:gd name="connsiteX146" fmla="*/ 4666214 w 6404089"/>
              <a:gd name="connsiteY146" fmla="*/ 3390434 h 3487140"/>
              <a:gd name="connsiteX147" fmla="*/ 5106037 w 6404089"/>
              <a:gd name="connsiteY147" fmla="*/ 3017940 h 3487140"/>
              <a:gd name="connsiteX148" fmla="*/ 5420018 w 6404089"/>
              <a:gd name="connsiteY148" fmla="*/ 2655510 h 3487140"/>
              <a:gd name="connsiteX149" fmla="*/ 5792512 w 6404089"/>
              <a:gd name="connsiteY149" fmla="*/ 3163577 h 3487140"/>
              <a:gd name="connsiteX150" fmla="*/ 6016499 w 6404089"/>
              <a:gd name="connsiteY150" fmla="*/ 3255443 h 3487140"/>
              <a:gd name="connsiteX151" fmla="*/ 6094516 w 6404089"/>
              <a:gd name="connsiteY151" fmla="*/ 2786675 h 3487140"/>
              <a:gd name="connsiteX152" fmla="*/ 6404089 w 6404089"/>
              <a:gd name="connsiteY152" fmla="*/ 2869724 h 3487140"/>
              <a:gd name="connsiteX0" fmla="*/ 777215 w 6094516"/>
              <a:gd name="connsiteY0" fmla="*/ 3295741 h 3487140"/>
              <a:gd name="connsiteX1" fmla="*/ 526113 w 6094516"/>
              <a:gd name="connsiteY1" fmla="*/ 3112384 h 3487140"/>
              <a:gd name="connsiteX2" fmla="*/ 219950 w 6094516"/>
              <a:gd name="connsiteY2" fmla="*/ 2750287 h 3487140"/>
              <a:gd name="connsiteX3" fmla="*/ 128418 w 6094516"/>
              <a:gd name="connsiteY3" fmla="*/ 2305432 h 3487140"/>
              <a:gd name="connsiteX4" fmla="*/ 256006 w 6094516"/>
              <a:gd name="connsiteY4" fmla="*/ 1919713 h 3487140"/>
              <a:gd name="connsiteX5" fmla="*/ 580218 w 6094516"/>
              <a:gd name="connsiteY5" fmla="*/ 1637837 h 3487140"/>
              <a:gd name="connsiteX6" fmla="*/ 1073522 w 6094516"/>
              <a:gd name="connsiteY6" fmla="*/ 1545972 h 3487140"/>
              <a:gd name="connsiteX7" fmla="*/ 1308197 w 6094516"/>
              <a:gd name="connsiteY7" fmla="*/ 1517651 h 3487140"/>
              <a:gd name="connsiteX8" fmla="*/ 1292934 w 6094516"/>
              <a:gd name="connsiteY8" fmla="*/ 1460718 h 3487140"/>
              <a:gd name="connsiteX9" fmla="*/ 1016880 w 6094516"/>
              <a:gd name="connsiteY9" fmla="*/ 1416969 h 3487140"/>
              <a:gd name="connsiteX10" fmla="*/ 497460 w 6094516"/>
              <a:gd name="connsiteY10" fmla="*/ 1517318 h 3487140"/>
              <a:gd name="connsiteX11" fmla="*/ 88162 w 6094516"/>
              <a:gd name="connsiteY11" fmla="*/ 1960593 h 3487140"/>
              <a:gd name="connsiteX12" fmla="*/ 28692 w 6094516"/>
              <a:gd name="connsiteY12" fmla="*/ 2569342 h 3487140"/>
              <a:gd name="connsiteX13" fmla="*/ 442399 w 6094516"/>
              <a:gd name="connsiteY13" fmla="*/ 3165532 h 3487140"/>
              <a:gd name="connsiteX14" fmla="*/ 1232384 w 6094516"/>
              <a:gd name="connsiteY14" fmla="*/ 3283181 h 3487140"/>
              <a:gd name="connsiteX15" fmla="*/ 1835020 w 6094516"/>
              <a:gd name="connsiteY15" fmla="*/ 2757481 h 3487140"/>
              <a:gd name="connsiteX16" fmla="*/ 1824789 w 6094516"/>
              <a:gd name="connsiteY16" fmla="*/ 1980430 h 3487140"/>
              <a:gd name="connsiteX17" fmla="*/ 1494755 w 6094516"/>
              <a:gd name="connsiteY17" fmla="*/ 1589139 h 3487140"/>
              <a:gd name="connsiteX18" fmla="*/ 1305701 w 6094516"/>
              <a:gd name="connsiteY18" fmla="*/ 1660710 h 3487140"/>
              <a:gd name="connsiteX19" fmla="*/ 1197284 w 6094516"/>
              <a:gd name="connsiteY19" fmla="*/ 2116627 h 3487140"/>
              <a:gd name="connsiteX20" fmla="*/ 973921 w 6094516"/>
              <a:gd name="connsiteY20" fmla="*/ 2374258 h 3487140"/>
              <a:gd name="connsiteX21" fmla="*/ 918985 w 6094516"/>
              <a:gd name="connsiteY21" fmla="*/ 2276986 h 3487140"/>
              <a:gd name="connsiteX22" fmla="*/ 1298257 w 6094516"/>
              <a:gd name="connsiteY22" fmla="*/ 2021601 h 3487140"/>
              <a:gd name="connsiteX23" fmla="*/ 1558176 w 6094516"/>
              <a:gd name="connsiteY23" fmla="*/ 1234153 h 3487140"/>
              <a:gd name="connsiteX24" fmla="*/ 1788276 w 6094516"/>
              <a:gd name="connsiteY24" fmla="*/ 725296 h 3487140"/>
              <a:gd name="connsiteX25" fmla="*/ 1896859 w 6094516"/>
              <a:gd name="connsiteY25" fmla="*/ 539984 h 3487140"/>
              <a:gd name="connsiteX26" fmla="*/ 1865711 w 6094516"/>
              <a:gd name="connsiteY26" fmla="*/ 435851 h 3487140"/>
              <a:gd name="connsiteX27" fmla="*/ 1759373 w 6094516"/>
              <a:gd name="connsiteY27" fmla="*/ 350265 h 3487140"/>
              <a:gd name="connsiteX28" fmla="*/ 1714085 w 6094516"/>
              <a:gd name="connsiteY28" fmla="*/ 209327 h 3487140"/>
              <a:gd name="connsiteX29" fmla="*/ 1758915 w 6094516"/>
              <a:gd name="connsiteY29" fmla="*/ 82237 h 3487140"/>
              <a:gd name="connsiteX30" fmla="*/ 1939195 w 6094516"/>
              <a:gd name="connsiteY30" fmla="*/ 6716 h 3487140"/>
              <a:gd name="connsiteX31" fmla="*/ 2207888 w 6094516"/>
              <a:gd name="connsiteY31" fmla="*/ 10167 h 3487140"/>
              <a:gd name="connsiteX32" fmla="*/ 2291561 w 6094516"/>
              <a:gd name="connsiteY32" fmla="*/ 49800 h 3487140"/>
              <a:gd name="connsiteX33" fmla="*/ 2244526 w 6094516"/>
              <a:gd name="connsiteY33" fmla="*/ 86812 h 3487140"/>
              <a:gd name="connsiteX34" fmla="*/ 2008603 w 6094516"/>
              <a:gd name="connsiteY34" fmla="*/ 91886 h 3487140"/>
              <a:gd name="connsiteX35" fmla="*/ 1765070 w 6094516"/>
              <a:gd name="connsiteY35" fmla="*/ 75833 h 3487140"/>
              <a:gd name="connsiteX36" fmla="*/ 1657319 w 6094516"/>
              <a:gd name="connsiteY36" fmla="*/ 176931 h 3487140"/>
              <a:gd name="connsiteX37" fmla="*/ 1672581 w 6094516"/>
              <a:gd name="connsiteY37" fmla="*/ 370393 h 3487140"/>
              <a:gd name="connsiteX38" fmla="*/ 1617354 w 6094516"/>
              <a:gd name="connsiteY38" fmla="*/ 589348 h 3487140"/>
              <a:gd name="connsiteX39" fmla="*/ 1460820 w 6094516"/>
              <a:gd name="connsiteY39" fmla="*/ 903953 h 3487140"/>
              <a:gd name="connsiteX40" fmla="*/ 1250349 w 6094516"/>
              <a:gd name="connsiteY40" fmla="*/ 922501 h 3487140"/>
              <a:gd name="connsiteX41" fmla="*/ 1055930 w 6094516"/>
              <a:gd name="connsiteY41" fmla="*/ 866816 h 3487140"/>
              <a:gd name="connsiteX42" fmla="*/ 997085 w 6094516"/>
              <a:gd name="connsiteY42" fmla="*/ 751038 h 3487140"/>
              <a:gd name="connsiteX43" fmla="*/ 1009021 w 6094516"/>
              <a:gd name="connsiteY43" fmla="*/ 369436 h 3487140"/>
              <a:gd name="connsiteX44" fmla="*/ 1070694 w 6094516"/>
              <a:gd name="connsiteY44" fmla="*/ 155805 h 3487140"/>
              <a:gd name="connsiteX45" fmla="*/ 1272058 w 6094516"/>
              <a:gd name="connsiteY45" fmla="*/ 156761 h 3487140"/>
              <a:gd name="connsiteX46" fmla="*/ 1524989 w 6094516"/>
              <a:gd name="connsiteY46" fmla="*/ 245175 h 3487140"/>
              <a:gd name="connsiteX47" fmla="*/ 1694081 w 6094516"/>
              <a:gd name="connsiteY47" fmla="*/ 357792 h 3487140"/>
              <a:gd name="connsiteX48" fmla="*/ 1798672 w 6094516"/>
              <a:gd name="connsiteY48" fmla="*/ 483301 h 3487140"/>
              <a:gd name="connsiteX49" fmla="*/ 1822876 w 6094516"/>
              <a:gd name="connsiteY49" fmla="*/ 600951 h 3487140"/>
              <a:gd name="connsiteX50" fmla="*/ 1795345 w 6094516"/>
              <a:gd name="connsiteY50" fmla="*/ 761726 h 3487140"/>
              <a:gd name="connsiteX51" fmla="*/ 1967266 w 6094516"/>
              <a:gd name="connsiteY51" fmla="*/ 1160004 h 3487140"/>
              <a:gd name="connsiteX52" fmla="*/ 2390246 w 6094516"/>
              <a:gd name="connsiteY52" fmla="*/ 1793622 h 3487140"/>
              <a:gd name="connsiteX53" fmla="*/ 2807737 w 6094516"/>
              <a:gd name="connsiteY53" fmla="*/ 2087475 h 3487140"/>
              <a:gd name="connsiteX54" fmla="*/ 2917360 w 6094516"/>
              <a:gd name="connsiteY54" fmla="*/ 2185620 h 3487140"/>
              <a:gd name="connsiteX55" fmla="*/ 2804411 w 6094516"/>
              <a:gd name="connsiteY55" fmla="*/ 2468120 h 3487140"/>
              <a:gd name="connsiteX56" fmla="*/ 2638312 w 6094516"/>
              <a:gd name="connsiteY56" fmla="*/ 2505548 h 3487140"/>
              <a:gd name="connsiteX57" fmla="*/ 2329862 w 6094516"/>
              <a:gd name="connsiteY57" fmla="*/ 2278109 h 3487140"/>
              <a:gd name="connsiteX58" fmla="*/ 1885173 w 6094516"/>
              <a:gd name="connsiteY58" fmla="*/ 1678800 h 3487140"/>
              <a:gd name="connsiteX59" fmla="*/ 1765320 w 6094516"/>
              <a:gd name="connsiteY59" fmla="*/ 1175432 h 3487140"/>
              <a:gd name="connsiteX60" fmla="*/ 1919774 w 6094516"/>
              <a:gd name="connsiteY60" fmla="*/ 1377420 h 3487140"/>
              <a:gd name="connsiteX61" fmla="*/ 2281414 w 6094516"/>
              <a:gd name="connsiteY61" fmla="*/ 2268710 h 3487140"/>
              <a:gd name="connsiteX62" fmla="*/ 2601216 w 6094516"/>
              <a:gd name="connsiteY62" fmla="*/ 2693105 h 3487140"/>
              <a:gd name="connsiteX63" fmla="*/ 2834644 w 6094516"/>
              <a:gd name="connsiteY63" fmla="*/ 2746586 h 3487140"/>
              <a:gd name="connsiteX64" fmla="*/ 3001865 w 6094516"/>
              <a:gd name="connsiteY64" fmla="*/ 2631432 h 3487140"/>
              <a:gd name="connsiteX65" fmla="*/ 3013052 w 6094516"/>
              <a:gd name="connsiteY65" fmla="*/ 2436680 h 3487140"/>
              <a:gd name="connsiteX66" fmla="*/ 2859222 w 6094516"/>
              <a:gd name="connsiteY66" fmla="*/ 2309258 h 3487140"/>
              <a:gd name="connsiteX67" fmla="*/ 2652036 w 6094516"/>
              <a:gd name="connsiteY67" fmla="*/ 2375007 h 3487140"/>
              <a:gd name="connsiteX68" fmla="*/ 2629537 w 6094516"/>
              <a:gd name="connsiteY68" fmla="*/ 2581402 h 3487140"/>
              <a:gd name="connsiteX69" fmla="*/ 2772222 w 6094516"/>
              <a:gd name="connsiteY69" fmla="*/ 2671064 h 3487140"/>
              <a:gd name="connsiteX70" fmla="*/ 2868787 w 6094516"/>
              <a:gd name="connsiteY70" fmla="*/ 2596831 h 3487140"/>
              <a:gd name="connsiteX71" fmla="*/ 2835601 w 6094516"/>
              <a:gd name="connsiteY71" fmla="*/ 2530750 h 3487140"/>
              <a:gd name="connsiteX72" fmla="*/ 2713543 w 6094516"/>
              <a:gd name="connsiteY72" fmla="*/ 2615379 h 3487140"/>
              <a:gd name="connsiteX73" fmla="*/ 2567864 w 6094516"/>
              <a:gd name="connsiteY73" fmla="*/ 2907028 h 3487140"/>
              <a:gd name="connsiteX74" fmla="*/ 2520039 w 6094516"/>
              <a:gd name="connsiteY74" fmla="*/ 3008333 h 3487140"/>
              <a:gd name="connsiteX75" fmla="*/ 2484191 w 6094516"/>
              <a:gd name="connsiteY75" fmla="*/ 3024053 h 3487140"/>
              <a:gd name="connsiteX76" fmla="*/ 2389165 w 6094516"/>
              <a:gd name="connsiteY76" fmla="*/ 3013989 h 3487140"/>
              <a:gd name="connsiteX77" fmla="*/ 2396068 w 6094516"/>
              <a:gd name="connsiteY77" fmla="*/ 2956724 h 3487140"/>
              <a:gd name="connsiteX78" fmla="*/ 2584831 w 6094516"/>
              <a:gd name="connsiteY78" fmla="*/ 2951068 h 3487140"/>
              <a:gd name="connsiteX79" fmla="*/ 2671041 w 6094516"/>
              <a:gd name="connsiteY79" fmla="*/ 2951068 h 3487140"/>
              <a:gd name="connsiteX80" fmla="*/ 2752219 w 6094516"/>
              <a:gd name="connsiteY80" fmla="*/ 2822066 h 3487140"/>
              <a:gd name="connsiteX81" fmla="*/ 2892533 w 6094516"/>
              <a:gd name="connsiteY81" fmla="*/ 2789337 h 3487140"/>
              <a:gd name="connsiteX82" fmla="*/ 3020246 w 6094516"/>
              <a:gd name="connsiteY82" fmla="*/ 2713815 h 3487140"/>
              <a:gd name="connsiteX83" fmla="*/ 3106456 w 6094516"/>
              <a:gd name="connsiteY83" fmla="*/ 2544556 h 3487140"/>
              <a:gd name="connsiteX84" fmla="*/ 3326035 w 6094516"/>
              <a:gd name="connsiteY84" fmla="*/ 2482883 h 3487140"/>
              <a:gd name="connsiteX85" fmla="*/ 3861009 w 6094516"/>
              <a:gd name="connsiteY85" fmla="*/ 2466831 h 3487140"/>
              <a:gd name="connsiteX86" fmla="*/ 4016751 w 6094516"/>
              <a:gd name="connsiteY86" fmla="*/ 2420918 h 3487140"/>
              <a:gd name="connsiteX87" fmla="*/ 3866664 w 6094516"/>
              <a:gd name="connsiteY87" fmla="*/ 2252907 h 3487140"/>
              <a:gd name="connsiteX88" fmla="*/ 3391285 w 6094516"/>
              <a:gd name="connsiteY88" fmla="*/ 1791709 h 3487140"/>
              <a:gd name="connsiteX89" fmla="*/ 3127166 w 6094516"/>
              <a:gd name="connsiteY89" fmla="*/ 1600118 h 3487140"/>
              <a:gd name="connsiteX90" fmla="*/ 3003196 w 6094516"/>
              <a:gd name="connsiteY90" fmla="*/ 1733529 h 3487140"/>
              <a:gd name="connsiteX91" fmla="*/ 2940898 w 6094516"/>
              <a:gd name="connsiteY91" fmla="*/ 1995900 h 3487140"/>
              <a:gd name="connsiteX92" fmla="*/ 2981778 w 6094516"/>
              <a:gd name="connsiteY92" fmla="*/ 2048133 h 3487140"/>
              <a:gd name="connsiteX93" fmla="*/ 3044699 w 6094516"/>
              <a:gd name="connsiteY93" fmla="*/ 1778817 h 3487140"/>
              <a:gd name="connsiteX94" fmla="*/ 3166466 w 6094516"/>
              <a:gd name="connsiteY94" fmla="*/ 1356918 h 3487140"/>
              <a:gd name="connsiteX95" fmla="*/ 3272803 w 6094516"/>
              <a:gd name="connsiteY95" fmla="*/ 986960 h 3487140"/>
              <a:gd name="connsiteX96" fmla="*/ 3243526 w 6094516"/>
              <a:gd name="connsiteY96" fmla="*/ 867107 h 3487140"/>
              <a:gd name="connsiteX97" fmla="*/ 3068612 w 6094516"/>
              <a:gd name="connsiteY97" fmla="*/ 840034 h 3487140"/>
              <a:gd name="connsiteX98" fmla="*/ 2924513 w 6094516"/>
              <a:gd name="connsiteY98" fmla="*/ 782769 h 3487140"/>
              <a:gd name="connsiteX99" fmla="*/ 2940857 w 6094516"/>
              <a:gd name="connsiteY99" fmla="*/ 714816 h 3487140"/>
              <a:gd name="connsiteX100" fmla="*/ 3114524 w 6094516"/>
              <a:gd name="connsiteY100" fmla="*/ 723008 h 3487140"/>
              <a:gd name="connsiteX101" fmla="*/ 3317135 w 6094516"/>
              <a:gd name="connsiteY101" fmla="*/ 729288 h 3487140"/>
              <a:gd name="connsiteX102" fmla="*/ 3483857 w 6094516"/>
              <a:gd name="connsiteY102" fmla="*/ 682087 h 3487140"/>
              <a:gd name="connsiteX103" fmla="*/ 3601506 w 6094516"/>
              <a:gd name="connsiteY103" fmla="*/ 703463 h 3487140"/>
              <a:gd name="connsiteX104" fmla="*/ 3624171 w 6094516"/>
              <a:gd name="connsiteY104" fmla="*/ 797199 h 3487140"/>
              <a:gd name="connsiteX105" fmla="*/ 3496458 w 6094516"/>
              <a:gd name="connsiteY105" fmla="*/ 890936 h 3487140"/>
              <a:gd name="connsiteX106" fmla="*/ 3326575 w 6094516"/>
              <a:gd name="connsiteY106" fmla="*/ 918009 h 3487140"/>
              <a:gd name="connsiteX107" fmla="*/ 3198862 w 6094516"/>
              <a:gd name="connsiteY107" fmla="*/ 1002306 h 3487140"/>
              <a:gd name="connsiteX108" fmla="*/ 3097972 w 6094516"/>
              <a:gd name="connsiteY108" fmla="*/ 1299902 h 3487140"/>
              <a:gd name="connsiteX109" fmla="*/ 3159022 w 6094516"/>
              <a:gd name="connsiteY109" fmla="*/ 1545930 h 3487140"/>
              <a:gd name="connsiteX110" fmla="*/ 3371697 w 6094516"/>
              <a:gd name="connsiteY110" fmla="*/ 1536490 h 3487140"/>
              <a:gd name="connsiteX111" fmla="*/ 3551228 w 6094516"/>
              <a:gd name="connsiteY111" fmla="*/ 1376048 h 3487140"/>
              <a:gd name="connsiteX112" fmla="*/ 3554389 w 6094516"/>
              <a:gd name="connsiteY112" fmla="*/ 1231949 h 3487140"/>
              <a:gd name="connsiteX113" fmla="*/ 3336348 w 6094516"/>
              <a:gd name="connsiteY113" fmla="*/ 1191693 h 3487140"/>
              <a:gd name="connsiteX114" fmla="*/ 3344832 w 6094516"/>
              <a:gd name="connsiteY114" fmla="*/ 1255238 h 3487140"/>
              <a:gd name="connsiteX115" fmla="*/ 3769850 w 6094516"/>
              <a:gd name="connsiteY115" fmla="*/ 1241722 h 3487140"/>
              <a:gd name="connsiteX116" fmla="*/ 4254670 w 6094516"/>
              <a:gd name="connsiteY116" fmla="*/ 1259646 h 3487140"/>
              <a:gd name="connsiteX117" fmla="*/ 4484022 w 6094516"/>
              <a:gd name="connsiteY117" fmla="*/ 1236981 h 3487140"/>
              <a:gd name="connsiteX118" fmla="*/ 4465766 w 6094516"/>
              <a:gd name="connsiteY118" fmla="*/ 1185995 h 3487140"/>
              <a:gd name="connsiteX119" fmla="*/ 4105248 w 6094516"/>
              <a:gd name="connsiteY119" fmla="*/ 1177512 h 3487140"/>
              <a:gd name="connsiteX120" fmla="*/ 3734668 w 6094516"/>
              <a:gd name="connsiteY120" fmla="*/ 1331342 h 3487140"/>
              <a:gd name="connsiteX121" fmla="*/ 3388914 w 6094516"/>
              <a:gd name="connsiteY121" fmla="*/ 1604110 h 3487140"/>
              <a:gd name="connsiteX122" fmla="*/ 3156111 w 6094516"/>
              <a:gd name="connsiteY122" fmla="*/ 1921252 h 3487140"/>
              <a:gd name="connsiteX123" fmla="*/ 3060461 w 6094516"/>
              <a:gd name="connsiteY123" fmla="*/ 2419255 h 3487140"/>
              <a:gd name="connsiteX124" fmla="*/ 3290769 w 6094516"/>
              <a:gd name="connsiteY124" fmla="*/ 3048465 h 3487140"/>
              <a:gd name="connsiteX125" fmla="*/ 3868994 w 6094516"/>
              <a:gd name="connsiteY125" fmla="*/ 3394510 h 3487140"/>
              <a:gd name="connsiteX126" fmla="*/ 4507643 w 6094516"/>
              <a:gd name="connsiteY126" fmla="*/ 3330632 h 3487140"/>
              <a:gd name="connsiteX127" fmla="*/ 5002818 w 6094516"/>
              <a:gd name="connsiteY127" fmla="*/ 2841404 h 3487140"/>
              <a:gd name="connsiteX128" fmla="*/ 5036171 w 6094516"/>
              <a:gd name="connsiteY128" fmla="*/ 2052999 h 3487140"/>
              <a:gd name="connsiteX129" fmla="*/ 4605164 w 6094516"/>
              <a:gd name="connsiteY129" fmla="*/ 1482011 h 3487140"/>
              <a:gd name="connsiteX130" fmla="*/ 4138310 w 6094516"/>
              <a:gd name="connsiteY130" fmla="*/ 1352717 h 3487140"/>
              <a:gd name="connsiteX131" fmla="*/ 3977868 w 6094516"/>
              <a:gd name="connsiteY131" fmla="*/ 1466624 h 3487140"/>
              <a:gd name="connsiteX132" fmla="*/ 3999909 w 6094516"/>
              <a:gd name="connsiteY132" fmla="*/ 2001140 h 3487140"/>
              <a:gd name="connsiteX133" fmla="*/ 4033885 w 6094516"/>
              <a:gd name="connsiteY133" fmla="*/ 2313208 h 3487140"/>
              <a:gd name="connsiteX134" fmla="*/ 4125585 w 6094516"/>
              <a:gd name="connsiteY134" fmla="*/ 2399085 h 3487140"/>
              <a:gd name="connsiteX135" fmla="*/ 4230051 w 6094516"/>
              <a:gd name="connsiteY135" fmla="*/ 2362905 h 3487140"/>
              <a:gd name="connsiteX136" fmla="*/ 4194660 w 6094516"/>
              <a:gd name="connsiteY136" fmla="*/ 2271372 h 3487140"/>
              <a:gd name="connsiteX137" fmla="*/ 4097056 w 6094516"/>
              <a:gd name="connsiteY137" fmla="*/ 2303394 h 3487140"/>
              <a:gd name="connsiteX138" fmla="*/ 4080670 w 6094516"/>
              <a:gd name="connsiteY138" fmla="*/ 2437262 h 3487140"/>
              <a:gd name="connsiteX139" fmla="*/ 4079589 w 6094516"/>
              <a:gd name="connsiteY139" fmla="*/ 2519521 h 3487140"/>
              <a:gd name="connsiteX140" fmla="*/ 3900475 w 6094516"/>
              <a:gd name="connsiteY140" fmla="*/ 2539400 h 3487140"/>
              <a:gd name="connsiteX141" fmla="*/ 3490220 w 6094516"/>
              <a:gd name="connsiteY141" fmla="*/ 2545679 h 3487140"/>
              <a:gd name="connsiteX142" fmla="*/ 3249848 w 6094516"/>
              <a:gd name="connsiteY142" fmla="*/ 2602944 h 3487140"/>
              <a:gd name="connsiteX143" fmla="*/ 3240241 w 6094516"/>
              <a:gd name="connsiteY143" fmla="*/ 2790460 h 3487140"/>
              <a:gd name="connsiteX144" fmla="*/ 3433578 w 6094516"/>
              <a:gd name="connsiteY144" fmla="*/ 3133385 h 3487140"/>
              <a:gd name="connsiteX145" fmla="*/ 3925468 w 6094516"/>
              <a:gd name="connsiteY145" fmla="*/ 3465290 h 3487140"/>
              <a:gd name="connsiteX146" fmla="*/ 4666214 w 6094516"/>
              <a:gd name="connsiteY146" fmla="*/ 3390434 h 3487140"/>
              <a:gd name="connsiteX147" fmla="*/ 5106037 w 6094516"/>
              <a:gd name="connsiteY147" fmla="*/ 3017940 h 3487140"/>
              <a:gd name="connsiteX148" fmla="*/ 5420018 w 6094516"/>
              <a:gd name="connsiteY148" fmla="*/ 2655510 h 3487140"/>
              <a:gd name="connsiteX149" fmla="*/ 5792512 w 6094516"/>
              <a:gd name="connsiteY149" fmla="*/ 3163577 h 3487140"/>
              <a:gd name="connsiteX150" fmla="*/ 6016499 w 6094516"/>
              <a:gd name="connsiteY150" fmla="*/ 3255443 h 3487140"/>
              <a:gd name="connsiteX151" fmla="*/ 6094516 w 6094516"/>
              <a:gd name="connsiteY151" fmla="*/ 2786675 h 3487140"/>
              <a:gd name="connsiteX0" fmla="*/ 777215 w 6016499"/>
              <a:gd name="connsiteY0" fmla="*/ 3295741 h 3487140"/>
              <a:gd name="connsiteX1" fmla="*/ 526113 w 6016499"/>
              <a:gd name="connsiteY1" fmla="*/ 3112384 h 3487140"/>
              <a:gd name="connsiteX2" fmla="*/ 219950 w 6016499"/>
              <a:gd name="connsiteY2" fmla="*/ 2750287 h 3487140"/>
              <a:gd name="connsiteX3" fmla="*/ 128418 w 6016499"/>
              <a:gd name="connsiteY3" fmla="*/ 2305432 h 3487140"/>
              <a:gd name="connsiteX4" fmla="*/ 256006 w 6016499"/>
              <a:gd name="connsiteY4" fmla="*/ 1919713 h 3487140"/>
              <a:gd name="connsiteX5" fmla="*/ 580218 w 6016499"/>
              <a:gd name="connsiteY5" fmla="*/ 1637837 h 3487140"/>
              <a:gd name="connsiteX6" fmla="*/ 1073522 w 6016499"/>
              <a:gd name="connsiteY6" fmla="*/ 1545972 h 3487140"/>
              <a:gd name="connsiteX7" fmla="*/ 1308197 w 6016499"/>
              <a:gd name="connsiteY7" fmla="*/ 1517651 h 3487140"/>
              <a:gd name="connsiteX8" fmla="*/ 1292934 w 6016499"/>
              <a:gd name="connsiteY8" fmla="*/ 1460718 h 3487140"/>
              <a:gd name="connsiteX9" fmla="*/ 1016880 w 6016499"/>
              <a:gd name="connsiteY9" fmla="*/ 1416969 h 3487140"/>
              <a:gd name="connsiteX10" fmla="*/ 497460 w 6016499"/>
              <a:gd name="connsiteY10" fmla="*/ 1517318 h 3487140"/>
              <a:gd name="connsiteX11" fmla="*/ 88162 w 6016499"/>
              <a:gd name="connsiteY11" fmla="*/ 1960593 h 3487140"/>
              <a:gd name="connsiteX12" fmla="*/ 28692 w 6016499"/>
              <a:gd name="connsiteY12" fmla="*/ 2569342 h 3487140"/>
              <a:gd name="connsiteX13" fmla="*/ 442399 w 6016499"/>
              <a:gd name="connsiteY13" fmla="*/ 3165532 h 3487140"/>
              <a:gd name="connsiteX14" fmla="*/ 1232384 w 6016499"/>
              <a:gd name="connsiteY14" fmla="*/ 3283181 h 3487140"/>
              <a:gd name="connsiteX15" fmla="*/ 1835020 w 6016499"/>
              <a:gd name="connsiteY15" fmla="*/ 2757481 h 3487140"/>
              <a:gd name="connsiteX16" fmla="*/ 1824789 w 6016499"/>
              <a:gd name="connsiteY16" fmla="*/ 1980430 h 3487140"/>
              <a:gd name="connsiteX17" fmla="*/ 1494755 w 6016499"/>
              <a:gd name="connsiteY17" fmla="*/ 1589139 h 3487140"/>
              <a:gd name="connsiteX18" fmla="*/ 1305701 w 6016499"/>
              <a:gd name="connsiteY18" fmla="*/ 1660710 h 3487140"/>
              <a:gd name="connsiteX19" fmla="*/ 1197284 w 6016499"/>
              <a:gd name="connsiteY19" fmla="*/ 2116627 h 3487140"/>
              <a:gd name="connsiteX20" fmla="*/ 973921 w 6016499"/>
              <a:gd name="connsiteY20" fmla="*/ 2374258 h 3487140"/>
              <a:gd name="connsiteX21" fmla="*/ 918985 w 6016499"/>
              <a:gd name="connsiteY21" fmla="*/ 2276986 h 3487140"/>
              <a:gd name="connsiteX22" fmla="*/ 1298257 w 6016499"/>
              <a:gd name="connsiteY22" fmla="*/ 2021601 h 3487140"/>
              <a:gd name="connsiteX23" fmla="*/ 1558176 w 6016499"/>
              <a:gd name="connsiteY23" fmla="*/ 1234153 h 3487140"/>
              <a:gd name="connsiteX24" fmla="*/ 1788276 w 6016499"/>
              <a:gd name="connsiteY24" fmla="*/ 725296 h 3487140"/>
              <a:gd name="connsiteX25" fmla="*/ 1896859 w 6016499"/>
              <a:gd name="connsiteY25" fmla="*/ 539984 h 3487140"/>
              <a:gd name="connsiteX26" fmla="*/ 1865711 w 6016499"/>
              <a:gd name="connsiteY26" fmla="*/ 435851 h 3487140"/>
              <a:gd name="connsiteX27" fmla="*/ 1759373 w 6016499"/>
              <a:gd name="connsiteY27" fmla="*/ 350265 h 3487140"/>
              <a:gd name="connsiteX28" fmla="*/ 1714085 w 6016499"/>
              <a:gd name="connsiteY28" fmla="*/ 209327 h 3487140"/>
              <a:gd name="connsiteX29" fmla="*/ 1758915 w 6016499"/>
              <a:gd name="connsiteY29" fmla="*/ 82237 h 3487140"/>
              <a:gd name="connsiteX30" fmla="*/ 1939195 w 6016499"/>
              <a:gd name="connsiteY30" fmla="*/ 6716 h 3487140"/>
              <a:gd name="connsiteX31" fmla="*/ 2207888 w 6016499"/>
              <a:gd name="connsiteY31" fmla="*/ 10167 h 3487140"/>
              <a:gd name="connsiteX32" fmla="*/ 2291561 w 6016499"/>
              <a:gd name="connsiteY32" fmla="*/ 49800 h 3487140"/>
              <a:gd name="connsiteX33" fmla="*/ 2244526 w 6016499"/>
              <a:gd name="connsiteY33" fmla="*/ 86812 h 3487140"/>
              <a:gd name="connsiteX34" fmla="*/ 2008603 w 6016499"/>
              <a:gd name="connsiteY34" fmla="*/ 91886 h 3487140"/>
              <a:gd name="connsiteX35" fmla="*/ 1765070 w 6016499"/>
              <a:gd name="connsiteY35" fmla="*/ 75833 h 3487140"/>
              <a:gd name="connsiteX36" fmla="*/ 1657319 w 6016499"/>
              <a:gd name="connsiteY36" fmla="*/ 176931 h 3487140"/>
              <a:gd name="connsiteX37" fmla="*/ 1672581 w 6016499"/>
              <a:gd name="connsiteY37" fmla="*/ 370393 h 3487140"/>
              <a:gd name="connsiteX38" fmla="*/ 1617354 w 6016499"/>
              <a:gd name="connsiteY38" fmla="*/ 589348 h 3487140"/>
              <a:gd name="connsiteX39" fmla="*/ 1460820 w 6016499"/>
              <a:gd name="connsiteY39" fmla="*/ 903953 h 3487140"/>
              <a:gd name="connsiteX40" fmla="*/ 1250349 w 6016499"/>
              <a:gd name="connsiteY40" fmla="*/ 922501 h 3487140"/>
              <a:gd name="connsiteX41" fmla="*/ 1055930 w 6016499"/>
              <a:gd name="connsiteY41" fmla="*/ 866816 h 3487140"/>
              <a:gd name="connsiteX42" fmla="*/ 997085 w 6016499"/>
              <a:gd name="connsiteY42" fmla="*/ 751038 h 3487140"/>
              <a:gd name="connsiteX43" fmla="*/ 1009021 w 6016499"/>
              <a:gd name="connsiteY43" fmla="*/ 369436 h 3487140"/>
              <a:gd name="connsiteX44" fmla="*/ 1070694 w 6016499"/>
              <a:gd name="connsiteY44" fmla="*/ 155805 h 3487140"/>
              <a:gd name="connsiteX45" fmla="*/ 1272058 w 6016499"/>
              <a:gd name="connsiteY45" fmla="*/ 156761 h 3487140"/>
              <a:gd name="connsiteX46" fmla="*/ 1524989 w 6016499"/>
              <a:gd name="connsiteY46" fmla="*/ 245175 h 3487140"/>
              <a:gd name="connsiteX47" fmla="*/ 1694081 w 6016499"/>
              <a:gd name="connsiteY47" fmla="*/ 357792 h 3487140"/>
              <a:gd name="connsiteX48" fmla="*/ 1798672 w 6016499"/>
              <a:gd name="connsiteY48" fmla="*/ 483301 h 3487140"/>
              <a:gd name="connsiteX49" fmla="*/ 1822876 w 6016499"/>
              <a:gd name="connsiteY49" fmla="*/ 600951 h 3487140"/>
              <a:gd name="connsiteX50" fmla="*/ 1795345 w 6016499"/>
              <a:gd name="connsiteY50" fmla="*/ 761726 h 3487140"/>
              <a:gd name="connsiteX51" fmla="*/ 1967266 w 6016499"/>
              <a:gd name="connsiteY51" fmla="*/ 1160004 h 3487140"/>
              <a:gd name="connsiteX52" fmla="*/ 2390246 w 6016499"/>
              <a:gd name="connsiteY52" fmla="*/ 1793622 h 3487140"/>
              <a:gd name="connsiteX53" fmla="*/ 2807737 w 6016499"/>
              <a:gd name="connsiteY53" fmla="*/ 2087475 h 3487140"/>
              <a:gd name="connsiteX54" fmla="*/ 2917360 w 6016499"/>
              <a:gd name="connsiteY54" fmla="*/ 2185620 h 3487140"/>
              <a:gd name="connsiteX55" fmla="*/ 2804411 w 6016499"/>
              <a:gd name="connsiteY55" fmla="*/ 2468120 h 3487140"/>
              <a:gd name="connsiteX56" fmla="*/ 2638312 w 6016499"/>
              <a:gd name="connsiteY56" fmla="*/ 2505548 h 3487140"/>
              <a:gd name="connsiteX57" fmla="*/ 2329862 w 6016499"/>
              <a:gd name="connsiteY57" fmla="*/ 2278109 h 3487140"/>
              <a:gd name="connsiteX58" fmla="*/ 1885173 w 6016499"/>
              <a:gd name="connsiteY58" fmla="*/ 1678800 h 3487140"/>
              <a:gd name="connsiteX59" fmla="*/ 1765320 w 6016499"/>
              <a:gd name="connsiteY59" fmla="*/ 1175432 h 3487140"/>
              <a:gd name="connsiteX60" fmla="*/ 1919774 w 6016499"/>
              <a:gd name="connsiteY60" fmla="*/ 1377420 h 3487140"/>
              <a:gd name="connsiteX61" fmla="*/ 2281414 w 6016499"/>
              <a:gd name="connsiteY61" fmla="*/ 2268710 h 3487140"/>
              <a:gd name="connsiteX62" fmla="*/ 2601216 w 6016499"/>
              <a:gd name="connsiteY62" fmla="*/ 2693105 h 3487140"/>
              <a:gd name="connsiteX63" fmla="*/ 2834644 w 6016499"/>
              <a:gd name="connsiteY63" fmla="*/ 2746586 h 3487140"/>
              <a:gd name="connsiteX64" fmla="*/ 3001865 w 6016499"/>
              <a:gd name="connsiteY64" fmla="*/ 2631432 h 3487140"/>
              <a:gd name="connsiteX65" fmla="*/ 3013052 w 6016499"/>
              <a:gd name="connsiteY65" fmla="*/ 2436680 h 3487140"/>
              <a:gd name="connsiteX66" fmla="*/ 2859222 w 6016499"/>
              <a:gd name="connsiteY66" fmla="*/ 2309258 h 3487140"/>
              <a:gd name="connsiteX67" fmla="*/ 2652036 w 6016499"/>
              <a:gd name="connsiteY67" fmla="*/ 2375007 h 3487140"/>
              <a:gd name="connsiteX68" fmla="*/ 2629537 w 6016499"/>
              <a:gd name="connsiteY68" fmla="*/ 2581402 h 3487140"/>
              <a:gd name="connsiteX69" fmla="*/ 2772222 w 6016499"/>
              <a:gd name="connsiteY69" fmla="*/ 2671064 h 3487140"/>
              <a:gd name="connsiteX70" fmla="*/ 2868787 w 6016499"/>
              <a:gd name="connsiteY70" fmla="*/ 2596831 h 3487140"/>
              <a:gd name="connsiteX71" fmla="*/ 2835601 w 6016499"/>
              <a:gd name="connsiteY71" fmla="*/ 2530750 h 3487140"/>
              <a:gd name="connsiteX72" fmla="*/ 2713543 w 6016499"/>
              <a:gd name="connsiteY72" fmla="*/ 2615379 h 3487140"/>
              <a:gd name="connsiteX73" fmla="*/ 2567864 w 6016499"/>
              <a:gd name="connsiteY73" fmla="*/ 2907028 h 3487140"/>
              <a:gd name="connsiteX74" fmla="*/ 2520039 w 6016499"/>
              <a:gd name="connsiteY74" fmla="*/ 3008333 h 3487140"/>
              <a:gd name="connsiteX75" fmla="*/ 2484191 w 6016499"/>
              <a:gd name="connsiteY75" fmla="*/ 3024053 h 3487140"/>
              <a:gd name="connsiteX76" fmla="*/ 2389165 w 6016499"/>
              <a:gd name="connsiteY76" fmla="*/ 3013989 h 3487140"/>
              <a:gd name="connsiteX77" fmla="*/ 2396068 w 6016499"/>
              <a:gd name="connsiteY77" fmla="*/ 2956724 h 3487140"/>
              <a:gd name="connsiteX78" fmla="*/ 2584831 w 6016499"/>
              <a:gd name="connsiteY78" fmla="*/ 2951068 h 3487140"/>
              <a:gd name="connsiteX79" fmla="*/ 2671041 w 6016499"/>
              <a:gd name="connsiteY79" fmla="*/ 2951068 h 3487140"/>
              <a:gd name="connsiteX80" fmla="*/ 2752219 w 6016499"/>
              <a:gd name="connsiteY80" fmla="*/ 2822066 h 3487140"/>
              <a:gd name="connsiteX81" fmla="*/ 2892533 w 6016499"/>
              <a:gd name="connsiteY81" fmla="*/ 2789337 h 3487140"/>
              <a:gd name="connsiteX82" fmla="*/ 3020246 w 6016499"/>
              <a:gd name="connsiteY82" fmla="*/ 2713815 h 3487140"/>
              <a:gd name="connsiteX83" fmla="*/ 3106456 w 6016499"/>
              <a:gd name="connsiteY83" fmla="*/ 2544556 h 3487140"/>
              <a:gd name="connsiteX84" fmla="*/ 3326035 w 6016499"/>
              <a:gd name="connsiteY84" fmla="*/ 2482883 h 3487140"/>
              <a:gd name="connsiteX85" fmla="*/ 3861009 w 6016499"/>
              <a:gd name="connsiteY85" fmla="*/ 2466831 h 3487140"/>
              <a:gd name="connsiteX86" fmla="*/ 4016751 w 6016499"/>
              <a:gd name="connsiteY86" fmla="*/ 2420918 h 3487140"/>
              <a:gd name="connsiteX87" fmla="*/ 3866664 w 6016499"/>
              <a:gd name="connsiteY87" fmla="*/ 2252907 h 3487140"/>
              <a:gd name="connsiteX88" fmla="*/ 3391285 w 6016499"/>
              <a:gd name="connsiteY88" fmla="*/ 1791709 h 3487140"/>
              <a:gd name="connsiteX89" fmla="*/ 3127166 w 6016499"/>
              <a:gd name="connsiteY89" fmla="*/ 1600118 h 3487140"/>
              <a:gd name="connsiteX90" fmla="*/ 3003196 w 6016499"/>
              <a:gd name="connsiteY90" fmla="*/ 1733529 h 3487140"/>
              <a:gd name="connsiteX91" fmla="*/ 2940898 w 6016499"/>
              <a:gd name="connsiteY91" fmla="*/ 1995900 h 3487140"/>
              <a:gd name="connsiteX92" fmla="*/ 2981778 w 6016499"/>
              <a:gd name="connsiteY92" fmla="*/ 2048133 h 3487140"/>
              <a:gd name="connsiteX93" fmla="*/ 3044699 w 6016499"/>
              <a:gd name="connsiteY93" fmla="*/ 1778817 h 3487140"/>
              <a:gd name="connsiteX94" fmla="*/ 3166466 w 6016499"/>
              <a:gd name="connsiteY94" fmla="*/ 1356918 h 3487140"/>
              <a:gd name="connsiteX95" fmla="*/ 3272803 w 6016499"/>
              <a:gd name="connsiteY95" fmla="*/ 986960 h 3487140"/>
              <a:gd name="connsiteX96" fmla="*/ 3243526 w 6016499"/>
              <a:gd name="connsiteY96" fmla="*/ 867107 h 3487140"/>
              <a:gd name="connsiteX97" fmla="*/ 3068612 w 6016499"/>
              <a:gd name="connsiteY97" fmla="*/ 840034 h 3487140"/>
              <a:gd name="connsiteX98" fmla="*/ 2924513 w 6016499"/>
              <a:gd name="connsiteY98" fmla="*/ 782769 h 3487140"/>
              <a:gd name="connsiteX99" fmla="*/ 2940857 w 6016499"/>
              <a:gd name="connsiteY99" fmla="*/ 714816 h 3487140"/>
              <a:gd name="connsiteX100" fmla="*/ 3114524 w 6016499"/>
              <a:gd name="connsiteY100" fmla="*/ 723008 h 3487140"/>
              <a:gd name="connsiteX101" fmla="*/ 3317135 w 6016499"/>
              <a:gd name="connsiteY101" fmla="*/ 729288 h 3487140"/>
              <a:gd name="connsiteX102" fmla="*/ 3483857 w 6016499"/>
              <a:gd name="connsiteY102" fmla="*/ 682087 h 3487140"/>
              <a:gd name="connsiteX103" fmla="*/ 3601506 w 6016499"/>
              <a:gd name="connsiteY103" fmla="*/ 703463 h 3487140"/>
              <a:gd name="connsiteX104" fmla="*/ 3624171 w 6016499"/>
              <a:gd name="connsiteY104" fmla="*/ 797199 h 3487140"/>
              <a:gd name="connsiteX105" fmla="*/ 3496458 w 6016499"/>
              <a:gd name="connsiteY105" fmla="*/ 890936 h 3487140"/>
              <a:gd name="connsiteX106" fmla="*/ 3326575 w 6016499"/>
              <a:gd name="connsiteY106" fmla="*/ 918009 h 3487140"/>
              <a:gd name="connsiteX107" fmla="*/ 3198862 w 6016499"/>
              <a:gd name="connsiteY107" fmla="*/ 1002306 h 3487140"/>
              <a:gd name="connsiteX108" fmla="*/ 3097972 w 6016499"/>
              <a:gd name="connsiteY108" fmla="*/ 1299902 h 3487140"/>
              <a:gd name="connsiteX109" fmla="*/ 3159022 w 6016499"/>
              <a:gd name="connsiteY109" fmla="*/ 1545930 h 3487140"/>
              <a:gd name="connsiteX110" fmla="*/ 3371697 w 6016499"/>
              <a:gd name="connsiteY110" fmla="*/ 1536490 h 3487140"/>
              <a:gd name="connsiteX111" fmla="*/ 3551228 w 6016499"/>
              <a:gd name="connsiteY111" fmla="*/ 1376048 h 3487140"/>
              <a:gd name="connsiteX112" fmla="*/ 3554389 w 6016499"/>
              <a:gd name="connsiteY112" fmla="*/ 1231949 h 3487140"/>
              <a:gd name="connsiteX113" fmla="*/ 3336348 w 6016499"/>
              <a:gd name="connsiteY113" fmla="*/ 1191693 h 3487140"/>
              <a:gd name="connsiteX114" fmla="*/ 3344832 w 6016499"/>
              <a:gd name="connsiteY114" fmla="*/ 1255238 h 3487140"/>
              <a:gd name="connsiteX115" fmla="*/ 3769850 w 6016499"/>
              <a:gd name="connsiteY115" fmla="*/ 1241722 h 3487140"/>
              <a:gd name="connsiteX116" fmla="*/ 4254670 w 6016499"/>
              <a:gd name="connsiteY116" fmla="*/ 1259646 h 3487140"/>
              <a:gd name="connsiteX117" fmla="*/ 4484022 w 6016499"/>
              <a:gd name="connsiteY117" fmla="*/ 1236981 h 3487140"/>
              <a:gd name="connsiteX118" fmla="*/ 4465766 w 6016499"/>
              <a:gd name="connsiteY118" fmla="*/ 1185995 h 3487140"/>
              <a:gd name="connsiteX119" fmla="*/ 4105248 w 6016499"/>
              <a:gd name="connsiteY119" fmla="*/ 1177512 h 3487140"/>
              <a:gd name="connsiteX120" fmla="*/ 3734668 w 6016499"/>
              <a:gd name="connsiteY120" fmla="*/ 1331342 h 3487140"/>
              <a:gd name="connsiteX121" fmla="*/ 3388914 w 6016499"/>
              <a:gd name="connsiteY121" fmla="*/ 1604110 h 3487140"/>
              <a:gd name="connsiteX122" fmla="*/ 3156111 w 6016499"/>
              <a:gd name="connsiteY122" fmla="*/ 1921252 h 3487140"/>
              <a:gd name="connsiteX123" fmla="*/ 3060461 w 6016499"/>
              <a:gd name="connsiteY123" fmla="*/ 2419255 h 3487140"/>
              <a:gd name="connsiteX124" fmla="*/ 3290769 w 6016499"/>
              <a:gd name="connsiteY124" fmla="*/ 3048465 h 3487140"/>
              <a:gd name="connsiteX125" fmla="*/ 3868994 w 6016499"/>
              <a:gd name="connsiteY125" fmla="*/ 3394510 h 3487140"/>
              <a:gd name="connsiteX126" fmla="*/ 4507643 w 6016499"/>
              <a:gd name="connsiteY126" fmla="*/ 3330632 h 3487140"/>
              <a:gd name="connsiteX127" fmla="*/ 5002818 w 6016499"/>
              <a:gd name="connsiteY127" fmla="*/ 2841404 h 3487140"/>
              <a:gd name="connsiteX128" fmla="*/ 5036171 w 6016499"/>
              <a:gd name="connsiteY128" fmla="*/ 2052999 h 3487140"/>
              <a:gd name="connsiteX129" fmla="*/ 4605164 w 6016499"/>
              <a:gd name="connsiteY129" fmla="*/ 1482011 h 3487140"/>
              <a:gd name="connsiteX130" fmla="*/ 4138310 w 6016499"/>
              <a:gd name="connsiteY130" fmla="*/ 1352717 h 3487140"/>
              <a:gd name="connsiteX131" fmla="*/ 3977868 w 6016499"/>
              <a:gd name="connsiteY131" fmla="*/ 1466624 h 3487140"/>
              <a:gd name="connsiteX132" fmla="*/ 3999909 w 6016499"/>
              <a:gd name="connsiteY132" fmla="*/ 2001140 h 3487140"/>
              <a:gd name="connsiteX133" fmla="*/ 4033885 w 6016499"/>
              <a:gd name="connsiteY133" fmla="*/ 2313208 h 3487140"/>
              <a:gd name="connsiteX134" fmla="*/ 4125585 w 6016499"/>
              <a:gd name="connsiteY134" fmla="*/ 2399085 h 3487140"/>
              <a:gd name="connsiteX135" fmla="*/ 4230051 w 6016499"/>
              <a:gd name="connsiteY135" fmla="*/ 2362905 h 3487140"/>
              <a:gd name="connsiteX136" fmla="*/ 4194660 w 6016499"/>
              <a:gd name="connsiteY136" fmla="*/ 2271372 h 3487140"/>
              <a:gd name="connsiteX137" fmla="*/ 4097056 w 6016499"/>
              <a:gd name="connsiteY137" fmla="*/ 2303394 h 3487140"/>
              <a:gd name="connsiteX138" fmla="*/ 4080670 w 6016499"/>
              <a:gd name="connsiteY138" fmla="*/ 2437262 h 3487140"/>
              <a:gd name="connsiteX139" fmla="*/ 4079589 w 6016499"/>
              <a:gd name="connsiteY139" fmla="*/ 2519521 h 3487140"/>
              <a:gd name="connsiteX140" fmla="*/ 3900475 w 6016499"/>
              <a:gd name="connsiteY140" fmla="*/ 2539400 h 3487140"/>
              <a:gd name="connsiteX141" fmla="*/ 3490220 w 6016499"/>
              <a:gd name="connsiteY141" fmla="*/ 2545679 h 3487140"/>
              <a:gd name="connsiteX142" fmla="*/ 3249848 w 6016499"/>
              <a:gd name="connsiteY142" fmla="*/ 2602944 h 3487140"/>
              <a:gd name="connsiteX143" fmla="*/ 3240241 w 6016499"/>
              <a:gd name="connsiteY143" fmla="*/ 2790460 h 3487140"/>
              <a:gd name="connsiteX144" fmla="*/ 3433578 w 6016499"/>
              <a:gd name="connsiteY144" fmla="*/ 3133385 h 3487140"/>
              <a:gd name="connsiteX145" fmla="*/ 3925468 w 6016499"/>
              <a:gd name="connsiteY145" fmla="*/ 3465290 h 3487140"/>
              <a:gd name="connsiteX146" fmla="*/ 4666214 w 6016499"/>
              <a:gd name="connsiteY146" fmla="*/ 3390434 h 3487140"/>
              <a:gd name="connsiteX147" fmla="*/ 5106037 w 6016499"/>
              <a:gd name="connsiteY147" fmla="*/ 3017940 h 3487140"/>
              <a:gd name="connsiteX148" fmla="*/ 5420018 w 6016499"/>
              <a:gd name="connsiteY148" fmla="*/ 2655510 h 3487140"/>
              <a:gd name="connsiteX149" fmla="*/ 5792512 w 6016499"/>
              <a:gd name="connsiteY149" fmla="*/ 3163577 h 3487140"/>
              <a:gd name="connsiteX150" fmla="*/ 6016499 w 6016499"/>
              <a:gd name="connsiteY150" fmla="*/ 3255443 h 3487140"/>
              <a:gd name="connsiteX0" fmla="*/ 777215 w 5792512"/>
              <a:gd name="connsiteY0" fmla="*/ 3295741 h 3487140"/>
              <a:gd name="connsiteX1" fmla="*/ 526113 w 5792512"/>
              <a:gd name="connsiteY1" fmla="*/ 3112384 h 3487140"/>
              <a:gd name="connsiteX2" fmla="*/ 219950 w 5792512"/>
              <a:gd name="connsiteY2" fmla="*/ 2750287 h 3487140"/>
              <a:gd name="connsiteX3" fmla="*/ 128418 w 5792512"/>
              <a:gd name="connsiteY3" fmla="*/ 2305432 h 3487140"/>
              <a:gd name="connsiteX4" fmla="*/ 256006 w 5792512"/>
              <a:gd name="connsiteY4" fmla="*/ 1919713 h 3487140"/>
              <a:gd name="connsiteX5" fmla="*/ 580218 w 5792512"/>
              <a:gd name="connsiteY5" fmla="*/ 1637837 h 3487140"/>
              <a:gd name="connsiteX6" fmla="*/ 1073522 w 5792512"/>
              <a:gd name="connsiteY6" fmla="*/ 1545972 h 3487140"/>
              <a:gd name="connsiteX7" fmla="*/ 1308197 w 5792512"/>
              <a:gd name="connsiteY7" fmla="*/ 1517651 h 3487140"/>
              <a:gd name="connsiteX8" fmla="*/ 1292934 w 5792512"/>
              <a:gd name="connsiteY8" fmla="*/ 1460718 h 3487140"/>
              <a:gd name="connsiteX9" fmla="*/ 1016880 w 5792512"/>
              <a:gd name="connsiteY9" fmla="*/ 1416969 h 3487140"/>
              <a:gd name="connsiteX10" fmla="*/ 497460 w 5792512"/>
              <a:gd name="connsiteY10" fmla="*/ 1517318 h 3487140"/>
              <a:gd name="connsiteX11" fmla="*/ 88162 w 5792512"/>
              <a:gd name="connsiteY11" fmla="*/ 1960593 h 3487140"/>
              <a:gd name="connsiteX12" fmla="*/ 28692 w 5792512"/>
              <a:gd name="connsiteY12" fmla="*/ 2569342 h 3487140"/>
              <a:gd name="connsiteX13" fmla="*/ 442399 w 5792512"/>
              <a:gd name="connsiteY13" fmla="*/ 3165532 h 3487140"/>
              <a:gd name="connsiteX14" fmla="*/ 1232384 w 5792512"/>
              <a:gd name="connsiteY14" fmla="*/ 3283181 h 3487140"/>
              <a:gd name="connsiteX15" fmla="*/ 1835020 w 5792512"/>
              <a:gd name="connsiteY15" fmla="*/ 2757481 h 3487140"/>
              <a:gd name="connsiteX16" fmla="*/ 1824789 w 5792512"/>
              <a:gd name="connsiteY16" fmla="*/ 1980430 h 3487140"/>
              <a:gd name="connsiteX17" fmla="*/ 1494755 w 5792512"/>
              <a:gd name="connsiteY17" fmla="*/ 1589139 h 3487140"/>
              <a:gd name="connsiteX18" fmla="*/ 1305701 w 5792512"/>
              <a:gd name="connsiteY18" fmla="*/ 1660710 h 3487140"/>
              <a:gd name="connsiteX19" fmla="*/ 1197284 w 5792512"/>
              <a:gd name="connsiteY19" fmla="*/ 2116627 h 3487140"/>
              <a:gd name="connsiteX20" fmla="*/ 973921 w 5792512"/>
              <a:gd name="connsiteY20" fmla="*/ 2374258 h 3487140"/>
              <a:gd name="connsiteX21" fmla="*/ 918985 w 5792512"/>
              <a:gd name="connsiteY21" fmla="*/ 2276986 h 3487140"/>
              <a:gd name="connsiteX22" fmla="*/ 1298257 w 5792512"/>
              <a:gd name="connsiteY22" fmla="*/ 2021601 h 3487140"/>
              <a:gd name="connsiteX23" fmla="*/ 1558176 w 5792512"/>
              <a:gd name="connsiteY23" fmla="*/ 1234153 h 3487140"/>
              <a:gd name="connsiteX24" fmla="*/ 1788276 w 5792512"/>
              <a:gd name="connsiteY24" fmla="*/ 725296 h 3487140"/>
              <a:gd name="connsiteX25" fmla="*/ 1896859 w 5792512"/>
              <a:gd name="connsiteY25" fmla="*/ 539984 h 3487140"/>
              <a:gd name="connsiteX26" fmla="*/ 1865711 w 5792512"/>
              <a:gd name="connsiteY26" fmla="*/ 435851 h 3487140"/>
              <a:gd name="connsiteX27" fmla="*/ 1759373 w 5792512"/>
              <a:gd name="connsiteY27" fmla="*/ 350265 h 3487140"/>
              <a:gd name="connsiteX28" fmla="*/ 1714085 w 5792512"/>
              <a:gd name="connsiteY28" fmla="*/ 209327 h 3487140"/>
              <a:gd name="connsiteX29" fmla="*/ 1758915 w 5792512"/>
              <a:gd name="connsiteY29" fmla="*/ 82237 h 3487140"/>
              <a:gd name="connsiteX30" fmla="*/ 1939195 w 5792512"/>
              <a:gd name="connsiteY30" fmla="*/ 6716 h 3487140"/>
              <a:gd name="connsiteX31" fmla="*/ 2207888 w 5792512"/>
              <a:gd name="connsiteY31" fmla="*/ 10167 h 3487140"/>
              <a:gd name="connsiteX32" fmla="*/ 2291561 w 5792512"/>
              <a:gd name="connsiteY32" fmla="*/ 49800 h 3487140"/>
              <a:gd name="connsiteX33" fmla="*/ 2244526 w 5792512"/>
              <a:gd name="connsiteY33" fmla="*/ 86812 h 3487140"/>
              <a:gd name="connsiteX34" fmla="*/ 2008603 w 5792512"/>
              <a:gd name="connsiteY34" fmla="*/ 91886 h 3487140"/>
              <a:gd name="connsiteX35" fmla="*/ 1765070 w 5792512"/>
              <a:gd name="connsiteY35" fmla="*/ 75833 h 3487140"/>
              <a:gd name="connsiteX36" fmla="*/ 1657319 w 5792512"/>
              <a:gd name="connsiteY36" fmla="*/ 176931 h 3487140"/>
              <a:gd name="connsiteX37" fmla="*/ 1672581 w 5792512"/>
              <a:gd name="connsiteY37" fmla="*/ 370393 h 3487140"/>
              <a:gd name="connsiteX38" fmla="*/ 1617354 w 5792512"/>
              <a:gd name="connsiteY38" fmla="*/ 589348 h 3487140"/>
              <a:gd name="connsiteX39" fmla="*/ 1460820 w 5792512"/>
              <a:gd name="connsiteY39" fmla="*/ 903953 h 3487140"/>
              <a:gd name="connsiteX40" fmla="*/ 1250349 w 5792512"/>
              <a:gd name="connsiteY40" fmla="*/ 922501 h 3487140"/>
              <a:gd name="connsiteX41" fmla="*/ 1055930 w 5792512"/>
              <a:gd name="connsiteY41" fmla="*/ 866816 h 3487140"/>
              <a:gd name="connsiteX42" fmla="*/ 997085 w 5792512"/>
              <a:gd name="connsiteY42" fmla="*/ 751038 h 3487140"/>
              <a:gd name="connsiteX43" fmla="*/ 1009021 w 5792512"/>
              <a:gd name="connsiteY43" fmla="*/ 369436 h 3487140"/>
              <a:gd name="connsiteX44" fmla="*/ 1070694 w 5792512"/>
              <a:gd name="connsiteY44" fmla="*/ 155805 h 3487140"/>
              <a:gd name="connsiteX45" fmla="*/ 1272058 w 5792512"/>
              <a:gd name="connsiteY45" fmla="*/ 156761 h 3487140"/>
              <a:gd name="connsiteX46" fmla="*/ 1524989 w 5792512"/>
              <a:gd name="connsiteY46" fmla="*/ 245175 h 3487140"/>
              <a:gd name="connsiteX47" fmla="*/ 1694081 w 5792512"/>
              <a:gd name="connsiteY47" fmla="*/ 357792 h 3487140"/>
              <a:gd name="connsiteX48" fmla="*/ 1798672 w 5792512"/>
              <a:gd name="connsiteY48" fmla="*/ 483301 h 3487140"/>
              <a:gd name="connsiteX49" fmla="*/ 1822876 w 5792512"/>
              <a:gd name="connsiteY49" fmla="*/ 600951 h 3487140"/>
              <a:gd name="connsiteX50" fmla="*/ 1795345 w 5792512"/>
              <a:gd name="connsiteY50" fmla="*/ 761726 h 3487140"/>
              <a:gd name="connsiteX51" fmla="*/ 1967266 w 5792512"/>
              <a:gd name="connsiteY51" fmla="*/ 1160004 h 3487140"/>
              <a:gd name="connsiteX52" fmla="*/ 2390246 w 5792512"/>
              <a:gd name="connsiteY52" fmla="*/ 1793622 h 3487140"/>
              <a:gd name="connsiteX53" fmla="*/ 2807737 w 5792512"/>
              <a:gd name="connsiteY53" fmla="*/ 2087475 h 3487140"/>
              <a:gd name="connsiteX54" fmla="*/ 2917360 w 5792512"/>
              <a:gd name="connsiteY54" fmla="*/ 2185620 h 3487140"/>
              <a:gd name="connsiteX55" fmla="*/ 2804411 w 5792512"/>
              <a:gd name="connsiteY55" fmla="*/ 2468120 h 3487140"/>
              <a:gd name="connsiteX56" fmla="*/ 2638312 w 5792512"/>
              <a:gd name="connsiteY56" fmla="*/ 2505548 h 3487140"/>
              <a:gd name="connsiteX57" fmla="*/ 2329862 w 5792512"/>
              <a:gd name="connsiteY57" fmla="*/ 2278109 h 3487140"/>
              <a:gd name="connsiteX58" fmla="*/ 1885173 w 5792512"/>
              <a:gd name="connsiteY58" fmla="*/ 1678800 h 3487140"/>
              <a:gd name="connsiteX59" fmla="*/ 1765320 w 5792512"/>
              <a:gd name="connsiteY59" fmla="*/ 1175432 h 3487140"/>
              <a:gd name="connsiteX60" fmla="*/ 1919774 w 5792512"/>
              <a:gd name="connsiteY60" fmla="*/ 1377420 h 3487140"/>
              <a:gd name="connsiteX61" fmla="*/ 2281414 w 5792512"/>
              <a:gd name="connsiteY61" fmla="*/ 2268710 h 3487140"/>
              <a:gd name="connsiteX62" fmla="*/ 2601216 w 5792512"/>
              <a:gd name="connsiteY62" fmla="*/ 2693105 h 3487140"/>
              <a:gd name="connsiteX63" fmla="*/ 2834644 w 5792512"/>
              <a:gd name="connsiteY63" fmla="*/ 2746586 h 3487140"/>
              <a:gd name="connsiteX64" fmla="*/ 3001865 w 5792512"/>
              <a:gd name="connsiteY64" fmla="*/ 2631432 h 3487140"/>
              <a:gd name="connsiteX65" fmla="*/ 3013052 w 5792512"/>
              <a:gd name="connsiteY65" fmla="*/ 2436680 h 3487140"/>
              <a:gd name="connsiteX66" fmla="*/ 2859222 w 5792512"/>
              <a:gd name="connsiteY66" fmla="*/ 2309258 h 3487140"/>
              <a:gd name="connsiteX67" fmla="*/ 2652036 w 5792512"/>
              <a:gd name="connsiteY67" fmla="*/ 2375007 h 3487140"/>
              <a:gd name="connsiteX68" fmla="*/ 2629537 w 5792512"/>
              <a:gd name="connsiteY68" fmla="*/ 2581402 h 3487140"/>
              <a:gd name="connsiteX69" fmla="*/ 2772222 w 5792512"/>
              <a:gd name="connsiteY69" fmla="*/ 2671064 h 3487140"/>
              <a:gd name="connsiteX70" fmla="*/ 2868787 w 5792512"/>
              <a:gd name="connsiteY70" fmla="*/ 2596831 h 3487140"/>
              <a:gd name="connsiteX71" fmla="*/ 2835601 w 5792512"/>
              <a:gd name="connsiteY71" fmla="*/ 2530750 h 3487140"/>
              <a:gd name="connsiteX72" fmla="*/ 2713543 w 5792512"/>
              <a:gd name="connsiteY72" fmla="*/ 2615379 h 3487140"/>
              <a:gd name="connsiteX73" fmla="*/ 2567864 w 5792512"/>
              <a:gd name="connsiteY73" fmla="*/ 2907028 h 3487140"/>
              <a:gd name="connsiteX74" fmla="*/ 2520039 w 5792512"/>
              <a:gd name="connsiteY74" fmla="*/ 3008333 h 3487140"/>
              <a:gd name="connsiteX75" fmla="*/ 2484191 w 5792512"/>
              <a:gd name="connsiteY75" fmla="*/ 3024053 h 3487140"/>
              <a:gd name="connsiteX76" fmla="*/ 2389165 w 5792512"/>
              <a:gd name="connsiteY76" fmla="*/ 3013989 h 3487140"/>
              <a:gd name="connsiteX77" fmla="*/ 2396068 w 5792512"/>
              <a:gd name="connsiteY77" fmla="*/ 2956724 h 3487140"/>
              <a:gd name="connsiteX78" fmla="*/ 2584831 w 5792512"/>
              <a:gd name="connsiteY78" fmla="*/ 2951068 h 3487140"/>
              <a:gd name="connsiteX79" fmla="*/ 2671041 w 5792512"/>
              <a:gd name="connsiteY79" fmla="*/ 2951068 h 3487140"/>
              <a:gd name="connsiteX80" fmla="*/ 2752219 w 5792512"/>
              <a:gd name="connsiteY80" fmla="*/ 2822066 h 3487140"/>
              <a:gd name="connsiteX81" fmla="*/ 2892533 w 5792512"/>
              <a:gd name="connsiteY81" fmla="*/ 2789337 h 3487140"/>
              <a:gd name="connsiteX82" fmla="*/ 3020246 w 5792512"/>
              <a:gd name="connsiteY82" fmla="*/ 2713815 h 3487140"/>
              <a:gd name="connsiteX83" fmla="*/ 3106456 w 5792512"/>
              <a:gd name="connsiteY83" fmla="*/ 2544556 h 3487140"/>
              <a:gd name="connsiteX84" fmla="*/ 3326035 w 5792512"/>
              <a:gd name="connsiteY84" fmla="*/ 2482883 h 3487140"/>
              <a:gd name="connsiteX85" fmla="*/ 3861009 w 5792512"/>
              <a:gd name="connsiteY85" fmla="*/ 2466831 h 3487140"/>
              <a:gd name="connsiteX86" fmla="*/ 4016751 w 5792512"/>
              <a:gd name="connsiteY86" fmla="*/ 2420918 h 3487140"/>
              <a:gd name="connsiteX87" fmla="*/ 3866664 w 5792512"/>
              <a:gd name="connsiteY87" fmla="*/ 2252907 h 3487140"/>
              <a:gd name="connsiteX88" fmla="*/ 3391285 w 5792512"/>
              <a:gd name="connsiteY88" fmla="*/ 1791709 h 3487140"/>
              <a:gd name="connsiteX89" fmla="*/ 3127166 w 5792512"/>
              <a:gd name="connsiteY89" fmla="*/ 1600118 h 3487140"/>
              <a:gd name="connsiteX90" fmla="*/ 3003196 w 5792512"/>
              <a:gd name="connsiteY90" fmla="*/ 1733529 h 3487140"/>
              <a:gd name="connsiteX91" fmla="*/ 2940898 w 5792512"/>
              <a:gd name="connsiteY91" fmla="*/ 1995900 h 3487140"/>
              <a:gd name="connsiteX92" fmla="*/ 2981778 w 5792512"/>
              <a:gd name="connsiteY92" fmla="*/ 2048133 h 3487140"/>
              <a:gd name="connsiteX93" fmla="*/ 3044699 w 5792512"/>
              <a:gd name="connsiteY93" fmla="*/ 1778817 h 3487140"/>
              <a:gd name="connsiteX94" fmla="*/ 3166466 w 5792512"/>
              <a:gd name="connsiteY94" fmla="*/ 1356918 h 3487140"/>
              <a:gd name="connsiteX95" fmla="*/ 3272803 w 5792512"/>
              <a:gd name="connsiteY95" fmla="*/ 986960 h 3487140"/>
              <a:gd name="connsiteX96" fmla="*/ 3243526 w 5792512"/>
              <a:gd name="connsiteY96" fmla="*/ 867107 h 3487140"/>
              <a:gd name="connsiteX97" fmla="*/ 3068612 w 5792512"/>
              <a:gd name="connsiteY97" fmla="*/ 840034 h 3487140"/>
              <a:gd name="connsiteX98" fmla="*/ 2924513 w 5792512"/>
              <a:gd name="connsiteY98" fmla="*/ 782769 h 3487140"/>
              <a:gd name="connsiteX99" fmla="*/ 2940857 w 5792512"/>
              <a:gd name="connsiteY99" fmla="*/ 714816 h 3487140"/>
              <a:gd name="connsiteX100" fmla="*/ 3114524 w 5792512"/>
              <a:gd name="connsiteY100" fmla="*/ 723008 h 3487140"/>
              <a:gd name="connsiteX101" fmla="*/ 3317135 w 5792512"/>
              <a:gd name="connsiteY101" fmla="*/ 729288 h 3487140"/>
              <a:gd name="connsiteX102" fmla="*/ 3483857 w 5792512"/>
              <a:gd name="connsiteY102" fmla="*/ 682087 h 3487140"/>
              <a:gd name="connsiteX103" fmla="*/ 3601506 w 5792512"/>
              <a:gd name="connsiteY103" fmla="*/ 703463 h 3487140"/>
              <a:gd name="connsiteX104" fmla="*/ 3624171 w 5792512"/>
              <a:gd name="connsiteY104" fmla="*/ 797199 h 3487140"/>
              <a:gd name="connsiteX105" fmla="*/ 3496458 w 5792512"/>
              <a:gd name="connsiteY105" fmla="*/ 890936 h 3487140"/>
              <a:gd name="connsiteX106" fmla="*/ 3326575 w 5792512"/>
              <a:gd name="connsiteY106" fmla="*/ 918009 h 3487140"/>
              <a:gd name="connsiteX107" fmla="*/ 3198862 w 5792512"/>
              <a:gd name="connsiteY107" fmla="*/ 1002306 h 3487140"/>
              <a:gd name="connsiteX108" fmla="*/ 3097972 w 5792512"/>
              <a:gd name="connsiteY108" fmla="*/ 1299902 h 3487140"/>
              <a:gd name="connsiteX109" fmla="*/ 3159022 w 5792512"/>
              <a:gd name="connsiteY109" fmla="*/ 1545930 h 3487140"/>
              <a:gd name="connsiteX110" fmla="*/ 3371697 w 5792512"/>
              <a:gd name="connsiteY110" fmla="*/ 1536490 h 3487140"/>
              <a:gd name="connsiteX111" fmla="*/ 3551228 w 5792512"/>
              <a:gd name="connsiteY111" fmla="*/ 1376048 h 3487140"/>
              <a:gd name="connsiteX112" fmla="*/ 3554389 w 5792512"/>
              <a:gd name="connsiteY112" fmla="*/ 1231949 h 3487140"/>
              <a:gd name="connsiteX113" fmla="*/ 3336348 w 5792512"/>
              <a:gd name="connsiteY113" fmla="*/ 1191693 h 3487140"/>
              <a:gd name="connsiteX114" fmla="*/ 3344832 w 5792512"/>
              <a:gd name="connsiteY114" fmla="*/ 1255238 h 3487140"/>
              <a:gd name="connsiteX115" fmla="*/ 3769850 w 5792512"/>
              <a:gd name="connsiteY115" fmla="*/ 1241722 h 3487140"/>
              <a:gd name="connsiteX116" fmla="*/ 4254670 w 5792512"/>
              <a:gd name="connsiteY116" fmla="*/ 1259646 h 3487140"/>
              <a:gd name="connsiteX117" fmla="*/ 4484022 w 5792512"/>
              <a:gd name="connsiteY117" fmla="*/ 1236981 h 3487140"/>
              <a:gd name="connsiteX118" fmla="*/ 4465766 w 5792512"/>
              <a:gd name="connsiteY118" fmla="*/ 1185995 h 3487140"/>
              <a:gd name="connsiteX119" fmla="*/ 4105248 w 5792512"/>
              <a:gd name="connsiteY119" fmla="*/ 1177512 h 3487140"/>
              <a:gd name="connsiteX120" fmla="*/ 3734668 w 5792512"/>
              <a:gd name="connsiteY120" fmla="*/ 1331342 h 3487140"/>
              <a:gd name="connsiteX121" fmla="*/ 3388914 w 5792512"/>
              <a:gd name="connsiteY121" fmla="*/ 1604110 h 3487140"/>
              <a:gd name="connsiteX122" fmla="*/ 3156111 w 5792512"/>
              <a:gd name="connsiteY122" fmla="*/ 1921252 h 3487140"/>
              <a:gd name="connsiteX123" fmla="*/ 3060461 w 5792512"/>
              <a:gd name="connsiteY123" fmla="*/ 2419255 h 3487140"/>
              <a:gd name="connsiteX124" fmla="*/ 3290769 w 5792512"/>
              <a:gd name="connsiteY124" fmla="*/ 3048465 h 3487140"/>
              <a:gd name="connsiteX125" fmla="*/ 3868994 w 5792512"/>
              <a:gd name="connsiteY125" fmla="*/ 3394510 h 3487140"/>
              <a:gd name="connsiteX126" fmla="*/ 4507643 w 5792512"/>
              <a:gd name="connsiteY126" fmla="*/ 3330632 h 3487140"/>
              <a:gd name="connsiteX127" fmla="*/ 5002818 w 5792512"/>
              <a:gd name="connsiteY127" fmla="*/ 2841404 h 3487140"/>
              <a:gd name="connsiteX128" fmla="*/ 5036171 w 5792512"/>
              <a:gd name="connsiteY128" fmla="*/ 2052999 h 3487140"/>
              <a:gd name="connsiteX129" fmla="*/ 4605164 w 5792512"/>
              <a:gd name="connsiteY129" fmla="*/ 1482011 h 3487140"/>
              <a:gd name="connsiteX130" fmla="*/ 4138310 w 5792512"/>
              <a:gd name="connsiteY130" fmla="*/ 1352717 h 3487140"/>
              <a:gd name="connsiteX131" fmla="*/ 3977868 w 5792512"/>
              <a:gd name="connsiteY131" fmla="*/ 1466624 h 3487140"/>
              <a:gd name="connsiteX132" fmla="*/ 3999909 w 5792512"/>
              <a:gd name="connsiteY132" fmla="*/ 2001140 h 3487140"/>
              <a:gd name="connsiteX133" fmla="*/ 4033885 w 5792512"/>
              <a:gd name="connsiteY133" fmla="*/ 2313208 h 3487140"/>
              <a:gd name="connsiteX134" fmla="*/ 4125585 w 5792512"/>
              <a:gd name="connsiteY134" fmla="*/ 2399085 h 3487140"/>
              <a:gd name="connsiteX135" fmla="*/ 4230051 w 5792512"/>
              <a:gd name="connsiteY135" fmla="*/ 2362905 h 3487140"/>
              <a:gd name="connsiteX136" fmla="*/ 4194660 w 5792512"/>
              <a:gd name="connsiteY136" fmla="*/ 2271372 h 3487140"/>
              <a:gd name="connsiteX137" fmla="*/ 4097056 w 5792512"/>
              <a:gd name="connsiteY137" fmla="*/ 2303394 h 3487140"/>
              <a:gd name="connsiteX138" fmla="*/ 4080670 w 5792512"/>
              <a:gd name="connsiteY138" fmla="*/ 2437262 h 3487140"/>
              <a:gd name="connsiteX139" fmla="*/ 4079589 w 5792512"/>
              <a:gd name="connsiteY139" fmla="*/ 2519521 h 3487140"/>
              <a:gd name="connsiteX140" fmla="*/ 3900475 w 5792512"/>
              <a:gd name="connsiteY140" fmla="*/ 2539400 h 3487140"/>
              <a:gd name="connsiteX141" fmla="*/ 3490220 w 5792512"/>
              <a:gd name="connsiteY141" fmla="*/ 2545679 h 3487140"/>
              <a:gd name="connsiteX142" fmla="*/ 3249848 w 5792512"/>
              <a:gd name="connsiteY142" fmla="*/ 2602944 h 3487140"/>
              <a:gd name="connsiteX143" fmla="*/ 3240241 w 5792512"/>
              <a:gd name="connsiteY143" fmla="*/ 2790460 h 3487140"/>
              <a:gd name="connsiteX144" fmla="*/ 3433578 w 5792512"/>
              <a:gd name="connsiteY144" fmla="*/ 3133385 h 3487140"/>
              <a:gd name="connsiteX145" fmla="*/ 3925468 w 5792512"/>
              <a:gd name="connsiteY145" fmla="*/ 3465290 h 3487140"/>
              <a:gd name="connsiteX146" fmla="*/ 4666214 w 5792512"/>
              <a:gd name="connsiteY146" fmla="*/ 3390434 h 3487140"/>
              <a:gd name="connsiteX147" fmla="*/ 5106037 w 5792512"/>
              <a:gd name="connsiteY147" fmla="*/ 3017940 h 3487140"/>
              <a:gd name="connsiteX148" fmla="*/ 5420018 w 5792512"/>
              <a:gd name="connsiteY148" fmla="*/ 2655510 h 3487140"/>
              <a:gd name="connsiteX149" fmla="*/ 5792512 w 5792512"/>
              <a:gd name="connsiteY149" fmla="*/ 3163577 h 3487140"/>
              <a:gd name="connsiteX0" fmla="*/ 777215 w 5420018"/>
              <a:gd name="connsiteY0" fmla="*/ 3295741 h 3487140"/>
              <a:gd name="connsiteX1" fmla="*/ 526113 w 5420018"/>
              <a:gd name="connsiteY1" fmla="*/ 3112384 h 3487140"/>
              <a:gd name="connsiteX2" fmla="*/ 219950 w 5420018"/>
              <a:gd name="connsiteY2" fmla="*/ 2750287 h 3487140"/>
              <a:gd name="connsiteX3" fmla="*/ 128418 w 5420018"/>
              <a:gd name="connsiteY3" fmla="*/ 2305432 h 3487140"/>
              <a:gd name="connsiteX4" fmla="*/ 256006 w 5420018"/>
              <a:gd name="connsiteY4" fmla="*/ 1919713 h 3487140"/>
              <a:gd name="connsiteX5" fmla="*/ 580218 w 5420018"/>
              <a:gd name="connsiteY5" fmla="*/ 1637837 h 3487140"/>
              <a:gd name="connsiteX6" fmla="*/ 1073522 w 5420018"/>
              <a:gd name="connsiteY6" fmla="*/ 1545972 h 3487140"/>
              <a:gd name="connsiteX7" fmla="*/ 1308197 w 5420018"/>
              <a:gd name="connsiteY7" fmla="*/ 1517651 h 3487140"/>
              <a:gd name="connsiteX8" fmla="*/ 1292934 w 5420018"/>
              <a:gd name="connsiteY8" fmla="*/ 1460718 h 3487140"/>
              <a:gd name="connsiteX9" fmla="*/ 1016880 w 5420018"/>
              <a:gd name="connsiteY9" fmla="*/ 1416969 h 3487140"/>
              <a:gd name="connsiteX10" fmla="*/ 497460 w 5420018"/>
              <a:gd name="connsiteY10" fmla="*/ 1517318 h 3487140"/>
              <a:gd name="connsiteX11" fmla="*/ 88162 w 5420018"/>
              <a:gd name="connsiteY11" fmla="*/ 1960593 h 3487140"/>
              <a:gd name="connsiteX12" fmla="*/ 28692 w 5420018"/>
              <a:gd name="connsiteY12" fmla="*/ 2569342 h 3487140"/>
              <a:gd name="connsiteX13" fmla="*/ 442399 w 5420018"/>
              <a:gd name="connsiteY13" fmla="*/ 3165532 h 3487140"/>
              <a:gd name="connsiteX14" fmla="*/ 1232384 w 5420018"/>
              <a:gd name="connsiteY14" fmla="*/ 3283181 h 3487140"/>
              <a:gd name="connsiteX15" fmla="*/ 1835020 w 5420018"/>
              <a:gd name="connsiteY15" fmla="*/ 2757481 h 3487140"/>
              <a:gd name="connsiteX16" fmla="*/ 1824789 w 5420018"/>
              <a:gd name="connsiteY16" fmla="*/ 1980430 h 3487140"/>
              <a:gd name="connsiteX17" fmla="*/ 1494755 w 5420018"/>
              <a:gd name="connsiteY17" fmla="*/ 1589139 h 3487140"/>
              <a:gd name="connsiteX18" fmla="*/ 1305701 w 5420018"/>
              <a:gd name="connsiteY18" fmla="*/ 1660710 h 3487140"/>
              <a:gd name="connsiteX19" fmla="*/ 1197284 w 5420018"/>
              <a:gd name="connsiteY19" fmla="*/ 2116627 h 3487140"/>
              <a:gd name="connsiteX20" fmla="*/ 973921 w 5420018"/>
              <a:gd name="connsiteY20" fmla="*/ 2374258 h 3487140"/>
              <a:gd name="connsiteX21" fmla="*/ 918985 w 5420018"/>
              <a:gd name="connsiteY21" fmla="*/ 2276986 h 3487140"/>
              <a:gd name="connsiteX22" fmla="*/ 1298257 w 5420018"/>
              <a:gd name="connsiteY22" fmla="*/ 2021601 h 3487140"/>
              <a:gd name="connsiteX23" fmla="*/ 1558176 w 5420018"/>
              <a:gd name="connsiteY23" fmla="*/ 1234153 h 3487140"/>
              <a:gd name="connsiteX24" fmla="*/ 1788276 w 5420018"/>
              <a:gd name="connsiteY24" fmla="*/ 725296 h 3487140"/>
              <a:gd name="connsiteX25" fmla="*/ 1896859 w 5420018"/>
              <a:gd name="connsiteY25" fmla="*/ 539984 h 3487140"/>
              <a:gd name="connsiteX26" fmla="*/ 1865711 w 5420018"/>
              <a:gd name="connsiteY26" fmla="*/ 435851 h 3487140"/>
              <a:gd name="connsiteX27" fmla="*/ 1759373 w 5420018"/>
              <a:gd name="connsiteY27" fmla="*/ 350265 h 3487140"/>
              <a:gd name="connsiteX28" fmla="*/ 1714085 w 5420018"/>
              <a:gd name="connsiteY28" fmla="*/ 209327 h 3487140"/>
              <a:gd name="connsiteX29" fmla="*/ 1758915 w 5420018"/>
              <a:gd name="connsiteY29" fmla="*/ 82237 h 3487140"/>
              <a:gd name="connsiteX30" fmla="*/ 1939195 w 5420018"/>
              <a:gd name="connsiteY30" fmla="*/ 6716 h 3487140"/>
              <a:gd name="connsiteX31" fmla="*/ 2207888 w 5420018"/>
              <a:gd name="connsiteY31" fmla="*/ 10167 h 3487140"/>
              <a:gd name="connsiteX32" fmla="*/ 2291561 w 5420018"/>
              <a:gd name="connsiteY32" fmla="*/ 49800 h 3487140"/>
              <a:gd name="connsiteX33" fmla="*/ 2244526 w 5420018"/>
              <a:gd name="connsiteY33" fmla="*/ 86812 h 3487140"/>
              <a:gd name="connsiteX34" fmla="*/ 2008603 w 5420018"/>
              <a:gd name="connsiteY34" fmla="*/ 91886 h 3487140"/>
              <a:gd name="connsiteX35" fmla="*/ 1765070 w 5420018"/>
              <a:gd name="connsiteY35" fmla="*/ 75833 h 3487140"/>
              <a:gd name="connsiteX36" fmla="*/ 1657319 w 5420018"/>
              <a:gd name="connsiteY36" fmla="*/ 176931 h 3487140"/>
              <a:gd name="connsiteX37" fmla="*/ 1672581 w 5420018"/>
              <a:gd name="connsiteY37" fmla="*/ 370393 h 3487140"/>
              <a:gd name="connsiteX38" fmla="*/ 1617354 w 5420018"/>
              <a:gd name="connsiteY38" fmla="*/ 589348 h 3487140"/>
              <a:gd name="connsiteX39" fmla="*/ 1460820 w 5420018"/>
              <a:gd name="connsiteY39" fmla="*/ 903953 h 3487140"/>
              <a:gd name="connsiteX40" fmla="*/ 1250349 w 5420018"/>
              <a:gd name="connsiteY40" fmla="*/ 922501 h 3487140"/>
              <a:gd name="connsiteX41" fmla="*/ 1055930 w 5420018"/>
              <a:gd name="connsiteY41" fmla="*/ 866816 h 3487140"/>
              <a:gd name="connsiteX42" fmla="*/ 997085 w 5420018"/>
              <a:gd name="connsiteY42" fmla="*/ 751038 h 3487140"/>
              <a:gd name="connsiteX43" fmla="*/ 1009021 w 5420018"/>
              <a:gd name="connsiteY43" fmla="*/ 369436 h 3487140"/>
              <a:gd name="connsiteX44" fmla="*/ 1070694 w 5420018"/>
              <a:gd name="connsiteY44" fmla="*/ 155805 h 3487140"/>
              <a:gd name="connsiteX45" fmla="*/ 1272058 w 5420018"/>
              <a:gd name="connsiteY45" fmla="*/ 156761 h 3487140"/>
              <a:gd name="connsiteX46" fmla="*/ 1524989 w 5420018"/>
              <a:gd name="connsiteY46" fmla="*/ 245175 h 3487140"/>
              <a:gd name="connsiteX47" fmla="*/ 1694081 w 5420018"/>
              <a:gd name="connsiteY47" fmla="*/ 357792 h 3487140"/>
              <a:gd name="connsiteX48" fmla="*/ 1798672 w 5420018"/>
              <a:gd name="connsiteY48" fmla="*/ 483301 h 3487140"/>
              <a:gd name="connsiteX49" fmla="*/ 1822876 w 5420018"/>
              <a:gd name="connsiteY49" fmla="*/ 600951 h 3487140"/>
              <a:gd name="connsiteX50" fmla="*/ 1795345 w 5420018"/>
              <a:gd name="connsiteY50" fmla="*/ 761726 h 3487140"/>
              <a:gd name="connsiteX51" fmla="*/ 1967266 w 5420018"/>
              <a:gd name="connsiteY51" fmla="*/ 1160004 h 3487140"/>
              <a:gd name="connsiteX52" fmla="*/ 2390246 w 5420018"/>
              <a:gd name="connsiteY52" fmla="*/ 1793622 h 3487140"/>
              <a:gd name="connsiteX53" fmla="*/ 2807737 w 5420018"/>
              <a:gd name="connsiteY53" fmla="*/ 2087475 h 3487140"/>
              <a:gd name="connsiteX54" fmla="*/ 2917360 w 5420018"/>
              <a:gd name="connsiteY54" fmla="*/ 2185620 h 3487140"/>
              <a:gd name="connsiteX55" fmla="*/ 2804411 w 5420018"/>
              <a:gd name="connsiteY55" fmla="*/ 2468120 h 3487140"/>
              <a:gd name="connsiteX56" fmla="*/ 2638312 w 5420018"/>
              <a:gd name="connsiteY56" fmla="*/ 2505548 h 3487140"/>
              <a:gd name="connsiteX57" fmla="*/ 2329862 w 5420018"/>
              <a:gd name="connsiteY57" fmla="*/ 2278109 h 3487140"/>
              <a:gd name="connsiteX58" fmla="*/ 1885173 w 5420018"/>
              <a:gd name="connsiteY58" fmla="*/ 1678800 h 3487140"/>
              <a:gd name="connsiteX59" fmla="*/ 1765320 w 5420018"/>
              <a:gd name="connsiteY59" fmla="*/ 1175432 h 3487140"/>
              <a:gd name="connsiteX60" fmla="*/ 1919774 w 5420018"/>
              <a:gd name="connsiteY60" fmla="*/ 1377420 h 3487140"/>
              <a:gd name="connsiteX61" fmla="*/ 2281414 w 5420018"/>
              <a:gd name="connsiteY61" fmla="*/ 2268710 h 3487140"/>
              <a:gd name="connsiteX62" fmla="*/ 2601216 w 5420018"/>
              <a:gd name="connsiteY62" fmla="*/ 2693105 h 3487140"/>
              <a:gd name="connsiteX63" fmla="*/ 2834644 w 5420018"/>
              <a:gd name="connsiteY63" fmla="*/ 2746586 h 3487140"/>
              <a:gd name="connsiteX64" fmla="*/ 3001865 w 5420018"/>
              <a:gd name="connsiteY64" fmla="*/ 2631432 h 3487140"/>
              <a:gd name="connsiteX65" fmla="*/ 3013052 w 5420018"/>
              <a:gd name="connsiteY65" fmla="*/ 2436680 h 3487140"/>
              <a:gd name="connsiteX66" fmla="*/ 2859222 w 5420018"/>
              <a:gd name="connsiteY66" fmla="*/ 2309258 h 3487140"/>
              <a:gd name="connsiteX67" fmla="*/ 2652036 w 5420018"/>
              <a:gd name="connsiteY67" fmla="*/ 2375007 h 3487140"/>
              <a:gd name="connsiteX68" fmla="*/ 2629537 w 5420018"/>
              <a:gd name="connsiteY68" fmla="*/ 2581402 h 3487140"/>
              <a:gd name="connsiteX69" fmla="*/ 2772222 w 5420018"/>
              <a:gd name="connsiteY69" fmla="*/ 2671064 h 3487140"/>
              <a:gd name="connsiteX70" fmla="*/ 2868787 w 5420018"/>
              <a:gd name="connsiteY70" fmla="*/ 2596831 h 3487140"/>
              <a:gd name="connsiteX71" fmla="*/ 2835601 w 5420018"/>
              <a:gd name="connsiteY71" fmla="*/ 2530750 h 3487140"/>
              <a:gd name="connsiteX72" fmla="*/ 2713543 w 5420018"/>
              <a:gd name="connsiteY72" fmla="*/ 2615379 h 3487140"/>
              <a:gd name="connsiteX73" fmla="*/ 2567864 w 5420018"/>
              <a:gd name="connsiteY73" fmla="*/ 2907028 h 3487140"/>
              <a:gd name="connsiteX74" fmla="*/ 2520039 w 5420018"/>
              <a:gd name="connsiteY74" fmla="*/ 3008333 h 3487140"/>
              <a:gd name="connsiteX75" fmla="*/ 2484191 w 5420018"/>
              <a:gd name="connsiteY75" fmla="*/ 3024053 h 3487140"/>
              <a:gd name="connsiteX76" fmla="*/ 2389165 w 5420018"/>
              <a:gd name="connsiteY76" fmla="*/ 3013989 h 3487140"/>
              <a:gd name="connsiteX77" fmla="*/ 2396068 w 5420018"/>
              <a:gd name="connsiteY77" fmla="*/ 2956724 h 3487140"/>
              <a:gd name="connsiteX78" fmla="*/ 2584831 w 5420018"/>
              <a:gd name="connsiteY78" fmla="*/ 2951068 h 3487140"/>
              <a:gd name="connsiteX79" fmla="*/ 2671041 w 5420018"/>
              <a:gd name="connsiteY79" fmla="*/ 2951068 h 3487140"/>
              <a:gd name="connsiteX80" fmla="*/ 2752219 w 5420018"/>
              <a:gd name="connsiteY80" fmla="*/ 2822066 h 3487140"/>
              <a:gd name="connsiteX81" fmla="*/ 2892533 w 5420018"/>
              <a:gd name="connsiteY81" fmla="*/ 2789337 h 3487140"/>
              <a:gd name="connsiteX82" fmla="*/ 3020246 w 5420018"/>
              <a:gd name="connsiteY82" fmla="*/ 2713815 h 3487140"/>
              <a:gd name="connsiteX83" fmla="*/ 3106456 w 5420018"/>
              <a:gd name="connsiteY83" fmla="*/ 2544556 h 3487140"/>
              <a:gd name="connsiteX84" fmla="*/ 3326035 w 5420018"/>
              <a:gd name="connsiteY84" fmla="*/ 2482883 h 3487140"/>
              <a:gd name="connsiteX85" fmla="*/ 3861009 w 5420018"/>
              <a:gd name="connsiteY85" fmla="*/ 2466831 h 3487140"/>
              <a:gd name="connsiteX86" fmla="*/ 4016751 w 5420018"/>
              <a:gd name="connsiteY86" fmla="*/ 2420918 h 3487140"/>
              <a:gd name="connsiteX87" fmla="*/ 3866664 w 5420018"/>
              <a:gd name="connsiteY87" fmla="*/ 2252907 h 3487140"/>
              <a:gd name="connsiteX88" fmla="*/ 3391285 w 5420018"/>
              <a:gd name="connsiteY88" fmla="*/ 1791709 h 3487140"/>
              <a:gd name="connsiteX89" fmla="*/ 3127166 w 5420018"/>
              <a:gd name="connsiteY89" fmla="*/ 1600118 h 3487140"/>
              <a:gd name="connsiteX90" fmla="*/ 3003196 w 5420018"/>
              <a:gd name="connsiteY90" fmla="*/ 1733529 h 3487140"/>
              <a:gd name="connsiteX91" fmla="*/ 2940898 w 5420018"/>
              <a:gd name="connsiteY91" fmla="*/ 1995900 h 3487140"/>
              <a:gd name="connsiteX92" fmla="*/ 2981778 w 5420018"/>
              <a:gd name="connsiteY92" fmla="*/ 2048133 h 3487140"/>
              <a:gd name="connsiteX93" fmla="*/ 3044699 w 5420018"/>
              <a:gd name="connsiteY93" fmla="*/ 1778817 h 3487140"/>
              <a:gd name="connsiteX94" fmla="*/ 3166466 w 5420018"/>
              <a:gd name="connsiteY94" fmla="*/ 1356918 h 3487140"/>
              <a:gd name="connsiteX95" fmla="*/ 3272803 w 5420018"/>
              <a:gd name="connsiteY95" fmla="*/ 986960 h 3487140"/>
              <a:gd name="connsiteX96" fmla="*/ 3243526 w 5420018"/>
              <a:gd name="connsiteY96" fmla="*/ 867107 h 3487140"/>
              <a:gd name="connsiteX97" fmla="*/ 3068612 w 5420018"/>
              <a:gd name="connsiteY97" fmla="*/ 840034 h 3487140"/>
              <a:gd name="connsiteX98" fmla="*/ 2924513 w 5420018"/>
              <a:gd name="connsiteY98" fmla="*/ 782769 h 3487140"/>
              <a:gd name="connsiteX99" fmla="*/ 2940857 w 5420018"/>
              <a:gd name="connsiteY99" fmla="*/ 714816 h 3487140"/>
              <a:gd name="connsiteX100" fmla="*/ 3114524 w 5420018"/>
              <a:gd name="connsiteY100" fmla="*/ 723008 h 3487140"/>
              <a:gd name="connsiteX101" fmla="*/ 3317135 w 5420018"/>
              <a:gd name="connsiteY101" fmla="*/ 729288 h 3487140"/>
              <a:gd name="connsiteX102" fmla="*/ 3483857 w 5420018"/>
              <a:gd name="connsiteY102" fmla="*/ 682087 h 3487140"/>
              <a:gd name="connsiteX103" fmla="*/ 3601506 w 5420018"/>
              <a:gd name="connsiteY103" fmla="*/ 703463 h 3487140"/>
              <a:gd name="connsiteX104" fmla="*/ 3624171 w 5420018"/>
              <a:gd name="connsiteY104" fmla="*/ 797199 h 3487140"/>
              <a:gd name="connsiteX105" fmla="*/ 3496458 w 5420018"/>
              <a:gd name="connsiteY105" fmla="*/ 890936 h 3487140"/>
              <a:gd name="connsiteX106" fmla="*/ 3326575 w 5420018"/>
              <a:gd name="connsiteY106" fmla="*/ 918009 h 3487140"/>
              <a:gd name="connsiteX107" fmla="*/ 3198862 w 5420018"/>
              <a:gd name="connsiteY107" fmla="*/ 1002306 h 3487140"/>
              <a:gd name="connsiteX108" fmla="*/ 3097972 w 5420018"/>
              <a:gd name="connsiteY108" fmla="*/ 1299902 h 3487140"/>
              <a:gd name="connsiteX109" fmla="*/ 3159022 w 5420018"/>
              <a:gd name="connsiteY109" fmla="*/ 1545930 h 3487140"/>
              <a:gd name="connsiteX110" fmla="*/ 3371697 w 5420018"/>
              <a:gd name="connsiteY110" fmla="*/ 1536490 h 3487140"/>
              <a:gd name="connsiteX111" fmla="*/ 3551228 w 5420018"/>
              <a:gd name="connsiteY111" fmla="*/ 1376048 h 3487140"/>
              <a:gd name="connsiteX112" fmla="*/ 3554389 w 5420018"/>
              <a:gd name="connsiteY112" fmla="*/ 1231949 h 3487140"/>
              <a:gd name="connsiteX113" fmla="*/ 3336348 w 5420018"/>
              <a:gd name="connsiteY113" fmla="*/ 1191693 h 3487140"/>
              <a:gd name="connsiteX114" fmla="*/ 3344832 w 5420018"/>
              <a:gd name="connsiteY114" fmla="*/ 1255238 h 3487140"/>
              <a:gd name="connsiteX115" fmla="*/ 3769850 w 5420018"/>
              <a:gd name="connsiteY115" fmla="*/ 1241722 h 3487140"/>
              <a:gd name="connsiteX116" fmla="*/ 4254670 w 5420018"/>
              <a:gd name="connsiteY116" fmla="*/ 1259646 h 3487140"/>
              <a:gd name="connsiteX117" fmla="*/ 4484022 w 5420018"/>
              <a:gd name="connsiteY117" fmla="*/ 1236981 h 3487140"/>
              <a:gd name="connsiteX118" fmla="*/ 4465766 w 5420018"/>
              <a:gd name="connsiteY118" fmla="*/ 1185995 h 3487140"/>
              <a:gd name="connsiteX119" fmla="*/ 4105248 w 5420018"/>
              <a:gd name="connsiteY119" fmla="*/ 1177512 h 3487140"/>
              <a:gd name="connsiteX120" fmla="*/ 3734668 w 5420018"/>
              <a:gd name="connsiteY120" fmla="*/ 1331342 h 3487140"/>
              <a:gd name="connsiteX121" fmla="*/ 3388914 w 5420018"/>
              <a:gd name="connsiteY121" fmla="*/ 1604110 h 3487140"/>
              <a:gd name="connsiteX122" fmla="*/ 3156111 w 5420018"/>
              <a:gd name="connsiteY122" fmla="*/ 1921252 h 3487140"/>
              <a:gd name="connsiteX123" fmla="*/ 3060461 w 5420018"/>
              <a:gd name="connsiteY123" fmla="*/ 2419255 h 3487140"/>
              <a:gd name="connsiteX124" fmla="*/ 3290769 w 5420018"/>
              <a:gd name="connsiteY124" fmla="*/ 3048465 h 3487140"/>
              <a:gd name="connsiteX125" fmla="*/ 3868994 w 5420018"/>
              <a:gd name="connsiteY125" fmla="*/ 3394510 h 3487140"/>
              <a:gd name="connsiteX126" fmla="*/ 4507643 w 5420018"/>
              <a:gd name="connsiteY126" fmla="*/ 3330632 h 3487140"/>
              <a:gd name="connsiteX127" fmla="*/ 5002818 w 5420018"/>
              <a:gd name="connsiteY127" fmla="*/ 2841404 h 3487140"/>
              <a:gd name="connsiteX128" fmla="*/ 5036171 w 5420018"/>
              <a:gd name="connsiteY128" fmla="*/ 2052999 h 3487140"/>
              <a:gd name="connsiteX129" fmla="*/ 4605164 w 5420018"/>
              <a:gd name="connsiteY129" fmla="*/ 1482011 h 3487140"/>
              <a:gd name="connsiteX130" fmla="*/ 4138310 w 5420018"/>
              <a:gd name="connsiteY130" fmla="*/ 1352717 h 3487140"/>
              <a:gd name="connsiteX131" fmla="*/ 3977868 w 5420018"/>
              <a:gd name="connsiteY131" fmla="*/ 1466624 h 3487140"/>
              <a:gd name="connsiteX132" fmla="*/ 3999909 w 5420018"/>
              <a:gd name="connsiteY132" fmla="*/ 2001140 h 3487140"/>
              <a:gd name="connsiteX133" fmla="*/ 4033885 w 5420018"/>
              <a:gd name="connsiteY133" fmla="*/ 2313208 h 3487140"/>
              <a:gd name="connsiteX134" fmla="*/ 4125585 w 5420018"/>
              <a:gd name="connsiteY134" fmla="*/ 2399085 h 3487140"/>
              <a:gd name="connsiteX135" fmla="*/ 4230051 w 5420018"/>
              <a:gd name="connsiteY135" fmla="*/ 2362905 h 3487140"/>
              <a:gd name="connsiteX136" fmla="*/ 4194660 w 5420018"/>
              <a:gd name="connsiteY136" fmla="*/ 2271372 h 3487140"/>
              <a:gd name="connsiteX137" fmla="*/ 4097056 w 5420018"/>
              <a:gd name="connsiteY137" fmla="*/ 2303394 h 3487140"/>
              <a:gd name="connsiteX138" fmla="*/ 4080670 w 5420018"/>
              <a:gd name="connsiteY138" fmla="*/ 2437262 h 3487140"/>
              <a:gd name="connsiteX139" fmla="*/ 4079589 w 5420018"/>
              <a:gd name="connsiteY139" fmla="*/ 2519521 h 3487140"/>
              <a:gd name="connsiteX140" fmla="*/ 3900475 w 5420018"/>
              <a:gd name="connsiteY140" fmla="*/ 2539400 h 3487140"/>
              <a:gd name="connsiteX141" fmla="*/ 3490220 w 5420018"/>
              <a:gd name="connsiteY141" fmla="*/ 2545679 h 3487140"/>
              <a:gd name="connsiteX142" fmla="*/ 3249848 w 5420018"/>
              <a:gd name="connsiteY142" fmla="*/ 2602944 h 3487140"/>
              <a:gd name="connsiteX143" fmla="*/ 3240241 w 5420018"/>
              <a:gd name="connsiteY143" fmla="*/ 2790460 h 3487140"/>
              <a:gd name="connsiteX144" fmla="*/ 3433578 w 5420018"/>
              <a:gd name="connsiteY144" fmla="*/ 3133385 h 3487140"/>
              <a:gd name="connsiteX145" fmla="*/ 3925468 w 5420018"/>
              <a:gd name="connsiteY145" fmla="*/ 3465290 h 3487140"/>
              <a:gd name="connsiteX146" fmla="*/ 4666214 w 5420018"/>
              <a:gd name="connsiteY146" fmla="*/ 3390434 h 3487140"/>
              <a:gd name="connsiteX147" fmla="*/ 5106037 w 5420018"/>
              <a:gd name="connsiteY147" fmla="*/ 3017940 h 3487140"/>
              <a:gd name="connsiteX148" fmla="*/ 5420018 w 5420018"/>
              <a:gd name="connsiteY148" fmla="*/ 2655510 h 3487140"/>
              <a:gd name="connsiteX0" fmla="*/ 777215 w 5106037"/>
              <a:gd name="connsiteY0" fmla="*/ 3295741 h 3487140"/>
              <a:gd name="connsiteX1" fmla="*/ 526113 w 5106037"/>
              <a:gd name="connsiteY1" fmla="*/ 3112384 h 3487140"/>
              <a:gd name="connsiteX2" fmla="*/ 219950 w 5106037"/>
              <a:gd name="connsiteY2" fmla="*/ 2750287 h 3487140"/>
              <a:gd name="connsiteX3" fmla="*/ 128418 w 5106037"/>
              <a:gd name="connsiteY3" fmla="*/ 2305432 h 3487140"/>
              <a:gd name="connsiteX4" fmla="*/ 256006 w 5106037"/>
              <a:gd name="connsiteY4" fmla="*/ 1919713 h 3487140"/>
              <a:gd name="connsiteX5" fmla="*/ 580218 w 5106037"/>
              <a:gd name="connsiteY5" fmla="*/ 1637837 h 3487140"/>
              <a:gd name="connsiteX6" fmla="*/ 1073522 w 5106037"/>
              <a:gd name="connsiteY6" fmla="*/ 1545972 h 3487140"/>
              <a:gd name="connsiteX7" fmla="*/ 1308197 w 5106037"/>
              <a:gd name="connsiteY7" fmla="*/ 1517651 h 3487140"/>
              <a:gd name="connsiteX8" fmla="*/ 1292934 w 5106037"/>
              <a:gd name="connsiteY8" fmla="*/ 1460718 h 3487140"/>
              <a:gd name="connsiteX9" fmla="*/ 1016880 w 5106037"/>
              <a:gd name="connsiteY9" fmla="*/ 1416969 h 3487140"/>
              <a:gd name="connsiteX10" fmla="*/ 497460 w 5106037"/>
              <a:gd name="connsiteY10" fmla="*/ 1517318 h 3487140"/>
              <a:gd name="connsiteX11" fmla="*/ 88162 w 5106037"/>
              <a:gd name="connsiteY11" fmla="*/ 1960593 h 3487140"/>
              <a:gd name="connsiteX12" fmla="*/ 28692 w 5106037"/>
              <a:gd name="connsiteY12" fmla="*/ 2569342 h 3487140"/>
              <a:gd name="connsiteX13" fmla="*/ 442399 w 5106037"/>
              <a:gd name="connsiteY13" fmla="*/ 3165532 h 3487140"/>
              <a:gd name="connsiteX14" fmla="*/ 1232384 w 5106037"/>
              <a:gd name="connsiteY14" fmla="*/ 3283181 h 3487140"/>
              <a:gd name="connsiteX15" fmla="*/ 1835020 w 5106037"/>
              <a:gd name="connsiteY15" fmla="*/ 2757481 h 3487140"/>
              <a:gd name="connsiteX16" fmla="*/ 1824789 w 5106037"/>
              <a:gd name="connsiteY16" fmla="*/ 1980430 h 3487140"/>
              <a:gd name="connsiteX17" fmla="*/ 1494755 w 5106037"/>
              <a:gd name="connsiteY17" fmla="*/ 1589139 h 3487140"/>
              <a:gd name="connsiteX18" fmla="*/ 1305701 w 5106037"/>
              <a:gd name="connsiteY18" fmla="*/ 1660710 h 3487140"/>
              <a:gd name="connsiteX19" fmla="*/ 1197284 w 5106037"/>
              <a:gd name="connsiteY19" fmla="*/ 2116627 h 3487140"/>
              <a:gd name="connsiteX20" fmla="*/ 973921 w 5106037"/>
              <a:gd name="connsiteY20" fmla="*/ 2374258 h 3487140"/>
              <a:gd name="connsiteX21" fmla="*/ 918985 w 5106037"/>
              <a:gd name="connsiteY21" fmla="*/ 2276986 h 3487140"/>
              <a:gd name="connsiteX22" fmla="*/ 1298257 w 5106037"/>
              <a:gd name="connsiteY22" fmla="*/ 2021601 h 3487140"/>
              <a:gd name="connsiteX23" fmla="*/ 1558176 w 5106037"/>
              <a:gd name="connsiteY23" fmla="*/ 1234153 h 3487140"/>
              <a:gd name="connsiteX24" fmla="*/ 1788276 w 5106037"/>
              <a:gd name="connsiteY24" fmla="*/ 725296 h 3487140"/>
              <a:gd name="connsiteX25" fmla="*/ 1896859 w 5106037"/>
              <a:gd name="connsiteY25" fmla="*/ 539984 h 3487140"/>
              <a:gd name="connsiteX26" fmla="*/ 1865711 w 5106037"/>
              <a:gd name="connsiteY26" fmla="*/ 435851 h 3487140"/>
              <a:gd name="connsiteX27" fmla="*/ 1759373 w 5106037"/>
              <a:gd name="connsiteY27" fmla="*/ 350265 h 3487140"/>
              <a:gd name="connsiteX28" fmla="*/ 1714085 w 5106037"/>
              <a:gd name="connsiteY28" fmla="*/ 209327 h 3487140"/>
              <a:gd name="connsiteX29" fmla="*/ 1758915 w 5106037"/>
              <a:gd name="connsiteY29" fmla="*/ 82237 h 3487140"/>
              <a:gd name="connsiteX30" fmla="*/ 1939195 w 5106037"/>
              <a:gd name="connsiteY30" fmla="*/ 6716 h 3487140"/>
              <a:gd name="connsiteX31" fmla="*/ 2207888 w 5106037"/>
              <a:gd name="connsiteY31" fmla="*/ 10167 h 3487140"/>
              <a:gd name="connsiteX32" fmla="*/ 2291561 w 5106037"/>
              <a:gd name="connsiteY32" fmla="*/ 49800 h 3487140"/>
              <a:gd name="connsiteX33" fmla="*/ 2244526 w 5106037"/>
              <a:gd name="connsiteY33" fmla="*/ 86812 h 3487140"/>
              <a:gd name="connsiteX34" fmla="*/ 2008603 w 5106037"/>
              <a:gd name="connsiteY34" fmla="*/ 91886 h 3487140"/>
              <a:gd name="connsiteX35" fmla="*/ 1765070 w 5106037"/>
              <a:gd name="connsiteY35" fmla="*/ 75833 h 3487140"/>
              <a:gd name="connsiteX36" fmla="*/ 1657319 w 5106037"/>
              <a:gd name="connsiteY36" fmla="*/ 176931 h 3487140"/>
              <a:gd name="connsiteX37" fmla="*/ 1672581 w 5106037"/>
              <a:gd name="connsiteY37" fmla="*/ 370393 h 3487140"/>
              <a:gd name="connsiteX38" fmla="*/ 1617354 w 5106037"/>
              <a:gd name="connsiteY38" fmla="*/ 589348 h 3487140"/>
              <a:gd name="connsiteX39" fmla="*/ 1460820 w 5106037"/>
              <a:gd name="connsiteY39" fmla="*/ 903953 h 3487140"/>
              <a:gd name="connsiteX40" fmla="*/ 1250349 w 5106037"/>
              <a:gd name="connsiteY40" fmla="*/ 922501 h 3487140"/>
              <a:gd name="connsiteX41" fmla="*/ 1055930 w 5106037"/>
              <a:gd name="connsiteY41" fmla="*/ 866816 h 3487140"/>
              <a:gd name="connsiteX42" fmla="*/ 997085 w 5106037"/>
              <a:gd name="connsiteY42" fmla="*/ 751038 h 3487140"/>
              <a:gd name="connsiteX43" fmla="*/ 1009021 w 5106037"/>
              <a:gd name="connsiteY43" fmla="*/ 369436 h 3487140"/>
              <a:gd name="connsiteX44" fmla="*/ 1070694 w 5106037"/>
              <a:gd name="connsiteY44" fmla="*/ 155805 h 3487140"/>
              <a:gd name="connsiteX45" fmla="*/ 1272058 w 5106037"/>
              <a:gd name="connsiteY45" fmla="*/ 156761 h 3487140"/>
              <a:gd name="connsiteX46" fmla="*/ 1524989 w 5106037"/>
              <a:gd name="connsiteY46" fmla="*/ 245175 h 3487140"/>
              <a:gd name="connsiteX47" fmla="*/ 1694081 w 5106037"/>
              <a:gd name="connsiteY47" fmla="*/ 357792 h 3487140"/>
              <a:gd name="connsiteX48" fmla="*/ 1798672 w 5106037"/>
              <a:gd name="connsiteY48" fmla="*/ 483301 h 3487140"/>
              <a:gd name="connsiteX49" fmla="*/ 1822876 w 5106037"/>
              <a:gd name="connsiteY49" fmla="*/ 600951 h 3487140"/>
              <a:gd name="connsiteX50" fmla="*/ 1795345 w 5106037"/>
              <a:gd name="connsiteY50" fmla="*/ 761726 h 3487140"/>
              <a:gd name="connsiteX51" fmla="*/ 1967266 w 5106037"/>
              <a:gd name="connsiteY51" fmla="*/ 1160004 h 3487140"/>
              <a:gd name="connsiteX52" fmla="*/ 2390246 w 5106037"/>
              <a:gd name="connsiteY52" fmla="*/ 1793622 h 3487140"/>
              <a:gd name="connsiteX53" fmla="*/ 2807737 w 5106037"/>
              <a:gd name="connsiteY53" fmla="*/ 2087475 h 3487140"/>
              <a:gd name="connsiteX54" fmla="*/ 2917360 w 5106037"/>
              <a:gd name="connsiteY54" fmla="*/ 2185620 h 3487140"/>
              <a:gd name="connsiteX55" fmla="*/ 2804411 w 5106037"/>
              <a:gd name="connsiteY55" fmla="*/ 2468120 h 3487140"/>
              <a:gd name="connsiteX56" fmla="*/ 2638312 w 5106037"/>
              <a:gd name="connsiteY56" fmla="*/ 2505548 h 3487140"/>
              <a:gd name="connsiteX57" fmla="*/ 2329862 w 5106037"/>
              <a:gd name="connsiteY57" fmla="*/ 2278109 h 3487140"/>
              <a:gd name="connsiteX58" fmla="*/ 1885173 w 5106037"/>
              <a:gd name="connsiteY58" fmla="*/ 1678800 h 3487140"/>
              <a:gd name="connsiteX59" fmla="*/ 1765320 w 5106037"/>
              <a:gd name="connsiteY59" fmla="*/ 1175432 h 3487140"/>
              <a:gd name="connsiteX60" fmla="*/ 1919774 w 5106037"/>
              <a:gd name="connsiteY60" fmla="*/ 1377420 h 3487140"/>
              <a:gd name="connsiteX61" fmla="*/ 2281414 w 5106037"/>
              <a:gd name="connsiteY61" fmla="*/ 2268710 h 3487140"/>
              <a:gd name="connsiteX62" fmla="*/ 2601216 w 5106037"/>
              <a:gd name="connsiteY62" fmla="*/ 2693105 h 3487140"/>
              <a:gd name="connsiteX63" fmla="*/ 2834644 w 5106037"/>
              <a:gd name="connsiteY63" fmla="*/ 2746586 h 3487140"/>
              <a:gd name="connsiteX64" fmla="*/ 3001865 w 5106037"/>
              <a:gd name="connsiteY64" fmla="*/ 2631432 h 3487140"/>
              <a:gd name="connsiteX65" fmla="*/ 3013052 w 5106037"/>
              <a:gd name="connsiteY65" fmla="*/ 2436680 h 3487140"/>
              <a:gd name="connsiteX66" fmla="*/ 2859222 w 5106037"/>
              <a:gd name="connsiteY66" fmla="*/ 2309258 h 3487140"/>
              <a:gd name="connsiteX67" fmla="*/ 2652036 w 5106037"/>
              <a:gd name="connsiteY67" fmla="*/ 2375007 h 3487140"/>
              <a:gd name="connsiteX68" fmla="*/ 2629537 w 5106037"/>
              <a:gd name="connsiteY68" fmla="*/ 2581402 h 3487140"/>
              <a:gd name="connsiteX69" fmla="*/ 2772222 w 5106037"/>
              <a:gd name="connsiteY69" fmla="*/ 2671064 h 3487140"/>
              <a:gd name="connsiteX70" fmla="*/ 2868787 w 5106037"/>
              <a:gd name="connsiteY70" fmla="*/ 2596831 h 3487140"/>
              <a:gd name="connsiteX71" fmla="*/ 2835601 w 5106037"/>
              <a:gd name="connsiteY71" fmla="*/ 2530750 h 3487140"/>
              <a:gd name="connsiteX72" fmla="*/ 2713543 w 5106037"/>
              <a:gd name="connsiteY72" fmla="*/ 2615379 h 3487140"/>
              <a:gd name="connsiteX73" fmla="*/ 2567864 w 5106037"/>
              <a:gd name="connsiteY73" fmla="*/ 2907028 h 3487140"/>
              <a:gd name="connsiteX74" fmla="*/ 2520039 w 5106037"/>
              <a:gd name="connsiteY74" fmla="*/ 3008333 h 3487140"/>
              <a:gd name="connsiteX75" fmla="*/ 2484191 w 5106037"/>
              <a:gd name="connsiteY75" fmla="*/ 3024053 h 3487140"/>
              <a:gd name="connsiteX76" fmla="*/ 2389165 w 5106037"/>
              <a:gd name="connsiteY76" fmla="*/ 3013989 h 3487140"/>
              <a:gd name="connsiteX77" fmla="*/ 2396068 w 5106037"/>
              <a:gd name="connsiteY77" fmla="*/ 2956724 h 3487140"/>
              <a:gd name="connsiteX78" fmla="*/ 2584831 w 5106037"/>
              <a:gd name="connsiteY78" fmla="*/ 2951068 h 3487140"/>
              <a:gd name="connsiteX79" fmla="*/ 2671041 w 5106037"/>
              <a:gd name="connsiteY79" fmla="*/ 2951068 h 3487140"/>
              <a:gd name="connsiteX80" fmla="*/ 2752219 w 5106037"/>
              <a:gd name="connsiteY80" fmla="*/ 2822066 h 3487140"/>
              <a:gd name="connsiteX81" fmla="*/ 2892533 w 5106037"/>
              <a:gd name="connsiteY81" fmla="*/ 2789337 h 3487140"/>
              <a:gd name="connsiteX82" fmla="*/ 3020246 w 5106037"/>
              <a:gd name="connsiteY82" fmla="*/ 2713815 h 3487140"/>
              <a:gd name="connsiteX83" fmla="*/ 3106456 w 5106037"/>
              <a:gd name="connsiteY83" fmla="*/ 2544556 h 3487140"/>
              <a:gd name="connsiteX84" fmla="*/ 3326035 w 5106037"/>
              <a:gd name="connsiteY84" fmla="*/ 2482883 h 3487140"/>
              <a:gd name="connsiteX85" fmla="*/ 3861009 w 5106037"/>
              <a:gd name="connsiteY85" fmla="*/ 2466831 h 3487140"/>
              <a:gd name="connsiteX86" fmla="*/ 4016751 w 5106037"/>
              <a:gd name="connsiteY86" fmla="*/ 2420918 h 3487140"/>
              <a:gd name="connsiteX87" fmla="*/ 3866664 w 5106037"/>
              <a:gd name="connsiteY87" fmla="*/ 2252907 h 3487140"/>
              <a:gd name="connsiteX88" fmla="*/ 3391285 w 5106037"/>
              <a:gd name="connsiteY88" fmla="*/ 1791709 h 3487140"/>
              <a:gd name="connsiteX89" fmla="*/ 3127166 w 5106037"/>
              <a:gd name="connsiteY89" fmla="*/ 1600118 h 3487140"/>
              <a:gd name="connsiteX90" fmla="*/ 3003196 w 5106037"/>
              <a:gd name="connsiteY90" fmla="*/ 1733529 h 3487140"/>
              <a:gd name="connsiteX91" fmla="*/ 2940898 w 5106037"/>
              <a:gd name="connsiteY91" fmla="*/ 1995900 h 3487140"/>
              <a:gd name="connsiteX92" fmla="*/ 2981778 w 5106037"/>
              <a:gd name="connsiteY92" fmla="*/ 2048133 h 3487140"/>
              <a:gd name="connsiteX93" fmla="*/ 3044699 w 5106037"/>
              <a:gd name="connsiteY93" fmla="*/ 1778817 h 3487140"/>
              <a:gd name="connsiteX94" fmla="*/ 3166466 w 5106037"/>
              <a:gd name="connsiteY94" fmla="*/ 1356918 h 3487140"/>
              <a:gd name="connsiteX95" fmla="*/ 3272803 w 5106037"/>
              <a:gd name="connsiteY95" fmla="*/ 986960 h 3487140"/>
              <a:gd name="connsiteX96" fmla="*/ 3243526 w 5106037"/>
              <a:gd name="connsiteY96" fmla="*/ 867107 h 3487140"/>
              <a:gd name="connsiteX97" fmla="*/ 3068612 w 5106037"/>
              <a:gd name="connsiteY97" fmla="*/ 840034 h 3487140"/>
              <a:gd name="connsiteX98" fmla="*/ 2924513 w 5106037"/>
              <a:gd name="connsiteY98" fmla="*/ 782769 h 3487140"/>
              <a:gd name="connsiteX99" fmla="*/ 2940857 w 5106037"/>
              <a:gd name="connsiteY99" fmla="*/ 714816 h 3487140"/>
              <a:gd name="connsiteX100" fmla="*/ 3114524 w 5106037"/>
              <a:gd name="connsiteY100" fmla="*/ 723008 h 3487140"/>
              <a:gd name="connsiteX101" fmla="*/ 3317135 w 5106037"/>
              <a:gd name="connsiteY101" fmla="*/ 729288 h 3487140"/>
              <a:gd name="connsiteX102" fmla="*/ 3483857 w 5106037"/>
              <a:gd name="connsiteY102" fmla="*/ 682087 h 3487140"/>
              <a:gd name="connsiteX103" fmla="*/ 3601506 w 5106037"/>
              <a:gd name="connsiteY103" fmla="*/ 703463 h 3487140"/>
              <a:gd name="connsiteX104" fmla="*/ 3624171 w 5106037"/>
              <a:gd name="connsiteY104" fmla="*/ 797199 h 3487140"/>
              <a:gd name="connsiteX105" fmla="*/ 3496458 w 5106037"/>
              <a:gd name="connsiteY105" fmla="*/ 890936 h 3487140"/>
              <a:gd name="connsiteX106" fmla="*/ 3326575 w 5106037"/>
              <a:gd name="connsiteY106" fmla="*/ 918009 h 3487140"/>
              <a:gd name="connsiteX107" fmla="*/ 3198862 w 5106037"/>
              <a:gd name="connsiteY107" fmla="*/ 1002306 h 3487140"/>
              <a:gd name="connsiteX108" fmla="*/ 3097972 w 5106037"/>
              <a:gd name="connsiteY108" fmla="*/ 1299902 h 3487140"/>
              <a:gd name="connsiteX109" fmla="*/ 3159022 w 5106037"/>
              <a:gd name="connsiteY109" fmla="*/ 1545930 h 3487140"/>
              <a:gd name="connsiteX110" fmla="*/ 3371697 w 5106037"/>
              <a:gd name="connsiteY110" fmla="*/ 1536490 h 3487140"/>
              <a:gd name="connsiteX111" fmla="*/ 3551228 w 5106037"/>
              <a:gd name="connsiteY111" fmla="*/ 1376048 h 3487140"/>
              <a:gd name="connsiteX112" fmla="*/ 3554389 w 5106037"/>
              <a:gd name="connsiteY112" fmla="*/ 1231949 h 3487140"/>
              <a:gd name="connsiteX113" fmla="*/ 3336348 w 5106037"/>
              <a:gd name="connsiteY113" fmla="*/ 1191693 h 3487140"/>
              <a:gd name="connsiteX114" fmla="*/ 3344832 w 5106037"/>
              <a:gd name="connsiteY114" fmla="*/ 1255238 h 3487140"/>
              <a:gd name="connsiteX115" fmla="*/ 3769850 w 5106037"/>
              <a:gd name="connsiteY115" fmla="*/ 1241722 h 3487140"/>
              <a:gd name="connsiteX116" fmla="*/ 4254670 w 5106037"/>
              <a:gd name="connsiteY116" fmla="*/ 1259646 h 3487140"/>
              <a:gd name="connsiteX117" fmla="*/ 4484022 w 5106037"/>
              <a:gd name="connsiteY117" fmla="*/ 1236981 h 3487140"/>
              <a:gd name="connsiteX118" fmla="*/ 4465766 w 5106037"/>
              <a:gd name="connsiteY118" fmla="*/ 1185995 h 3487140"/>
              <a:gd name="connsiteX119" fmla="*/ 4105248 w 5106037"/>
              <a:gd name="connsiteY119" fmla="*/ 1177512 h 3487140"/>
              <a:gd name="connsiteX120" fmla="*/ 3734668 w 5106037"/>
              <a:gd name="connsiteY120" fmla="*/ 1331342 h 3487140"/>
              <a:gd name="connsiteX121" fmla="*/ 3388914 w 5106037"/>
              <a:gd name="connsiteY121" fmla="*/ 1604110 h 3487140"/>
              <a:gd name="connsiteX122" fmla="*/ 3156111 w 5106037"/>
              <a:gd name="connsiteY122" fmla="*/ 1921252 h 3487140"/>
              <a:gd name="connsiteX123" fmla="*/ 3060461 w 5106037"/>
              <a:gd name="connsiteY123" fmla="*/ 2419255 h 3487140"/>
              <a:gd name="connsiteX124" fmla="*/ 3290769 w 5106037"/>
              <a:gd name="connsiteY124" fmla="*/ 3048465 h 3487140"/>
              <a:gd name="connsiteX125" fmla="*/ 3868994 w 5106037"/>
              <a:gd name="connsiteY125" fmla="*/ 3394510 h 3487140"/>
              <a:gd name="connsiteX126" fmla="*/ 4507643 w 5106037"/>
              <a:gd name="connsiteY126" fmla="*/ 3330632 h 3487140"/>
              <a:gd name="connsiteX127" fmla="*/ 5002818 w 5106037"/>
              <a:gd name="connsiteY127" fmla="*/ 2841404 h 3487140"/>
              <a:gd name="connsiteX128" fmla="*/ 5036171 w 5106037"/>
              <a:gd name="connsiteY128" fmla="*/ 2052999 h 3487140"/>
              <a:gd name="connsiteX129" fmla="*/ 4605164 w 5106037"/>
              <a:gd name="connsiteY129" fmla="*/ 1482011 h 3487140"/>
              <a:gd name="connsiteX130" fmla="*/ 4138310 w 5106037"/>
              <a:gd name="connsiteY130" fmla="*/ 1352717 h 3487140"/>
              <a:gd name="connsiteX131" fmla="*/ 3977868 w 5106037"/>
              <a:gd name="connsiteY131" fmla="*/ 1466624 h 3487140"/>
              <a:gd name="connsiteX132" fmla="*/ 3999909 w 5106037"/>
              <a:gd name="connsiteY132" fmla="*/ 2001140 h 3487140"/>
              <a:gd name="connsiteX133" fmla="*/ 4033885 w 5106037"/>
              <a:gd name="connsiteY133" fmla="*/ 2313208 h 3487140"/>
              <a:gd name="connsiteX134" fmla="*/ 4125585 w 5106037"/>
              <a:gd name="connsiteY134" fmla="*/ 2399085 h 3487140"/>
              <a:gd name="connsiteX135" fmla="*/ 4230051 w 5106037"/>
              <a:gd name="connsiteY135" fmla="*/ 2362905 h 3487140"/>
              <a:gd name="connsiteX136" fmla="*/ 4194660 w 5106037"/>
              <a:gd name="connsiteY136" fmla="*/ 2271372 h 3487140"/>
              <a:gd name="connsiteX137" fmla="*/ 4097056 w 5106037"/>
              <a:gd name="connsiteY137" fmla="*/ 2303394 h 3487140"/>
              <a:gd name="connsiteX138" fmla="*/ 4080670 w 5106037"/>
              <a:gd name="connsiteY138" fmla="*/ 2437262 h 3487140"/>
              <a:gd name="connsiteX139" fmla="*/ 4079589 w 5106037"/>
              <a:gd name="connsiteY139" fmla="*/ 2519521 h 3487140"/>
              <a:gd name="connsiteX140" fmla="*/ 3900475 w 5106037"/>
              <a:gd name="connsiteY140" fmla="*/ 2539400 h 3487140"/>
              <a:gd name="connsiteX141" fmla="*/ 3490220 w 5106037"/>
              <a:gd name="connsiteY141" fmla="*/ 2545679 h 3487140"/>
              <a:gd name="connsiteX142" fmla="*/ 3249848 w 5106037"/>
              <a:gd name="connsiteY142" fmla="*/ 2602944 h 3487140"/>
              <a:gd name="connsiteX143" fmla="*/ 3240241 w 5106037"/>
              <a:gd name="connsiteY143" fmla="*/ 2790460 h 3487140"/>
              <a:gd name="connsiteX144" fmla="*/ 3433578 w 5106037"/>
              <a:gd name="connsiteY144" fmla="*/ 3133385 h 3487140"/>
              <a:gd name="connsiteX145" fmla="*/ 3925468 w 5106037"/>
              <a:gd name="connsiteY145" fmla="*/ 3465290 h 3487140"/>
              <a:gd name="connsiteX146" fmla="*/ 4666214 w 5106037"/>
              <a:gd name="connsiteY146" fmla="*/ 3390434 h 3487140"/>
              <a:gd name="connsiteX147" fmla="*/ 5106037 w 5106037"/>
              <a:gd name="connsiteY147" fmla="*/ 3017940 h 3487140"/>
              <a:gd name="connsiteX0" fmla="*/ 777215 w 5088779"/>
              <a:gd name="connsiteY0" fmla="*/ 3295741 h 3487140"/>
              <a:gd name="connsiteX1" fmla="*/ 526113 w 5088779"/>
              <a:gd name="connsiteY1" fmla="*/ 3112384 h 3487140"/>
              <a:gd name="connsiteX2" fmla="*/ 219950 w 5088779"/>
              <a:gd name="connsiteY2" fmla="*/ 2750287 h 3487140"/>
              <a:gd name="connsiteX3" fmla="*/ 128418 w 5088779"/>
              <a:gd name="connsiteY3" fmla="*/ 2305432 h 3487140"/>
              <a:gd name="connsiteX4" fmla="*/ 256006 w 5088779"/>
              <a:gd name="connsiteY4" fmla="*/ 1919713 h 3487140"/>
              <a:gd name="connsiteX5" fmla="*/ 580218 w 5088779"/>
              <a:gd name="connsiteY5" fmla="*/ 1637837 h 3487140"/>
              <a:gd name="connsiteX6" fmla="*/ 1073522 w 5088779"/>
              <a:gd name="connsiteY6" fmla="*/ 1545972 h 3487140"/>
              <a:gd name="connsiteX7" fmla="*/ 1308197 w 5088779"/>
              <a:gd name="connsiteY7" fmla="*/ 1517651 h 3487140"/>
              <a:gd name="connsiteX8" fmla="*/ 1292934 w 5088779"/>
              <a:gd name="connsiteY8" fmla="*/ 1460718 h 3487140"/>
              <a:gd name="connsiteX9" fmla="*/ 1016880 w 5088779"/>
              <a:gd name="connsiteY9" fmla="*/ 1416969 h 3487140"/>
              <a:gd name="connsiteX10" fmla="*/ 497460 w 5088779"/>
              <a:gd name="connsiteY10" fmla="*/ 1517318 h 3487140"/>
              <a:gd name="connsiteX11" fmla="*/ 88162 w 5088779"/>
              <a:gd name="connsiteY11" fmla="*/ 1960593 h 3487140"/>
              <a:gd name="connsiteX12" fmla="*/ 28692 w 5088779"/>
              <a:gd name="connsiteY12" fmla="*/ 2569342 h 3487140"/>
              <a:gd name="connsiteX13" fmla="*/ 442399 w 5088779"/>
              <a:gd name="connsiteY13" fmla="*/ 3165532 h 3487140"/>
              <a:gd name="connsiteX14" fmla="*/ 1232384 w 5088779"/>
              <a:gd name="connsiteY14" fmla="*/ 3283181 h 3487140"/>
              <a:gd name="connsiteX15" fmla="*/ 1835020 w 5088779"/>
              <a:gd name="connsiteY15" fmla="*/ 2757481 h 3487140"/>
              <a:gd name="connsiteX16" fmla="*/ 1824789 w 5088779"/>
              <a:gd name="connsiteY16" fmla="*/ 1980430 h 3487140"/>
              <a:gd name="connsiteX17" fmla="*/ 1494755 w 5088779"/>
              <a:gd name="connsiteY17" fmla="*/ 1589139 h 3487140"/>
              <a:gd name="connsiteX18" fmla="*/ 1305701 w 5088779"/>
              <a:gd name="connsiteY18" fmla="*/ 1660710 h 3487140"/>
              <a:gd name="connsiteX19" fmla="*/ 1197284 w 5088779"/>
              <a:gd name="connsiteY19" fmla="*/ 2116627 h 3487140"/>
              <a:gd name="connsiteX20" fmla="*/ 973921 w 5088779"/>
              <a:gd name="connsiteY20" fmla="*/ 2374258 h 3487140"/>
              <a:gd name="connsiteX21" fmla="*/ 918985 w 5088779"/>
              <a:gd name="connsiteY21" fmla="*/ 2276986 h 3487140"/>
              <a:gd name="connsiteX22" fmla="*/ 1298257 w 5088779"/>
              <a:gd name="connsiteY22" fmla="*/ 2021601 h 3487140"/>
              <a:gd name="connsiteX23" fmla="*/ 1558176 w 5088779"/>
              <a:gd name="connsiteY23" fmla="*/ 1234153 h 3487140"/>
              <a:gd name="connsiteX24" fmla="*/ 1788276 w 5088779"/>
              <a:gd name="connsiteY24" fmla="*/ 725296 h 3487140"/>
              <a:gd name="connsiteX25" fmla="*/ 1896859 w 5088779"/>
              <a:gd name="connsiteY25" fmla="*/ 539984 h 3487140"/>
              <a:gd name="connsiteX26" fmla="*/ 1865711 w 5088779"/>
              <a:gd name="connsiteY26" fmla="*/ 435851 h 3487140"/>
              <a:gd name="connsiteX27" fmla="*/ 1759373 w 5088779"/>
              <a:gd name="connsiteY27" fmla="*/ 350265 h 3487140"/>
              <a:gd name="connsiteX28" fmla="*/ 1714085 w 5088779"/>
              <a:gd name="connsiteY28" fmla="*/ 209327 h 3487140"/>
              <a:gd name="connsiteX29" fmla="*/ 1758915 w 5088779"/>
              <a:gd name="connsiteY29" fmla="*/ 82237 h 3487140"/>
              <a:gd name="connsiteX30" fmla="*/ 1939195 w 5088779"/>
              <a:gd name="connsiteY30" fmla="*/ 6716 h 3487140"/>
              <a:gd name="connsiteX31" fmla="*/ 2207888 w 5088779"/>
              <a:gd name="connsiteY31" fmla="*/ 10167 h 3487140"/>
              <a:gd name="connsiteX32" fmla="*/ 2291561 w 5088779"/>
              <a:gd name="connsiteY32" fmla="*/ 49800 h 3487140"/>
              <a:gd name="connsiteX33" fmla="*/ 2244526 w 5088779"/>
              <a:gd name="connsiteY33" fmla="*/ 86812 h 3487140"/>
              <a:gd name="connsiteX34" fmla="*/ 2008603 w 5088779"/>
              <a:gd name="connsiteY34" fmla="*/ 91886 h 3487140"/>
              <a:gd name="connsiteX35" fmla="*/ 1765070 w 5088779"/>
              <a:gd name="connsiteY35" fmla="*/ 75833 h 3487140"/>
              <a:gd name="connsiteX36" fmla="*/ 1657319 w 5088779"/>
              <a:gd name="connsiteY36" fmla="*/ 176931 h 3487140"/>
              <a:gd name="connsiteX37" fmla="*/ 1672581 w 5088779"/>
              <a:gd name="connsiteY37" fmla="*/ 370393 h 3487140"/>
              <a:gd name="connsiteX38" fmla="*/ 1617354 w 5088779"/>
              <a:gd name="connsiteY38" fmla="*/ 589348 h 3487140"/>
              <a:gd name="connsiteX39" fmla="*/ 1460820 w 5088779"/>
              <a:gd name="connsiteY39" fmla="*/ 903953 h 3487140"/>
              <a:gd name="connsiteX40" fmla="*/ 1250349 w 5088779"/>
              <a:gd name="connsiteY40" fmla="*/ 922501 h 3487140"/>
              <a:gd name="connsiteX41" fmla="*/ 1055930 w 5088779"/>
              <a:gd name="connsiteY41" fmla="*/ 866816 h 3487140"/>
              <a:gd name="connsiteX42" fmla="*/ 997085 w 5088779"/>
              <a:gd name="connsiteY42" fmla="*/ 751038 h 3487140"/>
              <a:gd name="connsiteX43" fmla="*/ 1009021 w 5088779"/>
              <a:gd name="connsiteY43" fmla="*/ 369436 h 3487140"/>
              <a:gd name="connsiteX44" fmla="*/ 1070694 w 5088779"/>
              <a:gd name="connsiteY44" fmla="*/ 155805 h 3487140"/>
              <a:gd name="connsiteX45" fmla="*/ 1272058 w 5088779"/>
              <a:gd name="connsiteY45" fmla="*/ 156761 h 3487140"/>
              <a:gd name="connsiteX46" fmla="*/ 1524989 w 5088779"/>
              <a:gd name="connsiteY46" fmla="*/ 245175 h 3487140"/>
              <a:gd name="connsiteX47" fmla="*/ 1694081 w 5088779"/>
              <a:gd name="connsiteY47" fmla="*/ 357792 h 3487140"/>
              <a:gd name="connsiteX48" fmla="*/ 1798672 w 5088779"/>
              <a:gd name="connsiteY48" fmla="*/ 483301 h 3487140"/>
              <a:gd name="connsiteX49" fmla="*/ 1822876 w 5088779"/>
              <a:gd name="connsiteY49" fmla="*/ 600951 h 3487140"/>
              <a:gd name="connsiteX50" fmla="*/ 1795345 w 5088779"/>
              <a:gd name="connsiteY50" fmla="*/ 761726 h 3487140"/>
              <a:gd name="connsiteX51" fmla="*/ 1967266 w 5088779"/>
              <a:gd name="connsiteY51" fmla="*/ 1160004 h 3487140"/>
              <a:gd name="connsiteX52" fmla="*/ 2390246 w 5088779"/>
              <a:gd name="connsiteY52" fmla="*/ 1793622 h 3487140"/>
              <a:gd name="connsiteX53" fmla="*/ 2807737 w 5088779"/>
              <a:gd name="connsiteY53" fmla="*/ 2087475 h 3487140"/>
              <a:gd name="connsiteX54" fmla="*/ 2917360 w 5088779"/>
              <a:gd name="connsiteY54" fmla="*/ 2185620 h 3487140"/>
              <a:gd name="connsiteX55" fmla="*/ 2804411 w 5088779"/>
              <a:gd name="connsiteY55" fmla="*/ 2468120 h 3487140"/>
              <a:gd name="connsiteX56" fmla="*/ 2638312 w 5088779"/>
              <a:gd name="connsiteY56" fmla="*/ 2505548 h 3487140"/>
              <a:gd name="connsiteX57" fmla="*/ 2329862 w 5088779"/>
              <a:gd name="connsiteY57" fmla="*/ 2278109 h 3487140"/>
              <a:gd name="connsiteX58" fmla="*/ 1885173 w 5088779"/>
              <a:gd name="connsiteY58" fmla="*/ 1678800 h 3487140"/>
              <a:gd name="connsiteX59" fmla="*/ 1765320 w 5088779"/>
              <a:gd name="connsiteY59" fmla="*/ 1175432 h 3487140"/>
              <a:gd name="connsiteX60" fmla="*/ 1919774 w 5088779"/>
              <a:gd name="connsiteY60" fmla="*/ 1377420 h 3487140"/>
              <a:gd name="connsiteX61" fmla="*/ 2281414 w 5088779"/>
              <a:gd name="connsiteY61" fmla="*/ 2268710 h 3487140"/>
              <a:gd name="connsiteX62" fmla="*/ 2601216 w 5088779"/>
              <a:gd name="connsiteY62" fmla="*/ 2693105 h 3487140"/>
              <a:gd name="connsiteX63" fmla="*/ 2834644 w 5088779"/>
              <a:gd name="connsiteY63" fmla="*/ 2746586 h 3487140"/>
              <a:gd name="connsiteX64" fmla="*/ 3001865 w 5088779"/>
              <a:gd name="connsiteY64" fmla="*/ 2631432 h 3487140"/>
              <a:gd name="connsiteX65" fmla="*/ 3013052 w 5088779"/>
              <a:gd name="connsiteY65" fmla="*/ 2436680 h 3487140"/>
              <a:gd name="connsiteX66" fmla="*/ 2859222 w 5088779"/>
              <a:gd name="connsiteY66" fmla="*/ 2309258 h 3487140"/>
              <a:gd name="connsiteX67" fmla="*/ 2652036 w 5088779"/>
              <a:gd name="connsiteY67" fmla="*/ 2375007 h 3487140"/>
              <a:gd name="connsiteX68" fmla="*/ 2629537 w 5088779"/>
              <a:gd name="connsiteY68" fmla="*/ 2581402 h 3487140"/>
              <a:gd name="connsiteX69" fmla="*/ 2772222 w 5088779"/>
              <a:gd name="connsiteY69" fmla="*/ 2671064 h 3487140"/>
              <a:gd name="connsiteX70" fmla="*/ 2868787 w 5088779"/>
              <a:gd name="connsiteY70" fmla="*/ 2596831 h 3487140"/>
              <a:gd name="connsiteX71" fmla="*/ 2835601 w 5088779"/>
              <a:gd name="connsiteY71" fmla="*/ 2530750 h 3487140"/>
              <a:gd name="connsiteX72" fmla="*/ 2713543 w 5088779"/>
              <a:gd name="connsiteY72" fmla="*/ 2615379 h 3487140"/>
              <a:gd name="connsiteX73" fmla="*/ 2567864 w 5088779"/>
              <a:gd name="connsiteY73" fmla="*/ 2907028 h 3487140"/>
              <a:gd name="connsiteX74" fmla="*/ 2520039 w 5088779"/>
              <a:gd name="connsiteY74" fmla="*/ 3008333 h 3487140"/>
              <a:gd name="connsiteX75" fmla="*/ 2484191 w 5088779"/>
              <a:gd name="connsiteY75" fmla="*/ 3024053 h 3487140"/>
              <a:gd name="connsiteX76" fmla="*/ 2389165 w 5088779"/>
              <a:gd name="connsiteY76" fmla="*/ 3013989 h 3487140"/>
              <a:gd name="connsiteX77" fmla="*/ 2396068 w 5088779"/>
              <a:gd name="connsiteY77" fmla="*/ 2956724 h 3487140"/>
              <a:gd name="connsiteX78" fmla="*/ 2584831 w 5088779"/>
              <a:gd name="connsiteY78" fmla="*/ 2951068 h 3487140"/>
              <a:gd name="connsiteX79" fmla="*/ 2671041 w 5088779"/>
              <a:gd name="connsiteY79" fmla="*/ 2951068 h 3487140"/>
              <a:gd name="connsiteX80" fmla="*/ 2752219 w 5088779"/>
              <a:gd name="connsiteY80" fmla="*/ 2822066 h 3487140"/>
              <a:gd name="connsiteX81" fmla="*/ 2892533 w 5088779"/>
              <a:gd name="connsiteY81" fmla="*/ 2789337 h 3487140"/>
              <a:gd name="connsiteX82" fmla="*/ 3020246 w 5088779"/>
              <a:gd name="connsiteY82" fmla="*/ 2713815 h 3487140"/>
              <a:gd name="connsiteX83" fmla="*/ 3106456 w 5088779"/>
              <a:gd name="connsiteY83" fmla="*/ 2544556 h 3487140"/>
              <a:gd name="connsiteX84" fmla="*/ 3326035 w 5088779"/>
              <a:gd name="connsiteY84" fmla="*/ 2482883 h 3487140"/>
              <a:gd name="connsiteX85" fmla="*/ 3861009 w 5088779"/>
              <a:gd name="connsiteY85" fmla="*/ 2466831 h 3487140"/>
              <a:gd name="connsiteX86" fmla="*/ 4016751 w 5088779"/>
              <a:gd name="connsiteY86" fmla="*/ 2420918 h 3487140"/>
              <a:gd name="connsiteX87" fmla="*/ 3866664 w 5088779"/>
              <a:gd name="connsiteY87" fmla="*/ 2252907 h 3487140"/>
              <a:gd name="connsiteX88" fmla="*/ 3391285 w 5088779"/>
              <a:gd name="connsiteY88" fmla="*/ 1791709 h 3487140"/>
              <a:gd name="connsiteX89" fmla="*/ 3127166 w 5088779"/>
              <a:gd name="connsiteY89" fmla="*/ 1600118 h 3487140"/>
              <a:gd name="connsiteX90" fmla="*/ 3003196 w 5088779"/>
              <a:gd name="connsiteY90" fmla="*/ 1733529 h 3487140"/>
              <a:gd name="connsiteX91" fmla="*/ 2940898 w 5088779"/>
              <a:gd name="connsiteY91" fmla="*/ 1995900 h 3487140"/>
              <a:gd name="connsiteX92" fmla="*/ 2981778 w 5088779"/>
              <a:gd name="connsiteY92" fmla="*/ 2048133 h 3487140"/>
              <a:gd name="connsiteX93" fmla="*/ 3044699 w 5088779"/>
              <a:gd name="connsiteY93" fmla="*/ 1778817 h 3487140"/>
              <a:gd name="connsiteX94" fmla="*/ 3166466 w 5088779"/>
              <a:gd name="connsiteY94" fmla="*/ 1356918 h 3487140"/>
              <a:gd name="connsiteX95" fmla="*/ 3272803 w 5088779"/>
              <a:gd name="connsiteY95" fmla="*/ 986960 h 3487140"/>
              <a:gd name="connsiteX96" fmla="*/ 3243526 w 5088779"/>
              <a:gd name="connsiteY96" fmla="*/ 867107 h 3487140"/>
              <a:gd name="connsiteX97" fmla="*/ 3068612 w 5088779"/>
              <a:gd name="connsiteY97" fmla="*/ 840034 h 3487140"/>
              <a:gd name="connsiteX98" fmla="*/ 2924513 w 5088779"/>
              <a:gd name="connsiteY98" fmla="*/ 782769 h 3487140"/>
              <a:gd name="connsiteX99" fmla="*/ 2940857 w 5088779"/>
              <a:gd name="connsiteY99" fmla="*/ 714816 h 3487140"/>
              <a:gd name="connsiteX100" fmla="*/ 3114524 w 5088779"/>
              <a:gd name="connsiteY100" fmla="*/ 723008 h 3487140"/>
              <a:gd name="connsiteX101" fmla="*/ 3317135 w 5088779"/>
              <a:gd name="connsiteY101" fmla="*/ 729288 h 3487140"/>
              <a:gd name="connsiteX102" fmla="*/ 3483857 w 5088779"/>
              <a:gd name="connsiteY102" fmla="*/ 682087 h 3487140"/>
              <a:gd name="connsiteX103" fmla="*/ 3601506 w 5088779"/>
              <a:gd name="connsiteY103" fmla="*/ 703463 h 3487140"/>
              <a:gd name="connsiteX104" fmla="*/ 3624171 w 5088779"/>
              <a:gd name="connsiteY104" fmla="*/ 797199 h 3487140"/>
              <a:gd name="connsiteX105" fmla="*/ 3496458 w 5088779"/>
              <a:gd name="connsiteY105" fmla="*/ 890936 h 3487140"/>
              <a:gd name="connsiteX106" fmla="*/ 3326575 w 5088779"/>
              <a:gd name="connsiteY106" fmla="*/ 918009 h 3487140"/>
              <a:gd name="connsiteX107" fmla="*/ 3198862 w 5088779"/>
              <a:gd name="connsiteY107" fmla="*/ 1002306 h 3487140"/>
              <a:gd name="connsiteX108" fmla="*/ 3097972 w 5088779"/>
              <a:gd name="connsiteY108" fmla="*/ 1299902 h 3487140"/>
              <a:gd name="connsiteX109" fmla="*/ 3159022 w 5088779"/>
              <a:gd name="connsiteY109" fmla="*/ 1545930 h 3487140"/>
              <a:gd name="connsiteX110" fmla="*/ 3371697 w 5088779"/>
              <a:gd name="connsiteY110" fmla="*/ 1536490 h 3487140"/>
              <a:gd name="connsiteX111" fmla="*/ 3551228 w 5088779"/>
              <a:gd name="connsiteY111" fmla="*/ 1376048 h 3487140"/>
              <a:gd name="connsiteX112" fmla="*/ 3554389 w 5088779"/>
              <a:gd name="connsiteY112" fmla="*/ 1231949 h 3487140"/>
              <a:gd name="connsiteX113" fmla="*/ 3336348 w 5088779"/>
              <a:gd name="connsiteY113" fmla="*/ 1191693 h 3487140"/>
              <a:gd name="connsiteX114" fmla="*/ 3344832 w 5088779"/>
              <a:gd name="connsiteY114" fmla="*/ 1255238 h 3487140"/>
              <a:gd name="connsiteX115" fmla="*/ 3769850 w 5088779"/>
              <a:gd name="connsiteY115" fmla="*/ 1241722 h 3487140"/>
              <a:gd name="connsiteX116" fmla="*/ 4254670 w 5088779"/>
              <a:gd name="connsiteY116" fmla="*/ 1259646 h 3487140"/>
              <a:gd name="connsiteX117" fmla="*/ 4484022 w 5088779"/>
              <a:gd name="connsiteY117" fmla="*/ 1236981 h 3487140"/>
              <a:gd name="connsiteX118" fmla="*/ 4465766 w 5088779"/>
              <a:gd name="connsiteY118" fmla="*/ 1185995 h 3487140"/>
              <a:gd name="connsiteX119" fmla="*/ 4105248 w 5088779"/>
              <a:gd name="connsiteY119" fmla="*/ 1177512 h 3487140"/>
              <a:gd name="connsiteX120" fmla="*/ 3734668 w 5088779"/>
              <a:gd name="connsiteY120" fmla="*/ 1331342 h 3487140"/>
              <a:gd name="connsiteX121" fmla="*/ 3388914 w 5088779"/>
              <a:gd name="connsiteY121" fmla="*/ 1604110 h 3487140"/>
              <a:gd name="connsiteX122" fmla="*/ 3156111 w 5088779"/>
              <a:gd name="connsiteY122" fmla="*/ 1921252 h 3487140"/>
              <a:gd name="connsiteX123" fmla="*/ 3060461 w 5088779"/>
              <a:gd name="connsiteY123" fmla="*/ 2419255 h 3487140"/>
              <a:gd name="connsiteX124" fmla="*/ 3290769 w 5088779"/>
              <a:gd name="connsiteY124" fmla="*/ 3048465 h 3487140"/>
              <a:gd name="connsiteX125" fmla="*/ 3868994 w 5088779"/>
              <a:gd name="connsiteY125" fmla="*/ 3394510 h 3487140"/>
              <a:gd name="connsiteX126" fmla="*/ 4507643 w 5088779"/>
              <a:gd name="connsiteY126" fmla="*/ 3330632 h 3487140"/>
              <a:gd name="connsiteX127" fmla="*/ 5002818 w 5088779"/>
              <a:gd name="connsiteY127" fmla="*/ 2841404 h 3487140"/>
              <a:gd name="connsiteX128" fmla="*/ 5036171 w 5088779"/>
              <a:gd name="connsiteY128" fmla="*/ 2052999 h 3487140"/>
              <a:gd name="connsiteX129" fmla="*/ 4605164 w 5088779"/>
              <a:gd name="connsiteY129" fmla="*/ 1482011 h 3487140"/>
              <a:gd name="connsiteX130" fmla="*/ 4138310 w 5088779"/>
              <a:gd name="connsiteY130" fmla="*/ 1352717 h 3487140"/>
              <a:gd name="connsiteX131" fmla="*/ 3977868 w 5088779"/>
              <a:gd name="connsiteY131" fmla="*/ 1466624 h 3487140"/>
              <a:gd name="connsiteX132" fmla="*/ 3999909 w 5088779"/>
              <a:gd name="connsiteY132" fmla="*/ 2001140 h 3487140"/>
              <a:gd name="connsiteX133" fmla="*/ 4033885 w 5088779"/>
              <a:gd name="connsiteY133" fmla="*/ 2313208 h 3487140"/>
              <a:gd name="connsiteX134" fmla="*/ 4125585 w 5088779"/>
              <a:gd name="connsiteY134" fmla="*/ 2399085 h 3487140"/>
              <a:gd name="connsiteX135" fmla="*/ 4230051 w 5088779"/>
              <a:gd name="connsiteY135" fmla="*/ 2362905 h 3487140"/>
              <a:gd name="connsiteX136" fmla="*/ 4194660 w 5088779"/>
              <a:gd name="connsiteY136" fmla="*/ 2271372 h 3487140"/>
              <a:gd name="connsiteX137" fmla="*/ 4097056 w 5088779"/>
              <a:gd name="connsiteY137" fmla="*/ 2303394 h 3487140"/>
              <a:gd name="connsiteX138" fmla="*/ 4080670 w 5088779"/>
              <a:gd name="connsiteY138" fmla="*/ 2437262 h 3487140"/>
              <a:gd name="connsiteX139" fmla="*/ 4079589 w 5088779"/>
              <a:gd name="connsiteY139" fmla="*/ 2519521 h 3487140"/>
              <a:gd name="connsiteX140" fmla="*/ 3900475 w 5088779"/>
              <a:gd name="connsiteY140" fmla="*/ 2539400 h 3487140"/>
              <a:gd name="connsiteX141" fmla="*/ 3490220 w 5088779"/>
              <a:gd name="connsiteY141" fmla="*/ 2545679 h 3487140"/>
              <a:gd name="connsiteX142" fmla="*/ 3249848 w 5088779"/>
              <a:gd name="connsiteY142" fmla="*/ 2602944 h 3487140"/>
              <a:gd name="connsiteX143" fmla="*/ 3240241 w 5088779"/>
              <a:gd name="connsiteY143" fmla="*/ 2790460 h 3487140"/>
              <a:gd name="connsiteX144" fmla="*/ 3433578 w 5088779"/>
              <a:gd name="connsiteY144" fmla="*/ 3133385 h 3487140"/>
              <a:gd name="connsiteX145" fmla="*/ 3925468 w 5088779"/>
              <a:gd name="connsiteY145" fmla="*/ 3465290 h 3487140"/>
              <a:gd name="connsiteX146" fmla="*/ 4666214 w 5088779"/>
              <a:gd name="connsiteY146" fmla="*/ 3390434 h 3487140"/>
              <a:gd name="connsiteX0" fmla="*/ 777215 w 5088779"/>
              <a:gd name="connsiteY0" fmla="*/ 3295741 h 3465287"/>
              <a:gd name="connsiteX1" fmla="*/ 526113 w 5088779"/>
              <a:gd name="connsiteY1" fmla="*/ 3112384 h 3465287"/>
              <a:gd name="connsiteX2" fmla="*/ 219950 w 5088779"/>
              <a:gd name="connsiteY2" fmla="*/ 2750287 h 3465287"/>
              <a:gd name="connsiteX3" fmla="*/ 128418 w 5088779"/>
              <a:gd name="connsiteY3" fmla="*/ 2305432 h 3465287"/>
              <a:gd name="connsiteX4" fmla="*/ 256006 w 5088779"/>
              <a:gd name="connsiteY4" fmla="*/ 1919713 h 3465287"/>
              <a:gd name="connsiteX5" fmla="*/ 580218 w 5088779"/>
              <a:gd name="connsiteY5" fmla="*/ 1637837 h 3465287"/>
              <a:gd name="connsiteX6" fmla="*/ 1073522 w 5088779"/>
              <a:gd name="connsiteY6" fmla="*/ 1545972 h 3465287"/>
              <a:gd name="connsiteX7" fmla="*/ 1308197 w 5088779"/>
              <a:gd name="connsiteY7" fmla="*/ 1517651 h 3465287"/>
              <a:gd name="connsiteX8" fmla="*/ 1292934 w 5088779"/>
              <a:gd name="connsiteY8" fmla="*/ 1460718 h 3465287"/>
              <a:gd name="connsiteX9" fmla="*/ 1016880 w 5088779"/>
              <a:gd name="connsiteY9" fmla="*/ 1416969 h 3465287"/>
              <a:gd name="connsiteX10" fmla="*/ 497460 w 5088779"/>
              <a:gd name="connsiteY10" fmla="*/ 1517318 h 3465287"/>
              <a:gd name="connsiteX11" fmla="*/ 88162 w 5088779"/>
              <a:gd name="connsiteY11" fmla="*/ 1960593 h 3465287"/>
              <a:gd name="connsiteX12" fmla="*/ 28692 w 5088779"/>
              <a:gd name="connsiteY12" fmla="*/ 2569342 h 3465287"/>
              <a:gd name="connsiteX13" fmla="*/ 442399 w 5088779"/>
              <a:gd name="connsiteY13" fmla="*/ 3165532 h 3465287"/>
              <a:gd name="connsiteX14" fmla="*/ 1232384 w 5088779"/>
              <a:gd name="connsiteY14" fmla="*/ 3283181 h 3465287"/>
              <a:gd name="connsiteX15" fmla="*/ 1835020 w 5088779"/>
              <a:gd name="connsiteY15" fmla="*/ 2757481 h 3465287"/>
              <a:gd name="connsiteX16" fmla="*/ 1824789 w 5088779"/>
              <a:gd name="connsiteY16" fmla="*/ 1980430 h 3465287"/>
              <a:gd name="connsiteX17" fmla="*/ 1494755 w 5088779"/>
              <a:gd name="connsiteY17" fmla="*/ 1589139 h 3465287"/>
              <a:gd name="connsiteX18" fmla="*/ 1305701 w 5088779"/>
              <a:gd name="connsiteY18" fmla="*/ 1660710 h 3465287"/>
              <a:gd name="connsiteX19" fmla="*/ 1197284 w 5088779"/>
              <a:gd name="connsiteY19" fmla="*/ 2116627 h 3465287"/>
              <a:gd name="connsiteX20" fmla="*/ 973921 w 5088779"/>
              <a:gd name="connsiteY20" fmla="*/ 2374258 h 3465287"/>
              <a:gd name="connsiteX21" fmla="*/ 918985 w 5088779"/>
              <a:gd name="connsiteY21" fmla="*/ 2276986 h 3465287"/>
              <a:gd name="connsiteX22" fmla="*/ 1298257 w 5088779"/>
              <a:gd name="connsiteY22" fmla="*/ 2021601 h 3465287"/>
              <a:gd name="connsiteX23" fmla="*/ 1558176 w 5088779"/>
              <a:gd name="connsiteY23" fmla="*/ 1234153 h 3465287"/>
              <a:gd name="connsiteX24" fmla="*/ 1788276 w 5088779"/>
              <a:gd name="connsiteY24" fmla="*/ 725296 h 3465287"/>
              <a:gd name="connsiteX25" fmla="*/ 1896859 w 5088779"/>
              <a:gd name="connsiteY25" fmla="*/ 539984 h 3465287"/>
              <a:gd name="connsiteX26" fmla="*/ 1865711 w 5088779"/>
              <a:gd name="connsiteY26" fmla="*/ 435851 h 3465287"/>
              <a:gd name="connsiteX27" fmla="*/ 1759373 w 5088779"/>
              <a:gd name="connsiteY27" fmla="*/ 350265 h 3465287"/>
              <a:gd name="connsiteX28" fmla="*/ 1714085 w 5088779"/>
              <a:gd name="connsiteY28" fmla="*/ 209327 h 3465287"/>
              <a:gd name="connsiteX29" fmla="*/ 1758915 w 5088779"/>
              <a:gd name="connsiteY29" fmla="*/ 82237 h 3465287"/>
              <a:gd name="connsiteX30" fmla="*/ 1939195 w 5088779"/>
              <a:gd name="connsiteY30" fmla="*/ 6716 h 3465287"/>
              <a:gd name="connsiteX31" fmla="*/ 2207888 w 5088779"/>
              <a:gd name="connsiteY31" fmla="*/ 10167 h 3465287"/>
              <a:gd name="connsiteX32" fmla="*/ 2291561 w 5088779"/>
              <a:gd name="connsiteY32" fmla="*/ 49800 h 3465287"/>
              <a:gd name="connsiteX33" fmla="*/ 2244526 w 5088779"/>
              <a:gd name="connsiteY33" fmla="*/ 86812 h 3465287"/>
              <a:gd name="connsiteX34" fmla="*/ 2008603 w 5088779"/>
              <a:gd name="connsiteY34" fmla="*/ 91886 h 3465287"/>
              <a:gd name="connsiteX35" fmla="*/ 1765070 w 5088779"/>
              <a:gd name="connsiteY35" fmla="*/ 75833 h 3465287"/>
              <a:gd name="connsiteX36" fmla="*/ 1657319 w 5088779"/>
              <a:gd name="connsiteY36" fmla="*/ 176931 h 3465287"/>
              <a:gd name="connsiteX37" fmla="*/ 1672581 w 5088779"/>
              <a:gd name="connsiteY37" fmla="*/ 370393 h 3465287"/>
              <a:gd name="connsiteX38" fmla="*/ 1617354 w 5088779"/>
              <a:gd name="connsiteY38" fmla="*/ 589348 h 3465287"/>
              <a:gd name="connsiteX39" fmla="*/ 1460820 w 5088779"/>
              <a:gd name="connsiteY39" fmla="*/ 903953 h 3465287"/>
              <a:gd name="connsiteX40" fmla="*/ 1250349 w 5088779"/>
              <a:gd name="connsiteY40" fmla="*/ 922501 h 3465287"/>
              <a:gd name="connsiteX41" fmla="*/ 1055930 w 5088779"/>
              <a:gd name="connsiteY41" fmla="*/ 866816 h 3465287"/>
              <a:gd name="connsiteX42" fmla="*/ 997085 w 5088779"/>
              <a:gd name="connsiteY42" fmla="*/ 751038 h 3465287"/>
              <a:gd name="connsiteX43" fmla="*/ 1009021 w 5088779"/>
              <a:gd name="connsiteY43" fmla="*/ 369436 h 3465287"/>
              <a:gd name="connsiteX44" fmla="*/ 1070694 w 5088779"/>
              <a:gd name="connsiteY44" fmla="*/ 155805 h 3465287"/>
              <a:gd name="connsiteX45" fmla="*/ 1272058 w 5088779"/>
              <a:gd name="connsiteY45" fmla="*/ 156761 h 3465287"/>
              <a:gd name="connsiteX46" fmla="*/ 1524989 w 5088779"/>
              <a:gd name="connsiteY46" fmla="*/ 245175 h 3465287"/>
              <a:gd name="connsiteX47" fmla="*/ 1694081 w 5088779"/>
              <a:gd name="connsiteY47" fmla="*/ 357792 h 3465287"/>
              <a:gd name="connsiteX48" fmla="*/ 1798672 w 5088779"/>
              <a:gd name="connsiteY48" fmla="*/ 483301 h 3465287"/>
              <a:gd name="connsiteX49" fmla="*/ 1822876 w 5088779"/>
              <a:gd name="connsiteY49" fmla="*/ 600951 h 3465287"/>
              <a:gd name="connsiteX50" fmla="*/ 1795345 w 5088779"/>
              <a:gd name="connsiteY50" fmla="*/ 761726 h 3465287"/>
              <a:gd name="connsiteX51" fmla="*/ 1967266 w 5088779"/>
              <a:gd name="connsiteY51" fmla="*/ 1160004 h 3465287"/>
              <a:gd name="connsiteX52" fmla="*/ 2390246 w 5088779"/>
              <a:gd name="connsiteY52" fmla="*/ 1793622 h 3465287"/>
              <a:gd name="connsiteX53" fmla="*/ 2807737 w 5088779"/>
              <a:gd name="connsiteY53" fmla="*/ 2087475 h 3465287"/>
              <a:gd name="connsiteX54" fmla="*/ 2917360 w 5088779"/>
              <a:gd name="connsiteY54" fmla="*/ 2185620 h 3465287"/>
              <a:gd name="connsiteX55" fmla="*/ 2804411 w 5088779"/>
              <a:gd name="connsiteY55" fmla="*/ 2468120 h 3465287"/>
              <a:gd name="connsiteX56" fmla="*/ 2638312 w 5088779"/>
              <a:gd name="connsiteY56" fmla="*/ 2505548 h 3465287"/>
              <a:gd name="connsiteX57" fmla="*/ 2329862 w 5088779"/>
              <a:gd name="connsiteY57" fmla="*/ 2278109 h 3465287"/>
              <a:gd name="connsiteX58" fmla="*/ 1885173 w 5088779"/>
              <a:gd name="connsiteY58" fmla="*/ 1678800 h 3465287"/>
              <a:gd name="connsiteX59" fmla="*/ 1765320 w 5088779"/>
              <a:gd name="connsiteY59" fmla="*/ 1175432 h 3465287"/>
              <a:gd name="connsiteX60" fmla="*/ 1919774 w 5088779"/>
              <a:gd name="connsiteY60" fmla="*/ 1377420 h 3465287"/>
              <a:gd name="connsiteX61" fmla="*/ 2281414 w 5088779"/>
              <a:gd name="connsiteY61" fmla="*/ 2268710 h 3465287"/>
              <a:gd name="connsiteX62" fmla="*/ 2601216 w 5088779"/>
              <a:gd name="connsiteY62" fmla="*/ 2693105 h 3465287"/>
              <a:gd name="connsiteX63" fmla="*/ 2834644 w 5088779"/>
              <a:gd name="connsiteY63" fmla="*/ 2746586 h 3465287"/>
              <a:gd name="connsiteX64" fmla="*/ 3001865 w 5088779"/>
              <a:gd name="connsiteY64" fmla="*/ 2631432 h 3465287"/>
              <a:gd name="connsiteX65" fmla="*/ 3013052 w 5088779"/>
              <a:gd name="connsiteY65" fmla="*/ 2436680 h 3465287"/>
              <a:gd name="connsiteX66" fmla="*/ 2859222 w 5088779"/>
              <a:gd name="connsiteY66" fmla="*/ 2309258 h 3465287"/>
              <a:gd name="connsiteX67" fmla="*/ 2652036 w 5088779"/>
              <a:gd name="connsiteY67" fmla="*/ 2375007 h 3465287"/>
              <a:gd name="connsiteX68" fmla="*/ 2629537 w 5088779"/>
              <a:gd name="connsiteY68" fmla="*/ 2581402 h 3465287"/>
              <a:gd name="connsiteX69" fmla="*/ 2772222 w 5088779"/>
              <a:gd name="connsiteY69" fmla="*/ 2671064 h 3465287"/>
              <a:gd name="connsiteX70" fmla="*/ 2868787 w 5088779"/>
              <a:gd name="connsiteY70" fmla="*/ 2596831 h 3465287"/>
              <a:gd name="connsiteX71" fmla="*/ 2835601 w 5088779"/>
              <a:gd name="connsiteY71" fmla="*/ 2530750 h 3465287"/>
              <a:gd name="connsiteX72" fmla="*/ 2713543 w 5088779"/>
              <a:gd name="connsiteY72" fmla="*/ 2615379 h 3465287"/>
              <a:gd name="connsiteX73" fmla="*/ 2567864 w 5088779"/>
              <a:gd name="connsiteY73" fmla="*/ 2907028 h 3465287"/>
              <a:gd name="connsiteX74" fmla="*/ 2520039 w 5088779"/>
              <a:gd name="connsiteY74" fmla="*/ 3008333 h 3465287"/>
              <a:gd name="connsiteX75" fmla="*/ 2484191 w 5088779"/>
              <a:gd name="connsiteY75" fmla="*/ 3024053 h 3465287"/>
              <a:gd name="connsiteX76" fmla="*/ 2389165 w 5088779"/>
              <a:gd name="connsiteY76" fmla="*/ 3013989 h 3465287"/>
              <a:gd name="connsiteX77" fmla="*/ 2396068 w 5088779"/>
              <a:gd name="connsiteY77" fmla="*/ 2956724 h 3465287"/>
              <a:gd name="connsiteX78" fmla="*/ 2584831 w 5088779"/>
              <a:gd name="connsiteY78" fmla="*/ 2951068 h 3465287"/>
              <a:gd name="connsiteX79" fmla="*/ 2671041 w 5088779"/>
              <a:gd name="connsiteY79" fmla="*/ 2951068 h 3465287"/>
              <a:gd name="connsiteX80" fmla="*/ 2752219 w 5088779"/>
              <a:gd name="connsiteY80" fmla="*/ 2822066 h 3465287"/>
              <a:gd name="connsiteX81" fmla="*/ 2892533 w 5088779"/>
              <a:gd name="connsiteY81" fmla="*/ 2789337 h 3465287"/>
              <a:gd name="connsiteX82" fmla="*/ 3020246 w 5088779"/>
              <a:gd name="connsiteY82" fmla="*/ 2713815 h 3465287"/>
              <a:gd name="connsiteX83" fmla="*/ 3106456 w 5088779"/>
              <a:gd name="connsiteY83" fmla="*/ 2544556 h 3465287"/>
              <a:gd name="connsiteX84" fmla="*/ 3326035 w 5088779"/>
              <a:gd name="connsiteY84" fmla="*/ 2482883 h 3465287"/>
              <a:gd name="connsiteX85" fmla="*/ 3861009 w 5088779"/>
              <a:gd name="connsiteY85" fmla="*/ 2466831 h 3465287"/>
              <a:gd name="connsiteX86" fmla="*/ 4016751 w 5088779"/>
              <a:gd name="connsiteY86" fmla="*/ 2420918 h 3465287"/>
              <a:gd name="connsiteX87" fmla="*/ 3866664 w 5088779"/>
              <a:gd name="connsiteY87" fmla="*/ 2252907 h 3465287"/>
              <a:gd name="connsiteX88" fmla="*/ 3391285 w 5088779"/>
              <a:gd name="connsiteY88" fmla="*/ 1791709 h 3465287"/>
              <a:gd name="connsiteX89" fmla="*/ 3127166 w 5088779"/>
              <a:gd name="connsiteY89" fmla="*/ 1600118 h 3465287"/>
              <a:gd name="connsiteX90" fmla="*/ 3003196 w 5088779"/>
              <a:gd name="connsiteY90" fmla="*/ 1733529 h 3465287"/>
              <a:gd name="connsiteX91" fmla="*/ 2940898 w 5088779"/>
              <a:gd name="connsiteY91" fmla="*/ 1995900 h 3465287"/>
              <a:gd name="connsiteX92" fmla="*/ 2981778 w 5088779"/>
              <a:gd name="connsiteY92" fmla="*/ 2048133 h 3465287"/>
              <a:gd name="connsiteX93" fmla="*/ 3044699 w 5088779"/>
              <a:gd name="connsiteY93" fmla="*/ 1778817 h 3465287"/>
              <a:gd name="connsiteX94" fmla="*/ 3166466 w 5088779"/>
              <a:gd name="connsiteY94" fmla="*/ 1356918 h 3465287"/>
              <a:gd name="connsiteX95" fmla="*/ 3272803 w 5088779"/>
              <a:gd name="connsiteY95" fmla="*/ 986960 h 3465287"/>
              <a:gd name="connsiteX96" fmla="*/ 3243526 w 5088779"/>
              <a:gd name="connsiteY96" fmla="*/ 867107 h 3465287"/>
              <a:gd name="connsiteX97" fmla="*/ 3068612 w 5088779"/>
              <a:gd name="connsiteY97" fmla="*/ 840034 h 3465287"/>
              <a:gd name="connsiteX98" fmla="*/ 2924513 w 5088779"/>
              <a:gd name="connsiteY98" fmla="*/ 782769 h 3465287"/>
              <a:gd name="connsiteX99" fmla="*/ 2940857 w 5088779"/>
              <a:gd name="connsiteY99" fmla="*/ 714816 h 3465287"/>
              <a:gd name="connsiteX100" fmla="*/ 3114524 w 5088779"/>
              <a:gd name="connsiteY100" fmla="*/ 723008 h 3465287"/>
              <a:gd name="connsiteX101" fmla="*/ 3317135 w 5088779"/>
              <a:gd name="connsiteY101" fmla="*/ 729288 h 3465287"/>
              <a:gd name="connsiteX102" fmla="*/ 3483857 w 5088779"/>
              <a:gd name="connsiteY102" fmla="*/ 682087 h 3465287"/>
              <a:gd name="connsiteX103" fmla="*/ 3601506 w 5088779"/>
              <a:gd name="connsiteY103" fmla="*/ 703463 h 3465287"/>
              <a:gd name="connsiteX104" fmla="*/ 3624171 w 5088779"/>
              <a:gd name="connsiteY104" fmla="*/ 797199 h 3465287"/>
              <a:gd name="connsiteX105" fmla="*/ 3496458 w 5088779"/>
              <a:gd name="connsiteY105" fmla="*/ 890936 h 3465287"/>
              <a:gd name="connsiteX106" fmla="*/ 3326575 w 5088779"/>
              <a:gd name="connsiteY106" fmla="*/ 918009 h 3465287"/>
              <a:gd name="connsiteX107" fmla="*/ 3198862 w 5088779"/>
              <a:gd name="connsiteY107" fmla="*/ 1002306 h 3465287"/>
              <a:gd name="connsiteX108" fmla="*/ 3097972 w 5088779"/>
              <a:gd name="connsiteY108" fmla="*/ 1299902 h 3465287"/>
              <a:gd name="connsiteX109" fmla="*/ 3159022 w 5088779"/>
              <a:gd name="connsiteY109" fmla="*/ 1545930 h 3465287"/>
              <a:gd name="connsiteX110" fmla="*/ 3371697 w 5088779"/>
              <a:gd name="connsiteY110" fmla="*/ 1536490 h 3465287"/>
              <a:gd name="connsiteX111" fmla="*/ 3551228 w 5088779"/>
              <a:gd name="connsiteY111" fmla="*/ 1376048 h 3465287"/>
              <a:gd name="connsiteX112" fmla="*/ 3554389 w 5088779"/>
              <a:gd name="connsiteY112" fmla="*/ 1231949 h 3465287"/>
              <a:gd name="connsiteX113" fmla="*/ 3336348 w 5088779"/>
              <a:gd name="connsiteY113" fmla="*/ 1191693 h 3465287"/>
              <a:gd name="connsiteX114" fmla="*/ 3344832 w 5088779"/>
              <a:gd name="connsiteY114" fmla="*/ 1255238 h 3465287"/>
              <a:gd name="connsiteX115" fmla="*/ 3769850 w 5088779"/>
              <a:gd name="connsiteY115" fmla="*/ 1241722 h 3465287"/>
              <a:gd name="connsiteX116" fmla="*/ 4254670 w 5088779"/>
              <a:gd name="connsiteY116" fmla="*/ 1259646 h 3465287"/>
              <a:gd name="connsiteX117" fmla="*/ 4484022 w 5088779"/>
              <a:gd name="connsiteY117" fmla="*/ 1236981 h 3465287"/>
              <a:gd name="connsiteX118" fmla="*/ 4465766 w 5088779"/>
              <a:gd name="connsiteY118" fmla="*/ 1185995 h 3465287"/>
              <a:gd name="connsiteX119" fmla="*/ 4105248 w 5088779"/>
              <a:gd name="connsiteY119" fmla="*/ 1177512 h 3465287"/>
              <a:gd name="connsiteX120" fmla="*/ 3734668 w 5088779"/>
              <a:gd name="connsiteY120" fmla="*/ 1331342 h 3465287"/>
              <a:gd name="connsiteX121" fmla="*/ 3388914 w 5088779"/>
              <a:gd name="connsiteY121" fmla="*/ 1604110 h 3465287"/>
              <a:gd name="connsiteX122" fmla="*/ 3156111 w 5088779"/>
              <a:gd name="connsiteY122" fmla="*/ 1921252 h 3465287"/>
              <a:gd name="connsiteX123" fmla="*/ 3060461 w 5088779"/>
              <a:gd name="connsiteY123" fmla="*/ 2419255 h 3465287"/>
              <a:gd name="connsiteX124" fmla="*/ 3290769 w 5088779"/>
              <a:gd name="connsiteY124" fmla="*/ 3048465 h 3465287"/>
              <a:gd name="connsiteX125" fmla="*/ 3868994 w 5088779"/>
              <a:gd name="connsiteY125" fmla="*/ 3394510 h 3465287"/>
              <a:gd name="connsiteX126" fmla="*/ 4507643 w 5088779"/>
              <a:gd name="connsiteY126" fmla="*/ 3330632 h 3465287"/>
              <a:gd name="connsiteX127" fmla="*/ 5002818 w 5088779"/>
              <a:gd name="connsiteY127" fmla="*/ 2841404 h 3465287"/>
              <a:gd name="connsiteX128" fmla="*/ 5036171 w 5088779"/>
              <a:gd name="connsiteY128" fmla="*/ 2052999 h 3465287"/>
              <a:gd name="connsiteX129" fmla="*/ 4605164 w 5088779"/>
              <a:gd name="connsiteY129" fmla="*/ 1482011 h 3465287"/>
              <a:gd name="connsiteX130" fmla="*/ 4138310 w 5088779"/>
              <a:gd name="connsiteY130" fmla="*/ 1352717 h 3465287"/>
              <a:gd name="connsiteX131" fmla="*/ 3977868 w 5088779"/>
              <a:gd name="connsiteY131" fmla="*/ 1466624 h 3465287"/>
              <a:gd name="connsiteX132" fmla="*/ 3999909 w 5088779"/>
              <a:gd name="connsiteY132" fmla="*/ 2001140 h 3465287"/>
              <a:gd name="connsiteX133" fmla="*/ 4033885 w 5088779"/>
              <a:gd name="connsiteY133" fmla="*/ 2313208 h 3465287"/>
              <a:gd name="connsiteX134" fmla="*/ 4125585 w 5088779"/>
              <a:gd name="connsiteY134" fmla="*/ 2399085 h 3465287"/>
              <a:gd name="connsiteX135" fmla="*/ 4230051 w 5088779"/>
              <a:gd name="connsiteY135" fmla="*/ 2362905 h 3465287"/>
              <a:gd name="connsiteX136" fmla="*/ 4194660 w 5088779"/>
              <a:gd name="connsiteY136" fmla="*/ 2271372 h 3465287"/>
              <a:gd name="connsiteX137" fmla="*/ 4097056 w 5088779"/>
              <a:gd name="connsiteY137" fmla="*/ 2303394 h 3465287"/>
              <a:gd name="connsiteX138" fmla="*/ 4080670 w 5088779"/>
              <a:gd name="connsiteY138" fmla="*/ 2437262 h 3465287"/>
              <a:gd name="connsiteX139" fmla="*/ 4079589 w 5088779"/>
              <a:gd name="connsiteY139" fmla="*/ 2519521 h 3465287"/>
              <a:gd name="connsiteX140" fmla="*/ 3900475 w 5088779"/>
              <a:gd name="connsiteY140" fmla="*/ 2539400 h 3465287"/>
              <a:gd name="connsiteX141" fmla="*/ 3490220 w 5088779"/>
              <a:gd name="connsiteY141" fmla="*/ 2545679 h 3465287"/>
              <a:gd name="connsiteX142" fmla="*/ 3249848 w 5088779"/>
              <a:gd name="connsiteY142" fmla="*/ 2602944 h 3465287"/>
              <a:gd name="connsiteX143" fmla="*/ 3240241 w 5088779"/>
              <a:gd name="connsiteY143" fmla="*/ 2790460 h 3465287"/>
              <a:gd name="connsiteX144" fmla="*/ 3433578 w 5088779"/>
              <a:gd name="connsiteY144" fmla="*/ 3133385 h 3465287"/>
              <a:gd name="connsiteX145" fmla="*/ 3925468 w 5088779"/>
              <a:gd name="connsiteY145" fmla="*/ 3465290 h 3465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088779" h="3465287">
                <a:moveTo>
                  <a:pt x="777215" y="3295741"/>
                </a:moveTo>
                <a:cubicBezTo>
                  <a:pt x="734921" y="3254861"/>
                  <a:pt x="636277" y="3202669"/>
                  <a:pt x="526113" y="3112384"/>
                </a:cubicBezTo>
                <a:cubicBezTo>
                  <a:pt x="415950" y="3022099"/>
                  <a:pt x="294183" y="2893762"/>
                  <a:pt x="219950" y="2750287"/>
                </a:cubicBezTo>
                <a:cubicBezTo>
                  <a:pt x="145718" y="2606812"/>
                  <a:pt x="118978" y="2448283"/>
                  <a:pt x="128418" y="2305432"/>
                </a:cubicBezTo>
                <a:cubicBezTo>
                  <a:pt x="137858" y="2162622"/>
                  <a:pt x="183479" y="2035491"/>
                  <a:pt x="256006" y="1919713"/>
                </a:cubicBezTo>
                <a:cubicBezTo>
                  <a:pt x="328534" y="1803935"/>
                  <a:pt x="427927" y="1699510"/>
                  <a:pt x="580218" y="1637837"/>
                </a:cubicBezTo>
                <a:cubicBezTo>
                  <a:pt x="732468" y="1576164"/>
                  <a:pt x="937616" y="1557283"/>
                  <a:pt x="1073522" y="1545972"/>
                </a:cubicBezTo>
                <a:cubicBezTo>
                  <a:pt x="1209428" y="1534660"/>
                  <a:pt x="1276133" y="1530876"/>
                  <a:pt x="1308197" y="1517651"/>
                </a:cubicBezTo>
                <a:cubicBezTo>
                  <a:pt x="1340302" y="1504426"/>
                  <a:pt x="1337765" y="1481803"/>
                  <a:pt x="1292934" y="1460718"/>
                </a:cubicBezTo>
                <a:cubicBezTo>
                  <a:pt x="1248104" y="1439634"/>
                  <a:pt x="1160979" y="1420130"/>
                  <a:pt x="1016880" y="1416969"/>
                </a:cubicBezTo>
                <a:cubicBezTo>
                  <a:pt x="872782" y="1413808"/>
                  <a:pt x="671751" y="1427033"/>
                  <a:pt x="497460" y="1517318"/>
                </a:cubicBezTo>
                <a:cubicBezTo>
                  <a:pt x="323169" y="1607603"/>
                  <a:pt x="175619" y="1774991"/>
                  <a:pt x="88162" y="1960593"/>
                </a:cubicBezTo>
                <a:cubicBezTo>
                  <a:pt x="704" y="2146195"/>
                  <a:pt x="-26660" y="2350054"/>
                  <a:pt x="28692" y="2569342"/>
                </a:cubicBezTo>
                <a:cubicBezTo>
                  <a:pt x="84044" y="2788630"/>
                  <a:pt x="222155" y="3023305"/>
                  <a:pt x="442399" y="3165532"/>
                </a:cubicBezTo>
                <a:cubicBezTo>
                  <a:pt x="662601" y="3307718"/>
                  <a:pt x="964938" y="3357456"/>
                  <a:pt x="1232384" y="3283181"/>
                </a:cubicBezTo>
                <a:cubicBezTo>
                  <a:pt x="1499787" y="3208949"/>
                  <a:pt x="1732300" y="3010746"/>
                  <a:pt x="1835020" y="2757481"/>
                </a:cubicBezTo>
                <a:cubicBezTo>
                  <a:pt x="1937739" y="2504217"/>
                  <a:pt x="1910666" y="2195933"/>
                  <a:pt x="1824789" y="1980430"/>
                </a:cubicBezTo>
                <a:cubicBezTo>
                  <a:pt x="1738912" y="1764927"/>
                  <a:pt x="1594190" y="1642245"/>
                  <a:pt x="1494755" y="1589139"/>
                </a:cubicBezTo>
                <a:cubicBezTo>
                  <a:pt x="1395363" y="1536032"/>
                  <a:pt x="1341216" y="1552501"/>
                  <a:pt x="1305701" y="1660710"/>
                </a:cubicBezTo>
                <a:cubicBezTo>
                  <a:pt x="1270145" y="1768919"/>
                  <a:pt x="1253177" y="1968910"/>
                  <a:pt x="1197284" y="2116627"/>
                </a:cubicBezTo>
                <a:cubicBezTo>
                  <a:pt x="1141391" y="2264344"/>
                  <a:pt x="1046615" y="2359786"/>
                  <a:pt x="973921" y="2374258"/>
                </a:cubicBezTo>
                <a:cubicBezTo>
                  <a:pt x="901227" y="2388730"/>
                  <a:pt x="850658" y="2322191"/>
                  <a:pt x="918985" y="2276986"/>
                </a:cubicBezTo>
                <a:cubicBezTo>
                  <a:pt x="987312" y="2231781"/>
                  <a:pt x="1174495" y="2207910"/>
                  <a:pt x="1298257" y="2021601"/>
                </a:cubicBezTo>
                <a:cubicBezTo>
                  <a:pt x="1422020" y="1835292"/>
                  <a:pt x="1482321" y="1486544"/>
                  <a:pt x="1558176" y="1234153"/>
                </a:cubicBezTo>
                <a:cubicBezTo>
                  <a:pt x="1633988" y="981762"/>
                  <a:pt x="1725313" y="825686"/>
                  <a:pt x="1788276" y="725296"/>
                </a:cubicBezTo>
                <a:cubicBezTo>
                  <a:pt x="1851238" y="624905"/>
                  <a:pt x="1885839" y="580241"/>
                  <a:pt x="1896859" y="539984"/>
                </a:cubicBezTo>
                <a:cubicBezTo>
                  <a:pt x="1907880" y="499728"/>
                  <a:pt x="1895279" y="463839"/>
                  <a:pt x="1865711" y="435851"/>
                </a:cubicBezTo>
                <a:cubicBezTo>
                  <a:pt x="1836142" y="407863"/>
                  <a:pt x="1789565" y="387735"/>
                  <a:pt x="1759373" y="350265"/>
                </a:cubicBezTo>
                <a:cubicBezTo>
                  <a:pt x="1729181" y="312837"/>
                  <a:pt x="1715332" y="258067"/>
                  <a:pt x="1714085" y="209327"/>
                </a:cubicBezTo>
                <a:cubicBezTo>
                  <a:pt x="1712837" y="160545"/>
                  <a:pt x="1724149" y="117794"/>
                  <a:pt x="1758915" y="82237"/>
                </a:cubicBezTo>
                <a:cubicBezTo>
                  <a:pt x="1793682" y="46681"/>
                  <a:pt x="1851862" y="18360"/>
                  <a:pt x="1939195" y="6716"/>
                </a:cubicBezTo>
                <a:cubicBezTo>
                  <a:pt x="2026486" y="-4929"/>
                  <a:pt x="2142887" y="103"/>
                  <a:pt x="2207888" y="10167"/>
                </a:cubicBezTo>
                <a:cubicBezTo>
                  <a:pt x="2272846" y="20231"/>
                  <a:pt x="2286362" y="35327"/>
                  <a:pt x="2291561" y="49800"/>
                </a:cubicBezTo>
                <a:cubicBezTo>
                  <a:pt x="2296759" y="64272"/>
                  <a:pt x="2293598" y="78120"/>
                  <a:pt x="2244526" y="86812"/>
                </a:cubicBezTo>
                <a:cubicBezTo>
                  <a:pt x="2195453" y="95504"/>
                  <a:pt x="2100469" y="99122"/>
                  <a:pt x="2008603" y="91886"/>
                </a:cubicBezTo>
                <a:cubicBezTo>
                  <a:pt x="1916738" y="84649"/>
                  <a:pt x="1828033" y="66601"/>
                  <a:pt x="1765070" y="75833"/>
                </a:cubicBezTo>
                <a:cubicBezTo>
                  <a:pt x="1702149" y="85065"/>
                  <a:pt x="1665012" y="121537"/>
                  <a:pt x="1657319" y="176931"/>
                </a:cubicBezTo>
                <a:cubicBezTo>
                  <a:pt x="1649625" y="232283"/>
                  <a:pt x="1671333" y="306557"/>
                  <a:pt x="1672581" y="370393"/>
                </a:cubicBezTo>
                <a:cubicBezTo>
                  <a:pt x="1673829" y="434270"/>
                  <a:pt x="1654657" y="487751"/>
                  <a:pt x="1617354" y="589348"/>
                </a:cubicBezTo>
                <a:cubicBezTo>
                  <a:pt x="1580092" y="690945"/>
                  <a:pt x="1524698" y="840699"/>
                  <a:pt x="1460820" y="903953"/>
                </a:cubicBezTo>
                <a:cubicBezTo>
                  <a:pt x="1396943" y="967207"/>
                  <a:pt x="1324582" y="943918"/>
                  <a:pt x="1250349" y="922501"/>
                </a:cubicBezTo>
                <a:cubicBezTo>
                  <a:pt x="1176117" y="901125"/>
                  <a:pt x="1099971" y="881621"/>
                  <a:pt x="1055930" y="866816"/>
                </a:cubicBezTo>
                <a:cubicBezTo>
                  <a:pt x="1011890" y="852011"/>
                  <a:pt x="999913" y="841947"/>
                  <a:pt x="997085" y="751038"/>
                </a:cubicBezTo>
                <a:cubicBezTo>
                  <a:pt x="994257" y="660129"/>
                  <a:pt x="1000537" y="488333"/>
                  <a:pt x="1009021" y="369436"/>
                </a:cubicBezTo>
                <a:cubicBezTo>
                  <a:pt x="1017504" y="250498"/>
                  <a:pt x="1028192" y="184458"/>
                  <a:pt x="1070694" y="155805"/>
                </a:cubicBezTo>
                <a:cubicBezTo>
                  <a:pt x="1113154" y="127193"/>
                  <a:pt x="1187428" y="135968"/>
                  <a:pt x="1272058" y="156761"/>
                </a:cubicBezTo>
                <a:cubicBezTo>
                  <a:pt x="1356687" y="177513"/>
                  <a:pt x="1451713" y="210242"/>
                  <a:pt x="1524989" y="245175"/>
                </a:cubicBezTo>
                <a:cubicBezTo>
                  <a:pt x="1598307" y="280108"/>
                  <a:pt x="1649875" y="317203"/>
                  <a:pt x="1694081" y="357792"/>
                </a:cubicBezTo>
                <a:cubicBezTo>
                  <a:pt x="1738288" y="398381"/>
                  <a:pt x="1775093" y="442422"/>
                  <a:pt x="1798672" y="483301"/>
                </a:cubicBezTo>
                <a:cubicBezTo>
                  <a:pt x="1822252" y="524181"/>
                  <a:pt x="1832649" y="561942"/>
                  <a:pt x="1822876" y="600951"/>
                </a:cubicBezTo>
                <a:cubicBezTo>
                  <a:pt x="1813103" y="639959"/>
                  <a:pt x="1783244" y="680215"/>
                  <a:pt x="1795345" y="761726"/>
                </a:cubicBezTo>
                <a:cubicBezTo>
                  <a:pt x="1807447" y="843195"/>
                  <a:pt x="1861552" y="965917"/>
                  <a:pt x="1967266" y="1160004"/>
                </a:cubicBezTo>
                <a:cubicBezTo>
                  <a:pt x="2072980" y="1354131"/>
                  <a:pt x="2230261" y="1619622"/>
                  <a:pt x="2390246" y="1793622"/>
                </a:cubicBezTo>
                <a:cubicBezTo>
                  <a:pt x="2550231" y="1967580"/>
                  <a:pt x="2712878" y="2050005"/>
                  <a:pt x="2807737" y="2087475"/>
                </a:cubicBezTo>
                <a:cubicBezTo>
                  <a:pt x="2902597" y="2124903"/>
                  <a:pt x="2929629" y="2117376"/>
                  <a:pt x="2917360" y="2185620"/>
                </a:cubicBezTo>
                <a:cubicBezTo>
                  <a:pt x="2905092" y="2253906"/>
                  <a:pt x="2853483" y="2397963"/>
                  <a:pt x="2804411" y="2468120"/>
                </a:cubicBezTo>
                <a:cubicBezTo>
                  <a:pt x="2755338" y="2538277"/>
                  <a:pt x="2708761" y="2534492"/>
                  <a:pt x="2638312" y="2505548"/>
                </a:cubicBezTo>
                <a:cubicBezTo>
                  <a:pt x="2567823" y="2476603"/>
                  <a:pt x="2473462" y="2422499"/>
                  <a:pt x="2329862" y="2278109"/>
                </a:cubicBezTo>
                <a:cubicBezTo>
                  <a:pt x="2186263" y="2133719"/>
                  <a:pt x="1993383" y="1899003"/>
                  <a:pt x="1885173" y="1678800"/>
                </a:cubicBezTo>
                <a:cubicBezTo>
                  <a:pt x="1776964" y="1458598"/>
                  <a:pt x="1753343" y="1252826"/>
                  <a:pt x="1765320" y="1175432"/>
                </a:cubicBezTo>
                <a:cubicBezTo>
                  <a:pt x="1777255" y="1098039"/>
                  <a:pt x="1824789" y="1149025"/>
                  <a:pt x="1919774" y="1377420"/>
                </a:cubicBezTo>
                <a:cubicBezTo>
                  <a:pt x="2014800" y="1605815"/>
                  <a:pt x="2157318" y="2011662"/>
                  <a:pt x="2281414" y="2268710"/>
                </a:cubicBezTo>
                <a:cubicBezTo>
                  <a:pt x="2405509" y="2525759"/>
                  <a:pt x="2511223" y="2633968"/>
                  <a:pt x="2601216" y="2693105"/>
                </a:cubicBezTo>
                <a:cubicBezTo>
                  <a:pt x="2691211" y="2752241"/>
                  <a:pt x="2765443" y="2762305"/>
                  <a:pt x="2834644" y="2746586"/>
                </a:cubicBezTo>
                <a:cubicBezTo>
                  <a:pt x="2903844" y="2730866"/>
                  <a:pt x="2968055" y="2689320"/>
                  <a:pt x="3001865" y="2631432"/>
                </a:cubicBezTo>
                <a:cubicBezTo>
                  <a:pt x="3035675" y="2573542"/>
                  <a:pt x="3039127" y="2499310"/>
                  <a:pt x="3013052" y="2436680"/>
                </a:cubicBezTo>
                <a:cubicBezTo>
                  <a:pt x="2986935" y="2374092"/>
                  <a:pt x="2931251" y="2323106"/>
                  <a:pt x="2859222" y="2309258"/>
                </a:cubicBezTo>
                <a:cubicBezTo>
                  <a:pt x="2787193" y="2295409"/>
                  <a:pt x="2698780" y="2318698"/>
                  <a:pt x="2652036" y="2375007"/>
                </a:cubicBezTo>
                <a:cubicBezTo>
                  <a:pt x="2605334" y="2431315"/>
                  <a:pt x="2600302" y="2520686"/>
                  <a:pt x="2629537" y="2581402"/>
                </a:cubicBezTo>
                <a:cubicBezTo>
                  <a:pt x="2658773" y="2642119"/>
                  <a:pt x="2722359" y="2674224"/>
                  <a:pt x="2772222" y="2671064"/>
                </a:cubicBezTo>
                <a:cubicBezTo>
                  <a:pt x="2822085" y="2667903"/>
                  <a:pt x="2858265" y="2629518"/>
                  <a:pt x="2868787" y="2596831"/>
                </a:cubicBezTo>
                <a:cubicBezTo>
                  <a:pt x="2879308" y="2564144"/>
                  <a:pt x="2864212" y="2537071"/>
                  <a:pt x="2835601" y="2530750"/>
                </a:cubicBezTo>
                <a:cubicBezTo>
                  <a:pt x="2806989" y="2524470"/>
                  <a:pt x="2764820" y="2538942"/>
                  <a:pt x="2713543" y="2615379"/>
                </a:cubicBezTo>
                <a:cubicBezTo>
                  <a:pt x="2662266" y="2691816"/>
                  <a:pt x="2601840" y="2830259"/>
                  <a:pt x="2567864" y="2907028"/>
                </a:cubicBezTo>
                <a:cubicBezTo>
                  <a:pt x="2533888" y="2983797"/>
                  <a:pt x="2526318" y="2998893"/>
                  <a:pt x="2520039" y="3008333"/>
                </a:cubicBezTo>
                <a:cubicBezTo>
                  <a:pt x="2513760" y="3017774"/>
                  <a:pt x="2508727" y="3021558"/>
                  <a:pt x="2484191" y="3024053"/>
                </a:cubicBezTo>
                <a:cubicBezTo>
                  <a:pt x="2459655" y="3026590"/>
                  <a:pt x="2415614" y="3027838"/>
                  <a:pt x="2389165" y="3013989"/>
                </a:cubicBezTo>
                <a:cubicBezTo>
                  <a:pt x="2362757" y="3000141"/>
                  <a:pt x="2353941" y="2971196"/>
                  <a:pt x="2396068" y="2956724"/>
                </a:cubicBezTo>
                <a:cubicBezTo>
                  <a:pt x="2438238" y="2942252"/>
                  <a:pt x="2531351" y="2942252"/>
                  <a:pt x="2584831" y="2951068"/>
                </a:cubicBezTo>
                <a:cubicBezTo>
                  <a:pt x="2638312" y="2959885"/>
                  <a:pt x="2652160" y="2977476"/>
                  <a:pt x="2671041" y="2951068"/>
                </a:cubicBezTo>
                <a:cubicBezTo>
                  <a:pt x="2689922" y="2924661"/>
                  <a:pt x="2713834" y="2854171"/>
                  <a:pt x="2752219" y="2822066"/>
                </a:cubicBezTo>
                <a:cubicBezTo>
                  <a:pt x="2790603" y="2789961"/>
                  <a:pt x="2843460" y="2796282"/>
                  <a:pt x="2892533" y="2789337"/>
                </a:cubicBezTo>
                <a:cubicBezTo>
                  <a:pt x="2941606" y="2782434"/>
                  <a:pt x="2986935" y="2762264"/>
                  <a:pt x="3020246" y="2713815"/>
                </a:cubicBezTo>
                <a:cubicBezTo>
                  <a:pt x="3053599" y="2665366"/>
                  <a:pt x="3074975" y="2588597"/>
                  <a:pt x="3106456" y="2544556"/>
                </a:cubicBezTo>
                <a:cubicBezTo>
                  <a:pt x="3137896" y="2500516"/>
                  <a:pt x="3179441" y="2489204"/>
                  <a:pt x="3326035" y="2482883"/>
                </a:cubicBezTo>
                <a:cubicBezTo>
                  <a:pt x="3472629" y="2476603"/>
                  <a:pt x="3724313" y="2475314"/>
                  <a:pt x="3861009" y="2466831"/>
                </a:cubicBezTo>
                <a:cubicBezTo>
                  <a:pt x="3997705" y="2458347"/>
                  <a:pt x="4019413" y="2442627"/>
                  <a:pt x="4016751" y="2420918"/>
                </a:cubicBezTo>
                <a:cubicBezTo>
                  <a:pt x="4014090" y="2399210"/>
                  <a:pt x="3987017" y="2371513"/>
                  <a:pt x="3866664" y="2252907"/>
                </a:cubicBezTo>
                <a:cubicBezTo>
                  <a:pt x="3746312" y="2134302"/>
                  <a:pt x="3532721" y="1924787"/>
                  <a:pt x="3391285" y="1791709"/>
                </a:cubicBezTo>
                <a:cubicBezTo>
                  <a:pt x="3249889" y="1658631"/>
                  <a:pt x="3180647" y="1601989"/>
                  <a:pt x="3127166" y="1600118"/>
                </a:cubicBezTo>
                <a:cubicBezTo>
                  <a:pt x="3073686" y="1598246"/>
                  <a:pt x="3035924" y="1651103"/>
                  <a:pt x="3003196" y="1733529"/>
                </a:cubicBezTo>
                <a:cubicBezTo>
                  <a:pt x="2970467" y="1815954"/>
                  <a:pt x="2942811" y="1927947"/>
                  <a:pt x="2940898" y="1995900"/>
                </a:cubicBezTo>
                <a:cubicBezTo>
                  <a:pt x="2939027" y="2063853"/>
                  <a:pt x="2962940" y="2087766"/>
                  <a:pt x="2981778" y="2048133"/>
                </a:cubicBezTo>
                <a:cubicBezTo>
                  <a:pt x="3000659" y="2008501"/>
                  <a:pt x="3014507" y="1905324"/>
                  <a:pt x="3044699" y="1778817"/>
                </a:cubicBezTo>
                <a:cubicBezTo>
                  <a:pt x="3074891" y="1652351"/>
                  <a:pt x="3121469" y="1502596"/>
                  <a:pt x="3166466" y="1356918"/>
                </a:cubicBezTo>
                <a:cubicBezTo>
                  <a:pt x="3211463" y="1211239"/>
                  <a:pt x="3254880" y="1069677"/>
                  <a:pt x="3272803" y="986960"/>
                </a:cubicBezTo>
                <a:cubicBezTo>
                  <a:pt x="3290727" y="904202"/>
                  <a:pt x="3283200" y="880290"/>
                  <a:pt x="3243526" y="867107"/>
                </a:cubicBezTo>
                <a:cubicBezTo>
                  <a:pt x="3203894" y="853882"/>
                  <a:pt x="3132157" y="851387"/>
                  <a:pt x="3068612" y="840034"/>
                </a:cubicBezTo>
                <a:cubicBezTo>
                  <a:pt x="3005067" y="828722"/>
                  <a:pt x="2949673" y="808594"/>
                  <a:pt x="2924513" y="782769"/>
                </a:cubicBezTo>
                <a:cubicBezTo>
                  <a:pt x="2899353" y="756985"/>
                  <a:pt x="2904385" y="725504"/>
                  <a:pt x="2940857" y="714816"/>
                </a:cubicBezTo>
                <a:cubicBezTo>
                  <a:pt x="2977370" y="704128"/>
                  <a:pt x="3045323" y="714192"/>
                  <a:pt x="3114524" y="723008"/>
                </a:cubicBezTo>
                <a:cubicBezTo>
                  <a:pt x="3183724" y="731825"/>
                  <a:pt x="3254214" y="739352"/>
                  <a:pt x="3317135" y="729288"/>
                </a:cubicBezTo>
                <a:cubicBezTo>
                  <a:pt x="3380056" y="719224"/>
                  <a:pt x="3435408" y="691527"/>
                  <a:pt x="3483857" y="682087"/>
                </a:cubicBezTo>
                <a:cubicBezTo>
                  <a:pt x="3532306" y="672647"/>
                  <a:pt x="3573851" y="681463"/>
                  <a:pt x="3601506" y="703463"/>
                </a:cubicBezTo>
                <a:cubicBezTo>
                  <a:pt x="3629203" y="725504"/>
                  <a:pt x="3643052" y="760728"/>
                  <a:pt x="3624171" y="797199"/>
                </a:cubicBezTo>
                <a:cubicBezTo>
                  <a:pt x="3605291" y="833713"/>
                  <a:pt x="3553681" y="871432"/>
                  <a:pt x="3496458" y="890936"/>
                </a:cubicBezTo>
                <a:cubicBezTo>
                  <a:pt x="3439193" y="910441"/>
                  <a:pt x="3376272" y="911688"/>
                  <a:pt x="3326575" y="918009"/>
                </a:cubicBezTo>
                <a:cubicBezTo>
                  <a:pt x="3276879" y="924289"/>
                  <a:pt x="3240366" y="935642"/>
                  <a:pt x="3198862" y="1002306"/>
                </a:cubicBezTo>
                <a:cubicBezTo>
                  <a:pt x="3157317" y="1069011"/>
                  <a:pt x="3110781" y="1191069"/>
                  <a:pt x="3097972" y="1299902"/>
                </a:cubicBezTo>
                <a:cubicBezTo>
                  <a:pt x="3085163" y="1408735"/>
                  <a:pt x="3106165" y="1504385"/>
                  <a:pt x="3159022" y="1545930"/>
                </a:cubicBezTo>
                <a:cubicBezTo>
                  <a:pt x="3211879" y="1587475"/>
                  <a:pt x="3296591" y="1574875"/>
                  <a:pt x="3371697" y="1536490"/>
                </a:cubicBezTo>
                <a:cubicBezTo>
                  <a:pt x="3446803" y="1498105"/>
                  <a:pt x="3512219" y="1433937"/>
                  <a:pt x="3551228" y="1376048"/>
                </a:cubicBezTo>
                <a:cubicBezTo>
                  <a:pt x="3590236" y="1318159"/>
                  <a:pt x="3602837" y="1266549"/>
                  <a:pt x="3554389" y="1231949"/>
                </a:cubicBezTo>
                <a:cubicBezTo>
                  <a:pt x="3505940" y="1197349"/>
                  <a:pt x="3396442" y="1179716"/>
                  <a:pt x="3336348" y="1191693"/>
                </a:cubicBezTo>
                <a:cubicBezTo>
                  <a:pt x="3276255" y="1203628"/>
                  <a:pt x="3265567" y="1245174"/>
                  <a:pt x="3344832" y="1255238"/>
                </a:cubicBezTo>
                <a:cubicBezTo>
                  <a:pt x="3424096" y="1265302"/>
                  <a:pt x="3593355" y="1243926"/>
                  <a:pt x="3769850" y="1241722"/>
                </a:cubicBezTo>
                <a:cubicBezTo>
                  <a:pt x="3946345" y="1239518"/>
                  <a:pt x="4130076" y="1256527"/>
                  <a:pt x="4254670" y="1259646"/>
                </a:cubicBezTo>
                <a:cubicBezTo>
                  <a:pt x="4379265" y="1262806"/>
                  <a:pt x="4444681" y="1252077"/>
                  <a:pt x="4484022" y="1236981"/>
                </a:cubicBezTo>
                <a:cubicBezTo>
                  <a:pt x="4523363" y="1221885"/>
                  <a:pt x="4536546" y="1202381"/>
                  <a:pt x="4465766" y="1185995"/>
                </a:cubicBezTo>
                <a:cubicBezTo>
                  <a:pt x="4394985" y="1169652"/>
                  <a:pt x="4240198" y="1156427"/>
                  <a:pt x="4105248" y="1177512"/>
                </a:cubicBezTo>
                <a:cubicBezTo>
                  <a:pt x="3970299" y="1198596"/>
                  <a:pt x="3855145" y="1253948"/>
                  <a:pt x="3734668" y="1331342"/>
                </a:cubicBezTo>
                <a:cubicBezTo>
                  <a:pt x="3614191" y="1408735"/>
                  <a:pt x="3488349" y="1508128"/>
                  <a:pt x="3388914" y="1604110"/>
                </a:cubicBezTo>
                <a:cubicBezTo>
                  <a:pt x="3289480" y="1700051"/>
                  <a:pt x="3216495" y="1792540"/>
                  <a:pt x="3156111" y="1921252"/>
                </a:cubicBezTo>
                <a:cubicBezTo>
                  <a:pt x="3095726" y="2049922"/>
                  <a:pt x="3047902" y="2214772"/>
                  <a:pt x="3060461" y="2419255"/>
                </a:cubicBezTo>
                <a:cubicBezTo>
                  <a:pt x="3073062" y="2623738"/>
                  <a:pt x="3146046" y="2867895"/>
                  <a:pt x="3290769" y="3048465"/>
                </a:cubicBezTo>
                <a:cubicBezTo>
                  <a:pt x="3435492" y="3229035"/>
                  <a:pt x="3651951" y="3346061"/>
                  <a:pt x="3868994" y="3394510"/>
                </a:cubicBezTo>
                <a:cubicBezTo>
                  <a:pt x="4086077" y="3442958"/>
                  <a:pt x="4303784" y="3422830"/>
                  <a:pt x="4507643" y="3330632"/>
                </a:cubicBezTo>
                <a:cubicBezTo>
                  <a:pt x="4711502" y="3238434"/>
                  <a:pt x="4901513" y="3074249"/>
                  <a:pt x="5002818" y="2841404"/>
                </a:cubicBezTo>
                <a:cubicBezTo>
                  <a:pt x="5104125" y="2608600"/>
                  <a:pt x="5116725" y="2307220"/>
                  <a:pt x="5036171" y="2052999"/>
                </a:cubicBezTo>
                <a:cubicBezTo>
                  <a:pt x="4955617" y="1798820"/>
                  <a:pt x="4781992" y="1591800"/>
                  <a:pt x="4605164" y="1482011"/>
                </a:cubicBezTo>
                <a:cubicBezTo>
                  <a:pt x="4428379" y="1372221"/>
                  <a:pt x="4248391" y="1359621"/>
                  <a:pt x="4138310" y="1352717"/>
                </a:cubicBezTo>
                <a:cubicBezTo>
                  <a:pt x="4028188" y="1345814"/>
                  <a:pt x="3987932" y="1344525"/>
                  <a:pt x="3977868" y="1466624"/>
                </a:cubicBezTo>
                <a:cubicBezTo>
                  <a:pt x="3967804" y="1588681"/>
                  <a:pt x="3987932" y="1834086"/>
                  <a:pt x="3999909" y="2001140"/>
                </a:cubicBezTo>
                <a:cubicBezTo>
                  <a:pt x="4011844" y="2168195"/>
                  <a:pt x="4015629" y="2256900"/>
                  <a:pt x="4033885" y="2313208"/>
                </a:cubicBezTo>
                <a:cubicBezTo>
                  <a:pt x="4052142" y="2369517"/>
                  <a:pt x="4084871" y="2393430"/>
                  <a:pt x="4125585" y="2399085"/>
                </a:cubicBezTo>
                <a:cubicBezTo>
                  <a:pt x="4166340" y="2404741"/>
                  <a:pt x="4215080" y="2392182"/>
                  <a:pt x="4230051" y="2362905"/>
                </a:cubicBezTo>
                <a:cubicBezTo>
                  <a:pt x="4244980" y="2333628"/>
                  <a:pt x="4226100" y="2287716"/>
                  <a:pt x="4194660" y="2271372"/>
                </a:cubicBezTo>
                <a:cubicBezTo>
                  <a:pt x="4163179" y="2255028"/>
                  <a:pt x="4119138" y="2268211"/>
                  <a:pt x="4097056" y="2303394"/>
                </a:cubicBezTo>
                <a:cubicBezTo>
                  <a:pt x="4074973" y="2338576"/>
                  <a:pt x="4074849" y="2395758"/>
                  <a:pt x="4080670" y="2437262"/>
                </a:cubicBezTo>
                <a:cubicBezTo>
                  <a:pt x="4086493" y="2478808"/>
                  <a:pt x="4098262" y="2504675"/>
                  <a:pt x="4079589" y="2519521"/>
                </a:cubicBezTo>
                <a:cubicBezTo>
                  <a:pt x="4060917" y="2534368"/>
                  <a:pt x="4011844" y="2538152"/>
                  <a:pt x="3900475" y="2539400"/>
                </a:cubicBezTo>
                <a:cubicBezTo>
                  <a:pt x="3789105" y="2540647"/>
                  <a:pt x="3615438" y="2539400"/>
                  <a:pt x="3490220" y="2545679"/>
                </a:cubicBezTo>
                <a:cubicBezTo>
                  <a:pt x="3365002" y="2551959"/>
                  <a:pt x="3288232" y="2565807"/>
                  <a:pt x="3249848" y="2602944"/>
                </a:cubicBezTo>
                <a:cubicBezTo>
                  <a:pt x="3211463" y="2640081"/>
                  <a:pt x="3211463" y="2700466"/>
                  <a:pt x="3240241" y="2790460"/>
                </a:cubicBezTo>
                <a:cubicBezTo>
                  <a:pt x="3269019" y="2880454"/>
                  <a:pt x="3326617" y="2999975"/>
                  <a:pt x="3433578" y="3133385"/>
                </a:cubicBezTo>
                <a:cubicBezTo>
                  <a:pt x="3540540" y="3266796"/>
                  <a:pt x="3696907" y="3414014"/>
                  <a:pt x="3925468" y="3465290"/>
                </a:cubicBezTo>
              </a:path>
            </a:pathLst>
          </a:custGeom>
          <a:noFill/>
          <a:ln w="15875" cap="rnd">
            <a:solidFill>
              <a:schemeClr val="accent1"/>
            </a:solidFill>
            <a:prstDash val="solid"/>
            <a:miter/>
          </a:ln>
        </p:spPr>
        <p:txBody>
          <a:bodyPr rtlCol="0" anchor="ctr"/>
          <a:lstStyle/>
          <a:p>
            <a:endParaRPr lang="ja-JP" altLang="en-US"/>
          </a:p>
        </p:txBody>
      </p:sp>
      <p:sp>
        <p:nvSpPr>
          <p:cNvPr id="14" name="タイトル 1">
            <a:extLst>
              <a:ext uri="{FF2B5EF4-FFF2-40B4-BE49-F238E27FC236}">
                <a16:creationId xmlns:a16="http://schemas.microsoft.com/office/drawing/2014/main" id="{6141AE64-F8E6-9BFD-EC74-60CB7AEEED4F}"/>
              </a:ext>
            </a:extLst>
          </p:cNvPr>
          <p:cNvSpPr>
            <a:spLocks noGrp="1"/>
          </p:cNvSpPr>
          <p:nvPr>
            <p:ph type="title"/>
          </p:nvPr>
        </p:nvSpPr>
        <p:spPr>
          <a:xfrm>
            <a:off x="352482" y="434305"/>
            <a:ext cx="5419467" cy="428400"/>
          </a:xfrm>
        </p:spPr>
        <p:txBody>
          <a:bodyPr wrap="none">
            <a:noAutofit/>
          </a:bodyPr>
          <a:lstStyle>
            <a:lvl1pPr>
              <a:defRPr lang="ja-JP" altLang="en-US" sz="2000" b="1" dirty="0"/>
            </a:lvl1pPr>
          </a:lstStyle>
          <a:p>
            <a:pPr lvl="0"/>
            <a:r>
              <a:rPr kumimoji="1" lang="ja-JP" altLang="en-US"/>
              <a:t>マスター タイトルの書式設定</a:t>
            </a:r>
          </a:p>
        </p:txBody>
      </p:sp>
      <p:sp>
        <p:nvSpPr>
          <p:cNvPr id="15" name="テキスト プレースホルダー 51">
            <a:extLst>
              <a:ext uri="{FF2B5EF4-FFF2-40B4-BE49-F238E27FC236}">
                <a16:creationId xmlns:a16="http://schemas.microsoft.com/office/drawing/2014/main" id="{47FADC7D-E27E-F3E2-879A-0E497D4D9B8B}"/>
              </a:ext>
            </a:extLst>
          </p:cNvPr>
          <p:cNvSpPr>
            <a:spLocks noGrp="1"/>
          </p:cNvSpPr>
          <p:nvPr>
            <p:ph type="body" sz="quarter" idx="13"/>
          </p:nvPr>
        </p:nvSpPr>
        <p:spPr>
          <a:xfrm>
            <a:off x="383811" y="212725"/>
            <a:ext cx="2228495" cy="259815"/>
          </a:xfrm>
          <a:noFill/>
        </p:spPr>
        <p:txBody>
          <a:bodyPr wrap="none" rtlCol="0">
            <a:spAutoFit/>
          </a:bodyPr>
          <a:lstStyle>
            <a:lvl1pPr marL="0" indent="0">
              <a:buFontTx/>
              <a:buNone/>
              <a:defRPr lang="ja-JP" altLang="en-US" sz="1200" b="1" dirty="0">
                <a:latin typeface="+mj-ea"/>
                <a:ea typeface="+mj-ea"/>
              </a:defRPr>
            </a:lvl1pPr>
          </a:lstStyle>
          <a:p>
            <a:pPr lvl="0"/>
            <a:r>
              <a:rPr kumimoji="1" lang="ja-JP" altLang="en-US"/>
              <a:t>マスター テキストの書式設定</a:t>
            </a:r>
          </a:p>
        </p:txBody>
      </p:sp>
    </p:spTree>
    <p:extLst>
      <p:ext uri="{BB962C8B-B14F-4D97-AF65-F5344CB8AC3E}">
        <p14:creationId xmlns:p14="http://schemas.microsoft.com/office/powerpoint/2010/main" val="451326031"/>
      </p:ext>
    </p:extLst>
  </p:cSld>
  <p:clrMapOvr>
    <a:masterClrMapping/>
  </p:clrMapOvr>
  <p:extLst mod="1">
    <p:ext uri="{DCECCB84-F9BA-43D5-87BE-67443E8EF086}">
      <p15:sldGuideLst xmlns:p15="http://schemas.microsoft.com/office/powerpoint/2012/main">
        <p15:guide id="1" orient="horz" pos="70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赤線_ヘッド文あり">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590CD8F7-B765-3CB6-9036-61B8EBDC7AD2}"/>
              </a:ext>
            </a:extLst>
          </p:cNvPr>
          <p:cNvSpPr>
            <a:spLocks noGrp="1"/>
          </p:cNvSpPr>
          <p:nvPr>
            <p:ph type="dt" sz="half" idx="10"/>
          </p:nvPr>
        </p:nvSpPr>
        <p:spPr/>
        <p:txBody>
          <a:bodyPr/>
          <a:lstStyle/>
          <a:p>
            <a:fld id="{BCE1E070-6262-4646-877F-3D4711E08884}" type="datetime1">
              <a:rPr kumimoji="1" lang="ja-JP" altLang="en-US" smtClean="0"/>
              <a:t>2024/7/1</a:t>
            </a:fld>
            <a:endParaRPr kumimoji="1" lang="ja-JP" altLang="en-US"/>
          </a:p>
        </p:txBody>
      </p:sp>
      <p:sp>
        <p:nvSpPr>
          <p:cNvPr id="3" name="フッター プレースホルダー 2">
            <a:extLst>
              <a:ext uri="{FF2B5EF4-FFF2-40B4-BE49-F238E27FC236}">
                <a16:creationId xmlns:a16="http://schemas.microsoft.com/office/drawing/2014/main" id="{D766499A-ED94-0F69-099E-87D5B933CB6F}"/>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5" name="スライド番号プレースホルダー 4">
            <a:extLst>
              <a:ext uri="{FF2B5EF4-FFF2-40B4-BE49-F238E27FC236}">
                <a16:creationId xmlns:a16="http://schemas.microsoft.com/office/drawing/2014/main" id="{3A43CC76-FD01-4D12-3976-5E659672B14F}"/>
              </a:ext>
            </a:extLst>
          </p:cNvPr>
          <p:cNvSpPr>
            <a:spLocks noGrp="1"/>
          </p:cNvSpPr>
          <p:nvPr>
            <p:ph type="sldNum" sz="quarter" idx="12"/>
          </p:nvPr>
        </p:nvSpPr>
        <p:spPr>
          <a:xfrm>
            <a:off x="7544584" y="6492875"/>
            <a:ext cx="2228850" cy="365125"/>
          </a:xfrm>
        </p:spPr>
        <p:txBody>
          <a:bodyPr/>
          <a:lstStyle>
            <a:lvl1pPr>
              <a:defRPr sz="1100" b="1">
                <a:solidFill>
                  <a:schemeClr val="tx1">
                    <a:lumMod val="50000"/>
                    <a:lumOff val="50000"/>
                  </a:schemeClr>
                </a:solidFill>
                <a:latin typeface="+mn-lt"/>
              </a:defRPr>
            </a:lvl1pPr>
          </a:lstStyle>
          <a:p>
            <a:fld id="{3DB74C4F-4DC2-4C31-8D08-159129179147}" type="slidenum">
              <a:rPr kumimoji="1" lang="ja-JP" altLang="en-US" smtClean="0"/>
              <a:pPr/>
              <a:t>‹#›</a:t>
            </a:fld>
            <a:endParaRPr kumimoji="1" lang="ja-JP" altLang="en-US"/>
          </a:p>
        </p:txBody>
      </p:sp>
      <p:sp>
        <p:nvSpPr>
          <p:cNvPr id="6" name="フリーフォーム: 図形 5">
            <a:extLst>
              <a:ext uri="{FF2B5EF4-FFF2-40B4-BE49-F238E27FC236}">
                <a16:creationId xmlns:a16="http://schemas.microsoft.com/office/drawing/2014/main" id="{7D8472CA-E133-8E30-FFBD-005A50E6BD3D}"/>
              </a:ext>
            </a:extLst>
          </p:cNvPr>
          <p:cNvSpPr/>
          <p:nvPr userDrawn="1"/>
        </p:nvSpPr>
        <p:spPr>
          <a:xfrm>
            <a:off x="0" y="724339"/>
            <a:ext cx="9956798" cy="179116"/>
          </a:xfrm>
          <a:custGeom>
            <a:avLst/>
            <a:gdLst>
              <a:gd name="connsiteX0" fmla="*/ 0 w 5915025"/>
              <a:gd name="connsiteY0" fmla="*/ 0 h 761742"/>
              <a:gd name="connsiteX1" fmla="*/ 2947987 w 5915025"/>
              <a:gd name="connsiteY1" fmla="*/ 733425 h 761742"/>
              <a:gd name="connsiteX2" fmla="*/ 5915025 w 5915025"/>
              <a:gd name="connsiteY2" fmla="*/ 552450 h 761742"/>
              <a:gd name="connsiteX0" fmla="*/ 0 w 8328025"/>
              <a:gd name="connsiteY0" fmla="*/ 0 h 733425"/>
              <a:gd name="connsiteX1" fmla="*/ 2947987 w 8328025"/>
              <a:gd name="connsiteY1" fmla="*/ 733425 h 733425"/>
              <a:gd name="connsiteX2" fmla="*/ 8328025 w 8328025"/>
              <a:gd name="connsiteY2" fmla="*/ 184150 h 733425"/>
              <a:gd name="connsiteX0" fmla="*/ 0 w 8328025"/>
              <a:gd name="connsiteY0" fmla="*/ 0 h 733425"/>
              <a:gd name="connsiteX1" fmla="*/ 2947987 w 8328025"/>
              <a:gd name="connsiteY1" fmla="*/ 733425 h 733425"/>
              <a:gd name="connsiteX2" fmla="*/ 8328025 w 8328025"/>
              <a:gd name="connsiteY2" fmla="*/ 184150 h 733425"/>
              <a:gd name="connsiteX0" fmla="*/ 0 w 8328025"/>
              <a:gd name="connsiteY0" fmla="*/ 0 h 755652"/>
              <a:gd name="connsiteX1" fmla="*/ 2947987 w 8328025"/>
              <a:gd name="connsiteY1" fmla="*/ 733425 h 755652"/>
              <a:gd name="connsiteX2" fmla="*/ 8328025 w 8328025"/>
              <a:gd name="connsiteY2" fmla="*/ 184150 h 755652"/>
              <a:gd name="connsiteX0" fmla="*/ 0 w 8328025"/>
              <a:gd name="connsiteY0" fmla="*/ 0 h 755652"/>
              <a:gd name="connsiteX1" fmla="*/ 2947987 w 8328025"/>
              <a:gd name="connsiteY1" fmla="*/ 733425 h 755652"/>
              <a:gd name="connsiteX2" fmla="*/ 8328025 w 8328025"/>
              <a:gd name="connsiteY2" fmla="*/ 184150 h 755652"/>
              <a:gd name="connsiteX0" fmla="*/ 0 w 10576775"/>
              <a:gd name="connsiteY0" fmla="*/ 332943 h 1069864"/>
              <a:gd name="connsiteX1" fmla="*/ 2947987 w 10576775"/>
              <a:gd name="connsiteY1" fmla="*/ 1066368 h 1069864"/>
              <a:gd name="connsiteX2" fmla="*/ 10576775 w 10576775"/>
              <a:gd name="connsiteY2" fmla="*/ 0 h 1069864"/>
              <a:gd name="connsiteX0" fmla="*/ 0 w 10576775"/>
              <a:gd name="connsiteY0" fmla="*/ 332943 h 1069865"/>
              <a:gd name="connsiteX1" fmla="*/ 2947987 w 10576775"/>
              <a:gd name="connsiteY1" fmla="*/ 1066368 h 1069865"/>
              <a:gd name="connsiteX2" fmla="*/ 10576775 w 10576775"/>
              <a:gd name="connsiteY2" fmla="*/ 0 h 1069865"/>
              <a:gd name="connsiteX0" fmla="*/ 0 w 10576775"/>
              <a:gd name="connsiteY0" fmla="*/ 332943 h 1237511"/>
              <a:gd name="connsiteX1" fmla="*/ 3669511 w 10576775"/>
              <a:gd name="connsiteY1" fmla="*/ 1234723 h 1237511"/>
              <a:gd name="connsiteX2" fmla="*/ 10576775 w 10576775"/>
              <a:gd name="connsiteY2" fmla="*/ 0 h 1237511"/>
              <a:gd name="connsiteX0" fmla="*/ 0 w 10576775"/>
              <a:gd name="connsiteY0" fmla="*/ 332943 h 1234776"/>
              <a:gd name="connsiteX1" fmla="*/ 3669511 w 10576775"/>
              <a:gd name="connsiteY1" fmla="*/ 1234723 h 1234776"/>
              <a:gd name="connsiteX2" fmla="*/ 10576775 w 10576775"/>
              <a:gd name="connsiteY2" fmla="*/ 0 h 1234776"/>
              <a:gd name="connsiteX0" fmla="*/ 0 w 10576775"/>
              <a:gd name="connsiteY0" fmla="*/ 332943 h 1251515"/>
              <a:gd name="connsiteX1" fmla="*/ 3669511 w 10576775"/>
              <a:gd name="connsiteY1" fmla="*/ 1234723 h 1251515"/>
              <a:gd name="connsiteX2" fmla="*/ 7221703 w 10576775"/>
              <a:gd name="connsiteY2" fmla="*/ 673308 h 1251515"/>
              <a:gd name="connsiteX3" fmla="*/ 10576775 w 10576775"/>
              <a:gd name="connsiteY3" fmla="*/ 0 h 1251515"/>
              <a:gd name="connsiteX0" fmla="*/ 0 w 10753148"/>
              <a:gd name="connsiteY0" fmla="*/ 0 h 918572"/>
              <a:gd name="connsiteX1" fmla="*/ 3669511 w 10753148"/>
              <a:gd name="connsiteY1" fmla="*/ 901780 h 918572"/>
              <a:gd name="connsiteX2" fmla="*/ 7221703 w 10753148"/>
              <a:gd name="connsiteY2" fmla="*/ 340365 h 918572"/>
              <a:gd name="connsiteX3" fmla="*/ 10753148 w 10753148"/>
              <a:gd name="connsiteY3" fmla="*/ 532873 h 918572"/>
              <a:gd name="connsiteX0" fmla="*/ 0 w 10753148"/>
              <a:gd name="connsiteY0" fmla="*/ 0 h 918572"/>
              <a:gd name="connsiteX1" fmla="*/ 3669511 w 10753148"/>
              <a:gd name="connsiteY1" fmla="*/ 901780 h 918572"/>
              <a:gd name="connsiteX2" fmla="*/ 7221703 w 10753148"/>
              <a:gd name="connsiteY2" fmla="*/ 340365 h 918572"/>
              <a:gd name="connsiteX3" fmla="*/ 10753148 w 10753148"/>
              <a:gd name="connsiteY3" fmla="*/ 532873 h 918572"/>
              <a:gd name="connsiteX0" fmla="*/ 0 w 10753148"/>
              <a:gd name="connsiteY0" fmla="*/ 0 h 918572"/>
              <a:gd name="connsiteX1" fmla="*/ 3669511 w 10753148"/>
              <a:gd name="connsiteY1" fmla="*/ 901780 h 918572"/>
              <a:gd name="connsiteX2" fmla="*/ 7221703 w 10753148"/>
              <a:gd name="connsiteY2" fmla="*/ 340365 h 918572"/>
              <a:gd name="connsiteX3" fmla="*/ 10753148 w 10753148"/>
              <a:gd name="connsiteY3" fmla="*/ 532873 h 918572"/>
              <a:gd name="connsiteX0" fmla="*/ 0 w 10753148"/>
              <a:gd name="connsiteY0" fmla="*/ 0 h 925735"/>
              <a:gd name="connsiteX1" fmla="*/ 3669511 w 10753148"/>
              <a:gd name="connsiteY1" fmla="*/ 901780 h 925735"/>
              <a:gd name="connsiteX2" fmla="*/ 7221703 w 10753148"/>
              <a:gd name="connsiteY2" fmla="*/ 340365 h 925735"/>
              <a:gd name="connsiteX3" fmla="*/ 10753148 w 10753148"/>
              <a:gd name="connsiteY3" fmla="*/ 532873 h 925735"/>
              <a:gd name="connsiteX0" fmla="*/ 0 w 10753148"/>
              <a:gd name="connsiteY0" fmla="*/ 0 h 1043474"/>
              <a:gd name="connsiteX1" fmla="*/ 3100309 w 10753148"/>
              <a:gd name="connsiteY1" fmla="*/ 1023536 h 1043474"/>
              <a:gd name="connsiteX2" fmla="*/ 7221703 w 10753148"/>
              <a:gd name="connsiteY2" fmla="*/ 340365 h 1043474"/>
              <a:gd name="connsiteX3" fmla="*/ 10753148 w 10753148"/>
              <a:gd name="connsiteY3" fmla="*/ 532873 h 1043474"/>
              <a:gd name="connsiteX0" fmla="*/ 0 w 10753148"/>
              <a:gd name="connsiteY0" fmla="*/ 0 h 1031142"/>
              <a:gd name="connsiteX1" fmla="*/ 3100309 w 10753148"/>
              <a:gd name="connsiteY1" fmla="*/ 1023536 h 1031142"/>
              <a:gd name="connsiteX2" fmla="*/ 7919177 w 10753148"/>
              <a:gd name="connsiteY2" fmla="*/ 432006 h 1031142"/>
              <a:gd name="connsiteX3" fmla="*/ 10753148 w 10753148"/>
              <a:gd name="connsiteY3" fmla="*/ 532873 h 1031142"/>
              <a:gd name="connsiteX0" fmla="*/ 0 w 10753148"/>
              <a:gd name="connsiteY0" fmla="*/ 0 h 1028248"/>
              <a:gd name="connsiteX1" fmla="*/ 3100309 w 10753148"/>
              <a:gd name="connsiteY1" fmla="*/ 1023536 h 1028248"/>
              <a:gd name="connsiteX2" fmla="*/ 7919177 w 10753148"/>
              <a:gd name="connsiteY2" fmla="*/ 432006 h 1028248"/>
              <a:gd name="connsiteX3" fmla="*/ 10753148 w 10753148"/>
              <a:gd name="connsiteY3" fmla="*/ 532873 h 1028248"/>
              <a:gd name="connsiteX0" fmla="*/ 0 w 10753148"/>
              <a:gd name="connsiteY0" fmla="*/ 0 h 1034490"/>
              <a:gd name="connsiteX1" fmla="*/ 3100309 w 10753148"/>
              <a:gd name="connsiteY1" fmla="*/ 1023536 h 1034490"/>
              <a:gd name="connsiteX2" fmla="*/ 10753148 w 10753148"/>
              <a:gd name="connsiteY2" fmla="*/ 532873 h 1034490"/>
              <a:gd name="connsiteX0" fmla="*/ 0 w 10945554"/>
              <a:gd name="connsiteY0" fmla="*/ 16986 h 1040530"/>
              <a:gd name="connsiteX1" fmla="*/ 3100309 w 10945554"/>
              <a:gd name="connsiteY1" fmla="*/ 1040522 h 1040530"/>
              <a:gd name="connsiteX2" fmla="*/ 10945554 w 10945554"/>
              <a:gd name="connsiteY2" fmla="*/ 0 h 1040530"/>
              <a:gd name="connsiteX0" fmla="*/ 0 w 10945554"/>
              <a:gd name="connsiteY0" fmla="*/ 16986 h 1055583"/>
              <a:gd name="connsiteX1" fmla="*/ 3100309 w 10945554"/>
              <a:gd name="connsiteY1" fmla="*/ 1040522 h 1055583"/>
              <a:gd name="connsiteX2" fmla="*/ 10945554 w 10945554"/>
              <a:gd name="connsiteY2" fmla="*/ 0 h 1055583"/>
              <a:gd name="connsiteX0" fmla="*/ 0 w 10945554"/>
              <a:gd name="connsiteY0" fmla="*/ 16986 h 1055577"/>
              <a:gd name="connsiteX1" fmla="*/ 3100309 w 10945554"/>
              <a:gd name="connsiteY1" fmla="*/ 1040522 h 1055577"/>
              <a:gd name="connsiteX2" fmla="*/ 10945554 w 10945554"/>
              <a:gd name="connsiteY2" fmla="*/ 0 h 1055577"/>
              <a:gd name="connsiteX0" fmla="*/ 0 w 10945554"/>
              <a:gd name="connsiteY0" fmla="*/ 16986 h 1055577"/>
              <a:gd name="connsiteX1" fmla="*/ 3100309 w 10945554"/>
              <a:gd name="connsiteY1" fmla="*/ 1040522 h 1055577"/>
              <a:gd name="connsiteX2" fmla="*/ 10945554 w 10945554"/>
              <a:gd name="connsiteY2" fmla="*/ 0 h 1055577"/>
              <a:gd name="connsiteX0" fmla="*/ 0 w 10945554"/>
              <a:gd name="connsiteY0" fmla="*/ 16986 h 1055577"/>
              <a:gd name="connsiteX1" fmla="*/ 3100309 w 10945554"/>
              <a:gd name="connsiteY1" fmla="*/ 1040522 h 1055577"/>
              <a:gd name="connsiteX2" fmla="*/ 10945554 w 10945554"/>
              <a:gd name="connsiteY2" fmla="*/ 0 h 1055577"/>
              <a:gd name="connsiteX0" fmla="*/ 0 w 10945554"/>
              <a:gd name="connsiteY0" fmla="*/ 16986 h 1055577"/>
              <a:gd name="connsiteX1" fmla="*/ 3100309 w 10945554"/>
              <a:gd name="connsiteY1" fmla="*/ 1040522 h 1055577"/>
              <a:gd name="connsiteX2" fmla="*/ 10945554 w 10945554"/>
              <a:gd name="connsiteY2" fmla="*/ 0 h 1055577"/>
            </a:gdLst>
            <a:ahLst/>
            <a:cxnLst>
              <a:cxn ang="0">
                <a:pos x="connsiteX0" y="connsiteY0"/>
              </a:cxn>
              <a:cxn ang="0">
                <a:pos x="connsiteX1" y="connsiteY1"/>
              </a:cxn>
              <a:cxn ang="0">
                <a:pos x="connsiteX2" y="connsiteY2"/>
              </a:cxn>
            </a:cxnLst>
            <a:rect l="l" t="t" r="r" b="b"/>
            <a:pathLst>
              <a:path w="10945554" h="1055577">
                <a:moveTo>
                  <a:pt x="0" y="16986"/>
                </a:moveTo>
                <a:cubicBezTo>
                  <a:pt x="135247" y="1083393"/>
                  <a:pt x="1276050" y="1043353"/>
                  <a:pt x="3100309" y="1040522"/>
                </a:cubicBezTo>
                <a:cubicBezTo>
                  <a:pt x="4924568" y="1037691"/>
                  <a:pt x="8786019" y="1270669"/>
                  <a:pt x="10945554" y="0"/>
                </a:cubicBez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7" name="グラフィックス 6">
            <a:extLst>
              <a:ext uri="{FF2B5EF4-FFF2-40B4-BE49-F238E27FC236}">
                <a16:creationId xmlns:a16="http://schemas.microsoft.com/office/drawing/2014/main" id="{9DC6F92E-6B8C-02C2-AB94-5BEFD506C8D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8406818" y="210781"/>
            <a:ext cx="1026676" cy="233049"/>
          </a:xfrm>
          <a:prstGeom prst="rect">
            <a:avLst/>
          </a:prstGeom>
        </p:spPr>
      </p:pic>
      <p:sp>
        <p:nvSpPr>
          <p:cNvPr id="8" name="フリーフォーム: 図形 7">
            <a:extLst>
              <a:ext uri="{FF2B5EF4-FFF2-40B4-BE49-F238E27FC236}">
                <a16:creationId xmlns:a16="http://schemas.microsoft.com/office/drawing/2014/main" id="{04770AE3-DA02-7881-6B6C-A46E455CFE0C}"/>
              </a:ext>
            </a:extLst>
          </p:cNvPr>
          <p:cNvSpPr/>
          <p:nvPr userDrawn="1"/>
        </p:nvSpPr>
        <p:spPr>
          <a:xfrm rot="650446">
            <a:off x="11520" y="611212"/>
            <a:ext cx="81972" cy="130278"/>
          </a:xfrm>
          <a:custGeom>
            <a:avLst/>
            <a:gdLst>
              <a:gd name="connsiteX0" fmla="*/ 6253 w 177898"/>
              <a:gd name="connsiteY0" fmla="*/ 282666 h 282735"/>
              <a:gd name="connsiteX1" fmla="*/ 50703 w 177898"/>
              <a:gd name="connsiteY1" fmla="*/ 22316 h 282735"/>
              <a:gd name="connsiteX2" fmla="*/ 177703 w 177898"/>
              <a:gd name="connsiteY2" fmla="*/ 47716 h 282735"/>
              <a:gd name="connsiteX3" fmla="*/ 6253 w 177898"/>
              <a:gd name="connsiteY3" fmla="*/ 282666 h 282735"/>
            </a:gdLst>
            <a:ahLst/>
            <a:cxnLst>
              <a:cxn ang="0">
                <a:pos x="connsiteX0" y="connsiteY0"/>
              </a:cxn>
              <a:cxn ang="0">
                <a:pos x="connsiteX1" y="connsiteY1"/>
              </a:cxn>
              <a:cxn ang="0">
                <a:pos x="connsiteX2" y="connsiteY2"/>
              </a:cxn>
              <a:cxn ang="0">
                <a:pos x="connsiteX3" y="connsiteY3"/>
              </a:cxn>
            </a:cxnLst>
            <a:rect l="l" t="t" r="r" b="b"/>
            <a:pathLst>
              <a:path w="177898" h="282735">
                <a:moveTo>
                  <a:pt x="6253" y="282666"/>
                </a:moveTo>
                <a:cubicBezTo>
                  <a:pt x="-14914" y="278433"/>
                  <a:pt x="22128" y="61474"/>
                  <a:pt x="50703" y="22316"/>
                </a:cubicBezTo>
                <a:cubicBezTo>
                  <a:pt x="79278" y="-16842"/>
                  <a:pt x="182995" y="-2026"/>
                  <a:pt x="177703" y="47716"/>
                </a:cubicBezTo>
                <a:cubicBezTo>
                  <a:pt x="172411" y="97458"/>
                  <a:pt x="27420" y="286899"/>
                  <a:pt x="6253" y="282666"/>
                </a:cubicBezTo>
                <a:close/>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グラフィックス 6">
            <a:extLst>
              <a:ext uri="{FF2B5EF4-FFF2-40B4-BE49-F238E27FC236}">
                <a16:creationId xmlns:a16="http://schemas.microsoft.com/office/drawing/2014/main" id="{45D729C5-C88C-0BFC-FA56-B1B325E1D3CD}"/>
              </a:ext>
            </a:extLst>
          </p:cNvPr>
          <p:cNvSpPr/>
          <p:nvPr userDrawn="1"/>
        </p:nvSpPr>
        <p:spPr>
          <a:xfrm flipH="1">
            <a:off x="7538926" y="387159"/>
            <a:ext cx="690674" cy="470326"/>
          </a:xfrm>
          <a:custGeom>
            <a:avLst/>
            <a:gdLst>
              <a:gd name="connsiteX0" fmla="*/ 0 w 9875100"/>
              <a:gd name="connsiteY0" fmla="*/ 3339656 h 3487140"/>
              <a:gd name="connsiteX1" fmla="*/ 659859 w 9875100"/>
              <a:gd name="connsiteY1" fmla="*/ 3395424 h 3487140"/>
              <a:gd name="connsiteX2" fmla="*/ 984944 w 9875100"/>
              <a:gd name="connsiteY2" fmla="*/ 2916759 h 3487140"/>
              <a:gd name="connsiteX3" fmla="*/ 1241411 w 9875100"/>
              <a:gd name="connsiteY3" fmla="*/ 2898295 h 3487140"/>
              <a:gd name="connsiteX4" fmla="*/ 1470762 w 9875100"/>
              <a:gd name="connsiteY4" fmla="*/ 3416675 h 3487140"/>
              <a:gd name="connsiteX5" fmla="*/ 1630581 w 9875100"/>
              <a:gd name="connsiteY5" fmla="*/ 3205871 h 3487140"/>
              <a:gd name="connsiteX6" fmla="*/ 1889834 w 9875100"/>
              <a:gd name="connsiteY6" fmla="*/ 2696848 h 3487140"/>
              <a:gd name="connsiteX7" fmla="*/ 2164182 w 9875100"/>
              <a:gd name="connsiteY7" fmla="*/ 2954187 h 3487140"/>
              <a:gd name="connsiteX8" fmla="*/ 2511516 w 9875100"/>
              <a:gd name="connsiteY8" fmla="*/ 3339906 h 3487140"/>
              <a:gd name="connsiteX9" fmla="*/ 2969638 w 9875100"/>
              <a:gd name="connsiteY9" fmla="*/ 3385485 h 3487140"/>
              <a:gd name="connsiteX10" fmla="*/ 3048320 w 9875100"/>
              <a:gd name="connsiteY10" fmla="*/ 3295741 h 3487140"/>
              <a:gd name="connsiteX11" fmla="*/ 2797218 w 9875100"/>
              <a:gd name="connsiteY11" fmla="*/ 3112384 h 3487140"/>
              <a:gd name="connsiteX12" fmla="*/ 2491055 w 9875100"/>
              <a:gd name="connsiteY12" fmla="*/ 2750287 h 3487140"/>
              <a:gd name="connsiteX13" fmla="*/ 2399523 w 9875100"/>
              <a:gd name="connsiteY13" fmla="*/ 2305432 h 3487140"/>
              <a:gd name="connsiteX14" fmla="*/ 2527111 w 9875100"/>
              <a:gd name="connsiteY14" fmla="*/ 1919713 h 3487140"/>
              <a:gd name="connsiteX15" fmla="*/ 2851323 w 9875100"/>
              <a:gd name="connsiteY15" fmla="*/ 1637837 h 3487140"/>
              <a:gd name="connsiteX16" fmla="*/ 3344627 w 9875100"/>
              <a:gd name="connsiteY16" fmla="*/ 1545972 h 3487140"/>
              <a:gd name="connsiteX17" fmla="*/ 3579302 w 9875100"/>
              <a:gd name="connsiteY17" fmla="*/ 1517651 h 3487140"/>
              <a:gd name="connsiteX18" fmla="*/ 3564039 w 9875100"/>
              <a:gd name="connsiteY18" fmla="*/ 1460718 h 3487140"/>
              <a:gd name="connsiteX19" fmla="*/ 3287985 w 9875100"/>
              <a:gd name="connsiteY19" fmla="*/ 1416969 h 3487140"/>
              <a:gd name="connsiteX20" fmla="*/ 2768565 w 9875100"/>
              <a:gd name="connsiteY20" fmla="*/ 1517318 h 3487140"/>
              <a:gd name="connsiteX21" fmla="*/ 2359267 w 9875100"/>
              <a:gd name="connsiteY21" fmla="*/ 1960593 h 3487140"/>
              <a:gd name="connsiteX22" fmla="*/ 2299797 w 9875100"/>
              <a:gd name="connsiteY22" fmla="*/ 2569342 h 3487140"/>
              <a:gd name="connsiteX23" fmla="*/ 2713504 w 9875100"/>
              <a:gd name="connsiteY23" fmla="*/ 3165532 h 3487140"/>
              <a:gd name="connsiteX24" fmla="*/ 3503489 w 9875100"/>
              <a:gd name="connsiteY24" fmla="*/ 3283181 h 3487140"/>
              <a:gd name="connsiteX25" fmla="*/ 4106125 w 9875100"/>
              <a:gd name="connsiteY25" fmla="*/ 2757481 h 3487140"/>
              <a:gd name="connsiteX26" fmla="*/ 4095894 w 9875100"/>
              <a:gd name="connsiteY26" fmla="*/ 1980430 h 3487140"/>
              <a:gd name="connsiteX27" fmla="*/ 3765860 w 9875100"/>
              <a:gd name="connsiteY27" fmla="*/ 1589139 h 3487140"/>
              <a:gd name="connsiteX28" fmla="*/ 3576806 w 9875100"/>
              <a:gd name="connsiteY28" fmla="*/ 1660710 h 3487140"/>
              <a:gd name="connsiteX29" fmla="*/ 3468389 w 9875100"/>
              <a:gd name="connsiteY29" fmla="*/ 2116627 h 3487140"/>
              <a:gd name="connsiteX30" fmla="*/ 3245026 w 9875100"/>
              <a:gd name="connsiteY30" fmla="*/ 2374258 h 3487140"/>
              <a:gd name="connsiteX31" fmla="*/ 3190090 w 9875100"/>
              <a:gd name="connsiteY31" fmla="*/ 2276986 h 3487140"/>
              <a:gd name="connsiteX32" fmla="*/ 3569362 w 9875100"/>
              <a:gd name="connsiteY32" fmla="*/ 2021601 h 3487140"/>
              <a:gd name="connsiteX33" fmla="*/ 3829281 w 9875100"/>
              <a:gd name="connsiteY33" fmla="*/ 1234153 h 3487140"/>
              <a:gd name="connsiteX34" fmla="*/ 4059381 w 9875100"/>
              <a:gd name="connsiteY34" fmla="*/ 725296 h 3487140"/>
              <a:gd name="connsiteX35" fmla="*/ 4167964 w 9875100"/>
              <a:gd name="connsiteY35" fmla="*/ 539984 h 3487140"/>
              <a:gd name="connsiteX36" fmla="*/ 4136816 w 9875100"/>
              <a:gd name="connsiteY36" fmla="*/ 435851 h 3487140"/>
              <a:gd name="connsiteX37" fmla="*/ 4030478 w 9875100"/>
              <a:gd name="connsiteY37" fmla="*/ 350265 h 3487140"/>
              <a:gd name="connsiteX38" fmla="*/ 3985190 w 9875100"/>
              <a:gd name="connsiteY38" fmla="*/ 209327 h 3487140"/>
              <a:gd name="connsiteX39" fmla="*/ 4030020 w 9875100"/>
              <a:gd name="connsiteY39" fmla="*/ 82237 h 3487140"/>
              <a:gd name="connsiteX40" fmla="*/ 4210300 w 9875100"/>
              <a:gd name="connsiteY40" fmla="*/ 6716 h 3487140"/>
              <a:gd name="connsiteX41" fmla="*/ 4478993 w 9875100"/>
              <a:gd name="connsiteY41" fmla="*/ 10167 h 3487140"/>
              <a:gd name="connsiteX42" fmla="*/ 4562666 w 9875100"/>
              <a:gd name="connsiteY42" fmla="*/ 49800 h 3487140"/>
              <a:gd name="connsiteX43" fmla="*/ 4515631 w 9875100"/>
              <a:gd name="connsiteY43" fmla="*/ 86812 h 3487140"/>
              <a:gd name="connsiteX44" fmla="*/ 4279708 w 9875100"/>
              <a:gd name="connsiteY44" fmla="*/ 91886 h 3487140"/>
              <a:gd name="connsiteX45" fmla="*/ 4036175 w 9875100"/>
              <a:gd name="connsiteY45" fmla="*/ 75833 h 3487140"/>
              <a:gd name="connsiteX46" fmla="*/ 3928424 w 9875100"/>
              <a:gd name="connsiteY46" fmla="*/ 176931 h 3487140"/>
              <a:gd name="connsiteX47" fmla="*/ 3943686 w 9875100"/>
              <a:gd name="connsiteY47" fmla="*/ 370393 h 3487140"/>
              <a:gd name="connsiteX48" fmla="*/ 3888459 w 9875100"/>
              <a:gd name="connsiteY48" fmla="*/ 589348 h 3487140"/>
              <a:gd name="connsiteX49" fmla="*/ 3731925 w 9875100"/>
              <a:gd name="connsiteY49" fmla="*/ 903953 h 3487140"/>
              <a:gd name="connsiteX50" fmla="*/ 3521454 w 9875100"/>
              <a:gd name="connsiteY50" fmla="*/ 922501 h 3487140"/>
              <a:gd name="connsiteX51" fmla="*/ 3327035 w 9875100"/>
              <a:gd name="connsiteY51" fmla="*/ 866816 h 3487140"/>
              <a:gd name="connsiteX52" fmla="*/ 3268190 w 9875100"/>
              <a:gd name="connsiteY52" fmla="*/ 751038 h 3487140"/>
              <a:gd name="connsiteX53" fmla="*/ 3280126 w 9875100"/>
              <a:gd name="connsiteY53" fmla="*/ 369436 h 3487140"/>
              <a:gd name="connsiteX54" fmla="*/ 3341799 w 9875100"/>
              <a:gd name="connsiteY54" fmla="*/ 155805 h 3487140"/>
              <a:gd name="connsiteX55" fmla="*/ 3543163 w 9875100"/>
              <a:gd name="connsiteY55" fmla="*/ 156761 h 3487140"/>
              <a:gd name="connsiteX56" fmla="*/ 3796094 w 9875100"/>
              <a:gd name="connsiteY56" fmla="*/ 245175 h 3487140"/>
              <a:gd name="connsiteX57" fmla="*/ 3965186 w 9875100"/>
              <a:gd name="connsiteY57" fmla="*/ 357792 h 3487140"/>
              <a:gd name="connsiteX58" fmla="*/ 4069777 w 9875100"/>
              <a:gd name="connsiteY58" fmla="*/ 483301 h 3487140"/>
              <a:gd name="connsiteX59" fmla="*/ 4093981 w 9875100"/>
              <a:gd name="connsiteY59" fmla="*/ 600951 h 3487140"/>
              <a:gd name="connsiteX60" fmla="*/ 4066450 w 9875100"/>
              <a:gd name="connsiteY60" fmla="*/ 761726 h 3487140"/>
              <a:gd name="connsiteX61" fmla="*/ 4238371 w 9875100"/>
              <a:gd name="connsiteY61" fmla="*/ 1160004 h 3487140"/>
              <a:gd name="connsiteX62" fmla="*/ 4661351 w 9875100"/>
              <a:gd name="connsiteY62" fmla="*/ 1793622 h 3487140"/>
              <a:gd name="connsiteX63" fmla="*/ 5078842 w 9875100"/>
              <a:gd name="connsiteY63" fmla="*/ 2087475 h 3487140"/>
              <a:gd name="connsiteX64" fmla="*/ 5188465 w 9875100"/>
              <a:gd name="connsiteY64" fmla="*/ 2185620 h 3487140"/>
              <a:gd name="connsiteX65" fmla="*/ 5075516 w 9875100"/>
              <a:gd name="connsiteY65" fmla="*/ 2468120 h 3487140"/>
              <a:gd name="connsiteX66" fmla="*/ 4909417 w 9875100"/>
              <a:gd name="connsiteY66" fmla="*/ 2505548 h 3487140"/>
              <a:gd name="connsiteX67" fmla="*/ 4600967 w 9875100"/>
              <a:gd name="connsiteY67" fmla="*/ 2278109 h 3487140"/>
              <a:gd name="connsiteX68" fmla="*/ 4156278 w 9875100"/>
              <a:gd name="connsiteY68" fmla="*/ 1678800 h 3487140"/>
              <a:gd name="connsiteX69" fmla="*/ 4036425 w 9875100"/>
              <a:gd name="connsiteY69" fmla="*/ 1175432 h 3487140"/>
              <a:gd name="connsiteX70" fmla="*/ 4190879 w 9875100"/>
              <a:gd name="connsiteY70" fmla="*/ 1377420 h 3487140"/>
              <a:gd name="connsiteX71" fmla="*/ 4552519 w 9875100"/>
              <a:gd name="connsiteY71" fmla="*/ 2268710 h 3487140"/>
              <a:gd name="connsiteX72" fmla="*/ 4872321 w 9875100"/>
              <a:gd name="connsiteY72" fmla="*/ 2693105 h 3487140"/>
              <a:gd name="connsiteX73" fmla="*/ 5105749 w 9875100"/>
              <a:gd name="connsiteY73" fmla="*/ 2746586 h 3487140"/>
              <a:gd name="connsiteX74" fmla="*/ 5272970 w 9875100"/>
              <a:gd name="connsiteY74" fmla="*/ 2631432 h 3487140"/>
              <a:gd name="connsiteX75" fmla="*/ 5284157 w 9875100"/>
              <a:gd name="connsiteY75" fmla="*/ 2436680 h 3487140"/>
              <a:gd name="connsiteX76" fmla="*/ 5130327 w 9875100"/>
              <a:gd name="connsiteY76" fmla="*/ 2309258 h 3487140"/>
              <a:gd name="connsiteX77" fmla="*/ 4923141 w 9875100"/>
              <a:gd name="connsiteY77" fmla="*/ 2375007 h 3487140"/>
              <a:gd name="connsiteX78" fmla="*/ 4900642 w 9875100"/>
              <a:gd name="connsiteY78" fmla="*/ 2581402 h 3487140"/>
              <a:gd name="connsiteX79" fmla="*/ 5043327 w 9875100"/>
              <a:gd name="connsiteY79" fmla="*/ 2671064 h 3487140"/>
              <a:gd name="connsiteX80" fmla="*/ 5139892 w 9875100"/>
              <a:gd name="connsiteY80" fmla="*/ 2596831 h 3487140"/>
              <a:gd name="connsiteX81" fmla="*/ 5106706 w 9875100"/>
              <a:gd name="connsiteY81" fmla="*/ 2530750 h 3487140"/>
              <a:gd name="connsiteX82" fmla="*/ 4984648 w 9875100"/>
              <a:gd name="connsiteY82" fmla="*/ 2615379 h 3487140"/>
              <a:gd name="connsiteX83" fmla="*/ 4838969 w 9875100"/>
              <a:gd name="connsiteY83" fmla="*/ 2907028 h 3487140"/>
              <a:gd name="connsiteX84" fmla="*/ 4791144 w 9875100"/>
              <a:gd name="connsiteY84" fmla="*/ 3008333 h 3487140"/>
              <a:gd name="connsiteX85" fmla="*/ 4755296 w 9875100"/>
              <a:gd name="connsiteY85" fmla="*/ 3024053 h 3487140"/>
              <a:gd name="connsiteX86" fmla="*/ 4660270 w 9875100"/>
              <a:gd name="connsiteY86" fmla="*/ 3013989 h 3487140"/>
              <a:gd name="connsiteX87" fmla="*/ 4667173 w 9875100"/>
              <a:gd name="connsiteY87" fmla="*/ 2956724 h 3487140"/>
              <a:gd name="connsiteX88" fmla="*/ 4855936 w 9875100"/>
              <a:gd name="connsiteY88" fmla="*/ 2951068 h 3487140"/>
              <a:gd name="connsiteX89" fmla="*/ 4942146 w 9875100"/>
              <a:gd name="connsiteY89" fmla="*/ 2951068 h 3487140"/>
              <a:gd name="connsiteX90" fmla="*/ 5023324 w 9875100"/>
              <a:gd name="connsiteY90" fmla="*/ 2822066 h 3487140"/>
              <a:gd name="connsiteX91" fmla="*/ 5163638 w 9875100"/>
              <a:gd name="connsiteY91" fmla="*/ 2789337 h 3487140"/>
              <a:gd name="connsiteX92" fmla="*/ 5291351 w 9875100"/>
              <a:gd name="connsiteY92" fmla="*/ 2713815 h 3487140"/>
              <a:gd name="connsiteX93" fmla="*/ 5377561 w 9875100"/>
              <a:gd name="connsiteY93" fmla="*/ 2544556 h 3487140"/>
              <a:gd name="connsiteX94" fmla="*/ 5597140 w 9875100"/>
              <a:gd name="connsiteY94" fmla="*/ 2482883 h 3487140"/>
              <a:gd name="connsiteX95" fmla="*/ 6132114 w 9875100"/>
              <a:gd name="connsiteY95" fmla="*/ 2466831 h 3487140"/>
              <a:gd name="connsiteX96" fmla="*/ 6287856 w 9875100"/>
              <a:gd name="connsiteY96" fmla="*/ 2420918 h 3487140"/>
              <a:gd name="connsiteX97" fmla="*/ 6137769 w 9875100"/>
              <a:gd name="connsiteY97" fmla="*/ 2252907 h 3487140"/>
              <a:gd name="connsiteX98" fmla="*/ 5662390 w 9875100"/>
              <a:gd name="connsiteY98" fmla="*/ 1791709 h 3487140"/>
              <a:gd name="connsiteX99" fmla="*/ 5398271 w 9875100"/>
              <a:gd name="connsiteY99" fmla="*/ 1600118 h 3487140"/>
              <a:gd name="connsiteX100" fmla="*/ 5274301 w 9875100"/>
              <a:gd name="connsiteY100" fmla="*/ 1733529 h 3487140"/>
              <a:gd name="connsiteX101" fmla="*/ 5212003 w 9875100"/>
              <a:gd name="connsiteY101" fmla="*/ 1995900 h 3487140"/>
              <a:gd name="connsiteX102" fmla="*/ 5252883 w 9875100"/>
              <a:gd name="connsiteY102" fmla="*/ 2048133 h 3487140"/>
              <a:gd name="connsiteX103" fmla="*/ 5315804 w 9875100"/>
              <a:gd name="connsiteY103" fmla="*/ 1778817 h 3487140"/>
              <a:gd name="connsiteX104" fmla="*/ 5437571 w 9875100"/>
              <a:gd name="connsiteY104" fmla="*/ 1356918 h 3487140"/>
              <a:gd name="connsiteX105" fmla="*/ 5543908 w 9875100"/>
              <a:gd name="connsiteY105" fmla="*/ 986960 h 3487140"/>
              <a:gd name="connsiteX106" fmla="*/ 5514631 w 9875100"/>
              <a:gd name="connsiteY106" fmla="*/ 867107 h 3487140"/>
              <a:gd name="connsiteX107" fmla="*/ 5339717 w 9875100"/>
              <a:gd name="connsiteY107" fmla="*/ 840034 h 3487140"/>
              <a:gd name="connsiteX108" fmla="*/ 5195618 w 9875100"/>
              <a:gd name="connsiteY108" fmla="*/ 782769 h 3487140"/>
              <a:gd name="connsiteX109" fmla="*/ 5211962 w 9875100"/>
              <a:gd name="connsiteY109" fmla="*/ 714816 h 3487140"/>
              <a:gd name="connsiteX110" fmla="*/ 5385629 w 9875100"/>
              <a:gd name="connsiteY110" fmla="*/ 723008 h 3487140"/>
              <a:gd name="connsiteX111" fmla="*/ 5588240 w 9875100"/>
              <a:gd name="connsiteY111" fmla="*/ 729288 h 3487140"/>
              <a:gd name="connsiteX112" fmla="*/ 5754962 w 9875100"/>
              <a:gd name="connsiteY112" fmla="*/ 682087 h 3487140"/>
              <a:gd name="connsiteX113" fmla="*/ 5872611 w 9875100"/>
              <a:gd name="connsiteY113" fmla="*/ 703463 h 3487140"/>
              <a:gd name="connsiteX114" fmla="*/ 5895276 w 9875100"/>
              <a:gd name="connsiteY114" fmla="*/ 797199 h 3487140"/>
              <a:gd name="connsiteX115" fmla="*/ 5767563 w 9875100"/>
              <a:gd name="connsiteY115" fmla="*/ 890936 h 3487140"/>
              <a:gd name="connsiteX116" fmla="*/ 5597680 w 9875100"/>
              <a:gd name="connsiteY116" fmla="*/ 918009 h 3487140"/>
              <a:gd name="connsiteX117" fmla="*/ 5469967 w 9875100"/>
              <a:gd name="connsiteY117" fmla="*/ 1002306 h 3487140"/>
              <a:gd name="connsiteX118" fmla="*/ 5369077 w 9875100"/>
              <a:gd name="connsiteY118" fmla="*/ 1299902 h 3487140"/>
              <a:gd name="connsiteX119" fmla="*/ 5430127 w 9875100"/>
              <a:gd name="connsiteY119" fmla="*/ 1545930 h 3487140"/>
              <a:gd name="connsiteX120" fmla="*/ 5642802 w 9875100"/>
              <a:gd name="connsiteY120" fmla="*/ 1536490 h 3487140"/>
              <a:gd name="connsiteX121" fmla="*/ 5822333 w 9875100"/>
              <a:gd name="connsiteY121" fmla="*/ 1376048 h 3487140"/>
              <a:gd name="connsiteX122" fmla="*/ 5825494 w 9875100"/>
              <a:gd name="connsiteY122" fmla="*/ 1231949 h 3487140"/>
              <a:gd name="connsiteX123" fmla="*/ 5607453 w 9875100"/>
              <a:gd name="connsiteY123" fmla="*/ 1191693 h 3487140"/>
              <a:gd name="connsiteX124" fmla="*/ 5615937 w 9875100"/>
              <a:gd name="connsiteY124" fmla="*/ 1255238 h 3487140"/>
              <a:gd name="connsiteX125" fmla="*/ 6040955 w 9875100"/>
              <a:gd name="connsiteY125" fmla="*/ 1241722 h 3487140"/>
              <a:gd name="connsiteX126" fmla="*/ 6525775 w 9875100"/>
              <a:gd name="connsiteY126" fmla="*/ 1259646 h 3487140"/>
              <a:gd name="connsiteX127" fmla="*/ 6755127 w 9875100"/>
              <a:gd name="connsiteY127" fmla="*/ 1236981 h 3487140"/>
              <a:gd name="connsiteX128" fmla="*/ 6736871 w 9875100"/>
              <a:gd name="connsiteY128" fmla="*/ 1185995 h 3487140"/>
              <a:gd name="connsiteX129" fmla="*/ 6376353 w 9875100"/>
              <a:gd name="connsiteY129" fmla="*/ 1177512 h 3487140"/>
              <a:gd name="connsiteX130" fmla="*/ 6005773 w 9875100"/>
              <a:gd name="connsiteY130" fmla="*/ 1331342 h 3487140"/>
              <a:gd name="connsiteX131" fmla="*/ 5660019 w 9875100"/>
              <a:gd name="connsiteY131" fmla="*/ 1604110 h 3487140"/>
              <a:gd name="connsiteX132" fmla="*/ 5427216 w 9875100"/>
              <a:gd name="connsiteY132" fmla="*/ 1921252 h 3487140"/>
              <a:gd name="connsiteX133" fmla="*/ 5331566 w 9875100"/>
              <a:gd name="connsiteY133" fmla="*/ 2419255 h 3487140"/>
              <a:gd name="connsiteX134" fmla="*/ 5561874 w 9875100"/>
              <a:gd name="connsiteY134" fmla="*/ 3048465 h 3487140"/>
              <a:gd name="connsiteX135" fmla="*/ 6140099 w 9875100"/>
              <a:gd name="connsiteY135" fmla="*/ 3394510 h 3487140"/>
              <a:gd name="connsiteX136" fmla="*/ 6778748 w 9875100"/>
              <a:gd name="connsiteY136" fmla="*/ 3330632 h 3487140"/>
              <a:gd name="connsiteX137" fmla="*/ 7273923 w 9875100"/>
              <a:gd name="connsiteY137" fmla="*/ 2841404 h 3487140"/>
              <a:gd name="connsiteX138" fmla="*/ 7307276 w 9875100"/>
              <a:gd name="connsiteY138" fmla="*/ 2052999 h 3487140"/>
              <a:gd name="connsiteX139" fmla="*/ 6876269 w 9875100"/>
              <a:gd name="connsiteY139" fmla="*/ 1482011 h 3487140"/>
              <a:gd name="connsiteX140" fmla="*/ 6409415 w 9875100"/>
              <a:gd name="connsiteY140" fmla="*/ 1352717 h 3487140"/>
              <a:gd name="connsiteX141" fmla="*/ 6248973 w 9875100"/>
              <a:gd name="connsiteY141" fmla="*/ 1466624 h 3487140"/>
              <a:gd name="connsiteX142" fmla="*/ 6271014 w 9875100"/>
              <a:gd name="connsiteY142" fmla="*/ 2001140 h 3487140"/>
              <a:gd name="connsiteX143" fmla="*/ 6304990 w 9875100"/>
              <a:gd name="connsiteY143" fmla="*/ 2313208 h 3487140"/>
              <a:gd name="connsiteX144" fmla="*/ 6396690 w 9875100"/>
              <a:gd name="connsiteY144" fmla="*/ 2399085 h 3487140"/>
              <a:gd name="connsiteX145" fmla="*/ 6501156 w 9875100"/>
              <a:gd name="connsiteY145" fmla="*/ 2362905 h 3487140"/>
              <a:gd name="connsiteX146" fmla="*/ 6465765 w 9875100"/>
              <a:gd name="connsiteY146" fmla="*/ 2271372 h 3487140"/>
              <a:gd name="connsiteX147" fmla="*/ 6368161 w 9875100"/>
              <a:gd name="connsiteY147" fmla="*/ 2303394 h 3487140"/>
              <a:gd name="connsiteX148" fmla="*/ 6351775 w 9875100"/>
              <a:gd name="connsiteY148" fmla="*/ 2437262 h 3487140"/>
              <a:gd name="connsiteX149" fmla="*/ 6350694 w 9875100"/>
              <a:gd name="connsiteY149" fmla="*/ 2519521 h 3487140"/>
              <a:gd name="connsiteX150" fmla="*/ 6171580 w 9875100"/>
              <a:gd name="connsiteY150" fmla="*/ 2539400 h 3487140"/>
              <a:gd name="connsiteX151" fmla="*/ 5761325 w 9875100"/>
              <a:gd name="connsiteY151" fmla="*/ 2545679 h 3487140"/>
              <a:gd name="connsiteX152" fmla="*/ 5520953 w 9875100"/>
              <a:gd name="connsiteY152" fmla="*/ 2602944 h 3487140"/>
              <a:gd name="connsiteX153" fmla="*/ 5511346 w 9875100"/>
              <a:gd name="connsiteY153" fmla="*/ 2790460 h 3487140"/>
              <a:gd name="connsiteX154" fmla="*/ 5704683 w 9875100"/>
              <a:gd name="connsiteY154" fmla="*/ 3133385 h 3487140"/>
              <a:gd name="connsiteX155" fmla="*/ 6196573 w 9875100"/>
              <a:gd name="connsiteY155" fmla="*/ 3465290 h 3487140"/>
              <a:gd name="connsiteX156" fmla="*/ 6937319 w 9875100"/>
              <a:gd name="connsiteY156" fmla="*/ 3390434 h 3487140"/>
              <a:gd name="connsiteX157" fmla="*/ 7377142 w 9875100"/>
              <a:gd name="connsiteY157" fmla="*/ 3017940 h 3487140"/>
              <a:gd name="connsiteX158" fmla="*/ 7691123 w 9875100"/>
              <a:gd name="connsiteY158" fmla="*/ 2655510 h 3487140"/>
              <a:gd name="connsiteX159" fmla="*/ 8063617 w 9875100"/>
              <a:gd name="connsiteY159" fmla="*/ 3163577 h 3487140"/>
              <a:gd name="connsiteX160" fmla="*/ 8287604 w 9875100"/>
              <a:gd name="connsiteY160" fmla="*/ 3255443 h 3487140"/>
              <a:gd name="connsiteX161" fmla="*/ 8365621 w 9875100"/>
              <a:gd name="connsiteY161" fmla="*/ 2786675 h 3487140"/>
              <a:gd name="connsiteX162" fmla="*/ 8675194 w 9875100"/>
              <a:gd name="connsiteY162" fmla="*/ 2869724 h 3487140"/>
              <a:gd name="connsiteX163" fmla="*/ 8913986 w 9875100"/>
              <a:gd name="connsiteY163" fmla="*/ 3245046 h 3487140"/>
              <a:gd name="connsiteX164" fmla="*/ 9286479 w 9875100"/>
              <a:gd name="connsiteY164" fmla="*/ 3329676 h 3487140"/>
              <a:gd name="connsiteX165" fmla="*/ 9875101 w 9875100"/>
              <a:gd name="connsiteY165" fmla="*/ 3217682 h 3487140"/>
              <a:gd name="connsiteX0" fmla="*/ 0 w 9215242"/>
              <a:gd name="connsiteY0" fmla="*/ 3395424 h 3487140"/>
              <a:gd name="connsiteX1" fmla="*/ 325085 w 9215242"/>
              <a:gd name="connsiteY1" fmla="*/ 2916759 h 3487140"/>
              <a:gd name="connsiteX2" fmla="*/ 581552 w 9215242"/>
              <a:gd name="connsiteY2" fmla="*/ 2898295 h 3487140"/>
              <a:gd name="connsiteX3" fmla="*/ 810903 w 9215242"/>
              <a:gd name="connsiteY3" fmla="*/ 3416675 h 3487140"/>
              <a:gd name="connsiteX4" fmla="*/ 970722 w 9215242"/>
              <a:gd name="connsiteY4" fmla="*/ 3205871 h 3487140"/>
              <a:gd name="connsiteX5" fmla="*/ 1229975 w 9215242"/>
              <a:gd name="connsiteY5" fmla="*/ 2696848 h 3487140"/>
              <a:gd name="connsiteX6" fmla="*/ 1504323 w 9215242"/>
              <a:gd name="connsiteY6" fmla="*/ 2954187 h 3487140"/>
              <a:gd name="connsiteX7" fmla="*/ 1851657 w 9215242"/>
              <a:gd name="connsiteY7" fmla="*/ 3339906 h 3487140"/>
              <a:gd name="connsiteX8" fmla="*/ 2309779 w 9215242"/>
              <a:gd name="connsiteY8" fmla="*/ 3385485 h 3487140"/>
              <a:gd name="connsiteX9" fmla="*/ 2388461 w 9215242"/>
              <a:gd name="connsiteY9" fmla="*/ 3295741 h 3487140"/>
              <a:gd name="connsiteX10" fmla="*/ 2137359 w 9215242"/>
              <a:gd name="connsiteY10" fmla="*/ 3112384 h 3487140"/>
              <a:gd name="connsiteX11" fmla="*/ 1831196 w 9215242"/>
              <a:gd name="connsiteY11" fmla="*/ 2750287 h 3487140"/>
              <a:gd name="connsiteX12" fmla="*/ 1739664 w 9215242"/>
              <a:gd name="connsiteY12" fmla="*/ 2305432 h 3487140"/>
              <a:gd name="connsiteX13" fmla="*/ 1867252 w 9215242"/>
              <a:gd name="connsiteY13" fmla="*/ 1919713 h 3487140"/>
              <a:gd name="connsiteX14" fmla="*/ 2191464 w 9215242"/>
              <a:gd name="connsiteY14" fmla="*/ 1637837 h 3487140"/>
              <a:gd name="connsiteX15" fmla="*/ 2684768 w 9215242"/>
              <a:gd name="connsiteY15" fmla="*/ 1545972 h 3487140"/>
              <a:gd name="connsiteX16" fmla="*/ 2919443 w 9215242"/>
              <a:gd name="connsiteY16" fmla="*/ 1517651 h 3487140"/>
              <a:gd name="connsiteX17" fmla="*/ 2904180 w 9215242"/>
              <a:gd name="connsiteY17" fmla="*/ 1460718 h 3487140"/>
              <a:gd name="connsiteX18" fmla="*/ 2628126 w 9215242"/>
              <a:gd name="connsiteY18" fmla="*/ 1416969 h 3487140"/>
              <a:gd name="connsiteX19" fmla="*/ 2108706 w 9215242"/>
              <a:gd name="connsiteY19" fmla="*/ 1517318 h 3487140"/>
              <a:gd name="connsiteX20" fmla="*/ 1699408 w 9215242"/>
              <a:gd name="connsiteY20" fmla="*/ 1960593 h 3487140"/>
              <a:gd name="connsiteX21" fmla="*/ 1639938 w 9215242"/>
              <a:gd name="connsiteY21" fmla="*/ 2569342 h 3487140"/>
              <a:gd name="connsiteX22" fmla="*/ 2053645 w 9215242"/>
              <a:gd name="connsiteY22" fmla="*/ 3165532 h 3487140"/>
              <a:gd name="connsiteX23" fmla="*/ 2843630 w 9215242"/>
              <a:gd name="connsiteY23" fmla="*/ 3283181 h 3487140"/>
              <a:gd name="connsiteX24" fmla="*/ 3446266 w 9215242"/>
              <a:gd name="connsiteY24" fmla="*/ 2757481 h 3487140"/>
              <a:gd name="connsiteX25" fmla="*/ 3436035 w 9215242"/>
              <a:gd name="connsiteY25" fmla="*/ 1980430 h 3487140"/>
              <a:gd name="connsiteX26" fmla="*/ 3106001 w 9215242"/>
              <a:gd name="connsiteY26" fmla="*/ 1589139 h 3487140"/>
              <a:gd name="connsiteX27" fmla="*/ 2916947 w 9215242"/>
              <a:gd name="connsiteY27" fmla="*/ 1660710 h 3487140"/>
              <a:gd name="connsiteX28" fmla="*/ 2808530 w 9215242"/>
              <a:gd name="connsiteY28" fmla="*/ 2116627 h 3487140"/>
              <a:gd name="connsiteX29" fmla="*/ 2585167 w 9215242"/>
              <a:gd name="connsiteY29" fmla="*/ 2374258 h 3487140"/>
              <a:gd name="connsiteX30" fmla="*/ 2530231 w 9215242"/>
              <a:gd name="connsiteY30" fmla="*/ 2276986 h 3487140"/>
              <a:gd name="connsiteX31" fmla="*/ 2909503 w 9215242"/>
              <a:gd name="connsiteY31" fmla="*/ 2021601 h 3487140"/>
              <a:gd name="connsiteX32" fmla="*/ 3169422 w 9215242"/>
              <a:gd name="connsiteY32" fmla="*/ 1234153 h 3487140"/>
              <a:gd name="connsiteX33" fmla="*/ 3399522 w 9215242"/>
              <a:gd name="connsiteY33" fmla="*/ 725296 h 3487140"/>
              <a:gd name="connsiteX34" fmla="*/ 3508105 w 9215242"/>
              <a:gd name="connsiteY34" fmla="*/ 539984 h 3487140"/>
              <a:gd name="connsiteX35" fmla="*/ 3476957 w 9215242"/>
              <a:gd name="connsiteY35" fmla="*/ 435851 h 3487140"/>
              <a:gd name="connsiteX36" fmla="*/ 3370619 w 9215242"/>
              <a:gd name="connsiteY36" fmla="*/ 350265 h 3487140"/>
              <a:gd name="connsiteX37" fmla="*/ 3325331 w 9215242"/>
              <a:gd name="connsiteY37" fmla="*/ 209327 h 3487140"/>
              <a:gd name="connsiteX38" fmla="*/ 3370161 w 9215242"/>
              <a:gd name="connsiteY38" fmla="*/ 82237 h 3487140"/>
              <a:gd name="connsiteX39" fmla="*/ 3550441 w 9215242"/>
              <a:gd name="connsiteY39" fmla="*/ 6716 h 3487140"/>
              <a:gd name="connsiteX40" fmla="*/ 3819134 w 9215242"/>
              <a:gd name="connsiteY40" fmla="*/ 10167 h 3487140"/>
              <a:gd name="connsiteX41" fmla="*/ 3902807 w 9215242"/>
              <a:gd name="connsiteY41" fmla="*/ 49800 h 3487140"/>
              <a:gd name="connsiteX42" fmla="*/ 3855772 w 9215242"/>
              <a:gd name="connsiteY42" fmla="*/ 86812 h 3487140"/>
              <a:gd name="connsiteX43" fmla="*/ 3619849 w 9215242"/>
              <a:gd name="connsiteY43" fmla="*/ 91886 h 3487140"/>
              <a:gd name="connsiteX44" fmla="*/ 3376316 w 9215242"/>
              <a:gd name="connsiteY44" fmla="*/ 75833 h 3487140"/>
              <a:gd name="connsiteX45" fmla="*/ 3268565 w 9215242"/>
              <a:gd name="connsiteY45" fmla="*/ 176931 h 3487140"/>
              <a:gd name="connsiteX46" fmla="*/ 3283827 w 9215242"/>
              <a:gd name="connsiteY46" fmla="*/ 370393 h 3487140"/>
              <a:gd name="connsiteX47" fmla="*/ 3228600 w 9215242"/>
              <a:gd name="connsiteY47" fmla="*/ 589348 h 3487140"/>
              <a:gd name="connsiteX48" fmla="*/ 3072066 w 9215242"/>
              <a:gd name="connsiteY48" fmla="*/ 903953 h 3487140"/>
              <a:gd name="connsiteX49" fmla="*/ 2861595 w 9215242"/>
              <a:gd name="connsiteY49" fmla="*/ 922501 h 3487140"/>
              <a:gd name="connsiteX50" fmla="*/ 2667176 w 9215242"/>
              <a:gd name="connsiteY50" fmla="*/ 866816 h 3487140"/>
              <a:gd name="connsiteX51" fmla="*/ 2608331 w 9215242"/>
              <a:gd name="connsiteY51" fmla="*/ 751038 h 3487140"/>
              <a:gd name="connsiteX52" fmla="*/ 2620267 w 9215242"/>
              <a:gd name="connsiteY52" fmla="*/ 369436 h 3487140"/>
              <a:gd name="connsiteX53" fmla="*/ 2681940 w 9215242"/>
              <a:gd name="connsiteY53" fmla="*/ 155805 h 3487140"/>
              <a:gd name="connsiteX54" fmla="*/ 2883304 w 9215242"/>
              <a:gd name="connsiteY54" fmla="*/ 156761 h 3487140"/>
              <a:gd name="connsiteX55" fmla="*/ 3136235 w 9215242"/>
              <a:gd name="connsiteY55" fmla="*/ 245175 h 3487140"/>
              <a:gd name="connsiteX56" fmla="*/ 3305327 w 9215242"/>
              <a:gd name="connsiteY56" fmla="*/ 357792 h 3487140"/>
              <a:gd name="connsiteX57" fmla="*/ 3409918 w 9215242"/>
              <a:gd name="connsiteY57" fmla="*/ 483301 h 3487140"/>
              <a:gd name="connsiteX58" fmla="*/ 3434122 w 9215242"/>
              <a:gd name="connsiteY58" fmla="*/ 600951 h 3487140"/>
              <a:gd name="connsiteX59" fmla="*/ 3406591 w 9215242"/>
              <a:gd name="connsiteY59" fmla="*/ 761726 h 3487140"/>
              <a:gd name="connsiteX60" fmla="*/ 3578512 w 9215242"/>
              <a:gd name="connsiteY60" fmla="*/ 1160004 h 3487140"/>
              <a:gd name="connsiteX61" fmla="*/ 4001492 w 9215242"/>
              <a:gd name="connsiteY61" fmla="*/ 1793622 h 3487140"/>
              <a:gd name="connsiteX62" fmla="*/ 4418983 w 9215242"/>
              <a:gd name="connsiteY62" fmla="*/ 2087475 h 3487140"/>
              <a:gd name="connsiteX63" fmla="*/ 4528606 w 9215242"/>
              <a:gd name="connsiteY63" fmla="*/ 2185620 h 3487140"/>
              <a:gd name="connsiteX64" fmla="*/ 4415657 w 9215242"/>
              <a:gd name="connsiteY64" fmla="*/ 2468120 h 3487140"/>
              <a:gd name="connsiteX65" fmla="*/ 4249558 w 9215242"/>
              <a:gd name="connsiteY65" fmla="*/ 2505548 h 3487140"/>
              <a:gd name="connsiteX66" fmla="*/ 3941108 w 9215242"/>
              <a:gd name="connsiteY66" fmla="*/ 2278109 h 3487140"/>
              <a:gd name="connsiteX67" fmla="*/ 3496419 w 9215242"/>
              <a:gd name="connsiteY67" fmla="*/ 1678800 h 3487140"/>
              <a:gd name="connsiteX68" fmla="*/ 3376566 w 9215242"/>
              <a:gd name="connsiteY68" fmla="*/ 1175432 h 3487140"/>
              <a:gd name="connsiteX69" fmla="*/ 3531020 w 9215242"/>
              <a:gd name="connsiteY69" fmla="*/ 1377420 h 3487140"/>
              <a:gd name="connsiteX70" fmla="*/ 3892660 w 9215242"/>
              <a:gd name="connsiteY70" fmla="*/ 2268710 h 3487140"/>
              <a:gd name="connsiteX71" fmla="*/ 4212462 w 9215242"/>
              <a:gd name="connsiteY71" fmla="*/ 2693105 h 3487140"/>
              <a:gd name="connsiteX72" fmla="*/ 4445890 w 9215242"/>
              <a:gd name="connsiteY72" fmla="*/ 2746586 h 3487140"/>
              <a:gd name="connsiteX73" fmla="*/ 4613111 w 9215242"/>
              <a:gd name="connsiteY73" fmla="*/ 2631432 h 3487140"/>
              <a:gd name="connsiteX74" fmla="*/ 4624298 w 9215242"/>
              <a:gd name="connsiteY74" fmla="*/ 2436680 h 3487140"/>
              <a:gd name="connsiteX75" fmla="*/ 4470468 w 9215242"/>
              <a:gd name="connsiteY75" fmla="*/ 2309258 h 3487140"/>
              <a:gd name="connsiteX76" fmla="*/ 4263282 w 9215242"/>
              <a:gd name="connsiteY76" fmla="*/ 2375007 h 3487140"/>
              <a:gd name="connsiteX77" fmla="*/ 4240783 w 9215242"/>
              <a:gd name="connsiteY77" fmla="*/ 2581402 h 3487140"/>
              <a:gd name="connsiteX78" fmla="*/ 4383468 w 9215242"/>
              <a:gd name="connsiteY78" fmla="*/ 2671064 h 3487140"/>
              <a:gd name="connsiteX79" fmla="*/ 4480033 w 9215242"/>
              <a:gd name="connsiteY79" fmla="*/ 2596831 h 3487140"/>
              <a:gd name="connsiteX80" fmla="*/ 4446847 w 9215242"/>
              <a:gd name="connsiteY80" fmla="*/ 2530750 h 3487140"/>
              <a:gd name="connsiteX81" fmla="*/ 4324789 w 9215242"/>
              <a:gd name="connsiteY81" fmla="*/ 2615379 h 3487140"/>
              <a:gd name="connsiteX82" fmla="*/ 4179110 w 9215242"/>
              <a:gd name="connsiteY82" fmla="*/ 2907028 h 3487140"/>
              <a:gd name="connsiteX83" fmla="*/ 4131285 w 9215242"/>
              <a:gd name="connsiteY83" fmla="*/ 3008333 h 3487140"/>
              <a:gd name="connsiteX84" fmla="*/ 4095437 w 9215242"/>
              <a:gd name="connsiteY84" fmla="*/ 3024053 h 3487140"/>
              <a:gd name="connsiteX85" fmla="*/ 4000411 w 9215242"/>
              <a:gd name="connsiteY85" fmla="*/ 3013989 h 3487140"/>
              <a:gd name="connsiteX86" fmla="*/ 4007314 w 9215242"/>
              <a:gd name="connsiteY86" fmla="*/ 2956724 h 3487140"/>
              <a:gd name="connsiteX87" fmla="*/ 4196077 w 9215242"/>
              <a:gd name="connsiteY87" fmla="*/ 2951068 h 3487140"/>
              <a:gd name="connsiteX88" fmla="*/ 4282287 w 9215242"/>
              <a:gd name="connsiteY88" fmla="*/ 2951068 h 3487140"/>
              <a:gd name="connsiteX89" fmla="*/ 4363465 w 9215242"/>
              <a:gd name="connsiteY89" fmla="*/ 2822066 h 3487140"/>
              <a:gd name="connsiteX90" fmla="*/ 4503779 w 9215242"/>
              <a:gd name="connsiteY90" fmla="*/ 2789337 h 3487140"/>
              <a:gd name="connsiteX91" fmla="*/ 4631492 w 9215242"/>
              <a:gd name="connsiteY91" fmla="*/ 2713815 h 3487140"/>
              <a:gd name="connsiteX92" fmla="*/ 4717702 w 9215242"/>
              <a:gd name="connsiteY92" fmla="*/ 2544556 h 3487140"/>
              <a:gd name="connsiteX93" fmla="*/ 4937281 w 9215242"/>
              <a:gd name="connsiteY93" fmla="*/ 2482883 h 3487140"/>
              <a:gd name="connsiteX94" fmla="*/ 5472255 w 9215242"/>
              <a:gd name="connsiteY94" fmla="*/ 2466831 h 3487140"/>
              <a:gd name="connsiteX95" fmla="*/ 5627997 w 9215242"/>
              <a:gd name="connsiteY95" fmla="*/ 2420918 h 3487140"/>
              <a:gd name="connsiteX96" fmla="*/ 5477910 w 9215242"/>
              <a:gd name="connsiteY96" fmla="*/ 2252907 h 3487140"/>
              <a:gd name="connsiteX97" fmla="*/ 5002531 w 9215242"/>
              <a:gd name="connsiteY97" fmla="*/ 1791709 h 3487140"/>
              <a:gd name="connsiteX98" fmla="*/ 4738412 w 9215242"/>
              <a:gd name="connsiteY98" fmla="*/ 1600118 h 3487140"/>
              <a:gd name="connsiteX99" fmla="*/ 4614442 w 9215242"/>
              <a:gd name="connsiteY99" fmla="*/ 1733529 h 3487140"/>
              <a:gd name="connsiteX100" fmla="*/ 4552144 w 9215242"/>
              <a:gd name="connsiteY100" fmla="*/ 1995900 h 3487140"/>
              <a:gd name="connsiteX101" fmla="*/ 4593024 w 9215242"/>
              <a:gd name="connsiteY101" fmla="*/ 2048133 h 3487140"/>
              <a:gd name="connsiteX102" fmla="*/ 4655945 w 9215242"/>
              <a:gd name="connsiteY102" fmla="*/ 1778817 h 3487140"/>
              <a:gd name="connsiteX103" fmla="*/ 4777712 w 9215242"/>
              <a:gd name="connsiteY103" fmla="*/ 1356918 h 3487140"/>
              <a:gd name="connsiteX104" fmla="*/ 4884049 w 9215242"/>
              <a:gd name="connsiteY104" fmla="*/ 986960 h 3487140"/>
              <a:gd name="connsiteX105" fmla="*/ 4854772 w 9215242"/>
              <a:gd name="connsiteY105" fmla="*/ 867107 h 3487140"/>
              <a:gd name="connsiteX106" fmla="*/ 4679858 w 9215242"/>
              <a:gd name="connsiteY106" fmla="*/ 840034 h 3487140"/>
              <a:gd name="connsiteX107" fmla="*/ 4535759 w 9215242"/>
              <a:gd name="connsiteY107" fmla="*/ 782769 h 3487140"/>
              <a:gd name="connsiteX108" fmla="*/ 4552103 w 9215242"/>
              <a:gd name="connsiteY108" fmla="*/ 714816 h 3487140"/>
              <a:gd name="connsiteX109" fmla="*/ 4725770 w 9215242"/>
              <a:gd name="connsiteY109" fmla="*/ 723008 h 3487140"/>
              <a:gd name="connsiteX110" fmla="*/ 4928381 w 9215242"/>
              <a:gd name="connsiteY110" fmla="*/ 729288 h 3487140"/>
              <a:gd name="connsiteX111" fmla="*/ 5095103 w 9215242"/>
              <a:gd name="connsiteY111" fmla="*/ 682087 h 3487140"/>
              <a:gd name="connsiteX112" fmla="*/ 5212752 w 9215242"/>
              <a:gd name="connsiteY112" fmla="*/ 703463 h 3487140"/>
              <a:gd name="connsiteX113" fmla="*/ 5235417 w 9215242"/>
              <a:gd name="connsiteY113" fmla="*/ 797199 h 3487140"/>
              <a:gd name="connsiteX114" fmla="*/ 5107704 w 9215242"/>
              <a:gd name="connsiteY114" fmla="*/ 890936 h 3487140"/>
              <a:gd name="connsiteX115" fmla="*/ 4937821 w 9215242"/>
              <a:gd name="connsiteY115" fmla="*/ 918009 h 3487140"/>
              <a:gd name="connsiteX116" fmla="*/ 4810108 w 9215242"/>
              <a:gd name="connsiteY116" fmla="*/ 1002306 h 3487140"/>
              <a:gd name="connsiteX117" fmla="*/ 4709218 w 9215242"/>
              <a:gd name="connsiteY117" fmla="*/ 1299902 h 3487140"/>
              <a:gd name="connsiteX118" fmla="*/ 4770268 w 9215242"/>
              <a:gd name="connsiteY118" fmla="*/ 1545930 h 3487140"/>
              <a:gd name="connsiteX119" fmla="*/ 4982943 w 9215242"/>
              <a:gd name="connsiteY119" fmla="*/ 1536490 h 3487140"/>
              <a:gd name="connsiteX120" fmla="*/ 5162474 w 9215242"/>
              <a:gd name="connsiteY120" fmla="*/ 1376048 h 3487140"/>
              <a:gd name="connsiteX121" fmla="*/ 5165635 w 9215242"/>
              <a:gd name="connsiteY121" fmla="*/ 1231949 h 3487140"/>
              <a:gd name="connsiteX122" fmla="*/ 4947594 w 9215242"/>
              <a:gd name="connsiteY122" fmla="*/ 1191693 h 3487140"/>
              <a:gd name="connsiteX123" fmla="*/ 4956078 w 9215242"/>
              <a:gd name="connsiteY123" fmla="*/ 1255238 h 3487140"/>
              <a:gd name="connsiteX124" fmla="*/ 5381096 w 9215242"/>
              <a:gd name="connsiteY124" fmla="*/ 1241722 h 3487140"/>
              <a:gd name="connsiteX125" fmla="*/ 5865916 w 9215242"/>
              <a:gd name="connsiteY125" fmla="*/ 1259646 h 3487140"/>
              <a:gd name="connsiteX126" fmla="*/ 6095268 w 9215242"/>
              <a:gd name="connsiteY126" fmla="*/ 1236981 h 3487140"/>
              <a:gd name="connsiteX127" fmla="*/ 6077012 w 9215242"/>
              <a:gd name="connsiteY127" fmla="*/ 1185995 h 3487140"/>
              <a:gd name="connsiteX128" fmla="*/ 5716494 w 9215242"/>
              <a:gd name="connsiteY128" fmla="*/ 1177512 h 3487140"/>
              <a:gd name="connsiteX129" fmla="*/ 5345914 w 9215242"/>
              <a:gd name="connsiteY129" fmla="*/ 1331342 h 3487140"/>
              <a:gd name="connsiteX130" fmla="*/ 5000160 w 9215242"/>
              <a:gd name="connsiteY130" fmla="*/ 1604110 h 3487140"/>
              <a:gd name="connsiteX131" fmla="*/ 4767357 w 9215242"/>
              <a:gd name="connsiteY131" fmla="*/ 1921252 h 3487140"/>
              <a:gd name="connsiteX132" fmla="*/ 4671707 w 9215242"/>
              <a:gd name="connsiteY132" fmla="*/ 2419255 h 3487140"/>
              <a:gd name="connsiteX133" fmla="*/ 4902015 w 9215242"/>
              <a:gd name="connsiteY133" fmla="*/ 3048465 h 3487140"/>
              <a:gd name="connsiteX134" fmla="*/ 5480240 w 9215242"/>
              <a:gd name="connsiteY134" fmla="*/ 3394510 h 3487140"/>
              <a:gd name="connsiteX135" fmla="*/ 6118889 w 9215242"/>
              <a:gd name="connsiteY135" fmla="*/ 3330632 h 3487140"/>
              <a:gd name="connsiteX136" fmla="*/ 6614064 w 9215242"/>
              <a:gd name="connsiteY136" fmla="*/ 2841404 h 3487140"/>
              <a:gd name="connsiteX137" fmla="*/ 6647417 w 9215242"/>
              <a:gd name="connsiteY137" fmla="*/ 2052999 h 3487140"/>
              <a:gd name="connsiteX138" fmla="*/ 6216410 w 9215242"/>
              <a:gd name="connsiteY138" fmla="*/ 1482011 h 3487140"/>
              <a:gd name="connsiteX139" fmla="*/ 5749556 w 9215242"/>
              <a:gd name="connsiteY139" fmla="*/ 1352717 h 3487140"/>
              <a:gd name="connsiteX140" fmla="*/ 5589114 w 9215242"/>
              <a:gd name="connsiteY140" fmla="*/ 1466624 h 3487140"/>
              <a:gd name="connsiteX141" fmla="*/ 5611155 w 9215242"/>
              <a:gd name="connsiteY141" fmla="*/ 2001140 h 3487140"/>
              <a:gd name="connsiteX142" fmla="*/ 5645131 w 9215242"/>
              <a:gd name="connsiteY142" fmla="*/ 2313208 h 3487140"/>
              <a:gd name="connsiteX143" fmla="*/ 5736831 w 9215242"/>
              <a:gd name="connsiteY143" fmla="*/ 2399085 h 3487140"/>
              <a:gd name="connsiteX144" fmla="*/ 5841297 w 9215242"/>
              <a:gd name="connsiteY144" fmla="*/ 2362905 h 3487140"/>
              <a:gd name="connsiteX145" fmla="*/ 5805906 w 9215242"/>
              <a:gd name="connsiteY145" fmla="*/ 2271372 h 3487140"/>
              <a:gd name="connsiteX146" fmla="*/ 5708302 w 9215242"/>
              <a:gd name="connsiteY146" fmla="*/ 2303394 h 3487140"/>
              <a:gd name="connsiteX147" fmla="*/ 5691916 w 9215242"/>
              <a:gd name="connsiteY147" fmla="*/ 2437262 h 3487140"/>
              <a:gd name="connsiteX148" fmla="*/ 5690835 w 9215242"/>
              <a:gd name="connsiteY148" fmla="*/ 2519521 h 3487140"/>
              <a:gd name="connsiteX149" fmla="*/ 5511721 w 9215242"/>
              <a:gd name="connsiteY149" fmla="*/ 2539400 h 3487140"/>
              <a:gd name="connsiteX150" fmla="*/ 5101466 w 9215242"/>
              <a:gd name="connsiteY150" fmla="*/ 2545679 h 3487140"/>
              <a:gd name="connsiteX151" fmla="*/ 4861094 w 9215242"/>
              <a:gd name="connsiteY151" fmla="*/ 2602944 h 3487140"/>
              <a:gd name="connsiteX152" fmla="*/ 4851487 w 9215242"/>
              <a:gd name="connsiteY152" fmla="*/ 2790460 h 3487140"/>
              <a:gd name="connsiteX153" fmla="*/ 5044824 w 9215242"/>
              <a:gd name="connsiteY153" fmla="*/ 3133385 h 3487140"/>
              <a:gd name="connsiteX154" fmla="*/ 5536714 w 9215242"/>
              <a:gd name="connsiteY154" fmla="*/ 3465290 h 3487140"/>
              <a:gd name="connsiteX155" fmla="*/ 6277460 w 9215242"/>
              <a:gd name="connsiteY155" fmla="*/ 3390434 h 3487140"/>
              <a:gd name="connsiteX156" fmla="*/ 6717283 w 9215242"/>
              <a:gd name="connsiteY156" fmla="*/ 3017940 h 3487140"/>
              <a:gd name="connsiteX157" fmla="*/ 7031264 w 9215242"/>
              <a:gd name="connsiteY157" fmla="*/ 2655510 h 3487140"/>
              <a:gd name="connsiteX158" fmla="*/ 7403758 w 9215242"/>
              <a:gd name="connsiteY158" fmla="*/ 3163577 h 3487140"/>
              <a:gd name="connsiteX159" fmla="*/ 7627745 w 9215242"/>
              <a:gd name="connsiteY159" fmla="*/ 3255443 h 3487140"/>
              <a:gd name="connsiteX160" fmla="*/ 7705762 w 9215242"/>
              <a:gd name="connsiteY160" fmla="*/ 2786675 h 3487140"/>
              <a:gd name="connsiteX161" fmla="*/ 8015335 w 9215242"/>
              <a:gd name="connsiteY161" fmla="*/ 2869724 h 3487140"/>
              <a:gd name="connsiteX162" fmla="*/ 8254127 w 9215242"/>
              <a:gd name="connsiteY162" fmla="*/ 3245046 h 3487140"/>
              <a:gd name="connsiteX163" fmla="*/ 8626620 w 9215242"/>
              <a:gd name="connsiteY163" fmla="*/ 3329676 h 3487140"/>
              <a:gd name="connsiteX164" fmla="*/ 9215242 w 9215242"/>
              <a:gd name="connsiteY164" fmla="*/ 3217682 h 3487140"/>
              <a:gd name="connsiteX0" fmla="*/ 0 w 8890157"/>
              <a:gd name="connsiteY0" fmla="*/ 2916759 h 3487140"/>
              <a:gd name="connsiteX1" fmla="*/ 256467 w 8890157"/>
              <a:gd name="connsiteY1" fmla="*/ 2898295 h 3487140"/>
              <a:gd name="connsiteX2" fmla="*/ 485818 w 8890157"/>
              <a:gd name="connsiteY2" fmla="*/ 3416675 h 3487140"/>
              <a:gd name="connsiteX3" fmla="*/ 645637 w 8890157"/>
              <a:gd name="connsiteY3" fmla="*/ 3205871 h 3487140"/>
              <a:gd name="connsiteX4" fmla="*/ 904890 w 8890157"/>
              <a:gd name="connsiteY4" fmla="*/ 2696848 h 3487140"/>
              <a:gd name="connsiteX5" fmla="*/ 1179238 w 8890157"/>
              <a:gd name="connsiteY5" fmla="*/ 2954187 h 3487140"/>
              <a:gd name="connsiteX6" fmla="*/ 1526572 w 8890157"/>
              <a:gd name="connsiteY6" fmla="*/ 3339906 h 3487140"/>
              <a:gd name="connsiteX7" fmla="*/ 1984694 w 8890157"/>
              <a:gd name="connsiteY7" fmla="*/ 3385485 h 3487140"/>
              <a:gd name="connsiteX8" fmla="*/ 2063376 w 8890157"/>
              <a:gd name="connsiteY8" fmla="*/ 3295741 h 3487140"/>
              <a:gd name="connsiteX9" fmla="*/ 1812274 w 8890157"/>
              <a:gd name="connsiteY9" fmla="*/ 3112384 h 3487140"/>
              <a:gd name="connsiteX10" fmla="*/ 1506111 w 8890157"/>
              <a:gd name="connsiteY10" fmla="*/ 2750287 h 3487140"/>
              <a:gd name="connsiteX11" fmla="*/ 1414579 w 8890157"/>
              <a:gd name="connsiteY11" fmla="*/ 2305432 h 3487140"/>
              <a:gd name="connsiteX12" fmla="*/ 1542167 w 8890157"/>
              <a:gd name="connsiteY12" fmla="*/ 1919713 h 3487140"/>
              <a:gd name="connsiteX13" fmla="*/ 1866379 w 8890157"/>
              <a:gd name="connsiteY13" fmla="*/ 1637837 h 3487140"/>
              <a:gd name="connsiteX14" fmla="*/ 2359683 w 8890157"/>
              <a:gd name="connsiteY14" fmla="*/ 1545972 h 3487140"/>
              <a:gd name="connsiteX15" fmla="*/ 2594358 w 8890157"/>
              <a:gd name="connsiteY15" fmla="*/ 1517651 h 3487140"/>
              <a:gd name="connsiteX16" fmla="*/ 2579095 w 8890157"/>
              <a:gd name="connsiteY16" fmla="*/ 1460718 h 3487140"/>
              <a:gd name="connsiteX17" fmla="*/ 2303041 w 8890157"/>
              <a:gd name="connsiteY17" fmla="*/ 1416969 h 3487140"/>
              <a:gd name="connsiteX18" fmla="*/ 1783621 w 8890157"/>
              <a:gd name="connsiteY18" fmla="*/ 1517318 h 3487140"/>
              <a:gd name="connsiteX19" fmla="*/ 1374323 w 8890157"/>
              <a:gd name="connsiteY19" fmla="*/ 1960593 h 3487140"/>
              <a:gd name="connsiteX20" fmla="*/ 1314853 w 8890157"/>
              <a:gd name="connsiteY20" fmla="*/ 2569342 h 3487140"/>
              <a:gd name="connsiteX21" fmla="*/ 1728560 w 8890157"/>
              <a:gd name="connsiteY21" fmla="*/ 3165532 h 3487140"/>
              <a:gd name="connsiteX22" fmla="*/ 2518545 w 8890157"/>
              <a:gd name="connsiteY22" fmla="*/ 3283181 h 3487140"/>
              <a:gd name="connsiteX23" fmla="*/ 3121181 w 8890157"/>
              <a:gd name="connsiteY23" fmla="*/ 2757481 h 3487140"/>
              <a:gd name="connsiteX24" fmla="*/ 3110950 w 8890157"/>
              <a:gd name="connsiteY24" fmla="*/ 1980430 h 3487140"/>
              <a:gd name="connsiteX25" fmla="*/ 2780916 w 8890157"/>
              <a:gd name="connsiteY25" fmla="*/ 1589139 h 3487140"/>
              <a:gd name="connsiteX26" fmla="*/ 2591862 w 8890157"/>
              <a:gd name="connsiteY26" fmla="*/ 1660710 h 3487140"/>
              <a:gd name="connsiteX27" fmla="*/ 2483445 w 8890157"/>
              <a:gd name="connsiteY27" fmla="*/ 2116627 h 3487140"/>
              <a:gd name="connsiteX28" fmla="*/ 2260082 w 8890157"/>
              <a:gd name="connsiteY28" fmla="*/ 2374258 h 3487140"/>
              <a:gd name="connsiteX29" fmla="*/ 2205146 w 8890157"/>
              <a:gd name="connsiteY29" fmla="*/ 2276986 h 3487140"/>
              <a:gd name="connsiteX30" fmla="*/ 2584418 w 8890157"/>
              <a:gd name="connsiteY30" fmla="*/ 2021601 h 3487140"/>
              <a:gd name="connsiteX31" fmla="*/ 2844337 w 8890157"/>
              <a:gd name="connsiteY31" fmla="*/ 1234153 h 3487140"/>
              <a:gd name="connsiteX32" fmla="*/ 3074437 w 8890157"/>
              <a:gd name="connsiteY32" fmla="*/ 725296 h 3487140"/>
              <a:gd name="connsiteX33" fmla="*/ 3183020 w 8890157"/>
              <a:gd name="connsiteY33" fmla="*/ 539984 h 3487140"/>
              <a:gd name="connsiteX34" fmla="*/ 3151872 w 8890157"/>
              <a:gd name="connsiteY34" fmla="*/ 435851 h 3487140"/>
              <a:gd name="connsiteX35" fmla="*/ 3045534 w 8890157"/>
              <a:gd name="connsiteY35" fmla="*/ 350265 h 3487140"/>
              <a:gd name="connsiteX36" fmla="*/ 3000246 w 8890157"/>
              <a:gd name="connsiteY36" fmla="*/ 209327 h 3487140"/>
              <a:gd name="connsiteX37" fmla="*/ 3045076 w 8890157"/>
              <a:gd name="connsiteY37" fmla="*/ 82237 h 3487140"/>
              <a:gd name="connsiteX38" fmla="*/ 3225356 w 8890157"/>
              <a:gd name="connsiteY38" fmla="*/ 6716 h 3487140"/>
              <a:gd name="connsiteX39" fmla="*/ 3494049 w 8890157"/>
              <a:gd name="connsiteY39" fmla="*/ 10167 h 3487140"/>
              <a:gd name="connsiteX40" fmla="*/ 3577722 w 8890157"/>
              <a:gd name="connsiteY40" fmla="*/ 49800 h 3487140"/>
              <a:gd name="connsiteX41" fmla="*/ 3530687 w 8890157"/>
              <a:gd name="connsiteY41" fmla="*/ 86812 h 3487140"/>
              <a:gd name="connsiteX42" fmla="*/ 3294764 w 8890157"/>
              <a:gd name="connsiteY42" fmla="*/ 91886 h 3487140"/>
              <a:gd name="connsiteX43" fmla="*/ 3051231 w 8890157"/>
              <a:gd name="connsiteY43" fmla="*/ 75833 h 3487140"/>
              <a:gd name="connsiteX44" fmla="*/ 2943480 w 8890157"/>
              <a:gd name="connsiteY44" fmla="*/ 176931 h 3487140"/>
              <a:gd name="connsiteX45" fmla="*/ 2958742 w 8890157"/>
              <a:gd name="connsiteY45" fmla="*/ 370393 h 3487140"/>
              <a:gd name="connsiteX46" fmla="*/ 2903515 w 8890157"/>
              <a:gd name="connsiteY46" fmla="*/ 589348 h 3487140"/>
              <a:gd name="connsiteX47" fmla="*/ 2746981 w 8890157"/>
              <a:gd name="connsiteY47" fmla="*/ 903953 h 3487140"/>
              <a:gd name="connsiteX48" fmla="*/ 2536510 w 8890157"/>
              <a:gd name="connsiteY48" fmla="*/ 922501 h 3487140"/>
              <a:gd name="connsiteX49" fmla="*/ 2342091 w 8890157"/>
              <a:gd name="connsiteY49" fmla="*/ 866816 h 3487140"/>
              <a:gd name="connsiteX50" fmla="*/ 2283246 w 8890157"/>
              <a:gd name="connsiteY50" fmla="*/ 751038 h 3487140"/>
              <a:gd name="connsiteX51" fmla="*/ 2295182 w 8890157"/>
              <a:gd name="connsiteY51" fmla="*/ 369436 h 3487140"/>
              <a:gd name="connsiteX52" fmla="*/ 2356855 w 8890157"/>
              <a:gd name="connsiteY52" fmla="*/ 155805 h 3487140"/>
              <a:gd name="connsiteX53" fmla="*/ 2558219 w 8890157"/>
              <a:gd name="connsiteY53" fmla="*/ 156761 h 3487140"/>
              <a:gd name="connsiteX54" fmla="*/ 2811150 w 8890157"/>
              <a:gd name="connsiteY54" fmla="*/ 245175 h 3487140"/>
              <a:gd name="connsiteX55" fmla="*/ 2980242 w 8890157"/>
              <a:gd name="connsiteY55" fmla="*/ 357792 h 3487140"/>
              <a:gd name="connsiteX56" fmla="*/ 3084833 w 8890157"/>
              <a:gd name="connsiteY56" fmla="*/ 483301 h 3487140"/>
              <a:gd name="connsiteX57" fmla="*/ 3109037 w 8890157"/>
              <a:gd name="connsiteY57" fmla="*/ 600951 h 3487140"/>
              <a:gd name="connsiteX58" fmla="*/ 3081506 w 8890157"/>
              <a:gd name="connsiteY58" fmla="*/ 761726 h 3487140"/>
              <a:gd name="connsiteX59" fmla="*/ 3253427 w 8890157"/>
              <a:gd name="connsiteY59" fmla="*/ 1160004 h 3487140"/>
              <a:gd name="connsiteX60" fmla="*/ 3676407 w 8890157"/>
              <a:gd name="connsiteY60" fmla="*/ 1793622 h 3487140"/>
              <a:gd name="connsiteX61" fmla="*/ 4093898 w 8890157"/>
              <a:gd name="connsiteY61" fmla="*/ 2087475 h 3487140"/>
              <a:gd name="connsiteX62" fmla="*/ 4203521 w 8890157"/>
              <a:gd name="connsiteY62" fmla="*/ 2185620 h 3487140"/>
              <a:gd name="connsiteX63" fmla="*/ 4090572 w 8890157"/>
              <a:gd name="connsiteY63" fmla="*/ 2468120 h 3487140"/>
              <a:gd name="connsiteX64" fmla="*/ 3924473 w 8890157"/>
              <a:gd name="connsiteY64" fmla="*/ 2505548 h 3487140"/>
              <a:gd name="connsiteX65" fmla="*/ 3616023 w 8890157"/>
              <a:gd name="connsiteY65" fmla="*/ 2278109 h 3487140"/>
              <a:gd name="connsiteX66" fmla="*/ 3171334 w 8890157"/>
              <a:gd name="connsiteY66" fmla="*/ 1678800 h 3487140"/>
              <a:gd name="connsiteX67" fmla="*/ 3051481 w 8890157"/>
              <a:gd name="connsiteY67" fmla="*/ 1175432 h 3487140"/>
              <a:gd name="connsiteX68" fmla="*/ 3205935 w 8890157"/>
              <a:gd name="connsiteY68" fmla="*/ 1377420 h 3487140"/>
              <a:gd name="connsiteX69" fmla="*/ 3567575 w 8890157"/>
              <a:gd name="connsiteY69" fmla="*/ 2268710 h 3487140"/>
              <a:gd name="connsiteX70" fmla="*/ 3887377 w 8890157"/>
              <a:gd name="connsiteY70" fmla="*/ 2693105 h 3487140"/>
              <a:gd name="connsiteX71" fmla="*/ 4120805 w 8890157"/>
              <a:gd name="connsiteY71" fmla="*/ 2746586 h 3487140"/>
              <a:gd name="connsiteX72" fmla="*/ 4288026 w 8890157"/>
              <a:gd name="connsiteY72" fmla="*/ 2631432 h 3487140"/>
              <a:gd name="connsiteX73" fmla="*/ 4299213 w 8890157"/>
              <a:gd name="connsiteY73" fmla="*/ 2436680 h 3487140"/>
              <a:gd name="connsiteX74" fmla="*/ 4145383 w 8890157"/>
              <a:gd name="connsiteY74" fmla="*/ 2309258 h 3487140"/>
              <a:gd name="connsiteX75" fmla="*/ 3938197 w 8890157"/>
              <a:gd name="connsiteY75" fmla="*/ 2375007 h 3487140"/>
              <a:gd name="connsiteX76" fmla="*/ 3915698 w 8890157"/>
              <a:gd name="connsiteY76" fmla="*/ 2581402 h 3487140"/>
              <a:gd name="connsiteX77" fmla="*/ 4058383 w 8890157"/>
              <a:gd name="connsiteY77" fmla="*/ 2671064 h 3487140"/>
              <a:gd name="connsiteX78" fmla="*/ 4154948 w 8890157"/>
              <a:gd name="connsiteY78" fmla="*/ 2596831 h 3487140"/>
              <a:gd name="connsiteX79" fmla="*/ 4121762 w 8890157"/>
              <a:gd name="connsiteY79" fmla="*/ 2530750 h 3487140"/>
              <a:gd name="connsiteX80" fmla="*/ 3999704 w 8890157"/>
              <a:gd name="connsiteY80" fmla="*/ 2615379 h 3487140"/>
              <a:gd name="connsiteX81" fmla="*/ 3854025 w 8890157"/>
              <a:gd name="connsiteY81" fmla="*/ 2907028 h 3487140"/>
              <a:gd name="connsiteX82" fmla="*/ 3806200 w 8890157"/>
              <a:gd name="connsiteY82" fmla="*/ 3008333 h 3487140"/>
              <a:gd name="connsiteX83" fmla="*/ 3770352 w 8890157"/>
              <a:gd name="connsiteY83" fmla="*/ 3024053 h 3487140"/>
              <a:gd name="connsiteX84" fmla="*/ 3675326 w 8890157"/>
              <a:gd name="connsiteY84" fmla="*/ 3013989 h 3487140"/>
              <a:gd name="connsiteX85" fmla="*/ 3682229 w 8890157"/>
              <a:gd name="connsiteY85" fmla="*/ 2956724 h 3487140"/>
              <a:gd name="connsiteX86" fmla="*/ 3870992 w 8890157"/>
              <a:gd name="connsiteY86" fmla="*/ 2951068 h 3487140"/>
              <a:gd name="connsiteX87" fmla="*/ 3957202 w 8890157"/>
              <a:gd name="connsiteY87" fmla="*/ 2951068 h 3487140"/>
              <a:gd name="connsiteX88" fmla="*/ 4038380 w 8890157"/>
              <a:gd name="connsiteY88" fmla="*/ 2822066 h 3487140"/>
              <a:gd name="connsiteX89" fmla="*/ 4178694 w 8890157"/>
              <a:gd name="connsiteY89" fmla="*/ 2789337 h 3487140"/>
              <a:gd name="connsiteX90" fmla="*/ 4306407 w 8890157"/>
              <a:gd name="connsiteY90" fmla="*/ 2713815 h 3487140"/>
              <a:gd name="connsiteX91" fmla="*/ 4392617 w 8890157"/>
              <a:gd name="connsiteY91" fmla="*/ 2544556 h 3487140"/>
              <a:gd name="connsiteX92" fmla="*/ 4612196 w 8890157"/>
              <a:gd name="connsiteY92" fmla="*/ 2482883 h 3487140"/>
              <a:gd name="connsiteX93" fmla="*/ 5147170 w 8890157"/>
              <a:gd name="connsiteY93" fmla="*/ 2466831 h 3487140"/>
              <a:gd name="connsiteX94" fmla="*/ 5302912 w 8890157"/>
              <a:gd name="connsiteY94" fmla="*/ 2420918 h 3487140"/>
              <a:gd name="connsiteX95" fmla="*/ 5152825 w 8890157"/>
              <a:gd name="connsiteY95" fmla="*/ 2252907 h 3487140"/>
              <a:gd name="connsiteX96" fmla="*/ 4677446 w 8890157"/>
              <a:gd name="connsiteY96" fmla="*/ 1791709 h 3487140"/>
              <a:gd name="connsiteX97" fmla="*/ 4413327 w 8890157"/>
              <a:gd name="connsiteY97" fmla="*/ 1600118 h 3487140"/>
              <a:gd name="connsiteX98" fmla="*/ 4289357 w 8890157"/>
              <a:gd name="connsiteY98" fmla="*/ 1733529 h 3487140"/>
              <a:gd name="connsiteX99" fmla="*/ 4227059 w 8890157"/>
              <a:gd name="connsiteY99" fmla="*/ 1995900 h 3487140"/>
              <a:gd name="connsiteX100" fmla="*/ 4267939 w 8890157"/>
              <a:gd name="connsiteY100" fmla="*/ 2048133 h 3487140"/>
              <a:gd name="connsiteX101" fmla="*/ 4330860 w 8890157"/>
              <a:gd name="connsiteY101" fmla="*/ 1778817 h 3487140"/>
              <a:gd name="connsiteX102" fmla="*/ 4452627 w 8890157"/>
              <a:gd name="connsiteY102" fmla="*/ 1356918 h 3487140"/>
              <a:gd name="connsiteX103" fmla="*/ 4558964 w 8890157"/>
              <a:gd name="connsiteY103" fmla="*/ 986960 h 3487140"/>
              <a:gd name="connsiteX104" fmla="*/ 4529687 w 8890157"/>
              <a:gd name="connsiteY104" fmla="*/ 867107 h 3487140"/>
              <a:gd name="connsiteX105" fmla="*/ 4354773 w 8890157"/>
              <a:gd name="connsiteY105" fmla="*/ 840034 h 3487140"/>
              <a:gd name="connsiteX106" fmla="*/ 4210674 w 8890157"/>
              <a:gd name="connsiteY106" fmla="*/ 782769 h 3487140"/>
              <a:gd name="connsiteX107" fmla="*/ 4227018 w 8890157"/>
              <a:gd name="connsiteY107" fmla="*/ 714816 h 3487140"/>
              <a:gd name="connsiteX108" fmla="*/ 4400685 w 8890157"/>
              <a:gd name="connsiteY108" fmla="*/ 723008 h 3487140"/>
              <a:gd name="connsiteX109" fmla="*/ 4603296 w 8890157"/>
              <a:gd name="connsiteY109" fmla="*/ 729288 h 3487140"/>
              <a:gd name="connsiteX110" fmla="*/ 4770018 w 8890157"/>
              <a:gd name="connsiteY110" fmla="*/ 682087 h 3487140"/>
              <a:gd name="connsiteX111" fmla="*/ 4887667 w 8890157"/>
              <a:gd name="connsiteY111" fmla="*/ 703463 h 3487140"/>
              <a:gd name="connsiteX112" fmla="*/ 4910332 w 8890157"/>
              <a:gd name="connsiteY112" fmla="*/ 797199 h 3487140"/>
              <a:gd name="connsiteX113" fmla="*/ 4782619 w 8890157"/>
              <a:gd name="connsiteY113" fmla="*/ 890936 h 3487140"/>
              <a:gd name="connsiteX114" fmla="*/ 4612736 w 8890157"/>
              <a:gd name="connsiteY114" fmla="*/ 918009 h 3487140"/>
              <a:gd name="connsiteX115" fmla="*/ 4485023 w 8890157"/>
              <a:gd name="connsiteY115" fmla="*/ 1002306 h 3487140"/>
              <a:gd name="connsiteX116" fmla="*/ 4384133 w 8890157"/>
              <a:gd name="connsiteY116" fmla="*/ 1299902 h 3487140"/>
              <a:gd name="connsiteX117" fmla="*/ 4445183 w 8890157"/>
              <a:gd name="connsiteY117" fmla="*/ 1545930 h 3487140"/>
              <a:gd name="connsiteX118" fmla="*/ 4657858 w 8890157"/>
              <a:gd name="connsiteY118" fmla="*/ 1536490 h 3487140"/>
              <a:gd name="connsiteX119" fmla="*/ 4837389 w 8890157"/>
              <a:gd name="connsiteY119" fmla="*/ 1376048 h 3487140"/>
              <a:gd name="connsiteX120" fmla="*/ 4840550 w 8890157"/>
              <a:gd name="connsiteY120" fmla="*/ 1231949 h 3487140"/>
              <a:gd name="connsiteX121" fmla="*/ 4622509 w 8890157"/>
              <a:gd name="connsiteY121" fmla="*/ 1191693 h 3487140"/>
              <a:gd name="connsiteX122" fmla="*/ 4630993 w 8890157"/>
              <a:gd name="connsiteY122" fmla="*/ 1255238 h 3487140"/>
              <a:gd name="connsiteX123" fmla="*/ 5056011 w 8890157"/>
              <a:gd name="connsiteY123" fmla="*/ 1241722 h 3487140"/>
              <a:gd name="connsiteX124" fmla="*/ 5540831 w 8890157"/>
              <a:gd name="connsiteY124" fmla="*/ 1259646 h 3487140"/>
              <a:gd name="connsiteX125" fmla="*/ 5770183 w 8890157"/>
              <a:gd name="connsiteY125" fmla="*/ 1236981 h 3487140"/>
              <a:gd name="connsiteX126" fmla="*/ 5751927 w 8890157"/>
              <a:gd name="connsiteY126" fmla="*/ 1185995 h 3487140"/>
              <a:gd name="connsiteX127" fmla="*/ 5391409 w 8890157"/>
              <a:gd name="connsiteY127" fmla="*/ 1177512 h 3487140"/>
              <a:gd name="connsiteX128" fmla="*/ 5020829 w 8890157"/>
              <a:gd name="connsiteY128" fmla="*/ 1331342 h 3487140"/>
              <a:gd name="connsiteX129" fmla="*/ 4675075 w 8890157"/>
              <a:gd name="connsiteY129" fmla="*/ 1604110 h 3487140"/>
              <a:gd name="connsiteX130" fmla="*/ 4442272 w 8890157"/>
              <a:gd name="connsiteY130" fmla="*/ 1921252 h 3487140"/>
              <a:gd name="connsiteX131" fmla="*/ 4346622 w 8890157"/>
              <a:gd name="connsiteY131" fmla="*/ 2419255 h 3487140"/>
              <a:gd name="connsiteX132" fmla="*/ 4576930 w 8890157"/>
              <a:gd name="connsiteY132" fmla="*/ 3048465 h 3487140"/>
              <a:gd name="connsiteX133" fmla="*/ 5155155 w 8890157"/>
              <a:gd name="connsiteY133" fmla="*/ 3394510 h 3487140"/>
              <a:gd name="connsiteX134" fmla="*/ 5793804 w 8890157"/>
              <a:gd name="connsiteY134" fmla="*/ 3330632 h 3487140"/>
              <a:gd name="connsiteX135" fmla="*/ 6288979 w 8890157"/>
              <a:gd name="connsiteY135" fmla="*/ 2841404 h 3487140"/>
              <a:gd name="connsiteX136" fmla="*/ 6322332 w 8890157"/>
              <a:gd name="connsiteY136" fmla="*/ 2052999 h 3487140"/>
              <a:gd name="connsiteX137" fmla="*/ 5891325 w 8890157"/>
              <a:gd name="connsiteY137" fmla="*/ 1482011 h 3487140"/>
              <a:gd name="connsiteX138" fmla="*/ 5424471 w 8890157"/>
              <a:gd name="connsiteY138" fmla="*/ 1352717 h 3487140"/>
              <a:gd name="connsiteX139" fmla="*/ 5264029 w 8890157"/>
              <a:gd name="connsiteY139" fmla="*/ 1466624 h 3487140"/>
              <a:gd name="connsiteX140" fmla="*/ 5286070 w 8890157"/>
              <a:gd name="connsiteY140" fmla="*/ 2001140 h 3487140"/>
              <a:gd name="connsiteX141" fmla="*/ 5320046 w 8890157"/>
              <a:gd name="connsiteY141" fmla="*/ 2313208 h 3487140"/>
              <a:gd name="connsiteX142" fmla="*/ 5411746 w 8890157"/>
              <a:gd name="connsiteY142" fmla="*/ 2399085 h 3487140"/>
              <a:gd name="connsiteX143" fmla="*/ 5516212 w 8890157"/>
              <a:gd name="connsiteY143" fmla="*/ 2362905 h 3487140"/>
              <a:gd name="connsiteX144" fmla="*/ 5480821 w 8890157"/>
              <a:gd name="connsiteY144" fmla="*/ 2271372 h 3487140"/>
              <a:gd name="connsiteX145" fmla="*/ 5383217 w 8890157"/>
              <a:gd name="connsiteY145" fmla="*/ 2303394 h 3487140"/>
              <a:gd name="connsiteX146" fmla="*/ 5366831 w 8890157"/>
              <a:gd name="connsiteY146" fmla="*/ 2437262 h 3487140"/>
              <a:gd name="connsiteX147" fmla="*/ 5365750 w 8890157"/>
              <a:gd name="connsiteY147" fmla="*/ 2519521 h 3487140"/>
              <a:gd name="connsiteX148" fmla="*/ 5186636 w 8890157"/>
              <a:gd name="connsiteY148" fmla="*/ 2539400 h 3487140"/>
              <a:gd name="connsiteX149" fmla="*/ 4776381 w 8890157"/>
              <a:gd name="connsiteY149" fmla="*/ 2545679 h 3487140"/>
              <a:gd name="connsiteX150" fmla="*/ 4536009 w 8890157"/>
              <a:gd name="connsiteY150" fmla="*/ 2602944 h 3487140"/>
              <a:gd name="connsiteX151" fmla="*/ 4526402 w 8890157"/>
              <a:gd name="connsiteY151" fmla="*/ 2790460 h 3487140"/>
              <a:gd name="connsiteX152" fmla="*/ 4719739 w 8890157"/>
              <a:gd name="connsiteY152" fmla="*/ 3133385 h 3487140"/>
              <a:gd name="connsiteX153" fmla="*/ 5211629 w 8890157"/>
              <a:gd name="connsiteY153" fmla="*/ 3465290 h 3487140"/>
              <a:gd name="connsiteX154" fmla="*/ 5952375 w 8890157"/>
              <a:gd name="connsiteY154" fmla="*/ 3390434 h 3487140"/>
              <a:gd name="connsiteX155" fmla="*/ 6392198 w 8890157"/>
              <a:gd name="connsiteY155" fmla="*/ 3017940 h 3487140"/>
              <a:gd name="connsiteX156" fmla="*/ 6706179 w 8890157"/>
              <a:gd name="connsiteY156" fmla="*/ 2655510 h 3487140"/>
              <a:gd name="connsiteX157" fmla="*/ 7078673 w 8890157"/>
              <a:gd name="connsiteY157" fmla="*/ 3163577 h 3487140"/>
              <a:gd name="connsiteX158" fmla="*/ 7302660 w 8890157"/>
              <a:gd name="connsiteY158" fmla="*/ 3255443 h 3487140"/>
              <a:gd name="connsiteX159" fmla="*/ 7380677 w 8890157"/>
              <a:gd name="connsiteY159" fmla="*/ 2786675 h 3487140"/>
              <a:gd name="connsiteX160" fmla="*/ 7690250 w 8890157"/>
              <a:gd name="connsiteY160" fmla="*/ 2869724 h 3487140"/>
              <a:gd name="connsiteX161" fmla="*/ 7929042 w 8890157"/>
              <a:gd name="connsiteY161" fmla="*/ 3245046 h 3487140"/>
              <a:gd name="connsiteX162" fmla="*/ 8301535 w 8890157"/>
              <a:gd name="connsiteY162" fmla="*/ 3329676 h 3487140"/>
              <a:gd name="connsiteX163" fmla="*/ 8890157 w 8890157"/>
              <a:gd name="connsiteY163" fmla="*/ 3217682 h 3487140"/>
              <a:gd name="connsiteX0" fmla="*/ 0 w 8633690"/>
              <a:gd name="connsiteY0" fmla="*/ 2898295 h 3487140"/>
              <a:gd name="connsiteX1" fmla="*/ 229351 w 8633690"/>
              <a:gd name="connsiteY1" fmla="*/ 3416675 h 3487140"/>
              <a:gd name="connsiteX2" fmla="*/ 389170 w 8633690"/>
              <a:gd name="connsiteY2" fmla="*/ 3205871 h 3487140"/>
              <a:gd name="connsiteX3" fmla="*/ 648423 w 8633690"/>
              <a:gd name="connsiteY3" fmla="*/ 2696848 h 3487140"/>
              <a:gd name="connsiteX4" fmla="*/ 922771 w 8633690"/>
              <a:gd name="connsiteY4" fmla="*/ 2954187 h 3487140"/>
              <a:gd name="connsiteX5" fmla="*/ 1270105 w 8633690"/>
              <a:gd name="connsiteY5" fmla="*/ 3339906 h 3487140"/>
              <a:gd name="connsiteX6" fmla="*/ 1728227 w 8633690"/>
              <a:gd name="connsiteY6" fmla="*/ 3385485 h 3487140"/>
              <a:gd name="connsiteX7" fmla="*/ 1806909 w 8633690"/>
              <a:gd name="connsiteY7" fmla="*/ 3295741 h 3487140"/>
              <a:gd name="connsiteX8" fmla="*/ 1555807 w 8633690"/>
              <a:gd name="connsiteY8" fmla="*/ 3112384 h 3487140"/>
              <a:gd name="connsiteX9" fmla="*/ 1249644 w 8633690"/>
              <a:gd name="connsiteY9" fmla="*/ 2750287 h 3487140"/>
              <a:gd name="connsiteX10" fmla="*/ 1158112 w 8633690"/>
              <a:gd name="connsiteY10" fmla="*/ 2305432 h 3487140"/>
              <a:gd name="connsiteX11" fmla="*/ 1285700 w 8633690"/>
              <a:gd name="connsiteY11" fmla="*/ 1919713 h 3487140"/>
              <a:gd name="connsiteX12" fmla="*/ 1609912 w 8633690"/>
              <a:gd name="connsiteY12" fmla="*/ 1637837 h 3487140"/>
              <a:gd name="connsiteX13" fmla="*/ 2103216 w 8633690"/>
              <a:gd name="connsiteY13" fmla="*/ 1545972 h 3487140"/>
              <a:gd name="connsiteX14" fmla="*/ 2337891 w 8633690"/>
              <a:gd name="connsiteY14" fmla="*/ 1517651 h 3487140"/>
              <a:gd name="connsiteX15" fmla="*/ 2322628 w 8633690"/>
              <a:gd name="connsiteY15" fmla="*/ 1460718 h 3487140"/>
              <a:gd name="connsiteX16" fmla="*/ 2046574 w 8633690"/>
              <a:gd name="connsiteY16" fmla="*/ 1416969 h 3487140"/>
              <a:gd name="connsiteX17" fmla="*/ 1527154 w 8633690"/>
              <a:gd name="connsiteY17" fmla="*/ 1517318 h 3487140"/>
              <a:gd name="connsiteX18" fmla="*/ 1117856 w 8633690"/>
              <a:gd name="connsiteY18" fmla="*/ 1960593 h 3487140"/>
              <a:gd name="connsiteX19" fmla="*/ 1058386 w 8633690"/>
              <a:gd name="connsiteY19" fmla="*/ 2569342 h 3487140"/>
              <a:gd name="connsiteX20" fmla="*/ 1472093 w 8633690"/>
              <a:gd name="connsiteY20" fmla="*/ 3165532 h 3487140"/>
              <a:gd name="connsiteX21" fmla="*/ 2262078 w 8633690"/>
              <a:gd name="connsiteY21" fmla="*/ 3283181 h 3487140"/>
              <a:gd name="connsiteX22" fmla="*/ 2864714 w 8633690"/>
              <a:gd name="connsiteY22" fmla="*/ 2757481 h 3487140"/>
              <a:gd name="connsiteX23" fmla="*/ 2854483 w 8633690"/>
              <a:gd name="connsiteY23" fmla="*/ 1980430 h 3487140"/>
              <a:gd name="connsiteX24" fmla="*/ 2524449 w 8633690"/>
              <a:gd name="connsiteY24" fmla="*/ 1589139 h 3487140"/>
              <a:gd name="connsiteX25" fmla="*/ 2335395 w 8633690"/>
              <a:gd name="connsiteY25" fmla="*/ 1660710 h 3487140"/>
              <a:gd name="connsiteX26" fmla="*/ 2226978 w 8633690"/>
              <a:gd name="connsiteY26" fmla="*/ 2116627 h 3487140"/>
              <a:gd name="connsiteX27" fmla="*/ 2003615 w 8633690"/>
              <a:gd name="connsiteY27" fmla="*/ 2374258 h 3487140"/>
              <a:gd name="connsiteX28" fmla="*/ 1948679 w 8633690"/>
              <a:gd name="connsiteY28" fmla="*/ 2276986 h 3487140"/>
              <a:gd name="connsiteX29" fmla="*/ 2327951 w 8633690"/>
              <a:gd name="connsiteY29" fmla="*/ 2021601 h 3487140"/>
              <a:gd name="connsiteX30" fmla="*/ 2587870 w 8633690"/>
              <a:gd name="connsiteY30" fmla="*/ 1234153 h 3487140"/>
              <a:gd name="connsiteX31" fmla="*/ 2817970 w 8633690"/>
              <a:gd name="connsiteY31" fmla="*/ 725296 h 3487140"/>
              <a:gd name="connsiteX32" fmla="*/ 2926553 w 8633690"/>
              <a:gd name="connsiteY32" fmla="*/ 539984 h 3487140"/>
              <a:gd name="connsiteX33" fmla="*/ 2895405 w 8633690"/>
              <a:gd name="connsiteY33" fmla="*/ 435851 h 3487140"/>
              <a:gd name="connsiteX34" fmla="*/ 2789067 w 8633690"/>
              <a:gd name="connsiteY34" fmla="*/ 350265 h 3487140"/>
              <a:gd name="connsiteX35" fmla="*/ 2743779 w 8633690"/>
              <a:gd name="connsiteY35" fmla="*/ 209327 h 3487140"/>
              <a:gd name="connsiteX36" fmla="*/ 2788609 w 8633690"/>
              <a:gd name="connsiteY36" fmla="*/ 82237 h 3487140"/>
              <a:gd name="connsiteX37" fmla="*/ 2968889 w 8633690"/>
              <a:gd name="connsiteY37" fmla="*/ 6716 h 3487140"/>
              <a:gd name="connsiteX38" fmla="*/ 3237582 w 8633690"/>
              <a:gd name="connsiteY38" fmla="*/ 10167 h 3487140"/>
              <a:gd name="connsiteX39" fmla="*/ 3321255 w 8633690"/>
              <a:gd name="connsiteY39" fmla="*/ 49800 h 3487140"/>
              <a:gd name="connsiteX40" fmla="*/ 3274220 w 8633690"/>
              <a:gd name="connsiteY40" fmla="*/ 86812 h 3487140"/>
              <a:gd name="connsiteX41" fmla="*/ 3038297 w 8633690"/>
              <a:gd name="connsiteY41" fmla="*/ 91886 h 3487140"/>
              <a:gd name="connsiteX42" fmla="*/ 2794764 w 8633690"/>
              <a:gd name="connsiteY42" fmla="*/ 75833 h 3487140"/>
              <a:gd name="connsiteX43" fmla="*/ 2687013 w 8633690"/>
              <a:gd name="connsiteY43" fmla="*/ 176931 h 3487140"/>
              <a:gd name="connsiteX44" fmla="*/ 2702275 w 8633690"/>
              <a:gd name="connsiteY44" fmla="*/ 370393 h 3487140"/>
              <a:gd name="connsiteX45" fmla="*/ 2647048 w 8633690"/>
              <a:gd name="connsiteY45" fmla="*/ 589348 h 3487140"/>
              <a:gd name="connsiteX46" fmla="*/ 2490514 w 8633690"/>
              <a:gd name="connsiteY46" fmla="*/ 903953 h 3487140"/>
              <a:gd name="connsiteX47" fmla="*/ 2280043 w 8633690"/>
              <a:gd name="connsiteY47" fmla="*/ 922501 h 3487140"/>
              <a:gd name="connsiteX48" fmla="*/ 2085624 w 8633690"/>
              <a:gd name="connsiteY48" fmla="*/ 866816 h 3487140"/>
              <a:gd name="connsiteX49" fmla="*/ 2026779 w 8633690"/>
              <a:gd name="connsiteY49" fmla="*/ 751038 h 3487140"/>
              <a:gd name="connsiteX50" fmla="*/ 2038715 w 8633690"/>
              <a:gd name="connsiteY50" fmla="*/ 369436 h 3487140"/>
              <a:gd name="connsiteX51" fmla="*/ 2100388 w 8633690"/>
              <a:gd name="connsiteY51" fmla="*/ 155805 h 3487140"/>
              <a:gd name="connsiteX52" fmla="*/ 2301752 w 8633690"/>
              <a:gd name="connsiteY52" fmla="*/ 156761 h 3487140"/>
              <a:gd name="connsiteX53" fmla="*/ 2554683 w 8633690"/>
              <a:gd name="connsiteY53" fmla="*/ 245175 h 3487140"/>
              <a:gd name="connsiteX54" fmla="*/ 2723775 w 8633690"/>
              <a:gd name="connsiteY54" fmla="*/ 357792 h 3487140"/>
              <a:gd name="connsiteX55" fmla="*/ 2828366 w 8633690"/>
              <a:gd name="connsiteY55" fmla="*/ 483301 h 3487140"/>
              <a:gd name="connsiteX56" fmla="*/ 2852570 w 8633690"/>
              <a:gd name="connsiteY56" fmla="*/ 600951 h 3487140"/>
              <a:gd name="connsiteX57" fmla="*/ 2825039 w 8633690"/>
              <a:gd name="connsiteY57" fmla="*/ 761726 h 3487140"/>
              <a:gd name="connsiteX58" fmla="*/ 2996960 w 8633690"/>
              <a:gd name="connsiteY58" fmla="*/ 1160004 h 3487140"/>
              <a:gd name="connsiteX59" fmla="*/ 3419940 w 8633690"/>
              <a:gd name="connsiteY59" fmla="*/ 1793622 h 3487140"/>
              <a:gd name="connsiteX60" fmla="*/ 3837431 w 8633690"/>
              <a:gd name="connsiteY60" fmla="*/ 2087475 h 3487140"/>
              <a:gd name="connsiteX61" fmla="*/ 3947054 w 8633690"/>
              <a:gd name="connsiteY61" fmla="*/ 2185620 h 3487140"/>
              <a:gd name="connsiteX62" fmla="*/ 3834105 w 8633690"/>
              <a:gd name="connsiteY62" fmla="*/ 2468120 h 3487140"/>
              <a:gd name="connsiteX63" fmla="*/ 3668006 w 8633690"/>
              <a:gd name="connsiteY63" fmla="*/ 2505548 h 3487140"/>
              <a:gd name="connsiteX64" fmla="*/ 3359556 w 8633690"/>
              <a:gd name="connsiteY64" fmla="*/ 2278109 h 3487140"/>
              <a:gd name="connsiteX65" fmla="*/ 2914867 w 8633690"/>
              <a:gd name="connsiteY65" fmla="*/ 1678800 h 3487140"/>
              <a:gd name="connsiteX66" fmla="*/ 2795014 w 8633690"/>
              <a:gd name="connsiteY66" fmla="*/ 1175432 h 3487140"/>
              <a:gd name="connsiteX67" fmla="*/ 2949468 w 8633690"/>
              <a:gd name="connsiteY67" fmla="*/ 1377420 h 3487140"/>
              <a:gd name="connsiteX68" fmla="*/ 3311108 w 8633690"/>
              <a:gd name="connsiteY68" fmla="*/ 2268710 h 3487140"/>
              <a:gd name="connsiteX69" fmla="*/ 3630910 w 8633690"/>
              <a:gd name="connsiteY69" fmla="*/ 2693105 h 3487140"/>
              <a:gd name="connsiteX70" fmla="*/ 3864338 w 8633690"/>
              <a:gd name="connsiteY70" fmla="*/ 2746586 h 3487140"/>
              <a:gd name="connsiteX71" fmla="*/ 4031559 w 8633690"/>
              <a:gd name="connsiteY71" fmla="*/ 2631432 h 3487140"/>
              <a:gd name="connsiteX72" fmla="*/ 4042746 w 8633690"/>
              <a:gd name="connsiteY72" fmla="*/ 2436680 h 3487140"/>
              <a:gd name="connsiteX73" fmla="*/ 3888916 w 8633690"/>
              <a:gd name="connsiteY73" fmla="*/ 2309258 h 3487140"/>
              <a:gd name="connsiteX74" fmla="*/ 3681730 w 8633690"/>
              <a:gd name="connsiteY74" fmla="*/ 2375007 h 3487140"/>
              <a:gd name="connsiteX75" fmla="*/ 3659231 w 8633690"/>
              <a:gd name="connsiteY75" fmla="*/ 2581402 h 3487140"/>
              <a:gd name="connsiteX76" fmla="*/ 3801916 w 8633690"/>
              <a:gd name="connsiteY76" fmla="*/ 2671064 h 3487140"/>
              <a:gd name="connsiteX77" fmla="*/ 3898481 w 8633690"/>
              <a:gd name="connsiteY77" fmla="*/ 2596831 h 3487140"/>
              <a:gd name="connsiteX78" fmla="*/ 3865295 w 8633690"/>
              <a:gd name="connsiteY78" fmla="*/ 2530750 h 3487140"/>
              <a:gd name="connsiteX79" fmla="*/ 3743237 w 8633690"/>
              <a:gd name="connsiteY79" fmla="*/ 2615379 h 3487140"/>
              <a:gd name="connsiteX80" fmla="*/ 3597558 w 8633690"/>
              <a:gd name="connsiteY80" fmla="*/ 2907028 h 3487140"/>
              <a:gd name="connsiteX81" fmla="*/ 3549733 w 8633690"/>
              <a:gd name="connsiteY81" fmla="*/ 3008333 h 3487140"/>
              <a:gd name="connsiteX82" fmla="*/ 3513885 w 8633690"/>
              <a:gd name="connsiteY82" fmla="*/ 3024053 h 3487140"/>
              <a:gd name="connsiteX83" fmla="*/ 3418859 w 8633690"/>
              <a:gd name="connsiteY83" fmla="*/ 3013989 h 3487140"/>
              <a:gd name="connsiteX84" fmla="*/ 3425762 w 8633690"/>
              <a:gd name="connsiteY84" fmla="*/ 2956724 h 3487140"/>
              <a:gd name="connsiteX85" fmla="*/ 3614525 w 8633690"/>
              <a:gd name="connsiteY85" fmla="*/ 2951068 h 3487140"/>
              <a:gd name="connsiteX86" fmla="*/ 3700735 w 8633690"/>
              <a:gd name="connsiteY86" fmla="*/ 2951068 h 3487140"/>
              <a:gd name="connsiteX87" fmla="*/ 3781913 w 8633690"/>
              <a:gd name="connsiteY87" fmla="*/ 2822066 h 3487140"/>
              <a:gd name="connsiteX88" fmla="*/ 3922227 w 8633690"/>
              <a:gd name="connsiteY88" fmla="*/ 2789337 h 3487140"/>
              <a:gd name="connsiteX89" fmla="*/ 4049940 w 8633690"/>
              <a:gd name="connsiteY89" fmla="*/ 2713815 h 3487140"/>
              <a:gd name="connsiteX90" fmla="*/ 4136150 w 8633690"/>
              <a:gd name="connsiteY90" fmla="*/ 2544556 h 3487140"/>
              <a:gd name="connsiteX91" fmla="*/ 4355729 w 8633690"/>
              <a:gd name="connsiteY91" fmla="*/ 2482883 h 3487140"/>
              <a:gd name="connsiteX92" fmla="*/ 4890703 w 8633690"/>
              <a:gd name="connsiteY92" fmla="*/ 2466831 h 3487140"/>
              <a:gd name="connsiteX93" fmla="*/ 5046445 w 8633690"/>
              <a:gd name="connsiteY93" fmla="*/ 2420918 h 3487140"/>
              <a:gd name="connsiteX94" fmla="*/ 4896358 w 8633690"/>
              <a:gd name="connsiteY94" fmla="*/ 2252907 h 3487140"/>
              <a:gd name="connsiteX95" fmla="*/ 4420979 w 8633690"/>
              <a:gd name="connsiteY95" fmla="*/ 1791709 h 3487140"/>
              <a:gd name="connsiteX96" fmla="*/ 4156860 w 8633690"/>
              <a:gd name="connsiteY96" fmla="*/ 1600118 h 3487140"/>
              <a:gd name="connsiteX97" fmla="*/ 4032890 w 8633690"/>
              <a:gd name="connsiteY97" fmla="*/ 1733529 h 3487140"/>
              <a:gd name="connsiteX98" fmla="*/ 3970592 w 8633690"/>
              <a:gd name="connsiteY98" fmla="*/ 1995900 h 3487140"/>
              <a:gd name="connsiteX99" fmla="*/ 4011472 w 8633690"/>
              <a:gd name="connsiteY99" fmla="*/ 2048133 h 3487140"/>
              <a:gd name="connsiteX100" fmla="*/ 4074393 w 8633690"/>
              <a:gd name="connsiteY100" fmla="*/ 1778817 h 3487140"/>
              <a:gd name="connsiteX101" fmla="*/ 4196160 w 8633690"/>
              <a:gd name="connsiteY101" fmla="*/ 1356918 h 3487140"/>
              <a:gd name="connsiteX102" fmla="*/ 4302497 w 8633690"/>
              <a:gd name="connsiteY102" fmla="*/ 986960 h 3487140"/>
              <a:gd name="connsiteX103" fmla="*/ 4273220 w 8633690"/>
              <a:gd name="connsiteY103" fmla="*/ 867107 h 3487140"/>
              <a:gd name="connsiteX104" fmla="*/ 4098306 w 8633690"/>
              <a:gd name="connsiteY104" fmla="*/ 840034 h 3487140"/>
              <a:gd name="connsiteX105" fmla="*/ 3954207 w 8633690"/>
              <a:gd name="connsiteY105" fmla="*/ 782769 h 3487140"/>
              <a:gd name="connsiteX106" fmla="*/ 3970551 w 8633690"/>
              <a:gd name="connsiteY106" fmla="*/ 714816 h 3487140"/>
              <a:gd name="connsiteX107" fmla="*/ 4144218 w 8633690"/>
              <a:gd name="connsiteY107" fmla="*/ 723008 h 3487140"/>
              <a:gd name="connsiteX108" fmla="*/ 4346829 w 8633690"/>
              <a:gd name="connsiteY108" fmla="*/ 729288 h 3487140"/>
              <a:gd name="connsiteX109" fmla="*/ 4513551 w 8633690"/>
              <a:gd name="connsiteY109" fmla="*/ 682087 h 3487140"/>
              <a:gd name="connsiteX110" fmla="*/ 4631200 w 8633690"/>
              <a:gd name="connsiteY110" fmla="*/ 703463 h 3487140"/>
              <a:gd name="connsiteX111" fmla="*/ 4653865 w 8633690"/>
              <a:gd name="connsiteY111" fmla="*/ 797199 h 3487140"/>
              <a:gd name="connsiteX112" fmla="*/ 4526152 w 8633690"/>
              <a:gd name="connsiteY112" fmla="*/ 890936 h 3487140"/>
              <a:gd name="connsiteX113" fmla="*/ 4356269 w 8633690"/>
              <a:gd name="connsiteY113" fmla="*/ 918009 h 3487140"/>
              <a:gd name="connsiteX114" fmla="*/ 4228556 w 8633690"/>
              <a:gd name="connsiteY114" fmla="*/ 1002306 h 3487140"/>
              <a:gd name="connsiteX115" fmla="*/ 4127666 w 8633690"/>
              <a:gd name="connsiteY115" fmla="*/ 1299902 h 3487140"/>
              <a:gd name="connsiteX116" fmla="*/ 4188716 w 8633690"/>
              <a:gd name="connsiteY116" fmla="*/ 1545930 h 3487140"/>
              <a:gd name="connsiteX117" fmla="*/ 4401391 w 8633690"/>
              <a:gd name="connsiteY117" fmla="*/ 1536490 h 3487140"/>
              <a:gd name="connsiteX118" fmla="*/ 4580922 w 8633690"/>
              <a:gd name="connsiteY118" fmla="*/ 1376048 h 3487140"/>
              <a:gd name="connsiteX119" fmla="*/ 4584083 w 8633690"/>
              <a:gd name="connsiteY119" fmla="*/ 1231949 h 3487140"/>
              <a:gd name="connsiteX120" fmla="*/ 4366042 w 8633690"/>
              <a:gd name="connsiteY120" fmla="*/ 1191693 h 3487140"/>
              <a:gd name="connsiteX121" fmla="*/ 4374526 w 8633690"/>
              <a:gd name="connsiteY121" fmla="*/ 1255238 h 3487140"/>
              <a:gd name="connsiteX122" fmla="*/ 4799544 w 8633690"/>
              <a:gd name="connsiteY122" fmla="*/ 1241722 h 3487140"/>
              <a:gd name="connsiteX123" fmla="*/ 5284364 w 8633690"/>
              <a:gd name="connsiteY123" fmla="*/ 1259646 h 3487140"/>
              <a:gd name="connsiteX124" fmla="*/ 5513716 w 8633690"/>
              <a:gd name="connsiteY124" fmla="*/ 1236981 h 3487140"/>
              <a:gd name="connsiteX125" fmla="*/ 5495460 w 8633690"/>
              <a:gd name="connsiteY125" fmla="*/ 1185995 h 3487140"/>
              <a:gd name="connsiteX126" fmla="*/ 5134942 w 8633690"/>
              <a:gd name="connsiteY126" fmla="*/ 1177512 h 3487140"/>
              <a:gd name="connsiteX127" fmla="*/ 4764362 w 8633690"/>
              <a:gd name="connsiteY127" fmla="*/ 1331342 h 3487140"/>
              <a:gd name="connsiteX128" fmla="*/ 4418608 w 8633690"/>
              <a:gd name="connsiteY128" fmla="*/ 1604110 h 3487140"/>
              <a:gd name="connsiteX129" fmla="*/ 4185805 w 8633690"/>
              <a:gd name="connsiteY129" fmla="*/ 1921252 h 3487140"/>
              <a:gd name="connsiteX130" fmla="*/ 4090155 w 8633690"/>
              <a:gd name="connsiteY130" fmla="*/ 2419255 h 3487140"/>
              <a:gd name="connsiteX131" fmla="*/ 4320463 w 8633690"/>
              <a:gd name="connsiteY131" fmla="*/ 3048465 h 3487140"/>
              <a:gd name="connsiteX132" fmla="*/ 4898688 w 8633690"/>
              <a:gd name="connsiteY132" fmla="*/ 3394510 h 3487140"/>
              <a:gd name="connsiteX133" fmla="*/ 5537337 w 8633690"/>
              <a:gd name="connsiteY133" fmla="*/ 3330632 h 3487140"/>
              <a:gd name="connsiteX134" fmla="*/ 6032512 w 8633690"/>
              <a:gd name="connsiteY134" fmla="*/ 2841404 h 3487140"/>
              <a:gd name="connsiteX135" fmla="*/ 6065865 w 8633690"/>
              <a:gd name="connsiteY135" fmla="*/ 2052999 h 3487140"/>
              <a:gd name="connsiteX136" fmla="*/ 5634858 w 8633690"/>
              <a:gd name="connsiteY136" fmla="*/ 1482011 h 3487140"/>
              <a:gd name="connsiteX137" fmla="*/ 5168004 w 8633690"/>
              <a:gd name="connsiteY137" fmla="*/ 1352717 h 3487140"/>
              <a:gd name="connsiteX138" fmla="*/ 5007562 w 8633690"/>
              <a:gd name="connsiteY138" fmla="*/ 1466624 h 3487140"/>
              <a:gd name="connsiteX139" fmla="*/ 5029603 w 8633690"/>
              <a:gd name="connsiteY139" fmla="*/ 2001140 h 3487140"/>
              <a:gd name="connsiteX140" fmla="*/ 5063579 w 8633690"/>
              <a:gd name="connsiteY140" fmla="*/ 2313208 h 3487140"/>
              <a:gd name="connsiteX141" fmla="*/ 5155279 w 8633690"/>
              <a:gd name="connsiteY141" fmla="*/ 2399085 h 3487140"/>
              <a:gd name="connsiteX142" fmla="*/ 5259745 w 8633690"/>
              <a:gd name="connsiteY142" fmla="*/ 2362905 h 3487140"/>
              <a:gd name="connsiteX143" fmla="*/ 5224354 w 8633690"/>
              <a:gd name="connsiteY143" fmla="*/ 2271372 h 3487140"/>
              <a:gd name="connsiteX144" fmla="*/ 5126750 w 8633690"/>
              <a:gd name="connsiteY144" fmla="*/ 2303394 h 3487140"/>
              <a:gd name="connsiteX145" fmla="*/ 5110364 w 8633690"/>
              <a:gd name="connsiteY145" fmla="*/ 2437262 h 3487140"/>
              <a:gd name="connsiteX146" fmla="*/ 5109283 w 8633690"/>
              <a:gd name="connsiteY146" fmla="*/ 2519521 h 3487140"/>
              <a:gd name="connsiteX147" fmla="*/ 4930169 w 8633690"/>
              <a:gd name="connsiteY147" fmla="*/ 2539400 h 3487140"/>
              <a:gd name="connsiteX148" fmla="*/ 4519914 w 8633690"/>
              <a:gd name="connsiteY148" fmla="*/ 2545679 h 3487140"/>
              <a:gd name="connsiteX149" fmla="*/ 4279542 w 8633690"/>
              <a:gd name="connsiteY149" fmla="*/ 2602944 h 3487140"/>
              <a:gd name="connsiteX150" fmla="*/ 4269935 w 8633690"/>
              <a:gd name="connsiteY150" fmla="*/ 2790460 h 3487140"/>
              <a:gd name="connsiteX151" fmla="*/ 4463272 w 8633690"/>
              <a:gd name="connsiteY151" fmla="*/ 3133385 h 3487140"/>
              <a:gd name="connsiteX152" fmla="*/ 4955162 w 8633690"/>
              <a:gd name="connsiteY152" fmla="*/ 3465290 h 3487140"/>
              <a:gd name="connsiteX153" fmla="*/ 5695908 w 8633690"/>
              <a:gd name="connsiteY153" fmla="*/ 3390434 h 3487140"/>
              <a:gd name="connsiteX154" fmla="*/ 6135731 w 8633690"/>
              <a:gd name="connsiteY154" fmla="*/ 3017940 h 3487140"/>
              <a:gd name="connsiteX155" fmla="*/ 6449712 w 8633690"/>
              <a:gd name="connsiteY155" fmla="*/ 2655510 h 3487140"/>
              <a:gd name="connsiteX156" fmla="*/ 6822206 w 8633690"/>
              <a:gd name="connsiteY156" fmla="*/ 3163577 h 3487140"/>
              <a:gd name="connsiteX157" fmla="*/ 7046193 w 8633690"/>
              <a:gd name="connsiteY157" fmla="*/ 3255443 h 3487140"/>
              <a:gd name="connsiteX158" fmla="*/ 7124210 w 8633690"/>
              <a:gd name="connsiteY158" fmla="*/ 2786675 h 3487140"/>
              <a:gd name="connsiteX159" fmla="*/ 7433783 w 8633690"/>
              <a:gd name="connsiteY159" fmla="*/ 2869724 h 3487140"/>
              <a:gd name="connsiteX160" fmla="*/ 7672575 w 8633690"/>
              <a:gd name="connsiteY160" fmla="*/ 3245046 h 3487140"/>
              <a:gd name="connsiteX161" fmla="*/ 8045068 w 8633690"/>
              <a:gd name="connsiteY161" fmla="*/ 3329676 h 3487140"/>
              <a:gd name="connsiteX162" fmla="*/ 8633690 w 8633690"/>
              <a:gd name="connsiteY162" fmla="*/ 3217682 h 3487140"/>
              <a:gd name="connsiteX0" fmla="*/ 0 w 8404339"/>
              <a:gd name="connsiteY0" fmla="*/ 3416675 h 3487140"/>
              <a:gd name="connsiteX1" fmla="*/ 159819 w 8404339"/>
              <a:gd name="connsiteY1" fmla="*/ 3205871 h 3487140"/>
              <a:gd name="connsiteX2" fmla="*/ 419072 w 8404339"/>
              <a:gd name="connsiteY2" fmla="*/ 2696848 h 3487140"/>
              <a:gd name="connsiteX3" fmla="*/ 693420 w 8404339"/>
              <a:gd name="connsiteY3" fmla="*/ 2954187 h 3487140"/>
              <a:gd name="connsiteX4" fmla="*/ 1040754 w 8404339"/>
              <a:gd name="connsiteY4" fmla="*/ 3339906 h 3487140"/>
              <a:gd name="connsiteX5" fmla="*/ 1498876 w 8404339"/>
              <a:gd name="connsiteY5" fmla="*/ 3385485 h 3487140"/>
              <a:gd name="connsiteX6" fmla="*/ 1577558 w 8404339"/>
              <a:gd name="connsiteY6" fmla="*/ 3295741 h 3487140"/>
              <a:gd name="connsiteX7" fmla="*/ 1326456 w 8404339"/>
              <a:gd name="connsiteY7" fmla="*/ 3112384 h 3487140"/>
              <a:gd name="connsiteX8" fmla="*/ 1020293 w 8404339"/>
              <a:gd name="connsiteY8" fmla="*/ 2750287 h 3487140"/>
              <a:gd name="connsiteX9" fmla="*/ 928761 w 8404339"/>
              <a:gd name="connsiteY9" fmla="*/ 2305432 h 3487140"/>
              <a:gd name="connsiteX10" fmla="*/ 1056349 w 8404339"/>
              <a:gd name="connsiteY10" fmla="*/ 1919713 h 3487140"/>
              <a:gd name="connsiteX11" fmla="*/ 1380561 w 8404339"/>
              <a:gd name="connsiteY11" fmla="*/ 1637837 h 3487140"/>
              <a:gd name="connsiteX12" fmla="*/ 1873865 w 8404339"/>
              <a:gd name="connsiteY12" fmla="*/ 1545972 h 3487140"/>
              <a:gd name="connsiteX13" fmla="*/ 2108540 w 8404339"/>
              <a:gd name="connsiteY13" fmla="*/ 1517651 h 3487140"/>
              <a:gd name="connsiteX14" fmla="*/ 2093277 w 8404339"/>
              <a:gd name="connsiteY14" fmla="*/ 1460718 h 3487140"/>
              <a:gd name="connsiteX15" fmla="*/ 1817223 w 8404339"/>
              <a:gd name="connsiteY15" fmla="*/ 1416969 h 3487140"/>
              <a:gd name="connsiteX16" fmla="*/ 1297803 w 8404339"/>
              <a:gd name="connsiteY16" fmla="*/ 1517318 h 3487140"/>
              <a:gd name="connsiteX17" fmla="*/ 888505 w 8404339"/>
              <a:gd name="connsiteY17" fmla="*/ 1960593 h 3487140"/>
              <a:gd name="connsiteX18" fmla="*/ 829035 w 8404339"/>
              <a:gd name="connsiteY18" fmla="*/ 2569342 h 3487140"/>
              <a:gd name="connsiteX19" fmla="*/ 1242742 w 8404339"/>
              <a:gd name="connsiteY19" fmla="*/ 3165532 h 3487140"/>
              <a:gd name="connsiteX20" fmla="*/ 2032727 w 8404339"/>
              <a:gd name="connsiteY20" fmla="*/ 3283181 h 3487140"/>
              <a:gd name="connsiteX21" fmla="*/ 2635363 w 8404339"/>
              <a:gd name="connsiteY21" fmla="*/ 2757481 h 3487140"/>
              <a:gd name="connsiteX22" fmla="*/ 2625132 w 8404339"/>
              <a:gd name="connsiteY22" fmla="*/ 1980430 h 3487140"/>
              <a:gd name="connsiteX23" fmla="*/ 2295098 w 8404339"/>
              <a:gd name="connsiteY23" fmla="*/ 1589139 h 3487140"/>
              <a:gd name="connsiteX24" fmla="*/ 2106044 w 8404339"/>
              <a:gd name="connsiteY24" fmla="*/ 1660710 h 3487140"/>
              <a:gd name="connsiteX25" fmla="*/ 1997627 w 8404339"/>
              <a:gd name="connsiteY25" fmla="*/ 2116627 h 3487140"/>
              <a:gd name="connsiteX26" fmla="*/ 1774264 w 8404339"/>
              <a:gd name="connsiteY26" fmla="*/ 2374258 h 3487140"/>
              <a:gd name="connsiteX27" fmla="*/ 1719328 w 8404339"/>
              <a:gd name="connsiteY27" fmla="*/ 2276986 h 3487140"/>
              <a:gd name="connsiteX28" fmla="*/ 2098600 w 8404339"/>
              <a:gd name="connsiteY28" fmla="*/ 2021601 h 3487140"/>
              <a:gd name="connsiteX29" fmla="*/ 2358519 w 8404339"/>
              <a:gd name="connsiteY29" fmla="*/ 1234153 h 3487140"/>
              <a:gd name="connsiteX30" fmla="*/ 2588619 w 8404339"/>
              <a:gd name="connsiteY30" fmla="*/ 725296 h 3487140"/>
              <a:gd name="connsiteX31" fmla="*/ 2697202 w 8404339"/>
              <a:gd name="connsiteY31" fmla="*/ 539984 h 3487140"/>
              <a:gd name="connsiteX32" fmla="*/ 2666054 w 8404339"/>
              <a:gd name="connsiteY32" fmla="*/ 435851 h 3487140"/>
              <a:gd name="connsiteX33" fmla="*/ 2559716 w 8404339"/>
              <a:gd name="connsiteY33" fmla="*/ 350265 h 3487140"/>
              <a:gd name="connsiteX34" fmla="*/ 2514428 w 8404339"/>
              <a:gd name="connsiteY34" fmla="*/ 209327 h 3487140"/>
              <a:gd name="connsiteX35" fmla="*/ 2559258 w 8404339"/>
              <a:gd name="connsiteY35" fmla="*/ 82237 h 3487140"/>
              <a:gd name="connsiteX36" fmla="*/ 2739538 w 8404339"/>
              <a:gd name="connsiteY36" fmla="*/ 6716 h 3487140"/>
              <a:gd name="connsiteX37" fmla="*/ 3008231 w 8404339"/>
              <a:gd name="connsiteY37" fmla="*/ 10167 h 3487140"/>
              <a:gd name="connsiteX38" fmla="*/ 3091904 w 8404339"/>
              <a:gd name="connsiteY38" fmla="*/ 49800 h 3487140"/>
              <a:gd name="connsiteX39" fmla="*/ 3044869 w 8404339"/>
              <a:gd name="connsiteY39" fmla="*/ 86812 h 3487140"/>
              <a:gd name="connsiteX40" fmla="*/ 2808946 w 8404339"/>
              <a:gd name="connsiteY40" fmla="*/ 91886 h 3487140"/>
              <a:gd name="connsiteX41" fmla="*/ 2565413 w 8404339"/>
              <a:gd name="connsiteY41" fmla="*/ 75833 h 3487140"/>
              <a:gd name="connsiteX42" fmla="*/ 2457662 w 8404339"/>
              <a:gd name="connsiteY42" fmla="*/ 176931 h 3487140"/>
              <a:gd name="connsiteX43" fmla="*/ 2472924 w 8404339"/>
              <a:gd name="connsiteY43" fmla="*/ 370393 h 3487140"/>
              <a:gd name="connsiteX44" fmla="*/ 2417697 w 8404339"/>
              <a:gd name="connsiteY44" fmla="*/ 589348 h 3487140"/>
              <a:gd name="connsiteX45" fmla="*/ 2261163 w 8404339"/>
              <a:gd name="connsiteY45" fmla="*/ 903953 h 3487140"/>
              <a:gd name="connsiteX46" fmla="*/ 2050692 w 8404339"/>
              <a:gd name="connsiteY46" fmla="*/ 922501 h 3487140"/>
              <a:gd name="connsiteX47" fmla="*/ 1856273 w 8404339"/>
              <a:gd name="connsiteY47" fmla="*/ 866816 h 3487140"/>
              <a:gd name="connsiteX48" fmla="*/ 1797428 w 8404339"/>
              <a:gd name="connsiteY48" fmla="*/ 751038 h 3487140"/>
              <a:gd name="connsiteX49" fmla="*/ 1809364 w 8404339"/>
              <a:gd name="connsiteY49" fmla="*/ 369436 h 3487140"/>
              <a:gd name="connsiteX50" fmla="*/ 1871037 w 8404339"/>
              <a:gd name="connsiteY50" fmla="*/ 155805 h 3487140"/>
              <a:gd name="connsiteX51" fmla="*/ 2072401 w 8404339"/>
              <a:gd name="connsiteY51" fmla="*/ 156761 h 3487140"/>
              <a:gd name="connsiteX52" fmla="*/ 2325332 w 8404339"/>
              <a:gd name="connsiteY52" fmla="*/ 245175 h 3487140"/>
              <a:gd name="connsiteX53" fmla="*/ 2494424 w 8404339"/>
              <a:gd name="connsiteY53" fmla="*/ 357792 h 3487140"/>
              <a:gd name="connsiteX54" fmla="*/ 2599015 w 8404339"/>
              <a:gd name="connsiteY54" fmla="*/ 483301 h 3487140"/>
              <a:gd name="connsiteX55" fmla="*/ 2623219 w 8404339"/>
              <a:gd name="connsiteY55" fmla="*/ 600951 h 3487140"/>
              <a:gd name="connsiteX56" fmla="*/ 2595688 w 8404339"/>
              <a:gd name="connsiteY56" fmla="*/ 761726 h 3487140"/>
              <a:gd name="connsiteX57" fmla="*/ 2767609 w 8404339"/>
              <a:gd name="connsiteY57" fmla="*/ 1160004 h 3487140"/>
              <a:gd name="connsiteX58" fmla="*/ 3190589 w 8404339"/>
              <a:gd name="connsiteY58" fmla="*/ 1793622 h 3487140"/>
              <a:gd name="connsiteX59" fmla="*/ 3608080 w 8404339"/>
              <a:gd name="connsiteY59" fmla="*/ 2087475 h 3487140"/>
              <a:gd name="connsiteX60" fmla="*/ 3717703 w 8404339"/>
              <a:gd name="connsiteY60" fmla="*/ 2185620 h 3487140"/>
              <a:gd name="connsiteX61" fmla="*/ 3604754 w 8404339"/>
              <a:gd name="connsiteY61" fmla="*/ 2468120 h 3487140"/>
              <a:gd name="connsiteX62" fmla="*/ 3438655 w 8404339"/>
              <a:gd name="connsiteY62" fmla="*/ 2505548 h 3487140"/>
              <a:gd name="connsiteX63" fmla="*/ 3130205 w 8404339"/>
              <a:gd name="connsiteY63" fmla="*/ 2278109 h 3487140"/>
              <a:gd name="connsiteX64" fmla="*/ 2685516 w 8404339"/>
              <a:gd name="connsiteY64" fmla="*/ 1678800 h 3487140"/>
              <a:gd name="connsiteX65" fmla="*/ 2565663 w 8404339"/>
              <a:gd name="connsiteY65" fmla="*/ 1175432 h 3487140"/>
              <a:gd name="connsiteX66" fmla="*/ 2720117 w 8404339"/>
              <a:gd name="connsiteY66" fmla="*/ 1377420 h 3487140"/>
              <a:gd name="connsiteX67" fmla="*/ 3081757 w 8404339"/>
              <a:gd name="connsiteY67" fmla="*/ 2268710 h 3487140"/>
              <a:gd name="connsiteX68" fmla="*/ 3401559 w 8404339"/>
              <a:gd name="connsiteY68" fmla="*/ 2693105 h 3487140"/>
              <a:gd name="connsiteX69" fmla="*/ 3634987 w 8404339"/>
              <a:gd name="connsiteY69" fmla="*/ 2746586 h 3487140"/>
              <a:gd name="connsiteX70" fmla="*/ 3802208 w 8404339"/>
              <a:gd name="connsiteY70" fmla="*/ 2631432 h 3487140"/>
              <a:gd name="connsiteX71" fmla="*/ 3813395 w 8404339"/>
              <a:gd name="connsiteY71" fmla="*/ 2436680 h 3487140"/>
              <a:gd name="connsiteX72" fmla="*/ 3659565 w 8404339"/>
              <a:gd name="connsiteY72" fmla="*/ 2309258 h 3487140"/>
              <a:gd name="connsiteX73" fmla="*/ 3452379 w 8404339"/>
              <a:gd name="connsiteY73" fmla="*/ 2375007 h 3487140"/>
              <a:gd name="connsiteX74" fmla="*/ 3429880 w 8404339"/>
              <a:gd name="connsiteY74" fmla="*/ 2581402 h 3487140"/>
              <a:gd name="connsiteX75" fmla="*/ 3572565 w 8404339"/>
              <a:gd name="connsiteY75" fmla="*/ 2671064 h 3487140"/>
              <a:gd name="connsiteX76" fmla="*/ 3669130 w 8404339"/>
              <a:gd name="connsiteY76" fmla="*/ 2596831 h 3487140"/>
              <a:gd name="connsiteX77" fmla="*/ 3635944 w 8404339"/>
              <a:gd name="connsiteY77" fmla="*/ 2530750 h 3487140"/>
              <a:gd name="connsiteX78" fmla="*/ 3513886 w 8404339"/>
              <a:gd name="connsiteY78" fmla="*/ 2615379 h 3487140"/>
              <a:gd name="connsiteX79" fmla="*/ 3368207 w 8404339"/>
              <a:gd name="connsiteY79" fmla="*/ 2907028 h 3487140"/>
              <a:gd name="connsiteX80" fmla="*/ 3320382 w 8404339"/>
              <a:gd name="connsiteY80" fmla="*/ 3008333 h 3487140"/>
              <a:gd name="connsiteX81" fmla="*/ 3284534 w 8404339"/>
              <a:gd name="connsiteY81" fmla="*/ 3024053 h 3487140"/>
              <a:gd name="connsiteX82" fmla="*/ 3189508 w 8404339"/>
              <a:gd name="connsiteY82" fmla="*/ 3013989 h 3487140"/>
              <a:gd name="connsiteX83" fmla="*/ 3196411 w 8404339"/>
              <a:gd name="connsiteY83" fmla="*/ 2956724 h 3487140"/>
              <a:gd name="connsiteX84" fmla="*/ 3385174 w 8404339"/>
              <a:gd name="connsiteY84" fmla="*/ 2951068 h 3487140"/>
              <a:gd name="connsiteX85" fmla="*/ 3471384 w 8404339"/>
              <a:gd name="connsiteY85" fmla="*/ 2951068 h 3487140"/>
              <a:gd name="connsiteX86" fmla="*/ 3552562 w 8404339"/>
              <a:gd name="connsiteY86" fmla="*/ 2822066 h 3487140"/>
              <a:gd name="connsiteX87" fmla="*/ 3692876 w 8404339"/>
              <a:gd name="connsiteY87" fmla="*/ 2789337 h 3487140"/>
              <a:gd name="connsiteX88" fmla="*/ 3820589 w 8404339"/>
              <a:gd name="connsiteY88" fmla="*/ 2713815 h 3487140"/>
              <a:gd name="connsiteX89" fmla="*/ 3906799 w 8404339"/>
              <a:gd name="connsiteY89" fmla="*/ 2544556 h 3487140"/>
              <a:gd name="connsiteX90" fmla="*/ 4126378 w 8404339"/>
              <a:gd name="connsiteY90" fmla="*/ 2482883 h 3487140"/>
              <a:gd name="connsiteX91" fmla="*/ 4661352 w 8404339"/>
              <a:gd name="connsiteY91" fmla="*/ 2466831 h 3487140"/>
              <a:gd name="connsiteX92" fmla="*/ 4817094 w 8404339"/>
              <a:gd name="connsiteY92" fmla="*/ 2420918 h 3487140"/>
              <a:gd name="connsiteX93" fmla="*/ 4667007 w 8404339"/>
              <a:gd name="connsiteY93" fmla="*/ 2252907 h 3487140"/>
              <a:gd name="connsiteX94" fmla="*/ 4191628 w 8404339"/>
              <a:gd name="connsiteY94" fmla="*/ 1791709 h 3487140"/>
              <a:gd name="connsiteX95" fmla="*/ 3927509 w 8404339"/>
              <a:gd name="connsiteY95" fmla="*/ 1600118 h 3487140"/>
              <a:gd name="connsiteX96" fmla="*/ 3803539 w 8404339"/>
              <a:gd name="connsiteY96" fmla="*/ 1733529 h 3487140"/>
              <a:gd name="connsiteX97" fmla="*/ 3741241 w 8404339"/>
              <a:gd name="connsiteY97" fmla="*/ 1995900 h 3487140"/>
              <a:gd name="connsiteX98" fmla="*/ 3782121 w 8404339"/>
              <a:gd name="connsiteY98" fmla="*/ 2048133 h 3487140"/>
              <a:gd name="connsiteX99" fmla="*/ 3845042 w 8404339"/>
              <a:gd name="connsiteY99" fmla="*/ 1778817 h 3487140"/>
              <a:gd name="connsiteX100" fmla="*/ 3966809 w 8404339"/>
              <a:gd name="connsiteY100" fmla="*/ 1356918 h 3487140"/>
              <a:gd name="connsiteX101" fmla="*/ 4073146 w 8404339"/>
              <a:gd name="connsiteY101" fmla="*/ 986960 h 3487140"/>
              <a:gd name="connsiteX102" fmla="*/ 4043869 w 8404339"/>
              <a:gd name="connsiteY102" fmla="*/ 867107 h 3487140"/>
              <a:gd name="connsiteX103" fmla="*/ 3868955 w 8404339"/>
              <a:gd name="connsiteY103" fmla="*/ 840034 h 3487140"/>
              <a:gd name="connsiteX104" fmla="*/ 3724856 w 8404339"/>
              <a:gd name="connsiteY104" fmla="*/ 782769 h 3487140"/>
              <a:gd name="connsiteX105" fmla="*/ 3741200 w 8404339"/>
              <a:gd name="connsiteY105" fmla="*/ 714816 h 3487140"/>
              <a:gd name="connsiteX106" fmla="*/ 3914867 w 8404339"/>
              <a:gd name="connsiteY106" fmla="*/ 723008 h 3487140"/>
              <a:gd name="connsiteX107" fmla="*/ 4117478 w 8404339"/>
              <a:gd name="connsiteY107" fmla="*/ 729288 h 3487140"/>
              <a:gd name="connsiteX108" fmla="*/ 4284200 w 8404339"/>
              <a:gd name="connsiteY108" fmla="*/ 682087 h 3487140"/>
              <a:gd name="connsiteX109" fmla="*/ 4401849 w 8404339"/>
              <a:gd name="connsiteY109" fmla="*/ 703463 h 3487140"/>
              <a:gd name="connsiteX110" fmla="*/ 4424514 w 8404339"/>
              <a:gd name="connsiteY110" fmla="*/ 797199 h 3487140"/>
              <a:gd name="connsiteX111" fmla="*/ 4296801 w 8404339"/>
              <a:gd name="connsiteY111" fmla="*/ 890936 h 3487140"/>
              <a:gd name="connsiteX112" fmla="*/ 4126918 w 8404339"/>
              <a:gd name="connsiteY112" fmla="*/ 918009 h 3487140"/>
              <a:gd name="connsiteX113" fmla="*/ 3999205 w 8404339"/>
              <a:gd name="connsiteY113" fmla="*/ 1002306 h 3487140"/>
              <a:gd name="connsiteX114" fmla="*/ 3898315 w 8404339"/>
              <a:gd name="connsiteY114" fmla="*/ 1299902 h 3487140"/>
              <a:gd name="connsiteX115" fmla="*/ 3959365 w 8404339"/>
              <a:gd name="connsiteY115" fmla="*/ 1545930 h 3487140"/>
              <a:gd name="connsiteX116" fmla="*/ 4172040 w 8404339"/>
              <a:gd name="connsiteY116" fmla="*/ 1536490 h 3487140"/>
              <a:gd name="connsiteX117" fmla="*/ 4351571 w 8404339"/>
              <a:gd name="connsiteY117" fmla="*/ 1376048 h 3487140"/>
              <a:gd name="connsiteX118" fmla="*/ 4354732 w 8404339"/>
              <a:gd name="connsiteY118" fmla="*/ 1231949 h 3487140"/>
              <a:gd name="connsiteX119" fmla="*/ 4136691 w 8404339"/>
              <a:gd name="connsiteY119" fmla="*/ 1191693 h 3487140"/>
              <a:gd name="connsiteX120" fmla="*/ 4145175 w 8404339"/>
              <a:gd name="connsiteY120" fmla="*/ 1255238 h 3487140"/>
              <a:gd name="connsiteX121" fmla="*/ 4570193 w 8404339"/>
              <a:gd name="connsiteY121" fmla="*/ 1241722 h 3487140"/>
              <a:gd name="connsiteX122" fmla="*/ 5055013 w 8404339"/>
              <a:gd name="connsiteY122" fmla="*/ 1259646 h 3487140"/>
              <a:gd name="connsiteX123" fmla="*/ 5284365 w 8404339"/>
              <a:gd name="connsiteY123" fmla="*/ 1236981 h 3487140"/>
              <a:gd name="connsiteX124" fmla="*/ 5266109 w 8404339"/>
              <a:gd name="connsiteY124" fmla="*/ 1185995 h 3487140"/>
              <a:gd name="connsiteX125" fmla="*/ 4905591 w 8404339"/>
              <a:gd name="connsiteY125" fmla="*/ 1177512 h 3487140"/>
              <a:gd name="connsiteX126" fmla="*/ 4535011 w 8404339"/>
              <a:gd name="connsiteY126" fmla="*/ 1331342 h 3487140"/>
              <a:gd name="connsiteX127" fmla="*/ 4189257 w 8404339"/>
              <a:gd name="connsiteY127" fmla="*/ 1604110 h 3487140"/>
              <a:gd name="connsiteX128" fmla="*/ 3956454 w 8404339"/>
              <a:gd name="connsiteY128" fmla="*/ 1921252 h 3487140"/>
              <a:gd name="connsiteX129" fmla="*/ 3860804 w 8404339"/>
              <a:gd name="connsiteY129" fmla="*/ 2419255 h 3487140"/>
              <a:gd name="connsiteX130" fmla="*/ 4091112 w 8404339"/>
              <a:gd name="connsiteY130" fmla="*/ 3048465 h 3487140"/>
              <a:gd name="connsiteX131" fmla="*/ 4669337 w 8404339"/>
              <a:gd name="connsiteY131" fmla="*/ 3394510 h 3487140"/>
              <a:gd name="connsiteX132" fmla="*/ 5307986 w 8404339"/>
              <a:gd name="connsiteY132" fmla="*/ 3330632 h 3487140"/>
              <a:gd name="connsiteX133" fmla="*/ 5803161 w 8404339"/>
              <a:gd name="connsiteY133" fmla="*/ 2841404 h 3487140"/>
              <a:gd name="connsiteX134" fmla="*/ 5836514 w 8404339"/>
              <a:gd name="connsiteY134" fmla="*/ 2052999 h 3487140"/>
              <a:gd name="connsiteX135" fmla="*/ 5405507 w 8404339"/>
              <a:gd name="connsiteY135" fmla="*/ 1482011 h 3487140"/>
              <a:gd name="connsiteX136" fmla="*/ 4938653 w 8404339"/>
              <a:gd name="connsiteY136" fmla="*/ 1352717 h 3487140"/>
              <a:gd name="connsiteX137" fmla="*/ 4778211 w 8404339"/>
              <a:gd name="connsiteY137" fmla="*/ 1466624 h 3487140"/>
              <a:gd name="connsiteX138" fmla="*/ 4800252 w 8404339"/>
              <a:gd name="connsiteY138" fmla="*/ 2001140 h 3487140"/>
              <a:gd name="connsiteX139" fmla="*/ 4834228 w 8404339"/>
              <a:gd name="connsiteY139" fmla="*/ 2313208 h 3487140"/>
              <a:gd name="connsiteX140" fmla="*/ 4925928 w 8404339"/>
              <a:gd name="connsiteY140" fmla="*/ 2399085 h 3487140"/>
              <a:gd name="connsiteX141" fmla="*/ 5030394 w 8404339"/>
              <a:gd name="connsiteY141" fmla="*/ 2362905 h 3487140"/>
              <a:gd name="connsiteX142" fmla="*/ 4995003 w 8404339"/>
              <a:gd name="connsiteY142" fmla="*/ 2271372 h 3487140"/>
              <a:gd name="connsiteX143" fmla="*/ 4897399 w 8404339"/>
              <a:gd name="connsiteY143" fmla="*/ 2303394 h 3487140"/>
              <a:gd name="connsiteX144" fmla="*/ 4881013 w 8404339"/>
              <a:gd name="connsiteY144" fmla="*/ 2437262 h 3487140"/>
              <a:gd name="connsiteX145" fmla="*/ 4879932 w 8404339"/>
              <a:gd name="connsiteY145" fmla="*/ 2519521 h 3487140"/>
              <a:gd name="connsiteX146" fmla="*/ 4700818 w 8404339"/>
              <a:gd name="connsiteY146" fmla="*/ 2539400 h 3487140"/>
              <a:gd name="connsiteX147" fmla="*/ 4290563 w 8404339"/>
              <a:gd name="connsiteY147" fmla="*/ 2545679 h 3487140"/>
              <a:gd name="connsiteX148" fmla="*/ 4050191 w 8404339"/>
              <a:gd name="connsiteY148" fmla="*/ 2602944 h 3487140"/>
              <a:gd name="connsiteX149" fmla="*/ 4040584 w 8404339"/>
              <a:gd name="connsiteY149" fmla="*/ 2790460 h 3487140"/>
              <a:gd name="connsiteX150" fmla="*/ 4233921 w 8404339"/>
              <a:gd name="connsiteY150" fmla="*/ 3133385 h 3487140"/>
              <a:gd name="connsiteX151" fmla="*/ 4725811 w 8404339"/>
              <a:gd name="connsiteY151" fmla="*/ 3465290 h 3487140"/>
              <a:gd name="connsiteX152" fmla="*/ 5466557 w 8404339"/>
              <a:gd name="connsiteY152" fmla="*/ 3390434 h 3487140"/>
              <a:gd name="connsiteX153" fmla="*/ 5906380 w 8404339"/>
              <a:gd name="connsiteY153" fmla="*/ 3017940 h 3487140"/>
              <a:gd name="connsiteX154" fmla="*/ 6220361 w 8404339"/>
              <a:gd name="connsiteY154" fmla="*/ 2655510 h 3487140"/>
              <a:gd name="connsiteX155" fmla="*/ 6592855 w 8404339"/>
              <a:gd name="connsiteY155" fmla="*/ 3163577 h 3487140"/>
              <a:gd name="connsiteX156" fmla="*/ 6816842 w 8404339"/>
              <a:gd name="connsiteY156" fmla="*/ 3255443 h 3487140"/>
              <a:gd name="connsiteX157" fmla="*/ 6894859 w 8404339"/>
              <a:gd name="connsiteY157" fmla="*/ 2786675 h 3487140"/>
              <a:gd name="connsiteX158" fmla="*/ 7204432 w 8404339"/>
              <a:gd name="connsiteY158" fmla="*/ 2869724 h 3487140"/>
              <a:gd name="connsiteX159" fmla="*/ 7443224 w 8404339"/>
              <a:gd name="connsiteY159" fmla="*/ 3245046 h 3487140"/>
              <a:gd name="connsiteX160" fmla="*/ 7815717 w 8404339"/>
              <a:gd name="connsiteY160" fmla="*/ 3329676 h 3487140"/>
              <a:gd name="connsiteX161" fmla="*/ 8404339 w 8404339"/>
              <a:gd name="connsiteY161" fmla="*/ 3217682 h 3487140"/>
              <a:gd name="connsiteX0" fmla="*/ 0 w 8244520"/>
              <a:gd name="connsiteY0" fmla="*/ 3205871 h 3487140"/>
              <a:gd name="connsiteX1" fmla="*/ 259253 w 8244520"/>
              <a:gd name="connsiteY1" fmla="*/ 2696848 h 3487140"/>
              <a:gd name="connsiteX2" fmla="*/ 533601 w 8244520"/>
              <a:gd name="connsiteY2" fmla="*/ 2954187 h 3487140"/>
              <a:gd name="connsiteX3" fmla="*/ 880935 w 8244520"/>
              <a:gd name="connsiteY3" fmla="*/ 3339906 h 3487140"/>
              <a:gd name="connsiteX4" fmla="*/ 1339057 w 8244520"/>
              <a:gd name="connsiteY4" fmla="*/ 3385485 h 3487140"/>
              <a:gd name="connsiteX5" fmla="*/ 1417739 w 8244520"/>
              <a:gd name="connsiteY5" fmla="*/ 3295741 h 3487140"/>
              <a:gd name="connsiteX6" fmla="*/ 1166637 w 8244520"/>
              <a:gd name="connsiteY6" fmla="*/ 3112384 h 3487140"/>
              <a:gd name="connsiteX7" fmla="*/ 860474 w 8244520"/>
              <a:gd name="connsiteY7" fmla="*/ 2750287 h 3487140"/>
              <a:gd name="connsiteX8" fmla="*/ 768942 w 8244520"/>
              <a:gd name="connsiteY8" fmla="*/ 2305432 h 3487140"/>
              <a:gd name="connsiteX9" fmla="*/ 896530 w 8244520"/>
              <a:gd name="connsiteY9" fmla="*/ 1919713 h 3487140"/>
              <a:gd name="connsiteX10" fmla="*/ 1220742 w 8244520"/>
              <a:gd name="connsiteY10" fmla="*/ 1637837 h 3487140"/>
              <a:gd name="connsiteX11" fmla="*/ 1714046 w 8244520"/>
              <a:gd name="connsiteY11" fmla="*/ 1545972 h 3487140"/>
              <a:gd name="connsiteX12" fmla="*/ 1948721 w 8244520"/>
              <a:gd name="connsiteY12" fmla="*/ 1517651 h 3487140"/>
              <a:gd name="connsiteX13" fmla="*/ 1933458 w 8244520"/>
              <a:gd name="connsiteY13" fmla="*/ 1460718 h 3487140"/>
              <a:gd name="connsiteX14" fmla="*/ 1657404 w 8244520"/>
              <a:gd name="connsiteY14" fmla="*/ 1416969 h 3487140"/>
              <a:gd name="connsiteX15" fmla="*/ 1137984 w 8244520"/>
              <a:gd name="connsiteY15" fmla="*/ 1517318 h 3487140"/>
              <a:gd name="connsiteX16" fmla="*/ 728686 w 8244520"/>
              <a:gd name="connsiteY16" fmla="*/ 1960593 h 3487140"/>
              <a:gd name="connsiteX17" fmla="*/ 669216 w 8244520"/>
              <a:gd name="connsiteY17" fmla="*/ 2569342 h 3487140"/>
              <a:gd name="connsiteX18" fmla="*/ 1082923 w 8244520"/>
              <a:gd name="connsiteY18" fmla="*/ 3165532 h 3487140"/>
              <a:gd name="connsiteX19" fmla="*/ 1872908 w 8244520"/>
              <a:gd name="connsiteY19" fmla="*/ 3283181 h 3487140"/>
              <a:gd name="connsiteX20" fmla="*/ 2475544 w 8244520"/>
              <a:gd name="connsiteY20" fmla="*/ 2757481 h 3487140"/>
              <a:gd name="connsiteX21" fmla="*/ 2465313 w 8244520"/>
              <a:gd name="connsiteY21" fmla="*/ 1980430 h 3487140"/>
              <a:gd name="connsiteX22" fmla="*/ 2135279 w 8244520"/>
              <a:gd name="connsiteY22" fmla="*/ 1589139 h 3487140"/>
              <a:gd name="connsiteX23" fmla="*/ 1946225 w 8244520"/>
              <a:gd name="connsiteY23" fmla="*/ 1660710 h 3487140"/>
              <a:gd name="connsiteX24" fmla="*/ 1837808 w 8244520"/>
              <a:gd name="connsiteY24" fmla="*/ 2116627 h 3487140"/>
              <a:gd name="connsiteX25" fmla="*/ 1614445 w 8244520"/>
              <a:gd name="connsiteY25" fmla="*/ 2374258 h 3487140"/>
              <a:gd name="connsiteX26" fmla="*/ 1559509 w 8244520"/>
              <a:gd name="connsiteY26" fmla="*/ 2276986 h 3487140"/>
              <a:gd name="connsiteX27" fmla="*/ 1938781 w 8244520"/>
              <a:gd name="connsiteY27" fmla="*/ 2021601 h 3487140"/>
              <a:gd name="connsiteX28" fmla="*/ 2198700 w 8244520"/>
              <a:gd name="connsiteY28" fmla="*/ 1234153 h 3487140"/>
              <a:gd name="connsiteX29" fmla="*/ 2428800 w 8244520"/>
              <a:gd name="connsiteY29" fmla="*/ 725296 h 3487140"/>
              <a:gd name="connsiteX30" fmla="*/ 2537383 w 8244520"/>
              <a:gd name="connsiteY30" fmla="*/ 539984 h 3487140"/>
              <a:gd name="connsiteX31" fmla="*/ 2506235 w 8244520"/>
              <a:gd name="connsiteY31" fmla="*/ 435851 h 3487140"/>
              <a:gd name="connsiteX32" fmla="*/ 2399897 w 8244520"/>
              <a:gd name="connsiteY32" fmla="*/ 350265 h 3487140"/>
              <a:gd name="connsiteX33" fmla="*/ 2354609 w 8244520"/>
              <a:gd name="connsiteY33" fmla="*/ 209327 h 3487140"/>
              <a:gd name="connsiteX34" fmla="*/ 2399439 w 8244520"/>
              <a:gd name="connsiteY34" fmla="*/ 82237 h 3487140"/>
              <a:gd name="connsiteX35" fmla="*/ 2579719 w 8244520"/>
              <a:gd name="connsiteY35" fmla="*/ 6716 h 3487140"/>
              <a:gd name="connsiteX36" fmla="*/ 2848412 w 8244520"/>
              <a:gd name="connsiteY36" fmla="*/ 10167 h 3487140"/>
              <a:gd name="connsiteX37" fmla="*/ 2932085 w 8244520"/>
              <a:gd name="connsiteY37" fmla="*/ 49800 h 3487140"/>
              <a:gd name="connsiteX38" fmla="*/ 2885050 w 8244520"/>
              <a:gd name="connsiteY38" fmla="*/ 86812 h 3487140"/>
              <a:gd name="connsiteX39" fmla="*/ 2649127 w 8244520"/>
              <a:gd name="connsiteY39" fmla="*/ 91886 h 3487140"/>
              <a:gd name="connsiteX40" fmla="*/ 2405594 w 8244520"/>
              <a:gd name="connsiteY40" fmla="*/ 75833 h 3487140"/>
              <a:gd name="connsiteX41" fmla="*/ 2297843 w 8244520"/>
              <a:gd name="connsiteY41" fmla="*/ 176931 h 3487140"/>
              <a:gd name="connsiteX42" fmla="*/ 2313105 w 8244520"/>
              <a:gd name="connsiteY42" fmla="*/ 370393 h 3487140"/>
              <a:gd name="connsiteX43" fmla="*/ 2257878 w 8244520"/>
              <a:gd name="connsiteY43" fmla="*/ 589348 h 3487140"/>
              <a:gd name="connsiteX44" fmla="*/ 2101344 w 8244520"/>
              <a:gd name="connsiteY44" fmla="*/ 903953 h 3487140"/>
              <a:gd name="connsiteX45" fmla="*/ 1890873 w 8244520"/>
              <a:gd name="connsiteY45" fmla="*/ 922501 h 3487140"/>
              <a:gd name="connsiteX46" fmla="*/ 1696454 w 8244520"/>
              <a:gd name="connsiteY46" fmla="*/ 866816 h 3487140"/>
              <a:gd name="connsiteX47" fmla="*/ 1637609 w 8244520"/>
              <a:gd name="connsiteY47" fmla="*/ 751038 h 3487140"/>
              <a:gd name="connsiteX48" fmla="*/ 1649545 w 8244520"/>
              <a:gd name="connsiteY48" fmla="*/ 369436 h 3487140"/>
              <a:gd name="connsiteX49" fmla="*/ 1711218 w 8244520"/>
              <a:gd name="connsiteY49" fmla="*/ 155805 h 3487140"/>
              <a:gd name="connsiteX50" fmla="*/ 1912582 w 8244520"/>
              <a:gd name="connsiteY50" fmla="*/ 156761 h 3487140"/>
              <a:gd name="connsiteX51" fmla="*/ 2165513 w 8244520"/>
              <a:gd name="connsiteY51" fmla="*/ 245175 h 3487140"/>
              <a:gd name="connsiteX52" fmla="*/ 2334605 w 8244520"/>
              <a:gd name="connsiteY52" fmla="*/ 357792 h 3487140"/>
              <a:gd name="connsiteX53" fmla="*/ 2439196 w 8244520"/>
              <a:gd name="connsiteY53" fmla="*/ 483301 h 3487140"/>
              <a:gd name="connsiteX54" fmla="*/ 2463400 w 8244520"/>
              <a:gd name="connsiteY54" fmla="*/ 600951 h 3487140"/>
              <a:gd name="connsiteX55" fmla="*/ 2435869 w 8244520"/>
              <a:gd name="connsiteY55" fmla="*/ 761726 h 3487140"/>
              <a:gd name="connsiteX56" fmla="*/ 2607790 w 8244520"/>
              <a:gd name="connsiteY56" fmla="*/ 1160004 h 3487140"/>
              <a:gd name="connsiteX57" fmla="*/ 3030770 w 8244520"/>
              <a:gd name="connsiteY57" fmla="*/ 1793622 h 3487140"/>
              <a:gd name="connsiteX58" fmla="*/ 3448261 w 8244520"/>
              <a:gd name="connsiteY58" fmla="*/ 2087475 h 3487140"/>
              <a:gd name="connsiteX59" fmla="*/ 3557884 w 8244520"/>
              <a:gd name="connsiteY59" fmla="*/ 2185620 h 3487140"/>
              <a:gd name="connsiteX60" fmla="*/ 3444935 w 8244520"/>
              <a:gd name="connsiteY60" fmla="*/ 2468120 h 3487140"/>
              <a:gd name="connsiteX61" fmla="*/ 3278836 w 8244520"/>
              <a:gd name="connsiteY61" fmla="*/ 2505548 h 3487140"/>
              <a:gd name="connsiteX62" fmla="*/ 2970386 w 8244520"/>
              <a:gd name="connsiteY62" fmla="*/ 2278109 h 3487140"/>
              <a:gd name="connsiteX63" fmla="*/ 2525697 w 8244520"/>
              <a:gd name="connsiteY63" fmla="*/ 1678800 h 3487140"/>
              <a:gd name="connsiteX64" fmla="*/ 2405844 w 8244520"/>
              <a:gd name="connsiteY64" fmla="*/ 1175432 h 3487140"/>
              <a:gd name="connsiteX65" fmla="*/ 2560298 w 8244520"/>
              <a:gd name="connsiteY65" fmla="*/ 1377420 h 3487140"/>
              <a:gd name="connsiteX66" fmla="*/ 2921938 w 8244520"/>
              <a:gd name="connsiteY66" fmla="*/ 2268710 h 3487140"/>
              <a:gd name="connsiteX67" fmla="*/ 3241740 w 8244520"/>
              <a:gd name="connsiteY67" fmla="*/ 2693105 h 3487140"/>
              <a:gd name="connsiteX68" fmla="*/ 3475168 w 8244520"/>
              <a:gd name="connsiteY68" fmla="*/ 2746586 h 3487140"/>
              <a:gd name="connsiteX69" fmla="*/ 3642389 w 8244520"/>
              <a:gd name="connsiteY69" fmla="*/ 2631432 h 3487140"/>
              <a:gd name="connsiteX70" fmla="*/ 3653576 w 8244520"/>
              <a:gd name="connsiteY70" fmla="*/ 2436680 h 3487140"/>
              <a:gd name="connsiteX71" fmla="*/ 3499746 w 8244520"/>
              <a:gd name="connsiteY71" fmla="*/ 2309258 h 3487140"/>
              <a:gd name="connsiteX72" fmla="*/ 3292560 w 8244520"/>
              <a:gd name="connsiteY72" fmla="*/ 2375007 h 3487140"/>
              <a:gd name="connsiteX73" fmla="*/ 3270061 w 8244520"/>
              <a:gd name="connsiteY73" fmla="*/ 2581402 h 3487140"/>
              <a:gd name="connsiteX74" fmla="*/ 3412746 w 8244520"/>
              <a:gd name="connsiteY74" fmla="*/ 2671064 h 3487140"/>
              <a:gd name="connsiteX75" fmla="*/ 3509311 w 8244520"/>
              <a:gd name="connsiteY75" fmla="*/ 2596831 h 3487140"/>
              <a:gd name="connsiteX76" fmla="*/ 3476125 w 8244520"/>
              <a:gd name="connsiteY76" fmla="*/ 2530750 h 3487140"/>
              <a:gd name="connsiteX77" fmla="*/ 3354067 w 8244520"/>
              <a:gd name="connsiteY77" fmla="*/ 2615379 h 3487140"/>
              <a:gd name="connsiteX78" fmla="*/ 3208388 w 8244520"/>
              <a:gd name="connsiteY78" fmla="*/ 2907028 h 3487140"/>
              <a:gd name="connsiteX79" fmla="*/ 3160563 w 8244520"/>
              <a:gd name="connsiteY79" fmla="*/ 3008333 h 3487140"/>
              <a:gd name="connsiteX80" fmla="*/ 3124715 w 8244520"/>
              <a:gd name="connsiteY80" fmla="*/ 3024053 h 3487140"/>
              <a:gd name="connsiteX81" fmla="*/ 3029689 w 8244520"/>
              <a:gd name="connsiteY81" fmla="*/ 3013989 h 3487140"/>
              <a:gd name="connsiteX82" fmla="*/ 3036592 w 8244520"/>
              <a:gd name="connsiteY82" fmla="*/ 2956724 h 3487140"/>
              <a:gd name="connsiteX83" fmla="*/ 3225355 w 8244520"/>
              <a:gd name="connsiteY83" fmla="*/ 2951068 h 3487140"/>
              <a:gd name="connsiteX84" fmla="*/ 3311565 w 8244520"/>
              <a:gd name="connsiteY84" fmla="*/ 2951068 h 3487140"/>
              <a:gd name="connsiteX85" fmla="*/ 3392743 w 8244520"/>
              <a:gd name="connsiteY85" fmla="*/ 2822066 h 3487140"/>
              <a:gd name="connsiteX86" fmla="*/ 3533057 w 8244520"/>
              <a:gd name="connsiteY86" fmla="*/ 2789337 h 3487140"/>
              <a:gd name="connsiteX87" fmla="*/ 3660770 w 8244520"/>
              <a:gd name="connsiteY87" fmla="*/ 2713815 h 3487140"/>
              <a:gd name="connsiteX88" fmla="*/ 3746980 w 8244520"/>
              <a:gd name="connsiteY88" fmla="*/ 2544556 h 3487140"/>
              <a:gd name="connsiteX89" fmla="*/ 3966559 w 8244520"/>
              <a:gd name="connsiteY89" fmla="*/ 2482883 h 3487140"/>
              <a:gd name="connsiteX90" fmla="*/ 4501533 w 8244520"/>
              <a:gd name="connsiteY90" fmla="*/ 2466831 h 3487140"/>
              <a:gd name="connsiteX91" fmla="*/ 4657275 w 8244520"/>
              <a:gd name="connsiteY91" fmla="*/ 2420918 h 3487140"/>
              <a:gd name="connsiteX92" fmla="*/ 4507188 w 8244520"/>
              <a:gd name="connsiteY92" fmla="*/ 2252907 h 3487140"/>
              <a:gd name="connsiteX93" fmla="*/ 4031809 w 8244520"/>
              <a:gd name="connsiteY93" fmla="*/ 1791709 h 3487140"/>
              <a:gd name="connsiteX94" fmla="*/ 3767690 w 8244520"/>
              <a:gd name="connsiteY94" fmla="*/ 1600118 h 3487140"/>
              <a:gd name="connsiteX95" fmla="*/ 3643720 w 8244520"/>
              <a:gd name="connsiteY95" fmla="*/ 1733529 h 3487140"/>
              <a:gd name="connsiteX96" fmla="*/ 3581422 w 8244520"/>
              <a:gd name="connsiteY96" fmla="*/ 1995900 h 3487140"/>
              <a:gd name="connsiteX97" fmla="*/ 3622302 w 8244520"/>
              <a:gd name="connsiteY97" fmla="*/ 2048133 h 3487140"/>
              <a:gd name="connsiteX98" fmla="*/ 3685223 w 8244520"/>
              <a:gd name="connsiteY98" fmla="*/ 1778817 h 3487140"/>
              <a:gd name="connsiteX99" fmla="*/ 3806990 w 8244520"/>
              <a:gd name="connsiteY99" fmla="*/ 1356918 h 3487140"/>
              <a:gd name="connsiteX100" fmla="*/ 3913327 w 8244520"/>
              <a:gd name="connsiteY100" fmla="*/ 986960 h 3487140"/>
              <a:gd name="connsiteX101" fmla="*/ 3884050 w 8244520"/>
              <a:gd name="connsiteY101" fmla="*/ 867107 h 3487140"/>
              <a:gd name="connsiteX102" fmla="*/ 3709136 w 8244520"/>
              <a:gd name="connsiteY102" fmla="*/ 840034 h 3487140"/>
              <a:gd name="connsiteX103" fmla="*/ 3565037 w 8244520"/>
              <a:gd name="connsiteY103" fmla="*/ 782769 h 3487140"/>
              <a:gd name="connsiteX104" fmla="*/ 3581381 w 8244520"/>
              <a:gd name="connsiteY104" fmla="*/ 714816 h 3487140"/>
              <a:gd name="connsiteX105" fmla="*/ 3755048 w 8244520"/>
              <a:gd name="connsiteY105" fmla="*/ 723008 h 3487140"/>
              <a:gd name="connsiteX106" fmla="*/ 3957659 w 8244520"/>
              <a:gd name="connsiteY106" fmla="*/ 729288 h 3487140"/>
              <a:gd name="connsiteX107" fmla="*/ 4124381 w 8244520"/>
              <a:gd name="connsiteY107" fmla="*/ 682087 h 3487140"/>
              <a:gd name="connsiteX108" fmla="*/ 4242030 w 8244520"/>
              <a:gd name="connsiteY108" fmla="*/ 703463 h 3487140"/>
              <a:gd name="connsiteX109" fmla="*/ 4264695 w 8244520"/>
              <a:gd name="connsiteY109" fmla="*/ 797199 h 3487140"/>
              <a:gd name="connsiteX110" fmla="*/ 4136982 w 8244520"/>
              <a:gd name="connsiteY110" fmla="*/ 890936 h 3487140"/>
              <a:gd name="connsiteX111" fmla="*/ 3967099 w 8244520"/>
              <a:gd name="connsiteY111" fmla="*/ 918009 h 3487140"/>
              <a:gd name="connsiteX112" fmla="*/ 3839386 w 8244520"/>
              <a:gd name="connsiteY112" fmla="*/ 1002306 h 3487140"/>
              <a:gd name="connsiteX113" fmla="*/ 3738496 w 8244520"/>
              <a:gd name="connsiteY113" fmla="*/ 1299902 h 3487140"/>
              <a:gd name="connsiteX114" fmla="*/ 3799546 w 8244520"/>
              <a:gd name="connsiteY114" fmla="*/ 1545930 h 3487140"/>
              <a:gd name="connsiteX115" fmla="*/ 4012221 w 8244520"/>
              <a:gd name="connsiteY115" fmla="*/ 1536490 h 3487140"/>
              <a:gd name="connsiteX116" fmla="*/ 4191752 w 8244520"/>
              <a:gd name="connsiteY116" fmla="*/ 1376048 h 3487140"/>
              <a:gd name="connsiteX117" fmla="*/ 4194913 w 8244520"/>
              <a:gd name="connsiteY117" fmla="*/ 1231949 h 3487140"/>
              <a:gd name="connsiteX118" fmla="*/ 3976872 w 8244520"/>
              <a:gd name="connsiteY118" fmla="*/ 1191693 h 3487140"/>
              <a:gd name="connsiteX119" fmla="*/ 3985356 w 8244520"/>
              <a:gd name="connsiteY119" fmla="*/ 1255238 h 3487140"/>
              <a:gd name="connsiteX120" fmla="*/ 4410374 w 8244520"/>
              <a:gd name="connsiteY120" fmla="*/ 1241722 h 3487140"/>
              <a:gd name="connsiteX121" fmla="*/ 4895194 w 8244520"/>
              <a:gd name="connsiteY121" fmla="*/ 1259646 h 3487140"/>
              <a:gd name="connsiteX122" fmla="*/ 5124546 w 8244520"/>
              <a:gd name="connsiteY122" fmla="*/ 1236981 h 3487140"/>
              <a:gd name="connsiteX123" fmla="*/ 5106290 w 8244520"/>
              <a:gd name="connsiteY123" fmla="*/ 1185995 h 3487140"/>
              <a:gd name="connsiteX124" fmla="*/ 4745772 w 8244520"/>
              <a:gd name="connsiteY124" fmla="*/ 1177512 h 3487140"/>
              <a:gd name="connsiteX125" fmla="*/ 4375192 w 8244520"/>
              <a:gd name="connsiteY125" fmla="*/ 1331342 h 3487140"/>
              <a:gd name="connsiteX126" fmla="*/ 4029438 w 8244520"/>
              <a:gd name="connsiteY126" fmla="*/ 1604110 h 3487140"/>
              <a:gd name="connsiteX127" fmla="*/ 3796635 w 8244520"/>
              <a:gd name="connsiteY127" fmla="*/ 1921252 h 3487140"/>
              <a:gd name="connsiteX128" fmla="*/ 3700985 w 8244520"/>
              <a:gd name="connsiteY128" fmla="*/ 2419255 h 3487140"/>
              <a:gd name="connsiteX129" fmla="*/ 3931293 w 8244520"/>
              <a:gd name="connsiteY129" fmla="*/ 3048465 h 3487140"/>
              <a:gd name="connsiteX130" fmla="*/ 4509518 w 8244520"/>
              <a:gd name="connsiteY130" fmla="*/ 3394510 h 3487140"/>
              <a:gd name="connsiteX131" fmla="*/ 5148167 w 8244520"/>
              <a:gd name="connsiteY131" fmla="*/ 3330632 h 3487140"/>
              <a:gd name="connsiteX132" fmla="*/ 5643342 w 8244520"/>
              <a:gd name="connsiteY132" fmla="*/ 2841404 h 3487140"/>
              <a:gd name="connsiteX133" fmla="*/ 5676695 w 8244520"/>
              <a:gd name="connsiteY133" fmla="*/ 2052999 h 3487140"/>
              <a:gd name="connsiteX134" fmla="*/ 5245688 w 8244520"/>
              <a:gd name="connsiteY134" fmla="*/ 1482011 h 3487140"/>
              <a:gd name="connsiteX135" fmla="*/ 4778834 w 8244520"/>
              <a:gd name="connsiteY135" fmla="*/ 1352717 h 3487140"/>
              <a:gd name="connsiteX136" fmla="*/ 4618392 w 8244520"/>
              <a:gd name="connsiteY136" fmla="*/ 1466624 h 3487140"/>
              <a:gd name="connsiteX137" fmla="*/ 4640433 w 8244520"/>
              <a:gd name="connsiteY137" fmla="*/ 2001140 h 3487140"/>
              <a:gd name="connsiteX138" fmla="*/ 4674409 w 8244520"/>
              <a:gd name="connsiteY138" fmla="*/ 2313208 h 3487140"/>
              <a:gd name="connsiteX139" fmla="*/ 4766109 w 8244520"/>
              <a:gd name="connsiteY139" fmla="*/ 2399085 h 3487140"/>
              <a:gd name="connsiteX140" fmla="*/ 4870575 w 8244520"/>
              <a:gd name="connsiteY140" fmla="*/ 2362905 h 3487140"/>
              <a:gd name="connsiteX141" fmla="*/ 4835184 w 8244520"/>
              <a:gd name="connsiteY141" fmla="*/ 2271372 h 3487140"/>
              <a:gd name="connsiteX142" fmla="*/ 4737580 w 8244520"/>
              <a:gd name="connsiteY142" fmla="*/ 2303394 h 3487140"/>
              <a:gd name="connsiteX143" fmla="*/ 4721194 w 8244520"/>
              <a:gd name="connsiteY143" fmla="*/ 2437262 h 3487140"/>
              <a:gd name="connsiteX144" fmla="*/ 4720113 w 8244520"/>
              <a:gd name="connsiteY144" fmla="*/ 2519521 h 3487140"/>
              <a:gd name="connsiteX145" fmla="*/ 4540999 w 8244520"/>
              <a:gd name="connsiteY145" fmla="*/ 2539400 h 3487140"/>
              <a:gd name="connsiteX146" fmla="*/ 4130744 w 8244520"/>
              <a:gd name="connsiteY146" fmla="*/ 2545679 h 3487140"/>
              <a:gd name="connsiteX147" fmla="*/ 3890372 w 8244520"/>
              <a:gd name="connsiteY147" fmla="*/ 2602944 h 3487140"/>
              <a:gd name="connsiteX148" fmla="*/ 3880765 w 8244520"/>
              <a:gd name="connsiteY148" fmla="*/ 2790460 h 3487140"/>
              <a:gd name="connsiteX149" fmla="*/ 4074102 w 8244520"/>
              <a:gd name="connsiteY149" fmla="*/ 3133385 h 3487140"/>
              <a:gd name="connsiteX150" fmla="*/ 4565992 w 8244520"/>
              <a:gd name="connsiteY150" fmla="*/ 3465290 h 3487140"/>
              <a:gd name="connsiteX151" fmla="*/ 5306738 w 8244520"/>
              <a:gd name="connsiteY151" fmla="*/ 3390434 h 3487140"/>
              <a:gd name="connsiteX152" fmla="*/ 5746561 w 8244520"/>
              <a:gd name="connsiteY152" fmla="*/ 3017940 h 3487140"/>
              <a:gd name="connsiteX153" fmla="*/ 6060542 w 8244520"/>
              <a:gd name="connsiteY153" fmla="*/ 2655510 h 3487140"/>
              <a:gd name="connsiteX154" fmla="*/ 6433036 w 8244520"/>
              <a:gd name="connsiteY154" fmla="*/ 3163577 h 3487140"/>
              <a:gd name="connsiteX155" fmla="*/ 6657023 w 8244520"/>
              <a:gd name="connsiteY155" fmla="*/ 3255443 h 3487140"/>
              <a:gd name="connsiteX156" fmla="*/ 6735040 w 8244520"/>
              <a:gd name="connsiteY156" fmla="*/ 2786675 h 3487140"/>
              <a:gd name="connsiteX157" fmla="*/ 7044613 w 8244520"/>
              <a:gd name="connsiteY157" fmla="*/ 2869724 h 3487140"/>
              <a:gd name="connsiteX158" fmla="*/ 7283405 w 8244520"/>
              <a:gd name="connsiteY158" fmla="*/ 3245046 h 3487140"/>
              <a:gd name="connsiteX159" fmla="*/ 7655898 w 8244520"/>
              <a:gd name="connsiteY159" fmla="*/ 3329676 h 3487140"/>
              <a:gd name="connsiteX160" fmla="*/ 8244520 w 8244520"/>
              <a:gd name="connsiteY160" fmla="*/ 3217682 h 3487140"/>
              <a:gd name="connsiteX0" fmla="*/ 0 w 7985267"/>
              <a:gd name="connsiteY0" fmla="*/ 2696848 h 3487140"/>
              <a:gd name="connsiteX1" fmla="*/ 274348 w 7985267"/>
              <a:gd name="connsiteY1" fmla="*/ 2954187 h 3487140"/>
              <a:gd name="connsiteX2" fmla="*/ 621682 w 7985267"/>
              <a:gd name="connsiteY2" fmla="*/ 3339906 h 3487140"/>
              <a:gd name="connsiteX3" fmla="*/ 1079804 w 7985267"/>
              <a:gd name="connsiteY3" fmla="*/ 3385485 h 3487140"/>
              <a:gd name="connsiteX4" fmla="*/ 1158486 w 7985267"/>
              <a:gd name="connsiteY4" fmla="*/ 3295741 h 3487140"/>
              <a:gd name="connsiteX5" fmla="*/ 907384 w 7985267"/>
              <a:gd name="connsiteY5" fmla="*/ 3112384 h 3487140"/>
              <a:gd name="connsiteX6" fmla="*/ 601221 w 7985267"/>
              <a:gd name="connsiteY6" fmla="*/ 2750287 h 3487140"/>
              <a:gd name="connsiteX7" fmla="*/ 509689 w 7985267"/>
              <a:gd name="connsiteY7" fmla="*/ 2305432 h 3487140"/>
              <a:gd name="connsiteX8" fmla="*/ 637277 w 7985267"/>
              <a:gd name="connsiteY8" fmla="*/ 1919713 h 3487140"/>
              <a:gd name="connsiteX9" fmla="*/ 961489 w 7985267"/>
              <a:gd name="connsiteY9" fmla="*/ 1637837 h 3487140"/>
              <a:gd name="connsiteX10" fmla="*/ 1454793 w 7985267"/>
              <a:gd name="connsiteY10" fmla="*/ 1545972 h 3487140"/>
              <a:gd name="connsiteX11" fmla="*/ 1689468 w 7985267"/>
              <a:gd name="connsiteY11" fmla="*/ 1517651 h 3487140"/>
              <a:gd name="connsiteX12" fmla="*/ 1674205 w 7985267"/>
              <a:gd name="connsiteY12" fmla="*/ 1460718 h 3487140"/>
              <a:gd name="connsiteX13" fmla="*/ 1398151 w 7985267"/>
              <a:gd name="connsiteY13" fmla="*/ 1416969 h 3487140"/>
              <a:gd name="connsiteX14" fmla="*/ 878731 w 7985267"/>
              <a:gd name="connsiteY14" fmla="*/ 1517318 h 3487140"/>
              <a:gd name="connsiteX15" fmla="*/ 469433 w 7985267"/>
              <a:gd name="connsiteY15" fmla="*/ 1960593 h 3487140"/>
              <a:gd name="connsiteX16" fmla="*/ 409963 w 7985267"/>
              <a:gd name="connsiteY16" fmla="*/ 2569342 h 3487140"/>
              <a:gd name="connsiteX17" fmla="*/ 823670 w 7985267"/>
              <a:gd name="connsiteY17" fmla="*/ 3165532 h 3487140"/>
              <a:gd name="connsiteX18" fmla="*/ 1613655 w 7985267"/>
              <a:gd name="connsiteY18" fmla="*/ 3283181 h 3487140"/>
              <a:gd name="connsiteX19" fmla="*/ 2216291 w 7985267"/>
              <a:gd name="connsiteY19" fmla="*/ 2757481 h 3487140"/>
              <a:gd name="connsiteX20" fmla="*/ 2206060 w 7985267"/>
              <a:gd name="connsiteY20" fmla="*/ 1980430 h 3487140"/>
              <a:gd name="connsiteX21" fmla="*/ 1876026 w 7985267"/>
              <a:gd name="connsiteY21" fmla="*/ 1589139 h 3487140"/>
              <a:gd name="connsiteX22" fmla="*/ 1686972 w 7985267"/>
              <a:gd name="connsiteY22" fmla="*/ 1660710 h 3487140"/>
              <a:gd name="connsiteX23" fmla="*/ 1578555 w 7985267"/>
              <a:gd name="connsiteY23" fmla="*/ 2116627 h 3487140"/>
              <a:gd name="connsiteX24" fmla="*/ 1355192 w 7985267"/>
              <a:gd name="connsiteY24" fmla="*/ 2374258 h 3487140"/>
              <a:gd name="connsiteX25" fmla="*/ 1300256 w 7985267"/>
              <a:gd name="connsiteY25" fmla="*/ 2276986 h 3487140"/>
              <a:gd name="connsiteX26" fmla="*/ 1679528 w 7985267"/>
              <a:gd name="connsiteY26" fmla="*/ 2021601 h 3487140"/>
              <a:gd name="connsiteX27" fmla="*/ 1939447 w 7985267"/>
              <a:gd name="connsiteY27" fmla="*/ 1234153 h 3487140"/>
              <a:gd name="connsiteX28" fmla="*/ 2169547 w 7985267"/>
              <a:gd name="connsiteY28" fmla="*/ 725296 h 3487140"/>
              <a:gd name="connsiteX29" fmla="*/ 2278130 w 7985267"/>
              <a:gd name="connsiteY29" fmla="*/ 539984 h 3487140"/>
              <a:gd name="connsiteX30" fmla="*/ 2246982 w 7985267"/>
              <a:gd name="connsiteY30" fmla="*/ 435851 h 3487140"/>
              <a:gd name="connsiteX31" fmla="*/ 2140644 w 7985267"/>
              <a:gd name="connsiteY31" fmla="*/ 350265 h 3487140"/>
              <a:gd name="connsiteX32" fmla="*/ 2095356 w 7985267"/>
              <a:gd name="connsiteY32" fmla="*/ 209327 h 3487140"/>
              <a:gd name="connsiteX33" fmla="*/ 2140186 w 7985267"/>
              <a:gd name="connsiteY33" fmla="*/ 82237 h 3487140"/>
              <a:gd name="connsiteX34" fmla="*/ 2320466 w 7985267"/>
              <a:gd name="connsiteY34" fmla="*/ 6716 h 3487140"/>
              <a:gd name="connsiteX35" fmla="*/ 2589159 w 7985267"/>
              <a:gd name="connsiteY35" fmla="*/ 10167 h 3487140"/>
              <a:gd name="connsiteX36" fmla="*/ 2672832 w 7985267"/>
              <a:gd name="connsiteY36" fmla="*/ 49800 h 3487140"/>
              <a:gd name="connsiteX37" fmla="*/ 2625797 w 7985267"/>
              <a:gd name="connsiteY37" fmla="*/ 86812 h 3487140"/>
              <a:gd name="connsiteX38" fmla="*/ 2389874 w 7985267"/>
              <a:gd name="connsiteY38" fmla="*/ 91886 h 3487140"/>
              <a:gd name="connsiteX39" fmla="*/ 2146341 w 7985267"/>
              <a:gd name="connsiteY39" fmla="*/ 75833 h 3487140"/>
              <a:gd name="connsiteX40" fmla="*/ 2038590 w 7985267"/>
              <a:gd name="connsiteY40" fmla="*/ 176931 h 3487140"/>
              <a:gd name="connsiteX41" fmla="*/ 2053852 w 7985267"/>
              <a:gd name="connsiteY41" fmla="*/ 370393 h 3487140"/>
              <a:gd name="connsiteX42" fmla="*/ 1998625 w 7985267"/>
              <a:gd name="connsiteY42" fmla="*/ 589348 h 3487140"/>
              <a:gd name="connsiteX43" fmla="*/ 1842091 w 7985267"/>
              <a:gd name="connsiteY43" fmla="*/ 903953 h 3487140"/>
              <a:gd name="connsiteX44" fmla="*/ 1631620 w 7985267"/>
              <a:gd name="connsiteY44" fmla="*/ 922501 h 3487140"/>
              <a:gd name="connsiteX45" fmla="*/ 1437201 w 7985267"/>
              <a:gd name="connsiteY45" fmla="*/ 866816 h 3487140"/>
              <a:gd name="connsiteX46" fmla="*/ 1378356 w 7985267"/>
              <a:gd name="connsiteY46" fmla="*/ 751038 h 3487140"/>
              <a:gd name="connsiteX47" fmla="*/ 1390292 w 7985267"/>
              <a:gd name="connsiteY47" fmla="*/ 369436 h 3487140"/>
              <a:gd name="connsiteX48" fmla="*/ 1451965 w 7985267"/>
              <a:gd name="connsiteY48" fmla="*/ 155805 h 3487140"/>
              <a:gd name="connsiteX49" fmla="*/ 1653329 w 7985267"/>
              <a:gd name="connsiteY49" fmla="*/ 156761 h 3487140"/>
              <a:gd name="connsiteX50" fmla="*/ 1906260 w 7985267"/>
              <a:gd name="connsiteY50" fmla="*/ 245175 h 3487140"/>
              <a:gd name="connsiteX51" fmla="*/ 2075352 w 7985267"/>
              <a:gd name="connsiteY51" fmla="*/ 357792 h 3487140"/>
              <a:gd name="connsiteX52" fmla="*/ 2179943 w 7985267"/>
              <a:gd name="connsiteY52" fmla="*/ 483301 h 3487140"/>
              <a:gd name="connsiteX53" fmla="*/ 2204147 w 7985267"/>
              <a:gd name="connsiteY53" fmla="*/ 600951 h 3487140"/>
              <a:gd name="connsiteX54" fmla="*/ 2176616 w 7985267"/>
              <a:gd name="connsiteY54" fmla="*/ 761726 h 3487140"/>
              <a:gd name="connsiteX55" fmla="*/ 2348537 w 7985267"/>
              <a:gd name="connsiteY55" fmla="*/ 1160004 h 3487140"/>
              <a:gd name="connsiteX56" fmla="*/ 2771517 w 7985267"/>
              <a:gd name="connsiteY56" fmla="*/ 1793622 h 3487140"/>
              <a:gd name="connsiteX57" fmla="*/ 3189008 w 7985267"/>
              <a:gd name="connsiteY57" fmla="*/ 2087475 h 3487140"/>
              <a:gd name="connsiteX58" fmla="*/ 3298631 w 7985267"/>
              <a:gd name="connsiteY58" fmla="*/ 2185620 h 3487140"/>
              <a:gd name="connsiteX59" fmla="*/ 3185682 w 7985267"/>
              <a:gd name="connsiteY59" fmla="*/ 2468120 h 3487140"/>
              <a:gd name="connsiteX60" fmla="*/ 3019583 w 7985267"/>
              <a:gd name="connsiteY60" fmla="*/ 2505548 h 3487140"/>
              <a:gd name="connsiteX61" fmla="*/ 2711133 w 7985267"/>
              <a:gd name="connsiteY61" fmla="*/ 2278109 h 3487140"/>
              <a:gd name="connsiteX62" fmla="*/ 2266444 w 7985267"/>
              <a:gd name="connsiteY62" fmla="*/ 1678800 h 3487140"/>
              <a:gd name="connsiteX63" fmla="*/ 2146591 w 7985267"/>
              <a:gd name="connsiteY63" fmla="*/ 1175432 h 3487140"/>
              <a:gd name="connsiteX64" fmla="*/ 2301045 w 7985267"/>
              <a:gd name="connsiteY64" fmla="*/ 1377420 h 3487140"/>
              <a:gd name="connsiteX65" fmla="*/ 2662685 w 7985267"/>
              <a:gd name="connsiteY65" fmla="*/ 2268710 h 3487140"/>
              <a:gd name="connsiteX66" fmla="*/ 2982487 w 7985267"/>
              <a:gd name="connsiteY66" fmla="*/ 2693105 h 3487140"/>
              <a:gd name="connsiteX67" fmla="*/ 3215915 w 7985267"/>
              <a:gd name="connsiteY67" fmla="*/ 2746586 h 3487140"/>
              <a:gd name="connsiteX68" fmla="*/ 3383136 w 7985267"/>
              <a:gd name="connsiteY68" fmla="*/ 2631432 h 3487140"/>
              <a:gd name="connsiteX69" fmla="*/ 3394323 w 7985267"/>
              <a:gd name="connsiteY69" fmla="*/ 2436680 h 3487140"/>
              <a:gd name="connsiteX70" fmla="*/ 3240493 w 7985267"/>
              <a:gd name="connsiteY70" fmla="*/ 2309258 h 3487140"/>
              <a:gd name="connsiteX71" fmla="*/ 3033307 w 7985267"/>
              <a:gd name="connsiteY71" fmla="*/ 2375007 h 3487140"/>
              <a:gd name="connsiteX72" fmla="*/ 3010808 w 7985267"/>
              <a:gd name="connsiteY72" fmla="*/ 2581402 h 3487140"/>
              <a:gd name="connsiteX73" fmla="*/ 3153493 w 7985267"/>
              <a:gd name="connsiteY73" fmla="*/ 2671064 h 3487140"/>
              <a:gd name="connsiteX74" fmla="*/ 3250058 w 7985267"/>
              <a:gd name="connsiteY74" fmla="*/ 2596831 h 3487140"/>
              <a:gd name="connsiteX75" fmla="*/ 3216872 w 7985267"/>
              <a:gd name="connsiteY75" fmla="*/ 2530750 h 3487140"/>
              <a:gd name="connsiteX76" fmla="*/ 3094814 w 7985267"/>
              <a:gd name="connsiteY76" fmla="*/ 2615379 h 3487140"/>
              <a:gd name="connsiteX77" fmla="*/ 2949135 w 7985267"/>
              <a:gd name="connsiteY77" fmla="*/ 2907028 h 3487140"/>
              <a:gd name="connsiteX78" fmla="*/ 2901310 w 7985267"/>
              <a:gd name="connsiteY78" fmla="*/ 3008333 h 3487140"/>
              <a:gd name="connsiteX79" fmla="*/ 2865462 w 7985267"/>
              <a:gd name="connsiteY79" fmla="*/ 3024053 h 3487140"/>
              <a:gd name="connsiteX80" fmla="*/ 2770436 w 7985267"/>
              <a:gd name="connsiteY80" fmla="*/ 3013989 h 3487140"/>
              <a:gd name="connsiteX81" fmla="*/ 2777339 w 7985267"/>
              <a:gd name="connsiteY81" fmla="*/ 2956724 h 3487140"/>
              <a:gd name="connsiteX82" fmla="*/ 2966102 w 7985267"/>
              <a:gd name="connsiteY82" fmla="*/ 2951068 h 3487140"/>
              <a:gd name="connsiteX83" fmla="*/ 3052312 w 7985267"/>
              <a:gd name="connsiteY83" fmla="*/ 2951068 h 3487140"/>
              <a:gd name="connsiteX84" fmla="*/ 3133490 w 7985267"/>
              <a:gd name="connsiteY84" fmla="*/ 2822066 h 3487140"/>
              <a:gd name="connsiteX85" fmla="*/ 3273804 w 7985267"/>
              <a:gd name="connsiteY85" fmla="*/ 2789337 h 3487140"/>
              <a:gd name="connsiteX86" fmla="*/ 3401517 w 7985267"/>
              <a:gd name="connsiteY86" fmla="*/ 2713815 h 3487140"/>
              <a:gd name="connsiteX87" fmla="*/ 3487727 w 7985267"/>
              <a:gd name="connsiteY87" fmla="*/ 2544556 h 3487140"/>
              <a:gd name="connsiteX88" fmla="*/ 3707306 w 7985267"/>
              <a:gd name="connsiteY88" fmla="*/ 2482883 h 3487140"/>
              <a:gd name="connsiteX89" fmla="*/ 4242280 w 7985267"/>
              <a:gd name="connsiteY89" fmla="*/ 2466831 h 3487140"/>
              <a:gd name="connsiteX90" fmla="*/ 4398022 w 7985267"/>
              <a:gd name="connsiteY90" fmla="*/ 2420918 h 3487140"/>
              <a:gd name="connsiteX91" fmla="*/ 4247935 w 7985267"/>
              <a:gd name="connsiteY91" fmla="*/ 2252907 h 3487140"/>
              <a:gd name="connsiteX92" fmla="*/ 3772556 w 7985267"/>
              <a:gd name="connsiteY92" fmla="*/ 1791709 h 3487140"/>
              <a:gd name="connsiteX93" fmla="*/ 3508437 w 7985267"/>
              <a:gd name="connsiteY93" fmla="*/ 1600118 h 3487140"/>
              <a:gd name="connsiteX94" fmla="*/ 3384467 w 7985267"/>
              <a:gd name="connsiteY94" fmla="*/ 1733529 h 3487140"/>
              <a:gd name="connsiteX95" fmla="*/ 3322169 w 7985267"/>
              <a:gd name="connsiteY95" fmla="*/ 1995900 h 3487140"/>
              <a:gd name="connsiteX96" fmla="*/ 3363049 w 7985267"/>
              <a:gd name="connsiteY96" fmla="*/ 2048133 h 3487140"/>
              <a:gd name="connsiteX97" fmla="*/ 3425970 w 7985267"/>
              <a:gd name="connsiteY97" fmla="*/ 1778817 h 3487140"/>
              <a:gd name="connsiteX98" fmla="*/ 3547737 w 7985267"/>
              <a:gd name="connsiteY98" fmla="*/ 1356918 h 3487140"/>
              <a:gd name="connsiteX99" fmla="*/ 3654074 w 7985267"/>
              <a:gd name="connsiteY99" fmla="*/ 986960 h 3487140"/>
              <a:gd name="connsiteX100" fmla="*/ 3624797 w 7985267"/>
              <a:gd name="connsiteY100" fmla="*/ 867107 h 3487140"/>
              <a:gd name="connsiteX101" fmla="*/ 3449883 w 7985267"/>
              <a:gd name="connsiteY101" fmla="*/ 840034 h 3487140"/>
              <a:gd name="connsiteX102" fmla="*/ 3305784 w 7985267"/>
              <a:gd name="connsiteY102" fmla="*/ 782769 h 3487140"/>
              <a:gd name="connsiteX103" fmla="*/ 3322128 w 7985267"/>
              <a:gd name="connsiteY103" fmla="*/ 714816 h 3487140"/>
              <a:gd name="connsiteX104" fmla="*/ 3495795 w 7985267"/>
              <a:gd name="connsiteY104" fmla="*/ 723008 h 3487140"/>
              <a:gd name="connsiteX105" fmla="*/ 3698406 w 7985267"/>
              <a:gd name="connsiteY105" fmla="*/ 729288 h 3487140"/>
              <a:gd name="connsiteX106" fmla="*/ 3865128 w 7985267"/>
              <a:gd name="connsiteY106" fmla="*/ 682087 h 3487140"/>
              <a:gd name="connsiteX107" fmla="*/ 3982777 w 7985267"/>
              <a:gd name="connsiteY107" fmla="*/ 703463 h 3487140"/>
              <a:gd name="connsiteX108" fmla="*/ 4005442 w 7985267"/>
              <a:gd name="connsiteY108" fmla="*/ 797199 h 3487140"/>
              <a:gd name="connsiteX109" fmla="*/ 3877729 w 7985267"/>
              <a:gd name="connsiteY109" fmla="*/ 890936 h 3487140"/>
              <a:gd name="connsiteX110" fmla="*/ 3707846 w 7985267"/>
              <a:gd name="connsiteY110" fmla="*/ 918009 h 3487140"/>
              <a:gd name="connsiteX111" fmla="*/ 3580133 w 7985267"/>
              <a:gd name="connsiteY111" fmla="*/ 1002306 h 3487140"/>
              <a:gd name="connsiteX112" fmla="*/ 3479243 w 7985267"/>
              <a:gd name="connsiteY112" fmla="*/ 1299902 h 3487140"/>
              <a:gd name="connsiteX113" fmla="*/ 3540293 w 7985267"/>
              <a:gd name="connsiteY113" fmla="*/ 1545930 h 3487140"/>
              <a:gd name="connsiteX114" fmla="*/ 3752968 w 7985267"/>
              <a:gd name="connsiteY114" fmla="*/ 1536490 h 3487140"/>
              <a:gd name="connsiteX115" fmla="*/ 3932499 w 7985267"/>
              <a:gd name="connsiteY115" fmla="*/ 1376048 h 3487140"/>
              <a:gd name="connsiteX116" fmla="*/ 3935660 w 7985267"/>
              <a:gd name="connsiteY116" fmla="*/ 1231949 h 3487140"/>
              <a:gd name="connsiteX117" fmla="*/ 3717619 w 7985267"/>
              <a:gd name="connsiteY117" fmla="*/ 1191693 h 3487140"/>
              <a:gd name="connsiteX118" fmla="*/ 3726103 w 7985267"/>
              <a:gd name="connsiteY118" fmla="*/ 1255238 h 3487140"/>
              <a:gd name="connsiteX119" fmla="*/ 4151121 w 7985267"/>
              <a:gd name="connsiteY119" fmla="*/ 1241722 h 3487140"/>
              <a:gd name="connsiteX120" fmla="*/ 4635941 w 7985267"/>
              <a:gd name="connsiteY120" fmla="*/ 1259646 h 3487140"/>
              <a:gd name="connsiteX121" fmla="*/ 4865293 w 7985267"/>
              <a:gd name="connsiteY121" fmla="*/ 1236981 h 3487140"/>
              <a:gd name="connsiteX122" fmla="*/ 4847037 w 7985267"/>
              <a:gd name="connsiteY122" fmla="*/ 1185995 h 3487140"/>
              <a:gd name="connsiteX123" fmla="*/ 4486519 w 7985267"/>
              <a:gd name="connsiteY123" fmla="*/ 1177512 h 3487140"/>
              <a:gd name="connsiteX124" fmla="*/ 4115939 w 7985267"/>
              <a:gd name="connsiteY124" fmla="*/ 1331342 h 3487140"/>
              <a:gd name="connsiteX125" fmla="*/ 3770185 w 7985267"/>
              <a:gd name="connsiteY125" fmla="*/ 1604110 h 3487140"/>
              <a:gd name="connsiteX126" fmla="*/ 3537382 w 7985267"/>
              <a:gd name="connsiteY126" fmla="*/ 1921252 h 3487140"/>
              <a:gd name="connsiteX127" fmla="*/ 3441732 w 7985267"/>
              <a:gd name="connsiteY127" fmla="*/ 2419255 h 3487140"/>
              <a:gd name="connsiteX128" fmla="*/ 3672040 w 7985267"/>
              <a:gd name="connsiteY128" fmla="*/ 3048465 h 3487140"/>
              <a:gd name="connsiteX129" fmla="*/ 4250265 w 7985267"/>
              <a:gd name="connsiteY129" fmla="*/ 3394510 h 3487140"/>
              <a:gd name="connsiteX130" fmla="*/ 4888914 w 7985267"/>
              <a:gd name="connsiteY130" fmla="*/ 3330632 h 3487140"/>
              <a:gd name="connsiteX131" fmla="*/ 5384089 w 7985267"/>
              <a:gd name="connsiteY131" fmla="*/ 2841404 h 3487140"/>
              <a:gd name="connsiteX132" fmla="*/ 5417442 w 7985267"/>
              <a:gd name="connsiteY132" fmla="*/ 2052999 h 3487140"/>
              <a:gd name="connsiteX133" fmla="*/ 4986435 w 7985267"/>
              <a:gd name="connsiteY133" fmla="*/ 1482011 h 3487140"/>
              <a:gd name="connsiteX134" fmla="*/ 4519581 w 7985267"/>
              <a:gd name="connsiteY134" fmla="*/ 1352717 h 3487140"/>
              <a:gd name="connsiteX135" fmla="*/ 4359139 w 7985267"/>
              <a:gd name="connsiteY135" fmla="*/ 1466624 h 3487140"/>
              <a:gd name="connsiteX136" fmla="*/ 4381180 w 7985267"/>
              <a:gd name="connsiteY136" fmla="*/ 2001140 h 3487140"/>
              <a:gd name="connsiteX137" fmla="*/ 4415156 w 7985267"/>
              <a:gd name="connsiteY137" fmla="*/ 2313208 h 3487140"/>
              <a:gd name="connsiteX138" fmla="*/ 4506856 w 7985267"/>
              <a:gd name="connsiteY138" fmla="*/ 2399085 h 3487140"/>
              <a:gd name="connsiteX139" fmla="*/ 4611322 w 7985267"/>
              <a:gd name="connsiteY139" fmla="*/ 2362905 h 3487140"/>
              <a:gd name="connsiteX140" fmla="*/ 4575931 w 7985267"/>
              <a:gd name="connsiteY140" fmla="*/ 2271372 h 3487140"/>
              <a:gd name="connsiteX141" fmla="*/ 4478327 w 7985267"/>
              <a:gd name="connsiteY141" fmla="*/ 2303394 h 3487140"/>
              <a:gd name="connsiteX142" fmla="*/ 4461941 w 7985267"/>
              <a:gd name="connsiteY142" fmla="*/ 2437262 h 3487140"/>
              <a:gd name="connsiteX143" fmla="*/ 4460860 w 7985267"/>
              <a:gd name="connsiteY143" fmla="*/ 2519521 h 3487140"/>
              <a:gd name="connsiteX144" fmla="*/ 4281746 w 7985267"/>
              <a:gd name="connsiteY144" fmla="*/ 2539400 h 3487140"/>
              <a:gd name="connsiteX145" fmla="*/ 3871491 w 7985267"/>
              <a:gd name="connsiteY145" fmla="*/ 2545679 h 3487140"/>
              <a:gd name="connsiteX146" fmla="*/ 3631119 w 7985267"/>
              <a:gd name="connsiteY146" fmla="*/ 2602944 h 3487140"/>
              <a:gd name="connsiteX147" fmla="*/ 3621512 w 7985267"/>
              <a:gd name="connsiteY147" fmla="*/ 2790460 h 3487140"/>
              <a:gd name="connsiteX148" fmla="*/ 3814849 w 7985267"/>
              <a:gd name="connsiteY148" fmla="*/ 3133385 h 3487140"/>
              <a:gd name="connsiteX149" fmla="*/ 4306739 w 7985267"/>
              <a:gd name="connsiteY149" fmla="*/ 3465290 h 3487140"/>
              <a:gd name="connsiteX150" fmla="*/ 5047485 w 7985267"/>
              <a:gd name="connsiteY150" fmla="*/ 3390434 h 3487140"/>
              <a:gd name="connsiteX151" fmla="*/ 5487308 w 7985267"/>
              <a:gd name="connsiteY151" fmla="*/ 3017940 h 3487140"/>
              <a:gd name="connsiteX152" fmla="*/ 5801289 w 7985267"/>
              <a:gd name="connsiteY152" fmla="*/ 2655510 h 3487140"/>
              <a:gd name="connsiteX153" fmla="*/ 6173783 w 7985267"/>
              <a:gd name="connsiteY153" fmla="*/ 3163577 h 3487140"/>
              <a:gd name="connsiteX154" fmla="*/ 6397770 w 7985267"/>
              <a:gd name="connsiteY154" fmla="*/ 3255443 h 3487140"/>
              <a:gd name="connsiteX155" fmla="*/ 6475787 w 7985267"/>
              <a:gd name="connsiteY155" fmla="*/ 2786675 h 3487140"/>
              <a:gd name="connsiteX156" fmla="*/ 6785360 w 7985267"/>
              <a:gd name="connsiteY156" fmla="*/ 2869724 h 3487140"/>
              <a:gd name="connsiteX157" fmla="*/ 7024152 w 7985267"/>
              <a:gd name="connsiteY157" fmla="*/ 3245046 h 3487140"/>
              <a:gd name="connsiteX158" fmla="*/ 7396645 w 7985267"/>
              <a:gd name="connsiteY158" fmla="*/ 3329676 h 3487140"/>
              <a:gd name="connsiteX159" fmla="*/ 7985267 w 7985267"/>
              <a:gd name="connsiteY159" fmla="*/ 3217682 h 3487140"/>
              <a:gd name="connsiteX0" fmla="*/ 0 w 7710919"/>
              <a:gd name="connsiteY0" fmla="*/ 2954187 h 3487140"/>
              <a:gd name="connsiteX1" fmla="*/ 347334 w 7710919"/>
              <a:gd name="connsiteY1" fmla="*/ 3339906 h 3487140"/>
              <a:gd name="connsiteX2" fmla="*/ 805456 w 7710919"/>
              <a:gd name="connsiteY2" fmla="*/ 3385485 h 3487140"/>
              <a:gd name="connsiteX3" fmla="*/ 884138 w 7710919"/>
              <a:gd name="connsiteY3" fmla="*/ 3295741 h 3487140"/>
              <a:gd name="connsiteX4" fmla="*/ 633036 w 7710919"/>
              <a:gd name="connsiteY4" fmla="*/ 3112384 h 3487140"/>
              <a:gd name="connsiteX5" fmla="*/ 326873 w 7710919"/>
              <a:gd name="connsiteY5" fmla="*/ 2750287 h 3487140"/>
              <a:gd name="connsiteX6" fmla="*/ 235341 w 7710919"/>
              <a:gd name="connsiteY6" fmla="*/ 2305432 h 3487140"/>
              <a:gd name="connsiteX7" fmla="*/ 362929 w 7710919"/>
              <a:gd name="connsiteY7" fmla="*/ 1919713 h 3487140"/>
              <a:gd name="connsiteX8" fmla="*/ 687141 w 7710919"/>
              <a:gd name="connsiteY8" fmla="*/ 1637837 h 3487140"/>
              <a:gd name="connsiteX9" fmla="*/ 1180445 w 7710919"/>
              <a:gd name="connsiteY9" fmla="*/ 1545972 h 3487140"/>
              <a:gd name="connsiteX10" fmla="*/ 1415120 w 7710919"/>
              <a:gd name="connsiteY10" fmla="*/ 1517651 h 3487140"/>
              <a:gd name="connsiteX11" fmla="*/ 1399857 w 7710919"/>
              <a:gd name="connsiteY11" fmla="*/ 1460718 h 3487140"/>
              <a:gd name="connsiteX12" fmla="*/ 1123803 w 7710919"/>
              <a:gd name="connsiteY12" fmla="*/ 1416969 h 3487140"/>
              <a:gd name="connsiteX13" fmla="*/ 604383 w 7710919"/>
              <a:gd name="connsiteY13" fmla="*/ 1517318 h 3487140"/>
              <a:gd name="connsiteX14" fmla="*/ 195085 w 7710919"/>
              <a:gd name="connsiteY14" fmla="*/ 1960593 h 3487140"/>
              <a:gd name="connsiteX15" fmla="*/ 135615 w 7710919"/>
              <a:gd name="connsiteY15" fmla="*/ 2569342 h 3487140"/>
              <a:gd name="connsiteX16" fmla="*/ 549322 w 7710919"/>
              <a:gd name="connsiteY16" fmla="*/ 3165532 h 3487140"/>
              <a:gd name="connsiteX17" fmla="*/ 1339307 w 7710919"/>
              <a:gd name="connsiteY17" fmla="*/ 3283181 h 3487140"/>
              <a:gd name="connsiteX18" fmla="*/ 1941943 w 7710919"/>
              <a:gd name="connsiteY18" fmla="*/ 2757481 h 3487140"/>
              <a:gd name="connsiteX19" fmla="*/ 1931712 w 7710919"/>
              <a:gd name="connsiteY19" fmla="*/ 1980430 h 3487140"/>
              <a:gd name="connsiteX20" fmla="*/ 1601678 w 7710919"/>
              <a:gd name="connsiteY20" fmla="*/ 1589139 h 3487140"/>
              <a:gd name="connsiteX21" fmla="*/ 1412624 w 7710919"/>
              <a:gd name="connsiteY21" fmla="*/ 1660710 h 3487140"/>
              <a:gd name="connsiteX22" fmla="*/ 1304207 w 7710919"/>
              <a:gd name="connsiteY22" fmla="*/ 2116627 h 3487140"/>
              <a:gd name="connsiteX23" fmla="*/ 1080844 w 7710919"/>
              <a:gd name="connsiteY23" fmla="*/ 2374258 h 3487140"/>
              <a:gd name="connsiteX24" fmla="*/ 1025908 w 7710919"/>
              <a:gd name="connsiteY24" fmla="*/ 2276986 h 3487140"/>
              <a:gd name="connsiteX25" fmla="*/ 1405180 w 7710919"/>
              <a:gd name="connsiteY25" fmla="*/ 2021601 h 3487140"/>
              <a:gd name="connsiteX26" fmla="*/ 1665099 w 7710919"/>
              <a:gd name="connsiteY26" fmla="*/ 1234153 h 3487140"/>
              <a:gd name="connsiteX27" fmla="*/ 1895199 w 7710919"/>
              <a:gd name="connsiteY27" fmla="*/ 725296 h 3487140"/>
              <a:gd name="connsiteX28" fmla="*/ 2003782 w 7710919"/>
              <a:gd name="connsiteY28" fmla="*/ 539984 h 3487140"/>
              <a:gd name="connsiteX29" fmla="*/ 1972634 w 7710919"/>
              <a:gd name="connsiteY29" fmla="*/ 435851 h 3487140"/>
              <a:gd name="connsiteX30" fmla="*/ 1866296 w 7710919"/>
              <a:gd name="connsiteY30" fmla="*/ 350265 h 3487140"/>
              <a:gd name="connsiteX31" fmla="*/ 1821008 w 7710919"/>
              <a:gd name="connsiteY31" fmla="*/ 209327 h 3487140"/>
              <a:gd name="connsiteX32" fmla="*/ 1865838 w 7710919"/>
              <a:gd name="connsiteY32" fmla="*/ 82237 h 3487140"/>
              <a:gd name="connsiteX33" fmla="*/ 2046118 w 7710919"/>
              <a:gd name="connsiteY33" fmla="*/ 6716 h 3487140"/>
              <a:gd name="connsiteX34" fmla="*/ 2314811 w 7710919"/>
              <a:gd name="connsiteY34" fmla="*/ 10167 h 3487140"/>
              <a:gd name="connsiteX35" fmla="*/ 2398484 w 7710919"/>
              <a:gd name="connsiteY35" fmla="*/ 49800 h 3487140"/>
              <a:gd name="connsiteX36" fmla="*/ 2351449 w 7710919"/>
              <a:gd name="connsiteY36" fmla="*/ 86812 h 3487140"/>
              <a:gd name="connsiteX37" fmla="*/ 2115526 w 7710919"/>
              <a:gd name="connsiteY37" fmla="*/ 91886 h 3487140"/>
              <a:gd name="connsiteX38" fmla="*/ 1871993 w 7710919"/>
              <a:gd name="connsiteY38" fmla="*/ 75833 h 3487140"/>
              <a:gd name="connsiteX39" fmla="*/ 1764242 w 7710919"/>
              <a:gd name="connsiteY39" fmla="*/ 176931 h 3487140"/>
              <a:gd name="connsiteX40" fmla="*/ 1779504 w 7710919"/>
              <a:gd name="connsiteY40" fmla="*/ 370393 h 3487140"/>
              <a:gd name="connsiteX41" fmla="*/ 1724277 w 7710919"/>
              <a:gd name="connsiteY41" fmla="*/ 589348 h 3487140"/>
              <a:gd name="connsiteX42" fmla="*/ 1567743 w 7710919"/>
              <a:gd name="connsiteY42" fmla="*/ 903953 h 3487140"/>
              <a:gd name="connsiteX43" fmla="*/ 1357272 w 7710919"/>
              <a:gd name="connsiteY43" fmla="*/ 922501 h 3487140"/>
              <a:gd name="connsiteX44" fmla="*/ 1162853 w 7710919"/>
              <a:gd name="connsiteY44" fmla="*/ 866816 h 3487140"/>
              <a:gd name="connsiteX45" fmla="*/ 1104008 w 7710919"/>
              <a:gd name="connsiteY45" fmla="*/ 751038 h 3487140"/>
              <a:gd name="connsiteX46" fmla="*/ 1115944 w 7710919"/>
              <a:gd name="connsiteY46" fmla="*/ 369436 h 3487140"/>
              <a:gd name="connsiteX47" fmla="*/ 1177617 w 7710919"/>
              <a:gd name="connsiteY47" fmla="*/ 155805 h 3487140"/>
              <a:gd name="connsiteX48" fmla="*/ 1378981 w 7710919"/>
              <a:gd name="connsiteY48" fmla="*/ 156761 h 3487140"/>
              <a:gd name="connsiteX49" fmla="*/ 1631912 w 7710919"/>
              <a:gd name="connsiteY49" fmla="*/ 245175 h 3487140"/>
              <a:gd name="connsiteX50" fmla="*/ 1801004 w 7710919"/>
              <a:gd name="connsiteY50" fmla="*/ 357792 h 3487140"/>
              <a:gd name="connsiteX51" fmla="*/ 1905595 w 7710919"/>
              <a:gd name="connsiteY51" fmla="*/ 483301 h 3487140"/>
              <a:gd name="connsiteX52" fmla="*/ 1929799 w 7710919"/>
              <a:gd name="connsiteY52" fmla="*/ 600951 h 3487140"/>
              <a:gd name="connsiteX53" fmla="*/ 1902268 w 7710919"/>
              <a:gd name="connsiteY53" fmla="*/ 761726 h 3487140"/>
              <a:gd name="connsiteX54" fmla="*/ 2074189 w 7710919"/>
              <a:gd name="connsiteY54" fmla="*/ 1160004 h 3487140"/>
              <a:gd name="connsiteX55" fmla="*/ 2497169 w 7710919"/>
              <a:gd name="connsiteY55" fmla="*/ 1793622 h 3487140"/>
              <a:gd name="connsiteX56" fmla="*/ 2914660 w 7710919"/>
              <a:gd name="connsiteY56" fmla="*/ 2087475 h 3487140"/>
              <a:gd name="connsiteX57" fmla="*/ 3024283 w 7710919"/>
              <a:gd name="connsiteY57" fmla="*/ 2185620 h 3487140"/>
              <a:gd name="connsiteX58" fmla="*/ 2911334 w 7710919"/>
              <a:gd name="connsiteY58" fmla="*/ 2468120 h 3487140"/>
              <a:gd name="connsiteX59" fmla="*/ 2745235 w 7710919"/>
              <a:gd name="connsiteY59" fmla="*/ 2505548 h 3487140"/>
              <a:gd name="connsiteX60" fmla="*/ 2436785 w 7710919"/>
              <a:gd name="connsiteY60" fmla="*/ 2278109 h 3487140"/>
              <a:gd name="connsiteX61" fmla="*/ 1992096 w 7710919"/>
              <a:gd name="connsiteY61" fmla="*/ 1678800 h 3487140"/>
              <a:gd name="connsiteX62" fmla="*/ 1872243 w 7710919"/>
              <a:gd name="connsiteY62" fmla="*/ 1175432 h 3487140"/>
              <a:gd name="connsiteX63" fmla="*/ 2026697 w 7710919"/>
              <a:gd name="connsiteY63" fmla="*/ 1377420 h 3487140"/>
              <a:gd name="connsiteX64" fmla="*/ 2388337 w 7710919"/>
              <a:gd name="connsiteY64" fmla="*/ 2268710 h 3487140"/>
              <a:gd name="connsiteX65" fmla="*/ 2708139 w 7710919"/>
              <a:gd name="connsiteY65" fmla="*/ 2693105 h 3487140"/>
              <a:gd name="connsiteX66" fmla="*/ 2941567 w 7710919"/>
              <a:gd name="connsiteY66" fmla="*/ 2746586 h 3487140"/>
              <a:gd name="connsiteX67" fmla="*/ 3108788 w 7710919"/>
              <a:gd name="connsiteY67" fmla="*/ 2631432 h 3487140"/>
              <a:gd name="connsiteX68" fmla="*/ 3119975 w 7710919"/>
              <a:gd name="connsiteY68" fmla="*/ 2436680 h 3487140"/>
              <a:gd name="connsiteX69" fmla="*/ 2966145 w 7710919"/>
              <a:gd name="connsiteY69" fmla="*/ 2309258 h 3487140"/>
              <a:gd name="connsiteX70" fmla="*/ 2758959 w 7710919"/>
              <a:gd name="connsiteY70" fmla="*/ 2375007 h 3487140"/>
              <a:gd name="connsiteX71" fmla="*/ 2736460 w 7710919"/>
              <a:gd name="connsiteY71" fmla="*/ 2581402 h 3487140"/>
              <a:gd name="connsiteX72" fmla="*/ 2879145 w 7710919"/>
              <a:gd name="connsiteY72" fmla="*/ 2671064 h 3487140"/>
              <a:gd name="connsiteX73" fmla="*/ 2975710 w 7710919"/>
              <a:gd name="connsiteY73" fmla="*/ 2596831 h 3487140"/>
              <a:gd name="connsiteX74" fmla="*/ 2942524 w 7710919"/>
              <a:gd name="connsiteY74" fmla="*/ 2530750 h 3487140"/>
              <a:gd name="connsiteX75" fmla="*/ 2820466 w 7710919"/>
              <a:gd name="connsiteY75" fmla="*/ 2615379 h 3487140"/>
              <a:gd name="connsiteX76" fmla="*/ 2674787 w 7710919"/>
              <a:gd name="connsiteY76" fmla="*/ 2907028 h 3487140"/>
              <a:gd name="connsiteX77" fmla="*/ 2626962 w 7710919"/>
              <a:gd name="connsiteY77" fmla="*/ 3008333 h 3487140"/>
              <a:gd name="connsiteX78" fmla="*/ 2591114 w 7710919"/>
              <a:gd name="connsiteY78" fmla="*/ 3024053 h 3487140"/>
              <a:gd name="connsiteX79" fmla="*/ 2496088 w 7710919"/>
              <a:gd name="connsiteY79" fmla="*/ 3013989 h 3487140"/>
              <a:gd name="connsiteX80" fmla="*/ 2502991 w 7710919"/>
              <a:gd name="connsiteY80" fmla="*/ 2956724 h 3487140"/>
              <a:gd name="connsiteX81" fmla="*/ 2691754 w 7710919"/>
              <a:gd name="connsiteY81" fmla="*/ 2951068 h 3487140"/>
              <a:gd name="connsiteX82" fmla="*/ 2777964 w 7710919"/>
              <a:gd name="connsiteY82" fmla="*/ 2951068 h 3487140"/>
              <a:gd name="connsiteX83" fmla="*/ 2859142 w 7710919"/>
              <a:gd name="connsiteY83" fmla="*/ 2822066 h 3487140"/>
              <a:gd name="connsiteX84" fmla="*/ 2999456 w 7710919"/>
              <a:gd name="connsiteY84" fmla="*/ 2789337 h 3487140"/>
              <a:gd name="connsiteX85" fmla="*/ 3127169 w 7710919"/>
              <a:gd name="connsiteY85" fmla="*/ 2713815 h 3487140"/>
              <a:gd name="connsiteX86" fmla="*/ 3213379 w 7710919"/>
              <a:gd name="connsiteY86" fmla="*/ 2544556 h 3487140"/>
              <a:gd name="connsiteX87" fmla="*/ 3432958 w 7710919"/>
              <a:gd name="connsiteY87" fmla="*/ 2482883 h 3487140"/>
              <a:gd name="connsiteX88" fmla="*/ 3967932 w 7710919"/>
              <a:gd name="connsiteY88" fmla="*/ 2466831 h 3487140"/>
              <a:gd name="connsiteX89" fmla="*/ 4123674 w 7710919"/>
              <a:gd name="connsiteY89" fmla="*/ 2420918 h 3487140"/>
              <a:gd name="connsiteX90" fmla="*/ 3973587 w 7710919"/>
              <a:gd name="connsiteY90" fmla="*/ 2252907 h 3487140"/>
              <a:gd name="connsiteX91" fmla="*/ 3498208 w 7710919"/>
              <a:gd name="connsiteY91" fmla="*/ 1791709 h 3487140"/>
              <a:gd name="connsiteX92" fmla="*/ 3234089 w 7710919"/>
              <a:gd name="connsiteY92" fmla="*/ 1600118 h 3487140"/>
              <a:gd name="connsiteX93" fmla="*/ 3110119 w 7710919"/>
              <a:gd name="connsiteY93" fmla="*/ 1733529 h 3487140"/>
              <a:gd name="connsiteX94" fmla="*/ 3047821 w 7710919"/>
              <a:gd name="connsiteY94" fmla="*/ 1995900 h 3487140"/>
              <a:gd name="connsiteX95" fmla="*/ 3088701 w 7710919"/>
              <a:gd name="connsiteY95" fmla="*/ 2048133 h 3487140"/>
              <a:gd name="connsiteX96" fmla="*/ 3151622 w 7710919"/>
              <a:gd name="connsiteY96" fmla="*/ 1778817 h 3487140"/>
              <a:gd name="connsiteX97" fmla="*/ 3273389 w 7710919"/>
              <a:gd name="connsiteY97" fmla="*/ 1356918 h 3487140"/>
              <a:gd name="connsiteX98" fmla="*/ 3379726 w 7710919"/>
              <a:gd name="connsiteY98" fmla="*/ 986960 h 3487140"/>
              <a:gd name="connsiteX99" fmla="*/ 3350449 w 7710919"/>
              <a:gd name="connsiteY99" fmla="*/ 867107 h 3487140"/>
              <a:gd name="connsiteX100" fmla="*/ 3175535 w 7710919"/>
              <a:gd name="connsiteY100" fmla="*/ 840034 h 3487140"/>
              <a:gd name="connsiteX101" fmla="*/ 3031436 w 7710919"/>
              <a:gd name="connsiteY101" fmla="*/ 782769 h 3487140"/>
              <a:gd name="connsiteX102" fmla="*/ 3047780 w 7710919"/>
              <a:gd name="connsiteY102" fmla="*/ 714816 h 3487140"/>
              <a:gd name="connsiteX103" fmla="*/ 3221447 w 7710919"/>
              <a:gd name="connsiteY103" fmla="*/ 723008 h 3487140"/>
              <a:gd name="connsiteX104" fmla="*/ 3424058 w 7710919"/>
              <a:gd name="connsiteY104" fmla="*/ 729288 h 3487140"/>
              <a:gd name="connsiteX105" fmla="*/ 3590780 w 7710919"/>
              <a:gd name="connsiteY105" fmla="*/ 682087 h 3487140"/>
              <a:gd name="connsiteX106" fmla="*/ 3708429 w 7710919"/>
              <a:gd name="connsiteY106" fmla="*/ 703463 h 3487140"/>
              <a:gd name="connsiteX107" fmla="*/ 3731094 w 7710919"/>
              <a:gd name="connsiteY107" fmla="*/ 797199 h 3487140"/>
              <a:gd name="connsiteX108" fmla="*/ 3603381 w 7710919"/>
              <a:gd name="connsiteY108" fmla="*/ 890936 h 3487140"/>
              <a:gd name="connsiteX109" fmla="*/ 3433498 w 7710919"/>
              <a:gd name="connsiteY109" fmla="*/ 918009 h 3487140"/>
              <a:gd name="connsiteX110" fmla="*/ 3305785 w 7710919"/>
              <a:gd name="connsiteY110" fmla="*/ 1002306 h 3487140"/>
              <a:gd name="connsiteX111" fmla="*/ 3204895 w 7710919"/>
              <a:gd name="connsiteY111" fmla="*/ 1299902 h 3487140"/>
              <a:gd name="connsiteX112" fmla="*/ 3265945 w 7710919"/>
              <a:gd name="connsiteY112" fmla="*/ 1545930 h 3487140"/>
              <a:gd name="connsiteX113" fmla="*/ 3478620 w 7710919"/>
              <a:gd name="connsiteY113" fmla="*/ 1536490 h 3487140"/>
              <a:gd name="connsiteX114" fmla="*/ 3658151 w 7710919"/>
              <a:gd name="connsiteY114" fmla="*/ 1376048 h 3487140"/>
              <a:gd name="connsiteX115" fmla="*/ 3661312 w 7710919"/>
              <a:gd name="connsiteY115" fmla="*/ 1231949 h 3487140"/>
              <a:gd name="connsiteX116" fmla="*/ 3443271 w 7710919"/>
              <a:gd name="connsiteY116" fmla="*/ 1191693 h 3487140"/>
              <a:gd name="connsiteX117" fmla="*/ 3451755 w 7710919"/>
              <a:gd name="connsiteY117" fmla="*/ 1255238 h 3487140"/>
              <a:gd name="connsiteX118" fmla="*/ 3876773 w 7710919"/>
              <a:gd name="connsiteY118" fmla="*/ 1241722 h 3487140"/>
              <a:gd name="connsiteX119" fmla="*/ 4361593 w 7710919"/>
              <a:gd name="connsiteY119" fmla="*/ 1259646 h 3487140"/>
              <a:gd name="connsiteX120" fmla="*/ 4590945 w 7710919"/>
              <a:gd name="connsiteY120" fmla="*/ 1236981 h 3487140"/>
              <a:gd name="connsiteX121" fmla="*/ 4572689 w 7710919"/>
              <a:gd name="connsiteY121" fmla="*/ 1185995 h 3487140"/>
              <a:gd name="connsiteX122" fmla="*/ 4212171 w 7710919"/>
              <a:gd name="connsiteY122" fmla="*/ 1177512 h 3487140"/>
              <a:gd name="connsiteX123" fmla="*/ 3841591 w 7710919"/>
              <a:gd name="connsiteY123" fmla="*/ 1331342 h 3487140"/>
              <a:gd name="connsiteX124" fmla="*/ 3495837 w 7710919"/>
              <a:gd name="connsiteY124" fmla="*/ 1604110 h 3487140"/>
              <a:gd name="connsiteX125" fmla="*/ 3263034 w 7710919"/>
              <a:gd name="connsiteY125" fmla="*/ 1921252 h 3487140"/>
              <a:gd name="connsiteX126" fmla="*/ 3167384 w 7710919"/>
              <a:gd name="connsiteY126" fmla="*/ 2419255 h 3487140"/>
              <a:gd name="connsiteX127" fmla="*/ 3397692 w 7710919"/>
              <a:gd name="connsiteY127" fmla="*/ 3048465 h 3487140"/>
              <a:gd name="connsiteX128" fmla="*/ 3975917 w 7710919"/>
              <a:gd name="connsiteY128" fmla="*/ 3394510 h 3487140"/>
              <a:gd name="connsiteX129" fmla="*/ 4614566 w 7710919"/>
              <a:gd name="connsiteY129" fmla="*/ 3330632 h 3487140"/>
              <a:gd name="connsiteX130" fmla="*/ 5109741 w 7710919"/>
              <a:gd name="connsiteY130" fmla="*/ 2841404 h 3487140"/>
              <a:gd name="connsiteX131" fmla="*/ 5143094 w 7710919"/>
              <a:gd name="connsiteY131" fmla="*/ 2052999 h 3487140"/>
              <a:gd name="connsiteX132" fmla="*/ 4712087 w 7710919"/>
              <a:gd name="connsiteY132" fmla="*/ 1482011 h 3487140"/>
              <a:gd name="connsiteX133" fmla="*/ 4245233 w 7710919"/>
              <a:gd name="connsiteY133" fmla="*/ 1352717 h 3487140"/>
              <a:gd name="connsiteX134" fmla="*/ 4084791 w 7710919"/>
              <a:gd name="connsiteY134" fmla="*/ 1466624 h 3487140"/>
              <a:gd name="connsiteX135" fmla="*/ 4106832 w 7710919"/>
              <a:gd name="connsiteY135" fmla="*/ 2001140 h 3487140"/>
              <a:gd name="connsiteX136" fmla="*/ 4140808 w 7710919"/>
              <a:gd name="connsiteY136" fmla="*/ 2313208 h 3487140"/>
              <a:gd name="connsiteX137" fmla="*/ 4232508 w 7710919"/>
              <a:gd name="connsiteY137" fmla="*/ 2399085 h 3487140"/>
              <a:gd name="connsiteX138" fmla="*/ 4336974 w 7710919"/>
              <a:gd name="connsiteY138" fmla="*/ 2362905 h 3487140"/>
              <a:gd name="connsiteX139" fmla="*/ 4301583 w 7710919"/>
              <a:gd name="connsiteY139" fmla="*/ 2271372 h 3487140"/>
              <a:gd name="connsiteX140" fmla="*/ 4203979 w 7710919"/>
              <a:gd name="connsiteY140" fmla="*/ 2303394 h 3487140"/>
              <a:gd name="connsiteX141" fmla="*/ 4187593 w 7710919"/>
              <a:gd name="connsiteY141" fmla="*/ 2437262 h 3487140"/>
              <a:gd name="connsiteX142" fmla="*/ 4186512 w 7710919"/>
              <a:gd name="connsiteY142" fmla="*/ 2519521 h 3487140"/>
              <a:gd name="connsiteX143" fmla="*/ 4007398 w 7710919"/>
              <a:gd name="connsiteY143" fmla="*/ 2539400 h 3487140"/>
              <a:gd name="connsiteX144" fmla="*/ 3597143 w 7710919"/>
              <a:gd name="connsiteY144" fmla="*/ 2545679 h 3487140"/>
              <a:gd name="connsiteX145" fmla="*/ 3356771 w 7710919"/>
              <a:gd name="connsiteY145" fmla="*/ 2602944 h 3487140"/>
              <a:gd name="connsiteX146" fmla="*/ 3347164 w 7710919"/>
              <a:gd name="connsiteY146" fmla="*/ 2790460 h 3487140"/>
              <a:gd name="connsiteX147" fmla="*/ 3540501 w 7710919"/>
              <a:gd name="connsiteY147" fmla="*/ 3133385 h 3487140"/>
              <a:gd name="connsiteX148" fmla="*/ 4032391 w 7710919"/>
              <a:gd name="connsiteY148" fmla="*/ 3465290 h 3487140"/>
              <a:gd name="connsiteX149" fmla="*/ 4773137 w 7710919"/>
              <a:gd name="connsiteY149" fmla="*/ 3390434 h 3487140"/>
              <a:gd name="connsiteX150" fmla="*/ 5212960 w 7710919"/>
              <a:gd name="connsiteY150" fmla="*/ 3017940 h 3487140"/>
              <a:gd name="connsiteX151" fmla="*/ 5526941 w 7710919"/>
              <a:gd name="connsiteY151" fmla="*/ 2655510 h 3487140"/>
              <a:gd name="connsiteX152" fmla="*/ 5899435 w 7710919"/>
              <a:gd name="connsiteY152" fmla="*/ 3163577 h 3487140"/>
              <a:gd name="connsiteX153" fmla="*/ 6123422 w 7710919"/>
              <a:gd name="connsiteY153" fmla="*/ 3255443 h 3487140"/>
              <a:gd name="connsiteX154" fmla="*/ 6201439 w 7710919"/>
              <a:gd name="connsiteY154" fmla="*/ 2786675 h 3487140"/>
              <a:gd name="connsiteX155" fmla="*/ 6511012 w 7710919"/>
              <a:gd name="connsiteY155" fmla="*/ 2869724 h 3487140"/>
              <a:gd name="connsiteX156" fmla="*/ 6749804 w 7710919"/>
              <a:gd name="connsiteY156" fmla="*/ 3245046 h 3487140"/>
              <a:gd name="connsiteX157" fmla="*/ 7122297 w 7710919"/>
              <a:gd name="connsiteY157" fmla="*/ 3329676 h 3487140"/>
              <a:gd name="connsiteX158" fmla="*/ 7710919 w 7710919"/>
              <a:gd name="connsiteY158" fmla="*/ 3217682 h 3487140"/>
              <a:gd name="connsiteX0" fmla="*/ 240411 w 7603996"/>
              <a:gd name="connsiteY0" fmla="*/ 3339906 h 3487140"/>
              <a:gd name="connsiteX1" fmla="*/ 698533 w 7603996"/>
              <a:gd name="connsiteY1" fmla="*/ 3385485 h 3487140"/>
              <a:gd name="connsiteX2" fmla="*/ 777215 w 7603996"/>
              <a:gd name="connsiteY2" fmla="*/ 3295741 h 3487140"/>
              <a:gd name="connsiteX3" fmla="*/ 526113 w 7603996"/>
              <a:gd name="connsiteY3" fmla="*/ 3112384 h 3487140"/>
              <a:gd name="connsiteX4" fmla="*/ 219950 w 7603996"/>
              <a:gd name="connsiteY4" fmla="*/ 2750287 h 3487140"/>
              <a:gd name="connsiteX5" fmla="*/ 128418 w 7603996"/>
              <a:gd name="connsiteY5" fmla="*/ 2305432 h 3487140"/>
              <a:gd name="connsiteX6" fmla="*/ 256006 w 7603996"/>
              <a:gd name="connsiteY6" fmla="*/ 1919713 h 3487140"/>
              <a:gd name="connsiteX7" fmla="*/ 580218 w 7603996"/>
              <a:gd name="connsiteY7" fmla="*/ 1637837 h 3487140"/>
              <a:gd name="connsiteX8" fmla="*/ 1073522 w 7603996"/>
              <a:gd name="connsiteY8" fmla="*/ 1545972 h 3487140"/>
              <a:gd name="connsiteX9" fmla="*/ 1308197 w 7603996"/>
              <a:gd name="connsiteY9" fmla="*/ 1517651 h 3487140"/>
              <a:gd name="connsiteX10" fmla="*/ 1292934 w 7603996"/>
              <a:gd name="connsiteY10" fmla="*/ 1460718 h 3487140"/>
              <a:gd name="connsiteX11" fmla="*/ 1016880 w 7603996"/>
              <a:gd name="connsiteY11" fmla="*/ 1416969 h 3487140"/>
              <a:gd name="connsiteX12" fmla="*/ 497460 w 7603996"/>
              <a:gd name="connsiteY12" fmla="*/ 1517318 h 3487140"/>
              <a:gd name="connsiteX13" fmla="*/ 88162 w 7603996"/>
              <a:gd name="connsiteY13" fmla="*/ 1960593 h 3487140"/>
              <a:gd name="connsiteX14" fmla="*/ 28692 w 7603996"/>
              <a:gd name="connsiteY14" fmla="*/ 2569342 h 3487140"/>
              <a:gd name="connsiteX15" fmla="*/ 442399 w 7603996"/>
              <a:gd name="connsiteY15" fmla="*/ 3165532 h 3487140"/>
              <a:gd name="connsiteX16" fmla="*/ 1232384 w 7603996"/>
              <a:gd name="connsiteY16" fmla="*/ 3283181 h 3487140"/>
              <a:gd name="connsiteX17" fmla="*/ 1835020 w 7603996"/>
              <a:gd name="connsiteY17" fmla="*/ 2757481 h 3487140"/>
              <a:gd name="connsiteX18" fmla="*/ 1824789 w 7603996"/>
              <a:gd name="connsiteY18" fmla="*/ 1980430 h 3487140"/>
              <a:gd name="connsiteX19" fmla="*/ 1494755 w 7603996"/>
              <a:gd name="connsiteY19" fmla="*/ 1589139 h 3487140"/>
              <a:gd name="connsiteX20" fmla="*/ 1305701 w 7603996"/>
              <a:gd name="connsiteY20" fmla="*/ 1660710 h 3487140"/>
              <a:gd name="connsiteX21" fmla="*/ 1197284 w 7603996"/>
              <a:gd name="connsiteY21" fmla="*/ 2116627 h 3487140"/>
              <a:gd name="connsiteX22" fmla="*/ 973921 w 7603996"/>
              <a:gd name="connsiteY22" fmla="*/ 2374258 h 3487140"/>
              <a:gd name="connsiteX23" fmla="*/ 918985 w 7603996"/>
              <a:gd name="connsiteY23" fmla="*/ 2276986 h 3487140"/>
              <a:gd name="connsiteX24" fmla="*/ 1298257 w 7603996"/>
              <a:gd name="connsiteY24" fmla="*/ 2021601 h 3487140"/>
              <a:gd name="connsiteX25" fmla="*/ 1558176 w 7603996"/>
              <a:gd name="connsiteY25" fmla="*/ 1234153 h 3487140"/>
              <a:gd name="connsiteX26" fmla="*/ 1788276 w 7603996"/>
              <a:gd name="connsiteY26" fmla="*/ 725296 h 3487140"/>
              <a:gd name="connsiteX27" fmla="*/ 1896859 w 7603996"/>
              <a:gd name="connsiteY27" fmla="*/ 539984 h 3487140"/>
              <a:gd name="connsiteX28" fmla="*/ 1865711 w 7603996"/>
              <a:gd name="connsiteY28" fmla="*/ 435851 h 3487140"/>
              <a:gd name="connsiteX29" fmla="*/ 1759373 w 7603996"/>
              <a:gd name="connsiteY29" fmla="*/ 350265 h 3487140"/>
              <a:gd name="connsiteX30" fmla="*/ 1714085 w 7603996"/>
              <a:gd name="connsiteY30" fmla="*/ 209327 h 3487140"/>
              <a:gd name="connsiteX31" fmla="*/ 1758915 w 7603996"/>
              <a:gd name="connsiteY31" fmla="*/ 82237 h 3487140"/>
              <a:gd name="connsiteX32" fmla="*/ 1939195 w 7603996"/>
              <a:gd name="connsiteY32" fmla="*/ 6716 h 3487140"/>
              <a:gd name="connsiteX33" fmla="*/ 2207888 w 7603996"/>
              <a:gd name="connsiteY33" fmla="*/ 10167 h 3487140"/>
              <a:gd name="connsiteX34" fmla="*/ 2291561 w 7603996"/>
              <a:gd name="connsiteY34" fmla="*/ 49800 h 3487140"/>
              <a:gd name="connsiteX35" fmla="*/ 2244526 w 7603996"/>
              <a:gd name="connsiteY35" fmla="*/ 86812 h 3487140"/>
              <a:gd name="connsiteX36" fmla="*/ 2008603 w 7603996"/>
              <a:gd name="connsiteY36" fmla="*/ 91886 h 3487140"/>
              <a:gd name="connsiteX37" fmla="*/ 1765070 w 7603996"/>
              <a:gd name="connsiteY37" fmla="*/ 75833 h 3487140"/>
              <a:gd name="connsiteX38" fmla="*/ 1657319 w 7603996"/>
              <a:gd name="connsiteY38" fmla="*/ 176931 h 3487140"/>
              <a:gd name="connsiteX39" fmla="*/ 1672581 w 7603996"/>
              <a:gd name="connsiteY39" fmla="*/ 370393 h 3487140"/>
              <a:gd name="connsiteX40" fmla="*/ 1617354 w 7603996"/>
              <a:gd name="connsiteY40" fmla="*/ 589348 h 3487140"/>
              <a:gd name="connsiteX41" fmla="*/ 1460820 w 7603996"/>
              <a:gd name="connsiteY41" fmla="*/ 903953 h 3487140"/>
              <a:gd name="connsiteX42" fmla="*/ 1250349 w 7603996"/>
              <a:gd name="connsiteY42" fmla="*/ 922501 h 3487140"/>
              <a:gd name="connsiteX43" fmla="*/ 1055930 w 7603996"/>
              <a:gd name="connsiteY43" fmla="*/ 866816 h 3487140"/>
              <a:gd name="connsiteX44" fmla="*/ 997085 w 7603996"/>
              <a:gd name="connsiteY44" fmla="*/ 751038 h 3487140"/>
              <a:gd name="connsiteX45" fmla="*/ 1009021 w 7603996"/>
              <a:gd name="connsiteY45" fmla="*/ 369436 h 3487140"/>
              <a:gd name="connsiteX46" fmla="*/ 1070694 w 7603996"/>
              <a:gd name="connsiteY46" fmla="*/ 155805 h 3487140"/>
              <a:gd name="connsiteX47" fmla="*/ 1272058 w 7603996"/>
              <a:gd name="connsiteY47" fmla="*/ 156761 h 3487140"/>
              <a:gd name="connsiteX48" fmla="*/ 1524989 w 7603996"/>
              <a:gd name="connsiteY48" fmla="*/ 245175 h 3487140"/>
              <a:gd name="connsiteX49" fmla="*/ 1694081 w 7603996"/>
              <a:gd name="connsiteY49" fmla="*/ 357792 h 3487140"/>
              <a:gd name="connsiteX50" fmla="*/ 1798672 w 7603996"/>
              <a:gd name="connsiteY50" fmla="*/ 483301 h 3487140"/>
              <a:gd name="connsiteX51" fmla="*/ 1822876 w 7603996"/>
              <a:gd name="connsiteY51" fmla="*/ 600951 h 3487140"/>
              <a:gd name="connsiteX52" fmla="*/ 1795345 w 7603996"/>
              <a:gd name="connsiteY52" fmla="*/ 761726 h 3487140"/>
              <a:gd name="connsiteX53" fmla="*/ 1967266 w 7603996"/>
              <a:gd name="connsiteY53" fmla="*/ 1160004 h 3487140"/>
              <a:gd name="connsiteX54" fmla="*/ 2390246 w 7603996"/>
              <a:gd name="connsiteY54" fmla="*/ 1793622 h 3487140"/>
              <a:gd name="connsiteX55" fmla="*/ 2807737 w 7603996"/>
              <a:gd name="connsiteY55" fmla="*/ 2087475 h 3487140"/>
              <a:gd name="connsiteX56" fmla="*/ 2917360 w 7603996"/>
              <a:gd name="connsiteY56" fmla="*/ 2185620 h 3487140"/>
              <a:gd name="connsiteX57" fmla="*/ 2804411 w 7603996"/>
              <a:gd name="connsiteY57" fmla="*/ 2468120 h 3487140"/>
              <a:gd name="connsiteX58" fmla="*/ 2638312 w 7603996"/>
              <a:gd name="connsiteY58" fmla="*/ 2505548 h 3487140"/>
              <a:gd name="connsiteX59" fmla="*/ 2329862 w 7603996"/>
              <a:gd name="connsiteY59" fmla="*/ 2278109 h 3487140"/>
              <a:gd name="connsiteX60" fmla="*/ 1885173 w 7603996"/>
              <a:gd name="connsiteY60" fmla="*/ 1678800 h 3487140"/>
              <a:gd name="connsiteX61" fmla="*/ 1765320 w 7603996"/>
              <a:gd name="connsiteY61" fmla="*/ 1175432 h 3487140"/>
              <a:gd name="connsiteX62" fmla="*/ 1919774 w 7603996"/>
              <a:gd name="connsiteY62" fmla="*/ 1377420 h 3487140"/>
              <a:gd name="connsiteX63" fmla="*/ 2281414 w 7603996"/>
              <a:gd name="connsiteY63" fmla="*/ 2268710 h 3487140"/>
              <a:gd name="connsiteX64" fmla="*/ 2601216 w 7603996"/>
              <a:gd name="connsiteY64" fmla="*/ 2693105 h 3487140"/>
              <a:gd name="connsiteX65" fmla="*/ 2834644 w 7603996"/>
              <a:gd name="connsiteY65" fmla="*/ 2746586 h 3487140"/>
              <a:gd name="connsiteX66" fmla="*/ 3001865 w 7603996"/>
              <a:gd name="connsiteY66" fmla="*/ 2631432 h 3487140"/>
              <a:gd name="connsiteX67" fmla="*/ 3013052 w 7603996"/>
              <a:gd name="connsiteY67" fmla="*/ 2436680 h 3487140"/>
              <a:gd name="connsiteX68" fmla="*/ 2859222 w 7603996"/>
              <a:gd name="connsiteY68" fmla="*/ 2309258 h 3487140"/>
              <a:gd name="connsiteX69" fmla="*/ 2652036 w 7603996"/>
              <a:gd name="connsiteY69" fmla="*/ 2375007 h 3487140"/>
              <a:gd name="connsiteX70" fmla="*/ 2629537 w 7603996"/>
              <a:gd name="connsiteY70" fmla="*/ 2581402 h 3487140"/>
              <a:gd name="connsiteX71" fmla="*/ 2772222 w 7603996"/>
              <a:gd name="connsiteY71" fmla="*/ 2671064 h 3487140"/>
              <a:gd name="connsiteX72" fmla="*/ 2868787 w 7603996"/>
              <a:gd name="connsiteY72" fmla="*/ 2596831 h 3487140"/>
              <a:gd name="connsiteX73" fmla="*/ 2835601 w 7603996"/>
              <a:gd name="connsiteY73" fmla="*/ 2530750 h 3487140"/>
              <a:gd name="connsiteX74" fmla="*/ 2713543 w 7603996"/>
              <a:gd name="connsiteY74" fmla="*/ 2615379 h 3487140"/>
              <a:gd name="connsiteX75" fmla="*/ 2567864 w 7603996"/>
              <a:gd name="connsiteY75" fmla="*/ 2907028 h 3487140"/>
              <a:gd name="connsiteX76" fmla="*/ 2520039 w 7603996"/>
              <a:gd name="connsiteY76" fmla="*/ 3008333 h 3487140"/>
              <a:gd name="connsiteX77" fmla="*/ 2484191 w 7603996"/>
              <a:gd name="connsiteY77" fmla="*/ 3024053 h 3487140"/>
              <a:gd name="connsiteX78" fmla="*/ 2389165 w 7603996"/>
              <a:gd name="connsiteY78" fmla="*/ 3013989 h 3487140"/>
              <a:gd name="connsiteX79" fmla="*/ 2396068 w 7603996"/>
              <a:gd name="connsiteY79" fmla="*/ 2956724 h 3487140"/>
              <a:gd name="connsiteX80" fmla="*/ 2584831 w 7603996"/>
              <a:gd name="connsiteY80" fmla="*/ 2951068 h 3487140"/>
              <a:gd name="connsiteX81" fmla="*/ 2671041 w 7603996"/>
              <a:gd name="connsiteY81" fmla="*/ 2951068 h 3487140"/>
              <a:gd name="connsiteX82" fmla="*/ 2752219 w 7603996"/>
              <a:gd name="connsiteY82" fmla="*/ 2822066 h 3487140"/>
              <a:gd name="connsiteX83" fmla="*/ 2892533 w 7603996"/>
              <a:gd name="connsiteY83" fmla="*/ 2789337 h 3487140"/>
              <a:gd name="connsiteX84" fmla="*/ 3020246 w 7603996"/>
              <a:gd name="connsiteY84" fmla="*/ 2713815 h 3487140"/>
              <a:gd name="connsiteX85" fmla="*/ 3106456 w 7603996"/>
              <a:gd name="connsiteY85" fmla="*/ 2544556 h 3487140"/>
              <a:gd name="connsiteX86" fmla="*/ 3326035 w 7603996"/>
              <a:gd name="connsiteY86" fmla="*/ 2482883 h 3487140"/>
              <a:gd name="connsiteX87" fmla="*/ 3861009 w 7603996"/>
              <a:gd name="connsiteY87" fmla="*/ 2466831 h 3487140"/>
              <a:gd name="connsiteX88" fmla="*/ 4016751 w 7603996"/>
              <a:gd name="connsiteY88" fmla="*/ 2420918 h 3487140"/>
              <a:gd name="connsiteX89" fmla="*/ 3866664 w 7603996"/>
              <a:gd name="connsiteY89" fmla="*/ 2252907 h 3487140"/>
              <a:gd name="connsiteX90" fmla="*/ 3391285 w 7603996"/>
              <a:gd name="connsiteY90" fmla="*/ 1791709 h 3487140"/>
              <a:gd name="connsiteX91" fmla="*/ 3127166 w 7603996"/>
              <a:gd name="connsiteY91" fmla="*/ 1600118 h 3487140"/>
              <a:gd name="connsiteX92" fmla="*/ 3003196 w 7603996"/>
              <a:gd name="connsiteY92" fmla="*/ 1733529 h 3487140"/>
              <a:gd name="connsiteX93" fmla="*/ 2940898 w 7603996"/>
              <a:gd name="connsiteY93" fmla="*/ 1995900 h 3487140"/>
              <a:gd name="connsiteX94" fmla="*/ 2981778 w 7603996"/>
              <a:gd name="connsiteY94" fmla="*/ 2048133 h 3487140"/>
              <a:gd name="connsiteX95" fmla="*/ 3044699 w 7603996"/>
              <a:gd name="connsiteY95" fmla="*/ 1778817 h 3487140"/>
              <a:gd name="connsiteX96" fmla="*/ 3166466 w 7603996"/>
              <a:gd name="connsiteY96" fmla="*/ 1356918 h 3487140"/>
              <a:gd name="connsiteX97" fmla="*/ 3272803 w 7603996"/>
              <a:gd name="connsiteY97" fmla="*/ 986960 h 3487140"/>
              <a:gd name="connsiteX98" fmla="*/ 3243526 w 7603996"/>
              <a:gd name="connsiteY98" fmla="*/ 867107 h 3487140"/>
              <a:gd name="connsiteX99" fmla="*/ 3068612 w 7603996"/>
              <a:gd name="connsiteY99" fmla="*/ 840034 h 3487140"/>
              <a:gd name="connsiteX100" fmla="*/ 2924513 w 7603996"/>
              <a:gd name="connsiteY100" fmla="*/ 782769 h 3487140"/>
              <a:gd name="connsiteX101" fmla="*/ 2940857 w 7603996"/>
              <a:gd name="connsiteY101" fmla="*/ 714816 h 3487140"/>
              <a:gd name="connsiteX102" fmla="*/ 3114524 w 7603996"/>
              <a:gd name="connsiteY102" fmla="*/ 723008 h 3487140"/>
              <a:gd name="connsiteX103" fmla="*/ 3317135 w 7603996"/>
              <a:gd name="connsiteY103" fmla="*/ 729288 h 3487140"/>
              <a:gd name="connsiteX104" fmla="*/ 3483857 w 7603996"/>
              <a:gd name="connsiteY104" fmla="*/ 682087 h 3487140"/>
              <a:gd name="connsiteX105" fmla="*/ 3601506 w 7603996"/>
              <a:gd name="connsiteY105" fmla="*/ 703463 h 3487140"/>
              <a:gd name="connsiteX106" fmla="*/ 3624171 w 7603996"/>
              <a:gd name="connsiteY106" fmla="*/ 797199 h 3487140"/>
              <a:gd name="connsiteX107" fmla="*/ 3496458 w 7603996"/>
              <a:gd name="connsiteY107" fmla="*/ 890936 h 3487140"/>
              <a:gd name="connsiteX108" fmla="*/ 3326575 w 7603996"/>
              <a:gd name="connsiteY108" fmla="*/ 918009 h 3487140"/>
              <a:gd name="connsiteX109" fmla="*/ 3198862 w 7603996"/>
              <a:gd name="connsiteY109" fmla="*/ 1002306 h 3487140"/>
              <a:gd name="connsiteX110" fmla="*/ 3097972 w 7603996"/>
              <a:gd name="connsiteY110" fmla="*/ 1299902 h 3487140"/>
              <a:gd name="connsiteX111" fmla="*/ 3159022 w 7603996"/>
              <a:gd name="connsiteY111" fmla="*/ 1545930 h 3487140"/>
              <a:gd name="connsiteX112" fmla="*/ 3371697 w 7603996"/>
              <a:gd name="connsiteY112" fmla="*/ 1536490 h 3487140"/>
              <a:gd name="connsiteX113" fmla="*/ 3551228 w 7603996"/>
              <a:gd name="connsiteY113" fmla="*/ 1376048 h 3487140"/>
              <a:gd name="connsiteX114" fmla="*/ 3554389 w 7603996"/>
              <a:gd name="connsiteY114" fmla="*/ 1231949 h 3487140"/>
              <a:gd name="connsiteX115" fmla="*/ 3336348 w 7603996"/>
              <a:gd name="connsiteY115" fmla="*/ 1191693 h 3487140"/>
              <a:gd name="connsiteX116" fmla="*/ 3344832 w 7603996"/>
              <a:gd name="connsiteY116" fmla="*/ 1255238 h 3487140"/>
              <a:gd name="connsiteX117" fmla="*/ 3769850 w 7603996"/>
              <a:gd name="connsiteY117" fmla="*/ 1241722 h 3487140"/>
              <a:gd name="connsiteX118" fmla="*/ 4254670 w 7603996"/>
              <a:gd name="connsiteY118" fmla="*/ 1259646 h 3487140"/>
              <a:gd name="connsiteX119" fmla="*/ 4484022 w 7603996"/>
              <a:gd name="connsiteY119" fmla="*/ 1236981 h 3487140"/>
              <a:gd name="connsiteX120" fmla="*/ 4465766 w 7603996"/>
              <a:gd name="connsiteY120" fmla="*/ 1185995 h 3487140"/>
              <a:gd name="connsiteX121" fmla="*/ 4105248 w 7603996"/>
              <a:gd name="connsiteY121" fmla="*/ 1177512 h 3487140"/>
              <a:gd name="connsiteX122" fmla="*/ 3734668 w 7603996"/>
              <a:gd name="connsiteY122" fmla="*/ 1331342 h 3487140"/>
              <a:gd name="connsiteX123" fmla="*/ 3388914 w 7603996"/>
              <a:gd name="connsiteY123" fmla="*/ 1604110 h 3487140"/>
              <a:gd name="connsiteX124" fmla="*/ 3156111 w 7603996"/>
              <a:gd name="connsiteY124" fmla="*/ 1921252 h 3487140"/>
              <a:gd name="connsiteX125" fmla="*/ 3060461 w 7603996"/>
              <a:gd name="connsiteY125" fmla="*/ 2419255 h 3487140"/>
              <a:gd name="connsiteX126" fmla="*/ 3290769 w 7603996"/>
              <a:gd name="connsiteY126" fmla="*/ 3048465 h 3487140"/>
              <a:gd name="connsiteX127" fmla="*/ 3868994 w 7603996"/>
              <a:gd name="connsiteY127" fmla="*/ 3394510 h 3487140"/>
              <a:gd name="connsiteX128" fmla="*/ 4507643 w 7603996"/>
              <a:gd name="connsiteY128" fmla="*/ 3330632 h 3487140"/>
              <a:gd name="connsiteX129" fmla="*/ 5002818 w 7603996"/>
              <a:gd name="connsiteY129" fmla="*/ 2841404 h 3487140"/>
              <a:gd name="connsiteX130" fmla="*/ 5036171 w 7603996"/>
              <a:gd name="connsiteY130" fmla="*/ 2052999 h 3487140"/>
              <a:gd name="connsiteX131" fmla="*/ 4605164 w 7603996"/>
              <a:gd name="connsiteY131" fmla="*/ 1482011 h 3487140"/>
              <a:gd name="connsiteX132" fmla="*/ 4138310 w 7603996"/>
              <a:gd name="connsiteY132" fmla="*/ 1352717 h 3487140"/>
              <a:gd name="connsiteX133" fmla="*/ 3977868 w 7603996"/>
              <a:gd name="connsiteY133" fmla="*/ 1466624 h 3487140"/>
              <a:gd name="connsiteX134" fmla="*/ 3999909 w 7603996"/>
              <a:gd name="connsiteY134" fmla="*/ 2001140 h 3487140"/>
              <a:gd name="connsiteX135" fmla="*/ 4033885 w 7603996"/>
              <a:gd name="connsiteY135" fmla="*/ 2313208 h 3487140"/>
              <a:gd name="connsiteX136" fmla="*/ 4125585 w 7603996"/>
              <a:gd name="connsiteY136" fmla="*/ 2399085 h 3487140"/>
              <a:gd name="connsiteX137" fmla="*/ 4230051 w 7603996"/>
              <a:gd name="connsiteY137" fmla="*/ 2362905 h 3487140"/>
              <a:gd name="connsiteX138" fmla="*/ 4194660 w 7603996"/>
              <a:gd name="connsiteY138" fmla="*/ 2271372 h 3487140"/>
              <a:gd name="connsiteX139" fmla="*/ 4097056 w 7603996"/>
              <a:gd name="connsiteY139" fmla="*/ 2303394 h 3487140"/>
              <a:gd name="connsiteX140" fmla="*/ 4080670 w 7603996"/>
              <a:gd name="connsiteY140" fmla="*/ 2437262 h 3487140"/>
              <a:gd name="connsiteX141" fmla="*/ 4079589 w 7603996"/>
              <a:gd name="connsiteY141" fmla="*/ 2519521 h 3487140"/>
              <a:gd name="connsiteX142" fmla="*/ 3900475 w 7603996"/>
              <a:gd name="connsiteY142" fmla="*/ 2539400 h 3487140"/>
              <a:gd name="connsiteX143" fmla="*/ 3490220 w 7603996"/>
              <a:gd name="connsiteY143" fmla="*/ 2545679 h 3487140"/>
              <a:gd name="connsiteX144" fmla="*/ 3249848 w 7603996"/>
              <a:gd name="connsiteY144" fmla="*/ 2602944 h 3487140"/>
              <a:gd name="connsiteX145" fmla="*/ 3240241 w 7603996"/>
              <a:gd name="connsiteY145" fmla="*/ 2790460 h 3487140"/>
              <a:gd name="connsiteX146" fmla="*/ 3433578 w 7603996"/>
              <a:gd name="connsiteY146" fmla="*/ 3133385 h 3487140"/>
              <a:gd name="connsiteX147" fmla="*/ 3925468 w 7603996"/>
              <a:gd name="connsiteY147" fmla="*/ 3465290 h 3487140"/>
              <a:gd name="connsiteX148" fmla="*/ 4666214 w 7603996"/>
              <a:gd name="connsiteY148" fmla="*/ 3390434 h 3487140"/>
              <a:gd name="connsiteX149" fmla="*/ 5106037 w 7603996"/>
              <a:gd name="connsiteY149" fmla="*/ 3017940 h 3487140"/>
              <a:gd name="connsiteX150" fmla="*/ 5420018 w 7603996"/>
              <a:gd name="connsiteY150" fmla="*/ 2655510 h 3487140"/>
              <a:gd name="connsiteX151" fmla="*/ 5792512 w 7603996"/>
              <a:gd name="connsiteY151" fmla="*/ 3163577 h 3487140"/>
              <a:gd name="connsiteX152" fmla="*/ 6016499 w 7603996"/>
              <a:gd name="connsiteY152" fmla="*/ 3255443 h 3487140"/>
              <a:gd name="connsiteX153" fmla="*/ 6094516 w 7603996"/>
              <a:gd name="connsiteY153" fmla="*/ 2786675 h 3487140"/>
              <a:gd name="connsiteX154" fmla="*/ 6404089 w 7603996"/>
              <a:gd name="connsiteY154" fmla="*/ 2869724 h 3487140"/>
              <a:gd name="connsiteX155" fmla="*/ 6642881 w 7603996"/>
              <a:gd name="connsiteY155" fmla="*/ 3245046 h 3487140"/>
              <a:gd name="connsiteX156" fmla="*/ 7015374 w 7603996"/>
              <a:gd name="connsiteY156" fmla="*/ 3329676 h 3487140"/>
              <a:gd name="connsiteX157" fmla="*/ 7603996 w 7603996"/>
              <a:gd name="connsiteY157" fmla="*/ 3217682 h 3487140"/>
              <a:gd name="connsiteX0" fmla="*/ 698533 w 7603996"/>
              <a:gd name="connsiteY0" fmla="*/ 3385485 h 3487140"/>
              <a:gd name="connsiteX1" fmla="*/ 777215 w 7603996"/>
              <a:gd name="connsiteY1" fmla="*/ 3295741 h 3487140"/>
              <a:gd name="connsiteX2" fmla="*/ 526113 w 7603996"/>
              <a:gd name="connsiteY2" fmla="*/ 3112384 h 3487140"/>
              <a:gd name="connsiteX3" fmla="*/ 219950 w 7603996"/>
              <a:gd name="connsiteY3" fmla="*/ 2750287 h 3487140"/>
              <a:gd name="connsiteX4" fmla="*/ 128418 w 7603996"/>
              <a:gd name="connsiteY4" fmla="*/ 2305432 h 3487140"/>
              <a:gd name="connsiteX5" fmla="*/ 256006 w 7603996"/>
              <a:gd name="connsiteY5" fmla="*/ 1919713 h 3487140"/>
              <a:gd name="connsiteX6" fmla="*/ 580218 w 7603996"/>
              <a:gd name="connsiteY6" fmla="*/ 1637837 h 3487140"/>
              <a:gd name="connsiteX7" fmla="*/ 1073522 w 7603996"/>
              <a:gd name="connsiteY7" fmla="*/ 1545972 h 3487140"/>
              <a:gd name="connsiteX8" fmla="*/ 1308197 w 7603996"/>
              <a:gd name="connsiteY8" fmla="*/ 1517651 h 3487140"/>
              <a:gd name="connsiteX9" fmla="*/ 1292934 w 7603996"/>
              <a:gd name="connsiteY9" fmla="*/ 1460718 h 3487140"/>
              <a:gd name="connsiteX10" fmla="*/ 1016880 w 7603996"/>
              <a:gd name="connsiteY10" fmla="*/ 1416969 h 3487140"/>
              <a:gd name="connsiteX11" fmla="*/ 497460 w 7603996"/>
              <a:gd name="connsiteY11" fmla="*/ 1517318 h 3487140"/>
              <a:gd name="connsiteX12" fmla="*/ 88162 w 7603996"/>
              <a:gd name="connsiteY12" fmla="*/ 1960593 h 3487140"/>
              <a:gd name="connsiteX13" fmla="*/ 28692 w 7603996"/>
              <a:gd name="connsiteY13" fmla="*/ 2569342 h 3487140"/>
              <a:gd name="connsiteX14" fmla="*/ 442399 w 7603996"/>
              <a:gd name="connsiteY14" fmla="*/ 3165532 h 3487140"/>
              <a:gd name="connsiteX15" fmla="*/ 1232384 w 7603996"/>
              <a:gd name="connsiteY15" fmla="*/ 3283181 h 3487140"/>
              <a:gd name="connsiteX16" fmla="*/ 1835020 w 7603996"/>
              <a:gd name="connsiteY16" fmla="*/ 2757481 h 3487140"/>
              <a:gd name="connsiteX17" fmla="*/ 1824789 w 7603996"/>
              <a:gd name="connsiteY17" fmla="*/ 1980430 h 3487140"/>
              <a:gd name="connsiteX18" fmla="*/ 1494755 w 7603996"/>
              <a:gd name="connsiteY18" fmla="*/ 1589139 h 3487140"/>
              <a:gd name="connsiteX19" fmla="*/ 1305701 w 7603996"/>
              <a:gd name="connsiteY19" fmla="*/ 1660710 h 3487140"/>
              <a:gd name="connsiteX20" fmla="*/ 1197284 w 7603996"/>
              <a:gd name="connsiteY20" fmla="*/ 2116627 h 3487140"/>
              <a:gd name="connsiteX21" fmla="*/ 973921 w 7603996"/>
              <a:gd name="connsiteY21" fmla="*/ 2374258 h 3487140"/>
              <a:gd name="connsiteX22" fmla="*/ 918985 w 7603996"/>
              <a:gd name="connsiteY22" fmla="*/ 2276986 h 3487140"/>
              <a:gd name="connsiteX23" fmla="*/ 1298257 w 7603996"/>
              <a:gd name="connsiteY23" fmla="*/ 2021601 h 3487140"/>
              <a:gd name="connsiteX24" fmla="*/ 1558176 w 7603996"/>
              <a:gd name="connsiteY24" fmla="*/ 1234153 h 3487140"/>
              <a:gd name="connsiteX25" fmla="*/ 1788276 w 7603996"/>
              <a:gd name="connsiteY25" fmla="*/ 725296 h 3487140"/>
              <a:gd name="connsiteX26" fmla="*/ 1896859 w 7603996"/>
              <a:gd name="connsiteY26" fmla="*/ 539984 h 3487140"/>
              <a:gd name="connsiteX27" fmla="*/ 1865711 w 7603996"/>
              <a:gd name="connsiteY27" fmla="*/ 435851 h 3487140"/>
              <a:gd name="connsiteX28" fmla="*/ 1759373 w 7603996"/>
              <a:gd name="connsiteY28" fmla="*/ 350265 h 3487140"/>
              <a:gd name="connsiteX29" fmla="*/ 1714085 w 7603996"/>
              <a:gd name="connsiteY29" fmla="*/ 209327 h 3487140"/>
              <a:gd name="connsiteX30" fmla="*/ 1758915 w 7603996"/>
              <a:gd name="connsiteY30" fmla="*/ 82237 h 3487140"/>
              <a:gd name="connsiteX31" fmla="*/ 1939195 w 7603996"/>
              <a:gd name="connsiteY31" fmla="*/ 6716 h 3487140"/>
              <a:gd name="connsiteX32" fmla="*/ 2207888 w 7603996"/>
              <a:gd name="connsiteY32" fmla="*/ 10167 h 3487140"/>
              <a:gd name="connsiteX33" fmla="*/ 2291561 w 7603996"/>
              <a:gd name="connsiteY33" fmla="*/ 49800 h 3487140"/>
              <a:gd name="connsiteX34" fmla="*/ 2244526 w 7603996"/>
              <a:gd name="connsiteY34" fmla="*/ 86812 h 3487140"/>
              <a:gd name="connsiteX35" fmla="*/ 2008603 w 7603996"/>
              <a:gd name="connsiteY35" fmla="*/ 91886 h 3487140"/>
              <a:gd name="connsiteX36" fmla="*/ 1765070 w 7603996"/>
              <a:gd name="connsiteY36" fmla="*/ 75833 h 3487140"/>
              <a:gd name="connsiteX37" fmla="*/ 1657319 w 7603996"/>
              <a:gd name="connsiteY37" fmla="*/ 176931 h 3487140"/>
              <a:gd name="connsiteX38" fmla="*/ 1672581 w 7603996"/>
              <a:gd name="connsiteY38" fmla="*/ 370393 h 3487140"/>
              <a:gd name="connsiteX39" fmla="*/ 1617354 w 7603996"/>
              <a:gd name="connsiteY39" fmla="*/ 589348 h 3487140"/>
              <a:gd name="connsiteX40" fmla="*/ 1460820 w 7603996"/>
              <a:gd name="connsiteY40" fmla="*/ 903953 h 3487140"/>
              <a:gd name="connsiteX41" fmla="*/ 1250349 w 7603996"/>
              <a:gd name="connsiteY41" fmla="*/ 922501 h 3487140"/>
              <a:gd name="connsiteX42" fmla="*/ 1055930 w 7603996"/>
              <a:gd name="connsiteY42" fmla="*/ 866816 h 3487140"/>
              <a:gd name="connsiteX43" fmla="*/ 997085 w 7603996"/>
              <a:gd name="connsiteY43" fmla="*/ 751038 h 3487140"/>
              <a:gd name="connsiteX44" fmla="*/ 1009021 w 7603996"/>
              <a:gd name="connsiteY44" fmla="*/ 369436 h 3487140"/>
              <a:gd name="connsiteX45" fmla="*/ 1070694 w 7603996"/>
              <a:gd name="connsiteY45" fmla="*/ 155805 h 3487140"/>
              <a:gd name="connsiteX46" fmla="*/ 1272058 w 7603996"/>
              <a:gd name="connsiteY46" fmla="*/ 156761 h 3487140"/>
              <a:gd name="connsiteX47" fmla="*/ 1524989 w 7603996"/>
              <a:gd name="connsiteY47" fmla="*/ 245175 h 3487140"/>
              <a:gd name="connsiteX48" fmla="*/ 1694081 w 7603996"/>
              <a:gd name="connsiteY48" fmla="*/ 357792 h 3487140"/>
              <a:gd name="connsiteX49" fmla="*/ 1798672 w 7603996"/>
              <a:gd name="connsiteY49" fmla="*/ 483301 h 3487140"/>
              <a:gd name="connsiteX50" fmla="*/ 1822876 w 7603996"/>
              <a:gd name="connsiteY50" fmla="*/ 600951 h 3487140"/>
              <a:gd name="connsiteX51" fmla="*/ 1795345 w 7603996"/>
              <a:gd name="connsiteY51" fmla="*/ 761726 h 3487140"/>
              <a:gd name="connsiteX52" fmla="*/ 1967266 w 7603996"/>
              <a:gd name="connsiteY52" fmla="*/ 1160004 h 3487140"/>
              <a:gd name="connsiteX53" fmla="*/ 2390246 w 7603996"/>
              <a:gd name="connsiteY53" fmla="*/ 1793622 h 3487140"/>
              <a:gd name="connsiteX54" fmla="*/ 2807737 w 7603996"/>
              <a:gd name="connsiteY54" fmla="*/ 2087475 h 3487140"/>
              <a:gd name="connsiteX55" fmla="*/ 2917360 w 7603996"/>
              <a:gd name="connsiteY55" fmla="*/ 2185620 h 3487140"/>
              <a:gd name="connsiteX56" fmla="*/ 2804411 w 7603996"/>
              <a:gd name="connsiteY56" fmla="*/ 2468120 h 3487140"/>
              <a:gd name="connsiteX57" fmla="*/ 2638312 w 7603996"/>
              <a:gd name="connsiteY57" fmla="*/ 2505548 h 3487140"/>
              <a:gd name="connsiteX58" fmla="*/ 2329862 w 7603996"/>
              <a:gd name="connsiteY58" fmla="*/ 2278109 h 3487140"/>
              <a:gd name="connsiteX59" fmla="*/ 1885173 w 7603996"/>
              <a:gd name="connsiteY59" fmla="*/ 1678800 h 3487140"/>
              <a:gd name="connsiteX60" fmla="*/ 1765320 w 7603996"/>
              <a:gd name="connsiteY60" fmla="*/ 1175432 h 3487140"/>
              <a:gd name="connsiteX61" fmla="*/ 1919774 w 7603996"/>
              <a:gd name="connsiteY61" fmla="*/ 1377420 h 3487140"/>
              <a:gd name="connsiteX62" fmla="*/ 2281414 w 7603996"/>
              <a:gd name="connsiteY62" fmla="*/ 2268710 h 3487140"/>
              <a:gd name="connsiteX63" fmla="*/ 2601216 w 7603996"/>
              <a:gd name="connsiteY63" fmla="*/ 2693105 h 3487140"/>
              <a:gd name="connsiteX64" fmla="*/ 2834644 w 7603996"/>
              <a:gd name="connsiteY64" fmla="*/ 2746586 h 3487140"/>
              <a:gd name="connsiteX65" fmla="*/ 3001865 w 7603996"/>
              <a:gd name="connsiteY65" fmla="*/ 2631432 h 3487140"/>
              <a:gd name="connsiteX66" fmla="*/ 3013052 w 7603996"/>
              <a:gd name="connsiteY66" fmla="*/ 2436680 h 3487140"/>
              <a:gd name="connsiteX67" fmla="*/ 2859222 w 7603996"/>
              <a:gd name="connsiteY67" fmla="*/ 2309258 h 3487140"/>
              <a:gd name="connsiteX68" fmla="*/ 2652036 w 7603996"/>
              <a:gd name="connsiteY68" fmla="*/ 2375007 h 3487140"/>
              <a:gd name="connsiteX69" fmla="*/ 2629537 w 7603996"/>
              <a:gd name="connsiteY69" fmla="*/ 2581402 h 3487140"/>
              <a:gd name="connsiteX70" fmla="*/ 2772222 w 7603996"/>
              <a:gd name="connsiteY70" fmla="*/ 2671064 h 3487140"/>
              <a:gd name="connsiteX71" fmla="*/ 2868787 w 7603996"/>
              <a:gd name="connsiteY71" fmla="*/ 2596831 h 3487140"/>
              <a:gd name="connsiteX72" fmla="*/ 2835601 w 7603996"/>
              <a:gd name="connsiteY72" fmla="*/ 2530750 h 3487140"/>
              <a:gd name="connsiteX73" fmla="*/ 2713543 w 7603996"/>
              <a:gd name="connsiteY73" fmla="*/ 2615379 h 3487140"/>
              <a:gd name="connsiteX74" fmla="*/ 2567864 w 7603996"/>
              <a:gd name="connsiteY74" fmla="*/ 2907028 h 3487140"/>
              <a:gd name="connsiteX75" fmla="*/ 2520039 w 7603996"/>
              <a:gd name="connsiteY75" fmla="*/ 3008333 h 3487140"/>
              <a:gd name="connsiteX76" fmla="*/ 2484191 w 7603996"/>
              <a:gd name="connsiteY76" fmla="*/ 3024053 h 3487140"/>
              <a:gd name="connsiteX77" fmla="*/ 2389165 w 7603996"/>
              <a:gd name="connsiteY77" fmla="*/ 3013989 h 3487140"/>
              <a:gd name="connsiteX78" fmla="*/ 2396068 w 7603996"/>
              <a:gd name="connsiteY78" fmla="*/ 2956724 h 3487140"/>
              <a:gd name="connsiteX79" fmla="*/ 2584831 w 7603996"/>
              <a:gd name="connsiteY79" fmla="*/ 2951068 h 3487140"/>
              <a:gd name="connsiteX80" fmla="*/ 2671041 w 7603996"/>
              <a:gd name="connsiteY80" fmla="*/ 2951068 h 3487140"/>
              <a:gd name="connsiteX81" fmla="*/ 2752219 w 7603996"/>
              <a:gd name="connsiteY81" fmla="*/ 2822066 h 3487140"/>
              <a:gd name="connsiteX82" fmla="*/ 2892533 w 7603996"/>
              <a:gd name="connsiteY82" fmla="*/ 2789337 h 3487140"/>
              <a:gd name="connsiteX83" fmla="*/ 3020246 w 7603996"/>
              <a:gd name="connsiteY83" fmla="*/ 2713815 h 3487140"/>
              <a:gd name="connsiteX84" fmla="*/ 3106456 w 7603996"/>
              <a:gd name="connsiteY84" fmla="*/ 2544556 h 3487140"/>
              <a:gd name="connsiteX85" fmla="*/ 3326035 w 7603996"/>
              <a:gd name="connsiteY85" fmla="*/ 2482883 h 3487140"/>
              <a:gd name="connsiteX86" fmla="*/ 3861009 w 7603996"/>
              <a:gd name="connsiteY86" fmla="*/ 2466831 h 3487140"/>
              <a:gd name="connsiteX87" fmla="*/ 4016751 w 7603996"/>
              <a:gd name="connsiteY87" fmla="*/ 2420918 h 3487140"/>
              <a:gd name="connsiteX88" fmla="*/ 3866664 w 7603996"/>
              <a:gd name="connsiteY88" fmla="*/ 2252907 h 3487140"/>
              <a:gd name="connsiteX89" fmla="*/ 3391285 w 7603996"/>
              <a:gd name="connsiteY89" fmla="*/ 1791709 h 3487140"/>
              <a:gd name="connsiteX90" fmla="*/ 3127166 w 7603996"/>
              <a:gd name="connsiteY90" fmla="*/ 1600118 h 3487140"/>
              <a:gd name="connsiteX91" fmla="*/ 3003196 w 7603996"/>
              <a:gd name="connsiteY91" fmla="*/ 1733529 h 3487140"/>
              <a:gd name="connsiteX92" fmla="*/ 2940898 w 7603996"/>
              <a:gd name="connsiteY92" fmla="*/ 1995900 h 3487140"/>
              <a:gd name="connsiteX93" fmla="*/ 2981778 w 7603996"/>
              <a:gd name="connsiteY93" fmla="*/ 2048133 h 3487140"/>
              <a:gd name="connsiteX94" fmla="*/ 3044699 w 7603996"/>
              <a:gd name="connsiteY94" fmla="*/ 1778817 h 3487140"/>
              <a:gd name="connsiteX95" fmla="*/ 3166466 w 7603996"/>
              <a:gd name="connsiteY95" fmla="*/ 1356918 h 3487140"/>
              <a:gd name="connsiteX96" fmla="*/ 3272803 w 7603996"/>
              <a:gd name="connsiteY96" fmla="*/ 986960 h 3487140"/>
              <a:gd name="connsiteX97" fmla="*/ 3243526 w 7603996"/>
              <a:gd name="connsiteY97" fmla="*/ 867107 h 3487140"/>
              <a:gd name="connsiteX98" fmla="*/ 3068612 w 7603996"/>
              <a:gd name="connsiteY98" fmla="*/ 840034 h 3487140"/>
              <a:gd name="connsiteX99" fmla="*/ 2924513 w 7603996"/>
              <a:gd name="connsiteY99" fmla="*/ 782769 h 3487140"/>
              <a:gd name="connsiteX100" fmla="*/ 2940857 w 7603996"/>
              <a:gd name="connsiteY100" fmla="*/ 714816 h 3487140"/>
              <a:gd name="connsiteX101" fmla="*/ 3114524 w 7603996"/>
              <a:gd name="connsiteY101" fmla="*/ 723008 h 3487140"/>
              <a:gd name="connsiteX102" fmla="*/ 3317135 w 7603996"/>
              <a:gd name="connsiteY102" fmla="*/ 729288 h 3487140"/>
              <a:gd name="connsiteX103" fmla="*/ 3483857 w 7603996"/>
              <a:gd name="connsiteY103" fmla="*/ 682087 h 3487140"/>
              <a:gd name="connsiteX104" fmla="*/ 3601506 w 7603996"/>
              <a:gd name="connsiteY104" fmla="*/ 703463 h 3487140"/>
              <a:gd name="connsiteX105" fmla="*/ 3624171 w 7603996"/>
              <a:gd name="connsiteY105" fmla="*/ 797199 h 3487140"/>
              <a:gd name="connsiteX106" fmla="*/ 3496458 w 7603996"/>
              <a:gd name="connsiteY106" fmla="*/ 890936 h 3487140"/>
              <a:gd name="connsiteX107" fmla="*/ 3326575 w 7603996"/>
              <a:gd name="connsiteY107" fmla="*/ 918009 h 3487140"/>
              <a:gd name="connsiteX108" fmla="*/ 3198862 w 7603996"/>
              <a:gd name="connsiteY108" fmla="*/ 1002306 h 3487140"/>
              <a:gd name="connsiteX109" fmla="*/ 3097972 w 7603996"/>
              <a:gd name="connsiteY109" fmla="*/ 1299902 h 3487140"/>
              <a:gd name="connsiteX110" fmla="*/ 3159022 w 7603996"/>
              <a:gd name="connsiteY110" fmla="*/ 1545930 h 3487140"/>
              <a:gd name="connsiteX111" fmla="*/ 3371697 w 7603996"/>
              <a:gd name="connsiteY111" fmla="*/ 1536490 h 3487140"/>
              <a:gd name="connsiteX112" fmla="*/ 3551228 w 7603996"/>
              <a:gd name="connsiteY112" fmla="*/ 1376048 h 3487140"/>
              <a:gd name="connsiteX113" fmla="*/ 3554389 w 7603996"/>
              <a:gd name="connsiteY113" fmla="*/ 1231949 h 3487140"/>
              <a:gd name="connsiteX114" fmla="*/ 3336348 w 7603996"/>
              <a:gd name="connsiteY114" fmla="*/ 1191693 h 3487140"/>
              <a:gd name="connsiteX115" fmla="*/ 3344832 w 7603996"/>
              <a:gd name="connsiteY115" fmla="*/ 1255238 h 3487140"/>
              <a:gd name="connsiteX116" fmla="*/ 3769850 w 7603996"/>
              <a:gd name="connsiteY116" fmla="*/ 1241722 h 3487140"/>
              <a:gd name="connsiteX117" fmla="*/ 4254670 w 7603996"/>
              <a:gd name="connsiteY117" fmla="*/ 1259646 h 3487140"/>
              <a:gd name="connsiteX118" fmla="*/ 4484022 w 7603996"/>
              <a:gd name="connsiteY118" fmla="*/ 1236981 h 3487140"/>
              <a:gd name="connsiteX119" fmla="*/ 4465766 w 7603996"/>
              <a:gd name="connsiteY119" fmla="*/ 1185995 h 3487140"/>
              <a:gd name="connsiteX120" fmla="*/ 4105248 w 7603996"/>
              <a:gd name="connsiteY120" fmla="*/ 1177512 h 3487140"/>
              <a:gd name="connsiteX121" fmla="*/ 3734668 w 7603996"/>
              <a:gd name="connsiteY121" fmla="*/ 1331342 h 3487140"/>
              <a:gd name="connsiteX122" fmla="*/ 3388914 w 7603996"/>
              <a:gd name="connsiteY122" fmla="*/ 1604110 h 3487140"/>
              <a:gd name="connsiteX123" fmla="*/ 3156111 w 7603996"/>
              <a:gd name="connsiteY123" fmla="*/ 1921252 h 3487140"/>
              <a:gd name="connsiteX124" fmla="*/ 3060461 w 7603996"/>
              <a:gd name="connsiteY124" fmla="*/ 2419255 h 3487140"/>
              <a:gd name="connsiteX125" fmla="*/ 3290769 w 7603996"/>
              <a:gd name="connsiteY125" fmla="*/ 3048465 h 3487140"/>
              <a:gd name="connsiteX126" fmla="*/ 3868994 w 7603996"/>
              <a:gd name="connsiteY126" fmla="*/ 3394510 h 3487140"/>
              <a:gd name="connsiteX127" fmla="*/ 4507643 w 7603996"/>
              <a:gd name="connsiteY127" fmla="*/ 3330632 h 3487140"/>
              <a:gd name="connsiteX128" fmla="*/ 5002818 w 7603996"/>
              <a:gd name="connsiteY128" fmla="*/ 2841404 h 3487140"/>
              <a:gd name="connsiteX129" fmla="*/ 5036171 w 7603996"/>
              <a:gd name="connsiteY129" fmla="*/ 2052999 h 3487140"/>
              <a:gd name="connsiteX130" fmla="*/ 4605164 w 7603996"/>
              <a:gd name="connsiteY130" fmla="*/ 1482011 h 3487140"/>
              <a:gd name="connsiteX131" fmla="*/ 4138310 w 7603996"/>
              <a:gd name="connsiteY131" fmla="*/ 1352717 h 3487140"/>
              <a:gd name="connsiteX132" fmla="*/ 3977868 w 7603996"/>
              <a:gd name="connsiteY132" fmla="*/ 1466624 h 3487140"/>
              <a:gd name="connsiteX133" fmla="*/ 3999909 w 7603996"/>
              <a:gd name="connsiteY133" fmla="*/ 2001140 h 3487140"/>
              <a:gd name="connsiteX134" fmla="*/ 4033885 w 7603996"/>
              <a:gd name="connsiteY134" fmla="*/ 2313208 h 3487140"/>
              <a:gd name="connsiteX135" fmla="*/ 4125585 w 7603996"/>
              <a:gd name="connsiteY135" fmla="*/ 2399085 h 3487140"/>
              <a:gd name="connsiteX136" fmla="*/ 4230051 w 7603996"/>
              <a:gd name="connsiteY136" fmla="*/ 2362905 h 3487140"/>
              <a:gd name="connsiteX137" fmla="*/ 4194660 w 7603996"/>
              <a:gd name="connsiteY137" fmla="*/ 2271372 h 3487140"/>
              <a:gd name="connsiteX138" fmla="*/ 4097056 w 7603996"/>
              <a:gd name="connsiteY138" fmla="*/ 2303394 h 3487140"/>
              <a:gd name="connsiteX139" fmla="*/ 4080670 w 7603996"/>
              <a:gd name="connsiteY139" fmla="*/ 2437262 h 3487140"/>
              <a:gd name="connsiteX140" fmla="*/ 4079589 w 7603996"/>
              <a:gd name="connsiteY140" fmla="*/ 2519521 h 3487140"/>
              <a:gd name="connsiteX141" fmla="*/ 3900475 w 7603996"/>
              <a:gd name="connsiteY141" fmla="*/ 2539400 h 3487140"/>
              <a:gd name="connsiteX142" fmla="*/ 3490220 w 7603996"/>
              <a:gd name="connsiteY142" fmla="*/ 2545679 h 3487140"/>
              <a:gd name="connsiteX143" fmla="*/ 3249848 w 7603996"/>
              <a:gd name="connsiteY143" fmla="*/ 2602944 h 3487140"/>
              <a:gd name="connsiteX144" fmla="*/ 3240241 w 7603996"/>
              <a:gd name="connsiteY144" fmla="*/ 2790460 h 3487140"/>
              <a:gd name="connsiteX145" fmla="*/ 3433578 w 7603996"/>
              <a:gd name="connsiteY145" fmla="*/ 3133385 h 3487140"/>
              <a:gd name="connsiteX146" fmla="*/ 3925468 w 7603996"/>
              <a:gd name="connsiteY146" fmla="*/ 3465290 h 3487140"/>
              <a:gd name="connsiteX147" fmla="*/ 4666214 w 7603996"/>
              <a:gd name="connsiteY147" fmla="*/ 3390434 h 3487140"/>
              <a:gd name="connsiteX148" fmla="*/ 5106037 w 7603996"/>
              <a:gd name="connsiteY148" fmla="*/ 3017940 h 3487140"/>
              <a:gd name="connsiteX149" fmla="*/ 5420018 w 7603996"/>
              <a:gd name="connsiteY149" fmla="*/ 2655510 h 3487140"/>
              <a:gd name="connsiteX150" fmla="*/ 5792512 w 7603996"/>
              <a:gd name="connsiteY150" fmla="*/ 3163577 h 3487140"/>
              <a:gd name="connsiteX151" fmla="*/ 6016499 w 7603996"/>
              <a:gd name="connsiteY151" fmla="*/ 3255443 h 3487140"/>
              <a:gd name="connsiteX152" fmla="*/ 6094516 w 7603996"/>
              <a:gd name="connsiteY152" fmla="*/ 2786675 h 3487140"/>
              <a:gd name="connsiteX153" fmla="*/ 6404089 w 7603996"/>
              <a:gd name="connsiteY153" fmla="*/ 2869724 h 3487140"/>
              <a:gd name="connsiteX154" fmla="*/ 6642881 w 7603996"/>
              <a:gd name="connsiteY154" fmla="*/ 3245046 h 3487140"/>
              <a:gd name="connsiteX155" fmla="*/ 7015374 w 7603996"/>
              <a:gd name="connsiteY155" fmla="*/ 3329676 h 3487140"/>
              <a:gd name="connsiteX156" fmla="*/ 7603996 w 7603996"/>
              <a:gd name="connsiteY156" fmla="*/ 3217682 h 3487140"/>
              <a:gd name="connsiteX0" fmla="*/ 777215 w 7603996"/>
              <a:gd name="connsiteY0" fmla="*/ 3295741 h 3487140"/>
              <a:gd name="connsiteX1" fmla="*/ 526113 w 7603996"/>
              <a:gd name="connsiteY1" fmla="*/ 3112384 h 3487140"/>
              <a:gd name="connsiteX2" fmla="*/ 219950 w 7603996"/>
              <a:gd name="connsiteY2" fmla="*/ 2750287 h 3487140"/>
              <a:gd name="connsiteX3" fmla="*/ 128418 w 7603996"/>
              <a:gd name="connsiteY3" fmla="*/ 2305432 h 3487140"/>
              <a:gd name="connsiteX4" fmla="*/ 256006 w 7603996"/>
              <a:gd name="connsiteY4" fmla="*/ 1919713 h 3487140"/>
              <a:gd name="connsiteX5" fmla="*/ 580218 w 7603996"/>
              <a:gd name="connsiteY5" fmla="*/ 1637837 h 3487140"/>
              <a:gd name="connsiteX6" fmla="*/ 1073522 w 7603996"/>
              <a:gd name="connsiteY6" fmla="*/ 1545972 h 3487140"/>
              <a:gd name="connsiteX7" fmla="*/ 1308197 w 7603996"/>
              <a:gd name="connsiteY7" fmla="*/ 1517651 h 3487140"/>
              <a:gd name="connsiteX8" fmla="*/ 1292934 w 7603996"/>
              <a:gd name="connsiteY8" fmla="*/ 1460718 h 3487140"/>
              <a:gd name="connsiteX9" fmla="*/ 1016880 w 7603996"/>
              <a:gd name="connsiteY9" fmla="*/ 1416969 h 3487140"/>
              <a:gd name="connsiteX10" fmla="*/ 497460 w 7603996"/>
              <a:gd name="connsiteY10" fmla="*/ 1517318 h 3487140"/>
              <a:gd name="connsiteX11" fmla="*/ 88162 w 7603996"/>
              <a:gd name="connsiteY11" fmla="*/ 1960593 h 3487140"/>
              <a:gd name="connsiteX12" fmla="*/ 28692 w 7603996"/>
              <a:gd name="connsiteY12" fmla="*/ 2569342 h 3487140"/>
              <a:gd name="connsiteX13" fmla="*/ 442399 w 7603996"/>
              <a:gd name="connsiteY13" fmla="*/ 3165532 h 3487140"/>
              <a:gd name="connsiteX14" fmla="*/ 1232384 w 7603996"/>
              <a:gd name="connsiteY14" fmla="*/ 3283181 h 3487140"/>
              <a:gd name="connsiteX15" fmla="*/ 1835020 w 7603996"/>
              <a:gd name="connsiteY15" fmla="*/ 2757481 h 3487140"/>
              <a:gd name="connsiteX16" fmla="*/ 1824789 w 7603996"/>
              <a:gd name="connsiteY16" fmla="*/ 1980430 h 3487140"/>
              <a:gd name="connsiteX17" fmla="*/ 1494755 w 7603996"/>
              <a:gd name="connsiteY17" fmla="*/ 1589139 h 3487140"/>
              <a:gd name="connsiteX18" fmla="*/ 1305701 w 7603996"/>
              <a:gd name="connsiteY18" fmla="*/ 1660710 h 3487140"/>
              <a:gd name="connsiteX19" fmla="*/ 1197284 w 7603996"/>
              <a:gd name="connsiteY19" fmla="*/ 2116627 h 3487140"/>
              <a:gd name="connsiteX20" fmla="*/ 973921 w 7603996"/>
              <a:gd name="connsiteY20" fmla="*/ 2374258 h 3487140"/>
              <a:gd name="connsiteX21" fmla="*/ 918985 w 7603996"/>
              <a:gd name="connsiteY21" fmla="*/ 2276986 h 3487140"/>
              <a:gd name="connsiteX22" fmla="*/ 1298257 w 7603996"/>
              <a:gd name="connsiteY22" fmla="*/ 2021601 h 3487140"/>
              <a:gd name="connsiteX23" fmla="*/ 1558176 w 7603996"/>
              <a:gd name="connsiteY23" fmla="*/ 1234153 h 3487140"/>
              <a:gd name="connsiteX24" fmla="*/ 1788276 w 7603996"/>
              <a:gd name="connsiteY24" fmla="*/ 725296 h 3487140"/>
              <a:gd name="connsiteX25" fmla="*/ 1896859 w 7603996"/>
              <a:gd name="connsiteY25" fmla="*/ 539984 h 3487140"/>
              <a:gd name="connsiteX26" fmla="*/ 1865711 w 7603996"/>
              <a:gd name="connsiteY26" fmla="*/ 435851 h 3487140"/>
              <a:gd name="connsiteX27" fmla="*/ 1759373 w 7603996"/>
              <a:gd name="connsiteY27" fmla="*/ 350265 h 3487140"/>
              <a:gd name="connsiteX28" fmla="*/ 1714085 w 7603996"/>
              <a:gd name="connsiteY28" fmla="*/ 209327 h 3487140"/>
              <a:gd name="connsiteX29" fmla="*/ 1758915 w 7603996"/>
              <a:gd name="connsiteY29" fmla="*/ 82237 h 3487140"/>
              <a:gd name="connsiteX30" fmla="*/ 1939195 w 7603996"/>
              <a:gd name="connsiteY30" fmla="*/ 6716 h 3487140"/>
              <a:gd name="connsiteX31" fmla="*/ 2207888 w 7603996"/>
              <a:gd name="connsiteY31" fmla="*/ 10167 h 3487140"/>
              <a:gd name="connsiteX32" fmla="*/ 2291561 w 7603996"/>
              <a:gd name="connsiteY32" fmla="*/ 49800 h 3487140"/>
              <a:gd name="connsiteX33" fmla="*/ 2244526 w 7603996"/>
              <a:gd name="connsiteY33" fmla="*/ 86812 h 3487140"/>
              <a:gd name="connsiteX34" fmla="*/ 2008603 w 7603996"/>
              <a:gd name="connsiteY34" fmla="*/ 91886 h 3487140"/>
              <a:gd name="connsiteX35" fmla="*/ 1765070 w 7603996"/>
              <a:gd name="connsiteY35" fmla="*/ 75833 h 3487140"/>
              <a:gd name="connsiteX36" fmla="*/ 1657319 w 7603996"/>
              <a:gd name="connsiteY36" fmla="*/ 176931 h 3487140"/>
              <a:gd name="connsiteX37" fmla="*/ 1672581 w 7603996"/>
              <a:gd name="connsiteY37" fmla="*/ 370393 h 3487140"/>
              <a:gd name="connsiteX38" fmla="*/ 1617354 w 7603996"/>
              <a:gd name="connsiteY38" fmla="*/ 589348 h 3487140"/>
              <a:gd name="connsiteX39" fmla="*/ 1460820 w 7603996"/>
              <a:gd name="connsiteY39" fmla="*/ 903953 h 3487140"/>
              <a:gd name="connsiteX40" fmla="*/ 1250349 w 7603996"/>
              <a:gd name="connsiteY40" fmla="*/ 922501 h 3487140"/>
              <a:gd name="connsiteX41" fmla="*/ 1055930 w 7603996"/>
              <a:gd name="connsiteY41" fmla="*/ 866816 h 3487140"/>
              <a:gd name="connsiteX42" fmla="*/ 997085 w 7603996"/>
              <a:gd name="connsiteY42" fmla="*/ 751038 h 3487140"/>
              <a:gd name="connsiteX43" fmla="*/ 1009021 w 7603996"/>
              <a:gd name="connsiteY43" fmla="*/ 369436 h 3487140"/>
              <a:gd name="connsiteX44" fmla="*/ 1070694 w 7603996"/>
              <a:gd name="connsiteY44" fmla="*/ 155805 h 3487140"/>
              <a:gd name="connsiteX45" fmla="*/ 1272058 w 7603996"/>
              <a:gd name="connsiteY45" fmla="*/ 156761 h 3487140"/>
              <a:gd name="connsiteX46" fmla="*/ 1524989 w 7603996"/>
              <a:gd name="connsiteY46" fmla="*/ 245175 h 3487140"/>
              <a:gd name="connsiteX47" fmla="*/ 1694081 w 7603996"/>
              <a:gd name="connsiteY47" fmla="*/ 357792 h 3487140"/>
              <a:gd name="connsiteX48" fmla="*/ 1798672 w 7603996"/>
              <a:gd name="connsiteY48" fmla="*/ 483301 h 3487140"/>
              <a:gd name="connsiteX49" fmla="*/ 1822876 w 7603996"/>
              <a:gd name="connsiteY49" fmla="*/ 600951 h 3487140"/>
              <a:gd name="connsiteX50" fmla="*/ 1795345 w 7603996"/>
              <a:gd name="connsiteY50" fmla="*/ 761726 h 3487140"/>
              <a:gd name="connsiteX51" fmla="*/ 1967266 w 7603996"/>
              <a:gd name="connsiteY51" fmla="*/ 1160004 h 3487140"/>
              <a:gd name="connsiteX52" fmla="*/ 2390246 w 7603996"/>
              <a:gd name="connsiteY52" fmla="*/ 1793622 h 3487140"/>
              <a:gd name="connsiteX53" fmla="*/ 2807737 w 7603996"/>
              <a:gd name="connsiteY53" fmla="*/ 2087475 h 3487140"/>
              <a:gd name="connsiteX54" fmla="*/ 2917360 w 7603996"/>
              <a:gd name="connsiteY54" fmla="*/ 2185620 h 3487140"/>
              <a:gd name="connsiteX55" fmla="*/ 2804411 w 7603996"/>
              <a:gd name="connsiteY55" fmla="*/ 2468120 h 3487140"/>
              <a:gd name="connsiteX56" fmla="*/ 2638312 w 7603996"/>
              <a:gd name="connsiteY56" fmla="*/ 2505548 h 3487140"/>
              <a:gd name="connsiteX57" fmla="*/ 2329862 w 7603996"/>
              <a:gd name="connsiteY57" fmla="*/ 2278109 h 3487140"/>
              <a:gd name="connsiteX58" fmla="*/ 1885173 w 7603996"/>
              <a:gd name="connsiteY58" fmla="*/ 1678800 h 3487140"/>
              <a:gd name="connsiteX59" fmla="*/ 1765320 w 7603996"/>
              <a:gd name="connsiteY59" fmla="*/ 1175432 h 3487140"/>
              <a:gd name="connsiteX60" fmla="*/ 1919774 w 7603996"/>
              <a:gd name="connsiteY60" fmla="*/ 1377420 h 3487140"/>
              <a:gd name="connsiteX61" fmla="*/ 2281414 w 7603996"/>
              <a:gd name="connsiteY61" fmla="*/ 2268710 h 3487140"/>
              <a:gd name="connsiteX62" fmla="*/ 2601216 w 7603996"/>
              <a:gd name="connsiteY62" fmla="*/ 2693105 h 3487140"/>
              <a:gd name="connsiteX63" fmla="*/ 2834644 w 7603996"/>
              <a:gd name="connsiteY63" fmla="*/ 2746586 h 3487140"/>
              <a:gd name="connsiteX64" fmla="*/ 3001865 w 7603996"/>
              <a:gd name="connsiteY64" fmla="*/ 2631432 h 3487140"/>
              <a:gd name="connsiteX65" fmla="*/ 3013052 w 7603996"/>
              <a:gd name="connsiteY65" fmla="*/ 2436680 h 3487140"/>
              <a:gd name="connsiteX66" fmla="*/ 2859222 w 7603996"/>
              <a:gd name="connsiteY66" fmla="*/ 2309258 h 3487140"/>
              <a:gd name="connsiteX67" fmla="*/ 2652036 w 7603996"/>
              <a:gd name="connsiteY67" fmla="*/ 2375007 h 3487140"/>
              <a:gd name="connsiteX68" fmla="*/ 2629537 w 7603996"/>
              <a:gd name="connsiteY68" fmla="*/ 2581402 h 3487140"/>
              <a:gd name="connsiteX69" fmla="*/ 2772222 w 7603996"/>
              <a:gd name="connsiteY69" fmla="*/ 2671064 h 3487140"/>
              <a:gd name="connsiteX70" fmla="*/ 2868787 w 7603996"/>
              <a:gd name="connsiteY70" fmla="*/ 2596831 h 3487140"/>
              <a:gd name="connsiteX71" fmla="*/ 2835601 w 7603996"/>
              <a:gd name="connsiteY71" fmla="*/ 2530750 h 3487140"/>
              <a:gd name="connsiteX72" fmla="*/ 2713543 w 7603996"/>
              <a:gd name="connsiteY72" fmla="*/ 2615379 h 3487140"/>
              <a:gd name="connsiteX73" fmla="*/ 2567864 w 7603996"/>
              <a:gd name="connsiteY73" fmla="*/ 2907028 h 3487140"/>
              <a:gd name="connsiteX74" fmla="*/ 2520039 w 7603996"/>
              <a:gd name="connsiteY74" fmla="*/ 3008333 h 3487140"/>
              <a:gd name="connsiteX75" fmla="*/ 2484191 w 7603996"/>
              <a:gd name="connsiteY75" fmla="*/ 3024053 h 3487140"/>
              <a:gd name="connsiteX76" fmla="*/ 2389165 w 7603996"/>
              <a:gd name="connsiteY76" fmla="*/ 3013989 h 3487140"/>
              <a:gd name="connsiteX77" fmla="*/ 2396068 w 7603996"/>
              <a:gd name="connsiteY77" fmla="*/ 2956724 h 3487140"/>
              <a:gd name="connsiteX78" fmla="*/ 2584831 w 7603996"/>
              <a:gd name="connsiteY78" fmla="*/ 2951068 h 3487140"/>
              <a:gd name="connsiteX79" fmla="*/ 2671041 w 7603996"/>
              <a:gd name="connsiteY79" fmla="*/ 2951068 h 3487140"/>
              <a:gd name="connsiteX80" fmla="*/ 2752219 w 7603996"/>
              <a:gd name="connsiteY80" fmla="*/ 2822066 h 3487140"/>
              <a:gd name="connsiteX81" fmla="*/ 2892533 w 7603996"/>
              <a:gd name="connsiteY81" fmla="*/ 2789337 h 3487140"/>
              <a:gd name="connsiteX82" fmla="*/ 3020246 w 7603996"/>
              <a:gd name="connsiteY82" fmla="*/ 2713815 h 3487140"/>
              <a:gd name="connsiteX83" fmla="*/ 3106456 w 7603996"/>
              <a:gd name="connsiteY83" fmla="*/ 2544556 h 3487140"/>
              <a:gd name="connsiteX84" fmla="*/ 3326035 w 7603996"/>
              <a:gd name="connsiteY84" fmla="*/ 2482883 h 3487140"/>
              <a:gd name="connsiteX85" fmla="*/ 3861009 w 7603996"/>
              <a:gd name="connsiteY85" fmla="*/ 2466831 h 3487140"/>
              <a:gd name="connsiteX86" fmla="*/ 4016751 w 7603996"/>
              <a:gd name="connsiteY86" fmla="*/ 2420918 h 3487140"/>
              <a:gd name="connsiteX87" fmla="*/ 3866664 w 7603996"/>
              <a:gd name="connsiteY87" fmla="*/ 2252907 h 3487140"/>
              <a:gd name="connsiteX88" fmla="*/ 3391285 w 7603996"/>
              <a:gd name="connsiteY88" fmla="*/ 1791709 h 3487140"/>
              <a:gd name="connsiteX89" fmla="*/ 3127166 w 7603996"/>
              <a:gd name="connsiteY89" fmla="*/ 1600118 h 3487140"/>
              <a:gd name="connsiteX90" fmla="*/ 3003196 w 7603996"/>
              <a:gd name="connsiteY90" fmla="*/ 1733529 h 3487140"/>
              <a:gd name="connsiteX91" fmla="*/ 2940898 w 7603996"/>
              <a:gd name="connsiteY91" fmla="*/ 1995900 h 3487140"/>
              <a:gd name="connsiteX92" fmla="*/ 2981778 w 7603996"/>
              <a:gd name="connsiteY92" fmla="*/ 2048133 h 3487140"/>
              <a:gd name="connsiteX93" fmla="*/ 3044699 w 7603996"/>
              <a:gd name="connsiteY93" fmla="*/ 1778817 h 3487140"/>
              <a:gd name="connsiteX94" fmla="*/ 3166466 w 7603996"/>
              <a:gd name="connsiteY94" fmla="*/ 1356918 h 3487140"/>
              <a:gd name="connsiteX95" fmla="*/ 3272803 w 7603996"/>
              <a:gd name="connsiteY95" fmla="*/ 986960 h 3487140"/>
              <a:gd name="connsiteX96" fmla="*/ 3243526 w 7603996"/>
              <a:gd name="connsiteY96" fmla="*/ 867107 h 3487140"/>
              <a:gd name="connsiteX97" fmla="*/ 3068612 w 7603996"/>
              <a:gd name="connsiteY97" fmla="*/ 840034 h 3487140"/>
              <a:gd name="connsiteX98" fmla="*/ 2924513 w 7603996"/>
              <a:gd name="connsiteY98" fmla="*/ 782769 h 3487140"/>
              <a:gd name="connsiteX99" fmla="*/ 2940857 w 7603996"/>
              <a:gd name="connsiteY99" fmla="*/ 714816 h 3487140"/>
              <a:gd name="connsiteX100" fmla="*/ 3114524 w 7603996"/>
              <a:gd name="connsiteY100" fmla="*/ 723008 h 3487140"/>
              <a:gd name="connsiteX101" fmla="*/ 3317135 w 7603996"/>
              <a:gd name="connsiteY101" fmla="*/ 729288 h 3487140"/>
              <a:gd name="connsiteX102" fmla="*/ 3483857 w 7603996"/>
              <a:gd name="connsiteY102" fmla="*/ 682087 h 3487140"/>
              <a:gd name="connsiteX103" fmla="*/ 3601506 w 7603996"/>
              <a:gd name="connsiteY103" fmla="*/ 703463 h 3487140"/>
              <a:gd name="connsiteX104" fmla="*/ 3624171 w 7603996"/>
              <a:gd name="connsiteY104" fmla="*/ 797199 h 3487140"/>
              <a:gd name="connsiteX105" fmla="*/ 3496458 w 7603996"/>
              <a:gd name="connsiteY105" fmla="*/ 890936 h 3487140"/>
              <a:gd name="connsiteX106" fmla="*/ 3326575 w 7603996"/>
              <a:gd name="connsiteY106" fmla="*/ 918009 h 3487140"/>
              <a:gd name="connsiteX107" fmla="*/ 3198862 w 7603996"/>
              <a:gd name="connsiteY107" fmla="*/ 1002306 h 3487140"/>
              <a:gd name="connsiteX108" fmla="*/ 3097972 w 7603996"/>
              <a:gd name="connsiteY108" fmla="*/ 1299902 h 3487140"/>
              <a:gd name="connsiteX109" fmla="*/ 3159022 w 7603996"/>
              <a:gd name="connsiteY109" fmla="*/ 1545930 h 3487140"/>
              <a:gd name="connsiteX110" fmla="*/ 3371697 w 7603996"/>
              <a:gd name="connsiteY110" fmla="*/ 1536490 h 3487140"/>
              <a:gd name="connsiteX111" fmla="*/ 3551228 w 7603996"/>
              <a:gd name="connsiteY111" fmla="*/ 1376048 h 3487140"/>
              <a:gd name="connsiteX112" fmla="*/ 3554389 w 7603996"/>
              <a:gd name="connsiteY112" fmla="*/ 1231949 h 3487140"/>
              <a:gd name="connsiteX113" fmla="*/ 3336348 w 7603996"/>
              <a:gd name="connsiteY113" fmla="*/ 1191693 h 3487140"/>
              <a:gd name="connsiteX114" fmla="*/ 3344832 w 7603996"/>
              <a:gd name="connsiteY114" fmla="*/ 1255238 h 3487140"/>
              <a:gd name="connsiteX115" fmla="*/ 3769850 w 7603996"/>
              <a:gd name="connsiteY115" fmla="*/ 1241722 h 3487140"/>
              <a:gd name="connsiteX116" fmla="*/ 4254670 w 7603996"/>
              <a:gd name="connsiteY116" fmla="*/ 1259646 h 3487140"/>
              <a:gd name="connsiteX117" fmla="*/ 4484022 w 7603996"/>
              <a:gd name="connsiteY117" fmla="*/ 1236981 h 3487140"/>
              <a:gd name="connsiteX118" fmla="*/ 4465766 w 7603996"/>
              <a:gd name="connsiteY118" fmla="*/ 1185995 h 3487140"/>
              <a:gd name="connsiteX119" fmla="*/ 4105248 w 7603996"/>
              <a:gd name="connsiteY119" fmla="*/ 1177512 h 3487140"/>
              <a:gd name="connsiteX120" fmla="*/ 3734668 w 7603996"/>
              <a:gd name="connsiteY120" fmla="*/ 1331342 h 3487140"/>
              <a:gd name="connsiteX121" fmla="*/ 3388914 w 7603996"/>
              <a:gd name="connsiteY121" fmla="*/ 1604110 h 3487140"/>
              <a:gd name="connsiteX122" fmla="*/ 3156111 w 7603996"/>
              <a:gd name="connsiteY122" fmla="*/ 1921252 h 3487140"/>
              <a:gd name="connsiteX123" fmla="*/ 3060461 w 7603996"/>
              <a:gd name="connsiteY123" fmla="*/ 2419255 h 3487140"/>
              <a:gd name="connsiteX124" fmla="*/ 3290769 w 7603996"/>
              <a:gd name="connsiteY124" fmla="*/ 3048465 h 3487140"/>
              <a:gd name="connsiteX125" fmla="*/ 3868994 w 7603996"/>
              <a:gd name="connsiteY125" fmla="*/ 3394510 h 3487140"/>
              <a:gd name="connsiteX126" fmla="*/ 4507643 w 7603996"/>
              <a:gd name="connsiteY126" fmla="*/ 3330632 h 3487140"/>
              <a:gd name="connsiteX127" fmla="*/ 5002818 w 7603996"/>
              <a:gd name="connsiteY127" fmla="*/ 2841404 h 3487140"/>
              <a:gd name="connsiteX128" fmla="*/ 5036171 w 7603996"/>
              <a:gd name="connsiteY128" fmla="*/ 2052999 h 3487140"/>
              <a:gd name="connsiteX129" fmla="*/ 4605164 w 7603996"/>
              <a:gd name="connsiteY129" fmla="*/ 1482011 h 3487140"/>
              <a:gd name="connsiteX130" fmla="*/ 4138310 w 7603996"/>
              <a:gd name="connsiteY130" fmla="*/ 1352717 h 3487140"/>
              <a:gd name="connsiteX131" fmla="*/ 3977868 w 7603996"/>
              <a:gd name="connsiteY131" fmla="*/ 1466624 h 3487140"/>
              <a:gd name="connsiteX132" fmla="*/ 3999909 w 7603996"/>
              <a:gd name="connsiteY132" fmla="*/ 2001140 h 3487140"/>
              <a:gd name="connsiteX133" fmla="*/ 4033885 w 7603996"/>
              <a:gd name="connsiteY133" fmla="*/ 2313208 h 3487140"/>
              <a:gd name="connsiteX134" fmla="*/ 4125585 w 7603996"/>
              <a:gd name="connsiteY134" fmla="*/ 2399085 h 3487140"/>
              <a:gd name="connsiteX135" fmla="*/ 4230051 w 7603996"/>
              <a:gd name="connsiteY135" fmla="*/ 2362905 h 3487140"/>
              <a:gd name="connsiteX136" fmla="*/ 4194660 w 7603996"/>
              <a:gd name="connsiteY136" fmla="*/ 2271372 h 3487140"/>
              <a:gd name="connsiteX137" fmla="*/ 4097056 w 7603996"/>
              <a:gd name="connsiteY137" fmla="*/ 2303394 h 3487140"/>
              <a:gd name="connsiteX138" fmla="*/ 4080670 w 7603996"/>
              <a:gd name="connsiteY138" fmla="*/ 2437262 h 3487140"/>
              <a:gd name="connsiteX139" fmla="*/ 4079589 w 7603996"/>
              <a:gd name="connsiteY139" fmla="*/ 2519521 h 3487140"/>
              <a:gd name="connsiteX140" fmla="*/ 3900475 w 7603996"/>
              <a:gd name="connsiteY140" fmla="*/ 2539400 h 3487140"/>
              <a:gd name="connsiteX141" fmla="*/ 3490220 w 7603996"/>
              <a:gd name="connsiteY141" fmla="*/ 2545679 h 3487140"/>
              <a:gd name="connsiteX142" fmla="*/ 3249848 w 7603996"/>
              <a:gd name="connsiteY142" fmla="*/ 2602944 h 3487140"/>
              <a:gd name="connsiteX143" fmla="*/ 3240241 w 7603996"/>
              <a:gd name="connsiteY143" fmla="*/ 2790460 h 3487140"/>
              <a:gd name="connsiteX144" fmla="*/ 3433578 w 7603996"/>
              <a:gd name="connsiteY144" fmla="*/ 3133385 h 3487140"/>
              <a:gd name="connsiteX145" fmla="*/ 3925468 w 7603996"/>
              <a:gd name="connsiteY145" fmla="*/ 3465290 h 3487140"/>
              <a:gd name="connsiteX146" fmla="*/ 4666214 w 7603996"/>
              <a:gd name="connsiteY146" fmla="*/ 3390434 h 3487140"/>
              <a:gd name="connsiteX147" fmla="*/ 5106037 w 7603996"/>
              <a:gd name="connsiteY147" fmla="*/ 3017940 h 3487140"/>
              <a:gd name="connsiteX148" fmla="*/ 5420018 w 7603996"/>
              <a:gd name="connsiteY148" fmla="*/ 2655510 h 3487140"/>
              <a:gd name="connsiteX149" fmla="*/ 5792512 w 7603996"/>
              <a:gd name="connsiteY149" fmla="*/ 3163577 h 3487140"/>
              <a:gd name="connsiteX150" fmla="*/ 6016499 w 7603996"/>
              <a:gd name="connsiteY150" fmla="*/ 3255443 h 3487140"/>
              <a:gd name="connsiteX151" fmla="*/ 6094516 w 7603996"/>
              <a:gd name="connsiteY151" fmla="*/ 2786675 h 3487140"/>
              <a:gd name="connsiteX152" fmla="*/ 6404089 w 7603996"/>
              <a:gd name="connsiteY152" fmla="*/ 2869724 h 3487140"/>
              <a:gd name="connsiteX153" fmla="*/ 6642881 w 7603996"/>
              <a:gd name="connsiteY153" fmla="*/ 3245046 h 3487140"/>
              <a:gd name="connsiteX154" fmla="*/ 7015374 w 7603996"/>
              <a:gd name="connsiteY154" fmla="*/ 3329676 h 3487140"/>
              <a:gd name="connsiteX155" fmla="*/ 7603996 w 7603996"/>
              <a:gd name="connsiteY155" fmla="*/ 3217682 h 3487140"/>
              <a:gd name="connsiteX0" fmla="*/ 777215 w 7015374"/>
              <a:gd name="connsiteY0" fmla="*/ 3295741 h 3487140"/>
              <a:gd name="connsiteX1" fmla="*/ 526113 w 7015374"/>
              <a:gd name="connsiteY1" fmla="*/ 3112384 h 3487140"/>
              <a:gd name="connsiteX2" fmla="*/ 219950 w 7015374"/>
              <a:gd name="connsiteY2" fmla="*/ 2750287 h 3487140"/>
              <a:gd name="connsiteX3" fmla="*/ 128418 w 7015374"/>
              <a:gd name="connsiteY3" fmla="*/ 2305432 h 3487140"/>
              <a:gd name="connsiteX4" fmla="*/ 256006 w 7015374"/>
              <a:gd name="connsiteY4" fmla="*/ 1919713 h 3487140"/>
              <a:gd name="connsiteX5" fmla="*/ 580218 w 7015374"/>
              <a:gd name="connsiteY5" fmla="*/ 1637837 h 3487140"/>
              <a:gd name="connsiteX6" fmla="*/ 1073522 w 7015374"/>
              <a:gd name="connsiteY6" fmla="*/ 1545972 h 3487140"/>
              <a:gd name="connsiteX7" fmla="*/ 1308197 w 7015374"/>
              <a:gd name="connsiteY7" fmla="*/ 1517651 h 3487140"/>
              <a:gd name="connsiteX8" fmla="*/ 1292934 w 7015374"/>
              <a:gd name="connsiteY8" fmla="*/ 1460718 h 3487140"/>
              <a:gd name="connsiteX9" fmla="*/ 1016880 w 7015374"/>
              <a:gd name="connsiteY9" fmla="*/ 1416969 h 3487140"/>
              <a:gd name="connsiteX10" fmla="*/ 497460 w 7015374"/>
              <a:gd name="connsiteY10" fmla="*/ 1517318 h 3487140"/>
              <a:gd name="connsiteX11" fmla="*/ 88162 w 7015374"/>
              <a:gd name="connsiteY11" fmla="*/ 1960593 h 3487140"/>
              <a:gd name="connsiteX12" fmla="*/ 28692 w 7015374"/>
              <a:gd name="connsiteY12" fmla="*/ 2569342 h 3487140"/>
              <a:gd name="connsiteX13" fmla="*/ 442399 w 7015374"/>
              <a:gd name="connsiteY13" fmla="*/ 3165532 h 3487140"/>
              <a:gd name="connsiteX14" fmla="*/ 1232384 w 7015374"/>
              <a:gd name="connsiteY14" fmla="*/ 3283181 h 3487140"/>
              <a:gd name="connsiteX15" fmla="*/ 1835020 w 7015374"/>
              <a:gd name="connsiteY15" fmla="*/ 2757481 h 3487140"/>
              <a:gd name="connsiteX16" fmla="*/ 1824789 w 7015374"/>
              <a:gd name="connsiteY16" fmla="*/ 1980430 h 3487140"/>
              <a:gd name="connsiteX17" fmla="*/ 1494755 w 7015374"/>
              <a:gd name="connsiteY17" fmla="*/ 1589139 h 3487140"/>
              <a:gd name="connsiteX18" fmla="*/ 1305701 w 7015374"/>
              <a:gd name="connsiteY18" fmla="*/ 1660710 h 3487140"/>
              <a:gd name="connsiteX19" fmla="*/ 1197284 w 7015374"/>
              <a:gd name="connsiteY19" fmla="*/ 2116627 h 3487140"/>
              <a:gd name="connsiteX20" fmla="*/ 973921 w 7015374"/>
              <a:gd name="connsiteY20" fmla="*/ 2374258 h 3487140"/>
              <a:gd name="connsiteX21" fmla="*/ 918985 w 7015374"/>
              <a:gd name="connsiteY21" fmla="*/ 2276986 h 3487140"/>
              <a:gd name="connsiteX22" fmla="*/ 1298257 w 7015374"/>
              <a:gd name="connsiteY22" fmla="*/ 2021601 h 3487140"/>
              <a:gd name="connsiteX23" fmla="*/ 1558176 w 7015374"/>
              <a:gd name="connsiteY23" fmla="*/ 1234153 h 3487140"/>
              <a:gd name="connsiteX24" fmla="*/ 1788276 w 7015374"/>
              <a:gd name="connsiteY24" fmla="*/ 725296 h 3487140"/>
              <a:gd name="connsiteX25" fmla="*/ 1896859 w 7015374"/>
              <a:gd name="connsiteY25" fmla="*/ 539984 h 3487140"/>
              <a:gd name="connsiteX26" fmla="*/ 1865711 w 7015374"/>
              <a:gd name="connsiteY26" fmla="*/ 435851 h 3487140"/>
              <a:gd name="connsiteX27" fmla="*/ 1759373 w 7015374"/>
              <a:gd name="connsiteY27" fmla="*/ 350265 h 3487140"/>
              <a:gd name="connsiteX28" fmla="*/ 1714085 w 7015374"/>
              <a:gd name="connsiteY28" fmla="*/ 209327 h 3487140"/>
              <a:gd name="connsiteX29" fmla="*/ 1758915 w 7015374"/>
              <a:gd name="connsiteY29" fmla="*/ 82237 h 3487140"/>
              <a:gd name="connsiteX30" fmla="*/ 1939195 w 7015374"/>
              <a:gd name="connsiteY30" fmla="*/ 6716 h 3487140"/>
              <a:gd name="connsiteX31" fmla="*/ 2207888 w 7015374"/>
              <a:gd name="connsiteY31" fmla="*/ 10167 h 3487140"/>
              <a:gd name="connsiteX32" fmla="*/ 2291561 w 7015374"/>
              <a:gd name="connsiteY32" fmla="*/ 49800 h 3487140"/>
              <a:gd name="connsiteX33" fmla="*/ 2244526 w 7015374"/>
              <a:gd name="connsiteY33" fmla="*/ 86812 h 3487140"/>
              <a:gd name="connsiteX34" fmla="*/ 2008603 w 7015374"/>
              <a:gd name="connsiteY34" fmla="*/ 91886 h 3487140"/>
              <a:gd name="connsiteX35" fmla="*/ 1765070 w 7015374"/>
              <a:gd name="connsiteY35" fmla="*/ 75833 h 3487140"/>
              <a:gd name="connsiteX36" fmla="*/ 1657319 w 7015374"/>
              <a:gd name="connsiteY36" fmla="*/ 176931 h 3487140"/>
              <a:gd name="connsiteX37" fmla="*/ 1672581 w 7015374"/>
              <a:gd name="connsiteY37" fmla="*/ 370393 h 3487140"/>
              <a:gd name="connsiteX38" fmla="*/ 1617354 w 7015374"/>
              <a:gd name="connsiteY38" fmla="*/ 589348 h 3487140"/>
              <a:gd name="connsiteX39" fmla="*/ 1460820 w 7015374"/>
              <a:gd name="connsiteY39" fmla="*/ 903953 h 3487140"/>
              <a:gd name="connsiteX40" fmla="*/ 1250349 w 7015374"/>
              <a:gd name="connsiteY40" fmla="*/ 922501 h 3487140"/>
              <a:gd name="connsiteX41" fmla="*/ 1055930 w 7015374"/>
              <a:gd name="connsiteY41" fmla="*/ 866816 h 3487140"/>
              <a:gd name="connsiteX42" fmla="*/ 997085 w 7015374"/>
              <a:gd name="connsiteY42" fmla="*/ 751038 h 3487140"/>
              <a:gd name="connsiteX43" fmla="*/ 1009021 w 7015374"/>
              <a:gd name="connsiteY43" fmla="*/ 369436 h 3487140"/>
              <a:gd name="connsiteX44" fmla="*/ 1070694 w 7015374"/>
              <a:gd name="connsiteY44" fmla="*/ 155805 h 3487140"/>
              <a:gd name="connsiteX45" fmla="*/ 1272058 w 7015374"/>
              <a:gd name="connsiteY45" fmla="*/ 156761 h 3487140"/>
              <a:gd name="connsiteX46" fmla="*/ 1524989 w 7015374"/>
              <a:gd name="connsiteY46" fmla="*/ 245175 h 3487140"/>
              <a:gd name="connsiteX47" fmla="*/ 1694081 w 7015374"/>
              <a:gd name="connsiteY47" fmla="*/ 357792 h 3487140"/>
              <a:gd name="connsiteX48" fmla="*/ 1798672 w 7015374"/>
              <a:gd name="connsiteY48" fmla="*/ 483301 h 3487140"/>
              <a:gd name="connsiteX49" fmla="*/ 1822876 w 7015374"/>
              <a:gd name="connsiteY49" fmla="*/ 600951 h 3487140"/>
              <a:gd name="connsiteX50" fmla="*/ 1795345 w 7015374"/>
              <a:gd name="connsiteY50" fmla="*/ 761726 h 3487140"/>
              <a:gd name="connsiteX51" fmla="*/ 1967266 w 7015374"/>
              <a:gd name="connsiteY51" fmla="*/ 1160004 h 3487140"/>
              <a:gd name="connsiteX52" fmla="*/ 2390246 w 7015374"/>
              <a:gd name="connsiteY52" fmla="*/ 1793622 h 3487140"/>
              <a:gd name="connsiteX53" fmla="*/ 2807737 w 7015374"/>
              <a:gd name="connsiteY53" fmla="*/ 2087475 h 3487140"/>
              <a:gd name="connsiteX54" fmla="*/ 2917360 w 7015374"/>
              <a:gd name="connsiteY54" fmla="*/ 2185620 h 3487140"/>
              <a:gd name="connsiteX55" fmla="*/ 2804411 w 7015374"/>
              <a:gd name="connsiteY55" fmla="*/ 2468120 h 3487140"/>
              <a:gd name="connsiteX56" fmla="*/ 2638312 w 7015374"/>
              <a:gd name="connsiteY56" fmla="*/ 2505548 h 3487140"/>
              <a:gd name="connsiteX57" fmla="*/ 2329862 w 7015374"/>
              <a:gd name="connsiteY57" fmla="*/ 2278109 h 3487140"/>
              <a:gd name="connsiteX58" fmla="*/ 1885173 w 7015374"/>
              <a:gd name="connsiteY58" fmla="*/ 1678800 h 3487140"/>
              <a:gd name="connsiteX59" fmla="*/ 1765320 w 7015374"/>
              <a:gd name="connsiteY59" fmla="*/ 1175432 h 3487140"/>
              <a:gd name="connsiteX60" fmla="*/ 1919774 w 7015374"/>
              <a:gd name="connsiteY60" fmla="*/ 1377420 h 3487140"/>
              <a:gd name="connsiteX61" fmla="*/ 2281414 w 7015374"/>
              <a:gd name="connsiteY61" fmla="*/ 2268710 h 3487140"/>
              <a:gd name="connsiteX62" fmla="*/ 2601216 w 7015374"/>
              <a:gd name="connsiteY62" fmla="*/ 2693105 h 3487140"/>
              <a:gd name="connsiteX63" fmla="*/ 2834644 w 7015374"/>
              <a:gd name="connsiteY63" fmla="*/ 2746586 h 3487140"/>
              <a:gd name="connsiteX64" fmla="*/ 3001865 w 7015374"/>
              <a:gd name="connsiteY64" fmla="*/ 2631432 h 3487140"/>
              <a:gd name="connsiteX65" fmla="*/ 3013052 w 7015374"/>
              <a:gd name="connsiteY65" fmla="*/ 2436680 h 3487140"/>
              <a:gd name="connsiteX66" fmla="*/ 2859222 w 7015374"/>
              <a:gd name="connsiteY66" fmla="*/ 2309258 h 3487140"/>
              <a:gd name="connsiteX67" fmla="*/ 2652036 w 7015374"/>
              <a:gd name="connsiteY67" fmla="*/ 2375007 h 3487140"/>
              <a:gd name="connsiteX68" fmla="*/ 2629537 w 7015374"/>
              <a:gd name="connsiteY68" fmla="*/ 2581402 h 3487140"/>
              <a:gd name="connsiteX69" fmla="*/ 2772222 w 7015374"/>
              <a:gd name="connsiteY69" fmla="*/ 2671064 h 3487140"/>
              <a:gd name="connsiteX70" fmla="*/ 2868787 w 7015374"/>
              <a:gd name="connsiteY70" fmla="*/ 2596831 h 3487140"/>
              <a:gd name="connsiteX71" fmla="*/ 2835601 w 7015374"/>
              <a:gd name="connsiteY71" fmla="*/ 2530750 h 3487140"/>
              <a:gd name="connsiteX72" fmla="*/ 2713543 w 7015374"/>
              <a:gd name="connsiteY72" fmla="*/ 2615379 h 3487140"/>
              <a:gd name="connsiteX73" fmla="*/ 2567864 w 7015374"/>
              <a:gd name="connsiteY73" fmla="*/ 2907028 h 3487140"/>
              <a:gd name="connsiteX74" fmla="*/ 2520039 w 7015374"/>
              <a:gd name="connsiteY74" fmla="*/ 3008333 h 3487140"/>
              <a:gd name="connsiteX75" fmla="*/ 2484191 w 7015374"/>
              <a:gd name="connsiteY75" fmla="*/ 3024053 h 3487140"/>
              <a:gd name="connsiteX76" fmla="*/ 2389165 w 7015374"/>
              <a:gd name="connsiteY76" fmla="*/ 3013989 h 3487140"/>
              <a:gd name="connsiteX77" fmla="*/ 2396068 w 7015374"/>
              <a:gd name="connsiteY77" fmla="*/ 2956724 h 3487140"/>
              <a:gd name="connsiteX78" fmla="*/ 2584831 w 7015374"/>
              <a:gd name="connsiteY78" fmla="*/ 2951068 h 3487140"/>
              <a:gd name="connsiteX79" fmla="*/ 2671041 w 7015374"/>
              <a:gd name="connsiteY79" fmla="*/ 2951068 h 3487140"/>
              <a:gd name="connsiteX80" fmla="*/ 2752219 w 7015374"/>
              <a:gd name="connsiteY80" fmla="*/ 2822066 h 3487140"/>
              <a:gd name="connsiteX81" fmla="*/ 2892533 w 7015374"/>
              <a:gd name="connsiteY81" fmla="*/ 2789337 h 3487140"/>
              <a:gd name="connsiteX82" fmla="*/ 3020246 w 7015374"/>
              <a:gd name="connsiteY82" fmla="*/ 2713815 h 3487140"/>
              <a:gd name="connsiteX83" fmla="*/ 3106456 w 7015374"/>
              <a:gd name="connsiteY83" fmla="*/ 2544556 h 3487140"/>
              <a:gd name="connsiteX84" fmla="*/ 3326035 w 7015374"/>
              <a:gd name="connsiteY84" fmla="*/ 2482883 h 3487140"/>
              <a:gd name="connsiteX85" fmla="*/ 3861009 w 7015374"/>
              <a:gd name="connsiteY85" fmla="*/ 2466831 h 3487140"/>
              <a:gd name="connsiteX86" fmla="*/ 4016751 w 7015374"/>
              <a:gd name="connsiteY86" fmla="*/ 2420918 h 3487140"/>
              <a:gd name="connsiteX87" fmla="*/ 3866664 w 7015374"/>
              <a:gd name="connsiteY87" fmla="*/ 2252907 h 3487140"/>
              <a:gd name="connsiteX88" fmla="*/ 3391285 w 7015374"/>
              <a:gd name="connsiteY88" fmla="*/ 1791709 h 3487140"/>
              <a:gd name="connsiteX89" fmla="*/ 3127166 w 7015374"/>
              <a:gd name="connsiteY89" fmla="*/ 1600118 h 3487140"/>
              <a:gd name="connsiteX90" fmla="*/ 3003196 w 7015374"/>
              <a:gd name="connsiteY90" fmla="*/ 1733529 h 3487140"/>
              <a:gd name="connsiteX91" fmla="*/ 2940898 w 7015374"/>
              <a:gd name="connsiteY91" fmla="*/ 1995900 h 3487140"/>
              <a:gd name="connsiteX92" fmla="*/ 2981778 w 7015374"/>
              <a:gd name="connsiteY92" fmla="*/ 2048133 h 3487140"/>
              <a:gd name="connsiteX93" fmla="*/ 3044699 w 7015374"/>
              <a:gd name="connsiteY93" fmla="*/ 1778817 h 3487140"/>
              <a:gd name="connsiteX94" fmla="*/ 3166466 w 7015374"/>
              <a:gd name="connsiteY94" fmla="*/ 1356918 h 3487140"/>
              <a:gd name="connsiteX95" fmla="*/ 3272803 w 7015374"/>
              <a:gd name="connsiteY95" fmla="*/ 986960 h 3487140"/>
              <a:gd name="connsiteX96" fmla="*/ 3243526 w 7015374"/>
              <a:gd name="connsiteY96" fmla="*/ 867107 h 3487140"/>
              <a:gd name="connsiteX97" fmla="*/ 3068612 w 7015374"/>
              <a:gd name="connsiteY97" fmla="*/ 840034 h 3487140"/>
              <a:gd name="connsiteX98" fmla="*/ 2924513 w 7015374"/>
              <a:gd name="connsiteY98" fmla="*/ 782769 h 3487140"/>
              <a:gd name="connsiteX99" fmla="*/ 2940857 w 7015374"/>
              <a:gd name="connsiteY99" fmla="*/ 714816 h 3487140"/>
              <a:gd name="connsiteX100" fmla="*/ 3114524 w 7015374"/>
              <a:gd name="connsiteY100" fmla="*/ 723008 h 3487140"/>
              <a:gd name="connsiteX101" fmla="*/ 3317135 w 7015374"/>
              <a:gd name="connsiteY101" fmla="*/ 729288 h 3487140"/>
              <a:gd name="connsiteX102" fmla="*/ 3483857 w 7015374"/>
              <a:gd name="connsiteY102" fmla="*/ 682087 h 3487140"/>
              <a:gd name="connsiteX103" fmla="*/ 3601506 w 7015374"/>
              <a:gd name="connsiteY103" fmla="*/ 703463 h 3487140"/>
              <a:gd name="connsiteX104" fmla="*/ 3624171 w 7015374"/>
              <a:gd name="connsiteY104" fmla="*/ 797199 h 3487140"/>
              <a:gd name="connsiteX105" fmla="*/ 3496458 w 7015374"/>
              <a:gd name="connsiteY105" fmla="*/ 890936 h 3487140"/>
              <a:gd name="connsiteX106" fmla="*/ 3326575 w 7015374"/>
              <a:gd name="connsiteY106" fmla="*/ 918009 h 3487140"/>
              <a:gd name="connsiteX107" fmla="*/ 3198862 w 7015374"/>
              <a:gd name="connsiteY107" fmla="*/ 1002306 h 3487140"/>
              <a:gd name="connsiteX108" fmla="*/ 3097972 w 7015374"/>
              <a:gd name="connsiteY108" fmla="*/ 1299902 h 3487140"/>
              <a:gd name="connsiteX109" fmla="*/ 3159022 w 7015374"/>
              <a:gd name="connsiteY109" fmla="*/ 1545930 h 3487140"/>
              <a:gd name="connsiteX110" fmla="*/ 3371697 w 7015374"/>
              <a:gd name="connsiteY110" fmla="*/ 1536490 h 3487140"/>
              <a:gd name="connsiteX111" fmla="*/ 3551228 w 7015374"/>
              <a:gd name="connsiteY111" fmla="*/ 1376048 h 3487140"/>
              <a:gd name="connsiteX112" fmla="*/ 3554389 w 7015374"/>
              <a:gd name="connsiteY112" fmla="*/ 1231949 h 3487140"/>
              <a:gd name="connsiteX113" fmla="*/ 3336348 w 7015374"/>
              <a:gd name="connsiteY113" fmla="*/ 1191693 h 3487140"/>
              <a:gd name="connsiteX114" fmla="*/ 3344832 w 7015374"/>
              <a:gd name="connsiteY114" fmla="*/ 1255238 h 3487140"/>
              <a:gd name="connsiteX115" fmla="*/ 3769850 w 7015374"/>
              <a:gd name="connsiteY115" fmla="*/ 1241722 h 3487140"/>
              <a:gd name="connsiteX116" fmla="*/ 4254670 w 7015374"/>
              <a:gd name="connsiteY116" fmla="*/ 1259646 h 3487140"/>
              <a:gd name="connsiteX117" fmla="*/ 4484022 w 7015374"/>
              <a:gd name="connsiteY117" fmla="*/ 1236981 h 3487140"/>
              <a:gd name="connsiteX118" fmla="*/ 4465766 w 7015374"/>
              <a:gd name="connsiteY118" fmla="*/ 1185995 h 3487140"/>
              <a:gd name="connsiteX119" fmla="*/ 4105248 w 7015374"/>
              <a:gd name="connsiteY119" fmla="*/ 1177512 h 3487140"/>
              <a:gd name="connsiteX120" fmla="*/ 3734668 w 7015374"/>
              <a:gd name="connsiteY120" fmla="*/ 1331342 h 3487140"/>
              <a:gd name="connsiteX121" fmla="*/ 3388914 w 7015374"/>
              <a:gd name="connsiteY121" fmla="*/ 1604110 h 3487140"/>
              <a:gd name="connsiteX122" fmla="*/ 3156111 w 7015374"/>
              <a:gd name="connsiteY122" fmla="*/ 1921252 h 3487140"/>
              <a:gd name="connsiteX123" fmla="*/ 3060461 w 7015374"/>
              <a:gd name="connsiteY123" fmla="*/ 2419255 h 3487140"/>
              <a:gd name="connsiteX124" fmla="*/ 3290769 w 7015374"/>
              <a:gd name="connsiteY124" fmla="*/ 3048465 h 3487140"/>
              <a:gd name="connsiteX125" fmla="*/ 3868994 w 7015374"/>
              <a:gd name="connsiteY125" fmla="*/ 3394510 h 3487140"/>
              <a:gd name="connsiteX126" fmla="*/ 4507643 w 7015374"/>
              <a:gd name="connsiteY126" fmla="*/ 3330632 h 3487140"/>
              <a:gd name="connsiteX127" fmla="*/ 5002818 w 7015374"/>
              <a:gd name="connsiteY127" fmla="*/ 2841404 h 3487140"/>
              <a:gd name="connsiteX128" fmla="*/ 5036171 w 7015374"/>
              <a:gd name="connsiteY128" fmla="*/ 2052999 h 3487140"/>
              <a:gd name="connsiteX129" fmla="*/ 4605164 w 7015374"/>
              <a:gd name="connsiteY129" fmla="*/ 1482011 h 3487140"/>
              <a:gd name="connsiteX130" fmla="*/ 4138310 w 7015374"/>
              <a:gd name="connsiteY130" fmla="*/ 1352717 h 3487140"/>
              <a:gd name="connsiteX131" fmla="*/ 3977868 w 7015374"/>
              <a:gd name="connsiteY131" fmla="*/ 1466624 h 3487140"/>
              <a:gd name="connsiteX132" fmla="*/ 3999909 w 7015374"/>
              <a:gd name="connsiteY132" fmla="*/ 2001140 h 3487140"/>
              <a:gd name="connsiteX133" fmla="*/ 4033885 w 7015374"/>
              <a:gd name="connsiteY133" fmla="*/ 2313208 h 3487140"/>
              <a:gd name="connsiteX134" fmla="*/ 4125585 w 7015374"/>
              <a:gd name="connsiteY134" fmla="*/ 2399085 h 3487140"/>
              <a:gd name="connsiteX135" fmla="*/ 4230051 w 7015374"/>
              <a:gd name="connsiteY135" fmla="*/ 2362905 h 3487140"/>
              <a:gd name="connsiteX136" fmla="*/ 4194660 w 7015374"/>
              <a:gd name="connsiteY136" fmla="*/ 2271372 h 3487140"/>
              <a:gd name="connsiteX137" fmla="*/ 4097056 w 7015374"/>
              <a:gd name="connsiteY137" fmla="*/ 2303394 h 3487140"/>
              <a:gd name="connsiteX138" fmla="*/ 4080670 w 7015374"/>
              <a:gd name="connsiteY138" fmla="*/ 2437262 h 3487140"/>
              <a:gd name="connsiteX139" fmla="*/ 4079589 w 7015374"/>
              <a:gd name="connsiteY139" fmla="*/ 2519521 h 3487140"/>
              <a:gd name="connsiteX140" fmla="*/ 3900475 w 7015374"/>
              <a:gd name="connsiteY140" fmla="*/ 2539400 h 3487140"/>
              <a:gd name="connsiteX141" fmla="*/ 3490220 w 7015374"/>
              <a:gd name="connsiteY141" fmla="*/ 2545679 h 3487140"/>
              <a:gd name="connsiteX142" fmla="*/ 3249848 w 7015374"/>
              <a:gd name="connsiteY142" fmla="*/ 2602944 h 3487140"/>
              <a:gd name="connsiteX143" fmla="*/ 3240241 w 7015374"/>
              <a:gd name="connsiteY143" fmla="*/ 2790460 h 3487140"/>
              <a:gd name="connsiteX144" fmla="*/ 3433578 w 7015374"/>
              <a:gd name="connsiteY144" fmla="*/ 3133385 h 3487140"/>
              <a:gd name="connsiteX145" fmla="*/ 3925468 w 7015374"/>
              <a:gd name="connsiteY145" fmla="*/ 3465290 h 3487140"/>
              <a:gd name="connsiteX146" fmla="*/ 4666214 w 7015374"/>
              <a:gd name="connsiteY146" fmla="*/ 3390434 h 3487140"/>
              <a:gd name="connsiteX147" fmla="*/ 5106037 w 7015374"/>
              <a:gd name="connsiteY147" fmla="*/ 3017940 h 3487140"/>
              <a:gd name="connsiteX148" fmla="*/ 5420018 w 7015374"/>
              <a:gd name="connsiteY148" fmla="*/ 2655510 h 3487140"/>
              <a:gd name="connsiteX149" fmla="*/ 5792512 w 7015374"/>
              <a:gd name="connsiteY149" fmla="*/ 3163577 h 3487140"/>
              <a:gd name="connsiteX150" fmla="*/ 6016499 w 7015374"/>
              <a:gd name="connsiteY150" fmla="*/ 3255443 h 3487140"/>
              <a:gd name="connsiteX151" fmla="*/ 6094516 w 7015374"/>
              <a:gd name="connsiteY151" fmla="*/ 2786675 h 3487140"/>
              <a:gd name="connsiteX152" fmla="*/ 6404089 w 7015374"/>
              <a:gd name="connsiteY152" fmla="*/ 2869724 h 3487140"/>
              <a:gd name="connsiteX153" fmla="*/ 6642881 w 7015374"/>
              <a:gd name="connsiteY153" fmla="*/ 3245046 h 3487140"/>
              <a:gd name="connsiteX154" fmla="*/ 7015374 w 7015374"/>
              <a:gd name="connsiteY154" fmla="*/ 3329676 h 3487140"/>
              <a:gd name="connsiteX0" fmla="*/ 777215 w 6642881"/>
              <a:gd name="connsiteY0" fmla="*/ 3295741 h 3487140"/>
              <a:gd name="connsiteX1" fmla="*/ 526113 w 6642881"/>
              <a:gd name="connsiteY1" fmla="*/ 3112384 h 3487140"/>
              <a:gd name="connsiteX2" fmla="*/ 219950 w 6642881"/>
              <a:gd name="connsiteY2" fmla="*/ 2750287 h 3487140"/>
              <a:gd name="connsiteX3" fmla="*/ 128418 w 6642881"/>
              <a:gd name="connsiteY3" fmla="*/ 2305432 h 3487140"/>
              <a:gd name="connsiteX4" fmla="*/ 256006 w 6642881"/>
              <a:gd name="connsiteY4" fmla="*/ 1919713 h 3487140"/>
              <a:gd name="connsiteX5" fmla="*/ 580218 w 6642881"/>
              <a:gd name="connsiteY5" fmla="*/ 1637837 h 3487140"/>
              <a:gd name="connsiteX6" fmla="*/ 1073522 w 6642881"/>
              <a:gd name="connsiteY6" fmla="*/ 1545972 h 3487140"/>
              <a:gd name="connsiteX7" fmla="*/ 1308197 w 6642881"/>
              <a:gd name="connsiteY7" fmla="*/ 1517651 h 3487140"/>
              <a:gd name="connsiteX8" fmla="*/ 1292934 w 6642881"/>
              <a:gd name="connsiteY8" fmla="*/ 1460718 h 3487140"/>
              <a:gd name="connsiteX9" fmla="*/ 1016880 w 6642881"/>
              <a:gd name="connsiteY9" fmla="*/ 1416969 h 3487140"/>
              <a:gd name="connsiteX10" fmla="*/ 497460 w 6642881"/>
              <a:gd name="connsiteY10" fmla="*/ 1517318 h 3487140"/>
              <a:gd name="connsiteX11" fmla="*/ 88162 w 6642881"/>
              <a:gd name="connsiteY11" fmla="*/ 1960593 h 3487140"/>
              <a:gd name="connsiteX12" fmla="*/ 28692 w 6642881"/>
              <a:gd name="connsiteY12" fmla="*/ 2569342 h 3487140"/>
              <a:gd name="connsiteX13" fmla="*/ 442399 w 6642881"/>
              <a:gd name="connsiteY13" fmla="*/ 3165532 h 3487140"/>
              <a:gd name="connsiteX14" fmla="*/ 1232384 w 6642881"/>
              <a:gd name="connsiteY14" fmla="*/ 3283181 h 3487140"/>
              <a:gd name="connsiteX15" fmla="*/ 1835020 w 6642881"/>
              <a:gd name="connsiteY15" fmla="*/ 2757481 h 3487140"/>
              <a:gd name="connsiteX16" fmla="*/ 1824789 w 6642881"/>
              <a:gd name="connsiteY16" fmla="*/ 1980430 h 3487140"/>
              <a:gd name="connsiteX17" fmla="*/ 1494755 w 6642881"/>
              <a:gd name="connsiteY17" fmla="*/ 1589139 h 3487140"/>
              <a:gd name="connsiteX18" fmla="*/ 1305701 w 6642881"/>
              <a:gd name="connsiteY18" fmla="*/ 1660710 h 3487140"/>
              <a:gd name="connsiteX19" fmla="*/ 1197284 w 6642881"/>
              <a:gd name="connsiteY19" fmla="*/ 2116627 h 3487140"/>
              <a:gd name="connsiteX20" fmla="*/ 973921 w 6642881"/>
              <a:gd name="connsiteY20" fmla="*/ 2374258 h 3487140"/>
              <a:gd name="connsiteX21" fmla="*/ 918985 w 6642881"/>
              <a:gd name="connsiteY21" fmla="*/ 2276986 h 3487140"/>
              <a:gd name="connsiteX22" fmla="*/ 1298257 w 6642881"/>
              <a:gd name="connsiteY22" fmla="*/ 2021601 h 3487140"/>
              <a:gd name="connsiteX23" fmla="*/ 1558176 w 6642881"/>
              <a:gd name="connsiteY23" fmla="*/ 1234153 h 3487140"/>
              <a:gd name="connsiteX24" fmla="*/ 1788276 w 6642881"/>
              <a:gd name="connsiteY24" fmla="*/ 725296 h 3487140"/>
              <a:gd name="connsiteX25" fmla="*/ 1896859 w 6642881"/>
              <a:gd name="connsiteY25" fmla="*/ 539984 h 3487140"/>
              <a:gd name="connsiteX26" fmla="*/ 1865711 w 6642881"/>
              <a:gd name="connsiteY26" fmla="*/ 435851 h 3487140"/>
              <a:gd name="connsiteX27" fmla="*/ 1759373 w 6642881"/>
              <a:gd name="connsiteY27" fmla="*/ 350265 h 3487140"/>
              <a:gd name="connsiteX28" fmla="*/ 1714085 w 6642881"/>
              <a:gd name="connsiteY28" fmla="*/ 209327 h 3487140"/>
              <a:gd name="connsiteX29" fmla="*/ 1758915 w 6642881"/>
              <a:gd name="connsiteY29" fmla="*/ 82237 h 3487140"/>
              <a:gd name="connsiteX30" fmla="*/ 1939195 w 6642881"/>
              <a:gd name="connsiteY30" fmla="*/ 6716 h 3487140"/>
              <a:gd name="connsiteX31" fmla="*/ 2207888 w 6642881"/>
              <a:gd name="connsiteY31" fmla="*/ 10167 h 3487140"/>
              <a:gd name="connsiteX32" fmla="*/ 2291561 w 6642881"/>
              <a:gd name="connsiteY32" fmla="*/ 49800 h 3487140"/>
              <a:gd name="connsiteX33" fmla="*/ 2244526 w 6642881"/>
              <a:gd name="connsiteY33" fmla="*/ 86812 h 3487140"/>
              <a:gd name="connsiteX34" fmla="*/ 2008603 w 6642881"/>
              <a:gd name="connsiteY34" fmla="*/ 91886 h 3487140"/>
              <a:gd name="connsiteX35" fmla="*/ 1765070 w 6642881"/>
              <a:gd name="connsiteY35" fmla="*/ 75833 h 3487140"/>
              <a:gd name="connsiteX36" fmla="*/ 1657319 w 6642881"/>
              <a:gd name="connsiteY36" fmla="*/ 176931 h 3487140"/>
              <a:gd name="connsiteX37" fmla="*/ 1672581 w 6642881"/>
              <a:gd name="connsiteY37" fmla="*/ 370393 h 3487140"/>
              <a:gd name="connsiteX38" fmla="*/ 1617354 w 6642881"/>
              <a:gd name="connsiteY38" fmla="*/ 589348 h 3487140"/>
              <a:gd name="connsiteX39" fmla="*/ 1460820 w 6642881"/>
              <a:gd name="connsiteY39" fmla="*/ 903953 h 3487140"/>
              <a:gd name="connsiteX40" fmla="*/ 1250349 w 6642881"/>
              <a:gd name="connsiteY40" fmla="*/ 922501 h 3487140"/>
              <a:gd name="connsiteX41" fmla="*/ 1055930 w 6642881"/>
              <a:gd name="connsiteY41" fmla="*/ 866816 h 3487140"/>
              <a:gd name="connsiteX42" fmla="*/ 997085 w 6642881"/>
              <a:gd name="connsiteY42" fmla="*/ 751038 h 3487140"/>
              <a:gd name="connsiteX43" fmla="*/ 1009021 w 6642881"/>
              <a:gd name="connsiteY43" fmla="*/ 369436 h 3487140"/>
              <a:gd name="connsiteX44" fmla="*/ 1070694 w 6642881"/>
              <a:gd name="connsiteY44" fmla="*/ 155805 h 3487140"/>
              <a:gd name="connsiteX45" fmla="*/ 1272058 w 6642881"/>
              <a:gd name="connsiteY45" fmla="*/ 156761 h 3487140"/>
              <a:gd name="connsiteX46" fmla="*/ 1524989 w 6642881"/>
              <a:gd name="connsiteY46" fmla="*/ 245175 h 3487140"/>
              <a:gd name="connsiteX47" fmla="*/ 1694081 w 6642881"/>
              <a:gd name="connsiteY47" fmla="*/ 357792 h 3487140"/>
              <a:gd name="connsiteX48" fmla="*/ 1798672 w 6642881"/>
              <a:gd name="connsiteY48" fmla="*/ 483301 h 3487140"/>
              <a:gd name="connsiteX49" fmla="*/ 1822876 w 6642881"/>
              <a:gd name="connsiteY49" fmla="*/ 600951 h 3487140"/>
              <a:gd name="connsiteX50" fmla="*/ 1795345 w 6642881"/>
              <a:gd name="connsiteY50" fmla="*/ 761726 h 3487140"/>
              <a:gd name="connsiteX51" fmla="*/ 1967266 w 6642881"/>
              <a:gd name="connsiteY51" fmla="*/ 1160004 h 3487140"/>
              <a:gd name="connsiteX52" fmla="*/ 2390246 w 6642881"/>
              <a:gd name="connsiteY52" fmla="*/ 1793622 h 3487140"/>
              <a:gd name="connsiteX53" fmla="*/ 2807737 w 6642881"/>
              <a:gd name="connsiteY53" fmla="*/ 2087475 h 3487140"/>
              <a:gd name="connsiteX54" fmla="*/ 2917360 w 6642881"/>
              <a:gd name="connsiteY54" fmla="*/ 2185620 h 3487140"/>
              <a:gd name="connsiteX55" fmla="*/ 2804411 w 6642881"/>
              <a:gd name="connsiteY55" fmla="*/ 2468120 h 3487140"/>
              <a:gd name="connsiteX56" fmla="*/ 2638312 w 6642881"/>
              <a:gd name="connsiteY56" fmla="*/ 2505548 h 3487140"/>
              <a:gd name="connsiteX57" fmla="*/ 2329862 w 6642881"/>
              <a:gd name="connsiteY57" fmla="*/ 2278109 h 3487140"/>
              <a:gd name="connsiteX58" fmla="*/ 1885173 w 6642881"/>
              <a:gd name="connsiteY58" fmla="*/ 1678800 h 3487140"/>
              <a:gd name="connsiteX59" fmla="*/ 1765320 w 6642881"/>
              <a:gd name="connsiteY59" fmla="*/ 1175432 h 3487140"/>
              <a:gd name="connsiteX60" fmla="*/ 1919774 w 6642881"/>
              <a:gd name="connsiteY60" fmla="*/ 1377420 h 3487140"/>
              <a:gd name="connsiteX61" fmla="*/ 2281414 w 6642881"/>
              <a:gd name="connsiteY61" fmla="*/ 2268710 h 3487140"/>
              <a:gd name="connsiteX62" fmla="*/ 2601216 w 6642881"/>
              <a:gd name="connsiteY62" fmla="*/ 2693105 h 3487140"/>
              <a:gd name="connsiteX63" fmla="*/ 2834644 w 6642881"/>
              <a:gd name="connsiteY63" fmla="*/ 2746586 h 3487140"/>
              <a:gd name="connsiteX64" fmla="*/ 3001865 w 6642881"/>
              <a:gd name="connsiteY64" fmla="*/ 2631432 h 3487140"/>
              <a:gd name="connsiteX65" fmla="*/ 3013052 w 6642881"/>
              <a:gd name="connsiteY65" fmla="*/ 2436680 h 3487140"/>
              <a:gd name="connsiteX66" fmla="*/ 2859222 w 6642881"/>
              <a:gd name="connsiteY66" fmla="*/ 2309258 h 3487140"/>
              <a:gd name="connsiteX67" fmla="*/ 2652036 w 6642881"/>
              <a:gd name="connsiteY67" fmla="*/ 2375007 h 3487140"/>
              <a:gd name="connsiteX68" fmla="*/ 2629537 w 6642881"/>
              <a:gd name="connsiteY68" fmla="*/ 2581402 h 3487140"/>
              <a:gd name="connsiteX69" fmla="*/ 2772222 w 6642881"/>
              <a:gd name="connsiteY69" fmla="*/ 2671064 h 3487140"/>
              <a:gd name="connsiteX70" fmla="*/ 2868787 w 6642881"/>
              <a:gd name="connsiteY70" fmla="*/ 2596831 h 3487140"/>
              <a:gd name="connsiteX71" fmla="*/ 2835601 w 6642881"/>
              <a:gd name="connsiteY71" fmla="*/ 2530750 h 3487140"/>
              <a:gd name="connsiteX72" fmla="*/ 2713543 w 6642881"/>
              <a:gd name="connsiteY72" fmla="*/ 2615379 h 3487140"/>
              <a:gd name="connsiteX73" fmla="*/ 2567864 w 6642881"/>
              <a:gd name="connsiteY73" fmla="*/ 2907028 h 3487140"/>
              <a:gd name="connsiteX74" fmla="*/ 2520039 w 6642881"/>
              <a:gd name="connsiteY74" fmla="*/ 3008333 h 3487140"/>
              <a:gd name="connsiteX75" fmla="*/ 2484191 w 6642881"/>
              <a:gd name="connsiteY75" fmla="*/ 3024053 h 3487140"/>
              <a:gd name="connsiteX76" fmla="*/ 2389165 w 6642881"/>
              <a:gd name="connsiteY76" fmla="*/ 3013989 h 3487140"/>
              <a:gd name="connsiteX77" fmla="*/ 2396068 w 6642881"/>
              <a:gd name="connsiteY77" fmla="*/ 2956724 h 3487140"/>
              <a:gd name="connsiteX78" fmla="*/ 2584831 w 6642881"/>
              <a:gd name="connsiteY78" fmla="*/ 2951068 h 3487140"/>
              <a:gd name="connsiteX79" fmla="*/ 2671041 w 6642881"/>
              <a:gd name="connsiteY79" fmla="*/ 2951068 h 3487140"/>
              <a:gd name="connsiteX80" fmla="*/ 2752219 w 6642881"/>
              <a:gd name="connsiteY80" fmla="*/ 2822066 h 3487140"/>
              <a:gd name="connsiteX81" fmla="*/ 2892533 w 6642881"/>
              <a:gd name="connsiteY81" fmla="*/ 2789337 h 3487140"/>
              <a:gd name="connsiteX82" fmla="*/ 3020246 w 6642881"/>
              <a:gd name="connsiteY82" fmla="*/ 2713815 h 3487140"/>
              <a:gd name="connsiteX83" fmla="*/ 3106456 w 6642881"/>
              <a:gd name="connsiteY83" fmla="*/ 2544556 h 3487140"/>
              <a:gd name="connsiteX84" fmla="*/ 3326035 w 6642881"/>
              <a:gd name="connsiteY84" fmla="*/ 2482883 h 3487140"/>
              <a:gd name="connsiteX85" fmla="*/ 3861009 w 6642881"/>
              <a:gd name="connsiteY85" fmla="*/ 2466831 h 3487140"/>
              <a:gd name="connsiteX86" fmla="*/ 4016751 w 6642881"/>
              <a:gd name="connsiteY86" fmla="*/ 2420918 h 3487140"/>
              <a:gd name="connsiteX87" fmla="*/ 3866664 w 6642881"/>
              <a:gd name="connsiteY87" fmla="*/ 2252907 h 3487140"/>
              <a:gd name="connsiteX88" fmla="*/ 3391285 w 6642881"/>
              <a:gd name="connsiteY88" fmla="*/ 1791709 h 3487140"/>
              <a:gd name="connsiteX89" fmla="*/ 3127166 w 6642881"/>
              <a:gd name="connsiteY89" fmla="*/ 1600118 h 3487140"/>
              <a:gd name="connsiteX90" fmla="*/ 3003196 w 6642881"/>
              <a:gd name="connsiteY90" fmla="*/ 1733529 h 3487140"/>
              <a:gd name="connsiteX91" fmla="*/ 2940898 w 6642881"/>
              <a:gd name="connsiteY91" fmla="*/ 1995900 h 3487140"/>
              <a:gd name="connsiteX92" fmla="*/ 2981778 w 6642881"/>
              <a:gd name="connsiteY92" fmla="*/ 2048133 h 3487140"/>
              <a:gd name="connsiteX93" fmla="*/ 3044699 w 6642881"/>
              <a:gd name="connsiteY93" fmla="*/ 1778817 h 3487140"/>
              <a:gd name="connsiteX94" fmla="*/ 3166466 w 6642881"/>
              <a:gd name="connsiteY94" fmla="*/ 1356918 h 3487140"/>
              <a:gd name="connsiteX95" fmla="*/ 3272803 w 6642881"/>
              <a:gd name="connsiteY95" fmla="*/ 986960 h 3487140"/>
              <a:gd name="connsiteX96" fmla="*/ 3243526 w 6642881"/>
              <a:gd name="connsiteY96" fmla="*/ 867107 h 3487140"/>
              <a:gd name="connsiteX97" fmla="*/ 3068612 w 6642881"/>
              <a:gd name="connsiteY97" fmla="*/ 840034 h 3487140"/>
              <a:gd name="connsiteX98" fmla="*/ 2924513 w 6642881"/>
              <a:gd name="connsiteY98" fmla="*/ 782769 h 3487140"/>
              <a:gd name="connsiteX99" fmla="*/ 2940857 w 6642881"/>
              <a:gd name="connsiteY99" fmla="*/ 714816 h 3487140"/>
              <a:gd name="connsiteX100" fmla="*/ 3114524 w 6642881"/>
              <a:gd name="connsiteY100" fmla="*/ 723008 h 3487140"/>
              <a:gd name="connsiteX101" fmla="*/ 3317135 w 6642881"/>
              <a:gd name="connsiteY101" fmla="*/ 729288 h 3487140"/>
              <a:gd name="connsiteX102" fmla="*/ 3483857 w 6642881"/>
              <a:gd name="connsiteY102" fmla="*/ 682087 h 3487140"/>
              <a:gd name="connsiteX103" fmla="*/ 3601506 w 6642881"/>
              <a:gd name="connsiteY103" fmla="*/ 703463 h 3487140"/>
              <a:gd name="connsiteX104" fmla="*/ 3624171 w 6642881"/>
              <a:gd name="connsiteY104" fmla="*/ 797199 h 3487140"/>
              <a:gd name="connsiteX105" fmla="*/ 3496458 w 6642881"/>
              <a:gd name="connsiteY105" fmla="*/ 890936 h 3487140"/>
              <a:gd name="connsiteX106" fmla="*/ 3326575 w 6642881"/>
              <a:gd name="connsiteY106" fmla="*/ 918009 h 3487140"/>
              <a:gd name="connsiteX107" fmla="*/ 3198862 w 6642881"/>
              <a:gd name="connsiteY107" fmla="*/ 1002306 h 3487140"/>
              <a:gd name="connsiteX108" fmla="*/ 3097972 w 6642881"/>
              <a:gd name="connsiteY108" fmla="*/ 1299902 h 3487140"/>
              <a:gd name="connsiteX109" fmla="*/ 3159022 w 6642881"/>
              <a:gd name="connsiteY109" fmla="*/ 1545930 h 3487140"/>
              <a:gd name="connsiteX110" fmla="*/ 3371697 w 6642881"/>
              <a:gd name="connsiteY110" fmla="*/ 1536490 h 3487140"/>
              <a:gd name="connsiteX111" fmla="*/ 3551228 w 6642881"/>
              <a:gd name="connsiteY111" fmla="*/ 1376048 h 3487140"/>
              <a:gd name="connsiteX112" fmla="*/ 3554389 w 6642881"/>
              <a:gd name="connsiteY112" fmla="*/ 1231949 h 3487140"/>
              <a:gd name="connsiteX113" fmla="*/ 3336348 w 6642881"/>
              <a:gd name="connsiteY113" fmla="*/ 1191693 h 3487140"/>
              <a:gd name="connsiteX114" fmla="*/ 3344832 w 6642881"/>
              <a:gd name="connsiteY114" fmla="*/ 1255238 h 3487140"/>
              <a:gd name="connsiteX115" fmla="*/ 3769850 w 6642881"/>
              <a:gd name="connsiteY115" fmla="*/ 1241722 h 3487140"/>
              <a:gd name="connsiteX116" fmla="*/ 4254670 w 6642881"/>
              <a:gd name="connsiteY116" fmla="*/ 1259646 h 3487140"/>
              <a:gd name="connsiteX117" fmla="*/ 4484022 w 6642881"/>
              <a:gd name="connsiteY117" fmla="*/ 1236981 h 3487140"/>
              <a:gd name="connsiteX118" fmla="*/ 4465766 w 6642881"/>
              <a:gd name="connsiteY118" fmla="*/ 1185995 h 3487140"/>
              <a:gd name="connsiteX119" fmla="*/ 4105248 w 6642881"/>
              <a:gd name="connsiteY119" fmla="*/ 1177512 h 3487140"/>
              <a:gd name="connsiteX120" fmla="*/ 3734668 w 6642881"/>
              <a:gd name="connsiteY120" fmla="*/ 1331342 h 3487140"/>
              <a:gd name="connsiteX121" fmla="*/ 3388914 w 6642881"/>
              <a:gd name="connsiteY121" fmla="*/ 1604110 h 3487140"/>
              <a:gd name="connsiteX122" fmla="*/ 3156111 w 6642881"/>
              <a:gd name="connsiteY122" fmla="*/ 1921252 h 3487140"/>
              <a:gd name="connsiteX123" fmla="*/ 3060461 w 6642881"/>
              <a:gd name="connsiteY123" fmla="*/ 2419255 h 3487140"/>
              <a:gd name="connsiteX124" fmla="*/ 3290769 w 6642881"/>
              <a:gd name="connsiteY124" fmla="*/ 3048465 h 3487140"/>
              <a:gd name="connsiteX125" fmla="*/ 3868994 w 6642881"/>
              <a:gd name="connsiteY125" fmla="*/ 3394510 h 3487140"/>
              <a:gd name="connsiteX126" fmla="*/ 4507643 w 6642881"/>
              <a:gd name="connsiteY126" fmla="*/ 3330632 h 3487140"/>
              <a:gd name="connsiteX127" fmla="*/ 5002818 w 6642881"/>
              <a:gd name="connsiteY127" fmla="*/ 2841404 h 3487140"/>
              <a:gd name="connsiteX128" fmla="*/ 5036171 w 6642881"/>
              <a:gd name="connsiteY128" fmla="*/ 2052999 h 3487140"/>
              <a:gd name="connsiteX129" fmla="*/ 4605164 w 6642881"/>
              <a:gd name="connsiteY129" fmla="*/ 1482011 h 3487140"/>
              <a:gd name="connsiteX130" fmla="*/ 4138310 w 6642881"/>
              <a:gd name="connsiteY130" fmla="*/ 1352717 h 3487140"/>
              <a:gd name="connsiteX131" fmla="*/ 3977868 w 6642881"/>
              <a:gd name="connsiteY131" fmla="*/ 1466624 h 3487140"/>
              <a:gd name="connsiteX132" fmla="*/ 3999909 w 6642881"/>
              <a:gd name="connsiteY132" fmla="*/ 2001140 h 3487140"/>
              <a:gd name="connsiteX133" fmla="*/ 4033885 w 6642881"/>
              <a:gd name="connsiteY133" fmla="*/ 2313208 h 3487140"/>
              <a:gd name="connsiteX134" fmla="*/ 4125585 w 6642881"/>
              <a:gd name="connsiteY134" fmla="*/ 2399085 h 3487140"/>
              <a:gd name="connsiteX135" fmla="*/ 4230051 w 6642881"/>
              <a:gd name="connsiteY135" fmla="*/ 2362905 h 3487140"/>
              <a:gd name="connsiteX136" fmla="*/ 4194660 w 6642881"/>
              <a:gd name="connsiteY136" fmla="*/ 2271372 h 3487140"/>
              <a:gd name="connsiteX137" fmla="*/ 4097056 w 6642881"/>
              <a:gd name="connsiteY137" fmla="*/ 2303394 h 3487140"/>
              <a:gd name="connsiteX138" fmla="*/ 4080670 w 6642881"/>
              <a:gd name="connsiteY138" fmla="*/ 2437262 h 3487140"/>
              <a:gd name="connsiteX139" fmla="*/ 4079589 w 6642881"/>
              <a:gd name="connsiteY139" fmla="*/ 2519521 h 3487140"/>
              <a:gd name="connsiteX140" fmla="*/ 3900475 w 6642881"/>
              <a:gd name="connsiteY140" fmla="*/ 2539400 h 3487140"/>
              <a:gd name="connsiteX141" fmla="*/ 3490220 w 6642881"/>
              <a:gd name="connsiteY141" fmla="*/ 2545679 h 3487140"/>
              <a:gd name="connsiteX142" fmla="*/ 3249848 w 6642881"/>
              <a:gd name="connsiteY142" fmla="*/ 2602944 h 3487140"/>
              <a:gd name="connsiteX143" fmla="*/ 3240241 w 6642881"/>
              <a:gd name="connsiteY143" fmla="*/ 2790460 h 3487140"/>
              <a:gd name="connsiteX144" fmla="*/ 3433578 w 6642881"/>
              <a:gd name="connsiteY144" fmla="*/ 3133385 h 3487140"/>
              <a:gd name="connsiteX145" fmla="*/ 3925468 w 6642881"/>
              <a:gd name="connsiteY145" fmla="*/ 3465290 h 3487140"/>
              <a:gd name="connsiteX146" fmla="*/ 4666214 w 6642881"/>
              <a:gd name="connsiteY146" fmla="*/ 3390434 h 3487140"/>
              <a:gd name="connsiteX147" fmla="*/ 5106037 w 6642881"/>
              <a:gd name="connsiteY147" fmla="*/ 3017940 h 3487140"/>
              <a:gd name="connsiteX148" fmla="*/ 5420018 w 6642881"/>
              <a:gd name="connsiteY148" fmla="*/ 2655510 h 3487140"/>
              <a:gd name="connsiteX149" fmla="*/ 5792512 w 6642881"/>
              <a:gd name="connsiteY149" fmla="*/ 3163577 h 3487140"/>
              <a:gd name="connsiteX150" fmla="*/ 6016499 w 6642881"/>
              <a:gd name="connsiteY150" fmla="*/ 3255443 h 3487140"/>
              <a:gd name="connsiteX151" fmla="*/ 6094516 w 6642881"/>
              <a:gd name="connsiteY151" fmla="*/ 2786675 h 3487140"/>
              <a:gd name="connsiteX152" fmla="*/ 6404089 w 6642881"/>
              <a:gd name="connsiteY152" fmla="*/ 2869724 h 3487140"/>
              <a:gd name="connsiteX153" fmla="*/ 6642881 w 6642881"/>
              <a:gd name="connsiteY153" fmla="*/ 3245046 h 3487140"/>
              <a:gd name="connsiteX0" fmla="*/ 777215 w 6404089"/>
              <a:gd name="connsiteY0" fmla="*/ 3295741 h 3487140"/>
              <a:gd name="connsiteX1" fmla="*/ 526113 w 6404089"/>
              <a:gd name="connsiteY1" fmla="*/ 3112384 h 3487140"/>
              <a:gd name="connsiteX2" fmla="*/ 219950 w 6404089"/>
              <a:gd name="connsiteY2" fmla="*/ 2750287 h 3487140"/>
              <a:gd name="connsiteX3" fmla="*/ 128418 w 6404089"/>
              <a:gd name="connsiteY3" fmla="*/ 2305432 h 3487140"/>
              <a:gd name="connsiteX4" fmla="*/ 256006 w 6404089"/>
              <a:gd name="connsiteY4" fmla="*/ 1919713 h 3487140"/>
              <a:gd name="connsiteX5" fmla="*/ 580218 w 6404089"/>
              <a:gd name="connsiteY5" fmla="*/ 1637837 h 3487140"/>
              <a:gd name="connsiteX6" fmla="*/ 1073522 w 6404089"/>
              <a:gd name="connsiteY6" fmla="*/ 1545972 h 3487140"/>
              <a:gd name="connsiteX7" fmla="*/ 1308197 w 6404089"/>
              <a:gd name="connsiteY7" fmla="*/ 1517651 h 3487140"/>
              <a:gd name="connsiteX8" fmla="*/ 1292934 w 6404089"/>
              <a:gd name="connsiteY8" fmla="*/ 1460718 h 3487140"/>
              <a:gd name="connsiteX9" fmla="*/ 1016880 w 6404089"/>
              <a:gd name="connsiteY9" fmla="*/ 1416969 h 3487140"/>
              <a:gd name="connsiteX10" fmla="*/ 497460 w 6404089"/>
              <a:gd name="connsiteY10" fmla="*/ 1517318 h 3487140"/>
              <a:gd name="connsiteX11" fmla="*/ 88162 w 6404089"/>
              <a:gd name="connsiteY11" fmla="*/ 1960593 h 3487140"/>
              <a:gd name="connsiteX12" fmla="*/ 28692 w 6404089"/>
              <a:gd name="connsiteY12" fmla="*/ 2569342 h 3487140"/>
              <a:gd name="connsiteX13" fmla="*/ 442399 w 6404089"/>
              <a:gd name="connsiteY13" fmla="*/ 3165532 h 3487140"/>
              <a:gd name="connsiteX14" fmla="*/ 1232384 w 6404089"/>
              <a:gd name="connsiteY14" fmla="*/ 3283181 h 3487140"/>
              <a:gd name="connsiteX15" fmla="*/ 1835020 w 6404089"/>
              <a:gd name="connsiteY15" fmla="*/ 2757481 h 3487140"/>
              <a:gd name="connsiteX16" fmla="*/ 1824789 w 6404089"/>
              <a:gd name="connsiteY16" fmla="*/ 1980430 h 3487140"/>
              <a:gd name="connsiteX17" fmla="*/ 1494755 w 6404089"/>
              <a:gd name="connsiteY17" fmla="*/ 1589139 h 3487140"/>
              <a:gd name="connsiteX18" fmla="*/ 1305701 w 6404089"/>
              <a:gd name="connsiteY18" fmla="*/ 1660710 h 3487140"/>
              <a:gd name="connsiteX19" fmla="*/ 1197284 w 6404089"/>
              <a:gd name="connsiteY19" fmla="*/ 2116627 h 3487140"/>
              <a:gd name="connsiteX20" fmla="*/ 973921 w 6404089"/>
              <a:gd name="connsiteY20" fmla="*/ 2374258 h 3487140"/>
              <a:gd name="connsiteX21" fmla="*/ 918985 w 6404089"/>
              <a:gd name="connsiteY21" fmla="*/ 2276986 h 3487140"/>
              <a:gd name="connsiteX22" fmla="*/ 1298257 w 6404089"/>
              <a:gd name="connsiteY22" fmla="*/ 2021601 h 3487140"/>
              <a:gd name="connsiteX23" fmla="*/ 1558176 w 6404089"/>
              <a:gd name="connsiteY23" fmla="*/ 1234153 h 3487140"/>
              <a:gd name="connsiteX24" fmla="*/ 1788276 w 6404089"/>
              <a:gd name="connsiteY24" fmla="*/ 725296 h 3487140"/>
              <a:gd name="connsiteX25" fmla="*/ 1896859 w 6404089"/>
              <a:gd name="connsiteY25" fmla="*/ 539984 h 3487140"/>
              <a:gd name="connsiteX26" fmla="*/ 1865711 w 6404089"/>
              <a:gd name="connsiteY26" fmla="*/ 435851 h 3487140"/>
              <a:gd name="connsiteX27" fmla="*/ 1759373 w 6404089"/>
              <a:gd name="connsiteY27" fmla="*/ 350265 h 3487140"/>
              <a:gd name="connsiteX28" fmla="*/ 1714085 w 6404089"/>
              <a:gd name="connsiteY28" fmla="*/ 209327 h 3487140"/>
              <a:gd name="connsiteX29" fmla="*/ 1758915 w 6404089"/>
              <a:gd name="connsiteY29" fmla="*/ 82237 h 3487140"/>
              <a:gd name="connsiteX30" fmla="*/ 1939195 w 6404089"/>
              <a:gd name="connsiteY30" fmla="*/ 6716 h 3487140"/>
              <a:gd name="connsiteX31" fmla="*/ 2207888 w 6404089"/>
              <a:gd name="connsiteY31" fmla="*/ 10167 h 3487140"/>
              <a:gd name="connsiteX32" fmla="*/ 2291561 w 6404089"/>
              <a:gd name="connsiteY32" fmla="*/ 49800 h 3487140"/>
              <a:gd name="connsiteX33" fmla="*/ 2244526 w 6404089"/>
              <a:gd name="connsiteY33" fmla="*/ 86812 h 3487140"/>
              <a:gd name="connsiteX34" fmla="*/ 2008603 w 6404089"/>
              <a:gd name="connsiteY34" fmla="*/ 91886 h 3487140"/>
              <a:gd name="connsiteX35" fmla="*/ 1765070 w 6404089"/>
              <a:gd name="connsiteY35" fmla="*/ 75833 h 3487140"/>
              <a:gd name="connsiteX36" fmla="*/ 1657319 w 6404089"/>
              <a:gd name="connsiteY36" fmla="*/ 176931 h 3487140"/>
              <a:gd name="connsiteX37" fmla="*/ 1672581 w 6404089"/>
              <a:gd name="connsiteY37" fmla="*/ 370393 h 3487140"/>
              <a:gd name="connsiteX38" fmla="*/ 1617354 w 6404089"/>
              <a:gd name="connsiteY38" fmla="*/ 589348 h 3487140"/>
              <a:gd name="connsiteX39" fmla="*/ 1460820 w 6404089"/>
              <a:gd name="connsiteY39" fmla="*/ 903953 h 3487140"/>
              <a:gd name="connsiteX40" fmla="*/ 1250349 w 6404089"/>
              <a:gd name="connsiteY40" fmla="*/ 922501 h 3487140"/>
              <a:gd name="connsiteX41" fmla="*/ 1055930 w 6404089"/>
              <a:gd name="connsiteY41" fmla="*/ 866816 h 3487140"/>
              <a:gd name="connsiteX42" fmla="*/ 997085 w 6404089"/>
              <a:gd name="connsiteY42" fmla="*/ 751038 h 3487140"/>
              <a:gd name="connsiteX43" fmla="*/ 1009021 w 6404089"/>
              <a:gd name="connsiteY43" fmla="*/ 369436 h 3487140"/>
              <a:gd name="connsiteX44" fmla="*/ 1070694 w 6404089"/>
              <a:gd name="connsiteY44" fmla="*/ 155805 h 3487140"/>
              <a:gd name="connsiteX45" fmla="*/ 1272058 w 6404089"/>
              <a:gd name="connsiteY45" fmla="*/ 156761 h 3487140"/>
              <a:gd name="connsiteX46" fmla="*/ 1524989 w 6404089"/>
              <a:gd name="connsiteY46" fmla="*/ 245175 h 3487140"/>
              <a:gd name="connsiteX47" fmla="*/ 1694081 w 6404089"/>
              <a:gd name="connsiteY47" fmla="*/ 357792 h 3487140"/>
              <a:gd name="connsiteX48" fmla="*/ 1798672 w 6404089"/>
              <a:gd name="connsiteY48" fmla="*/ 483301 h 3487140"/>
              <a:gd name="connsiteX49" fmla="*/ 1822876 w 6404089"/>
              <a:gd name="connsiteY49" fmla="*/ 600951 h 3487140"/>
              <a:gd name="connsiteX50" fmla="*/ 1795345 w 6404089"/>
              <a:gd name="connsiteY50" fmla="*/ 761726 h 3487140"/>
              <a:gd name="connsiteX51" fmla="*/ 1967266 w 6404089"/>
              <a:gd name="connsiteY51" fmla="*/ 1160004 h 3487140"/>
              <a:gd name="connsiteX52" fmla="*/ 2390246 w 6404089"/>
              <a:gd name="connsiteY52" fmla="*/ 1793622 h 3487140"/>
              <a:gd name="connsiteX53" fmla="*/ 2807737 w 6404089"/>
              <a:gd name="connsiteY53" fmla="*/ 2087475 h 3487140"/>
              <a:gd name="connsiteX54" fmla="*/ 2917360 w 6404089"/>
              <a:gd name="connsiteY54" fmla="*/ 2185620 h 3487140"/>
              <a:gd name="connsiteX55" fmla="*/ 2804411 w 6404089"/>
              <a:gd name="connsiteY55" fmla="*/ 2468120 h 3487140"/>
              <a:gd name="connsiteX56" fmla="*/ 2638312 w 6404089"/>
              <a:gd name="connsiteY56" fmla="*/ 2505548 h 3487140"/>
              <a:gd name="connsiteX57" fmla="*/ 2329862 w 6404089"/>
              <a:gd name="connsiteY57" fmla="*/ 2278109 h 3487140"/>
              <a:gd name="connsiteX58" fmla="*/ 1885173 w 6404089"/>
              <a:gd name="connsiteY58" fmla="*/ 1678800 h 3487140"/>
              <a:gd name="connsiteX59" fmla="*/ 1765320 w 6404089"/>
              <a:gd name="connsiteY59" fmla="*/ 1175432 h 3487140"/>
              <a:gd name="connsiteX60" fmla="*/ 1919774 w 6404089"/>
              <a:gd name="connsiteY60" fmla="*/ 1377420 h 3487140"/>
              <a:gd name="connsiteX61" fmla="*/ 2281414 w 6404089"/>
              <a:gd name="connsiteY61" fmla="*/ 2268710 h 3487140"/>
              <a:gd name="connsiteX62" fmla="*/ 2601216 w 6404089"/>
              <a:gd name="connsiteY62" fmla="*/ 2693105 h 3487140"/>
              <a:gd name="connsiteX63" fmla="*/ 2834644 w 6404089"/>
              <a:gd name="connsiteY63" fmla="*/ 2746586 h 3487140"/>
              <a:gd name="connsiteX64" fmla="*/ 3001865 w 6404089"/>
              <a:gd name="connsiteY64" fmla="*/ 2631432 h 3487140"/>
              <a:gd name="connsiteX65" fmla="*/ 3013052 w 6404089"/>
              <a:gd name="connsiteY65" fmla="*/ 2436680 h 3487140"/>
              <a:gd name="connsiteX66" fmla="*/ 2859222 w 6404089"/>
              <a:gd name="connsiteY66" fmla="*/ 2309258 h 3487140"/>
              <a:gd name="connsiteX67" fmla="*/ 2652036 w 6404089"/>
              <a:gd name="connsiteY67" fmla="*/ 2375007 h 3487140"/>
              <a:gd name="connsiteX68" fmla="*/ 2629537 w 6404089"/>
              <a:gd name="connsiteY68" fmla="*/ 2581402 h 3487140"/>
              <a:gd name="connsiteX69" fmla="*/ 2772222 w 6404089"/>
              <a:gd name="connsiteY69" fmla="*/ 2671064 h 3487140"/>
              <a:gd name="connsiteX70" fmla="*/ 2868787 w 6404089"/>
              <a:gd name="connsiteY70" fmla="*/ 2596831 h 3487140"/>
              <a:gd name="connsiteX71" fmla="*/ 2835601 w 6404089"/>
              <a:gd name="connsiteY71" fmla="*/ 2530750 h 3487140"/>
              <a:gd name="connsiteX72" fmla="*/ 2713543 w 6404089"/>
              <a:gd name="connsiteY72" fmla="*/ 2615379 h 3487140"/>
              <a:gd name="connsiteX73" fmla="*/ 2567864 w 6404089"/>
              <a:gd name="connsiteY73" fmla="*/ 2907028 h 3487140"/>
              <a:gd name="connsiteX74" fmla="*/ 2520039 w 6404089"/>
              <a:gd name="connsiteY74" fmla="*/ 3008333 h 3487140"/>
              <a:gd name="connsiteX75" fmla="*/ 2484191 w 6404089"/>
              <a:gd name="connsiteY75" fmla="*/ 3024053 h 3487140"/>
              <a:gd name="connsiteX76" fmla="*/ 2389165 w 6404089"/>
              <a:gd name="connsiteY76" fmla="*/ 3013989 h 3487140"/>
              <a:gd name="connsiteX77" fmla="*/ 2396068 w 6404089"/>
              <a:gd name="connsiteY77" fmla="*/ 2956724 h 3487140"/>
              <a:gd name="connsiteX78" fmla="*/ 2584831 w 6404089"/>
              <a:gd name="connsiteY78" fmla="*/ 2951068 h 3487140"/>
              <a:gd name="connsiteX79" fmla="*/ 2671041 w 6404089"/>
              <a:gd name="connsiteY79" fmla="*/ 2951068 h 3487140"/>
              <a:gd name="connsiteX80" fmla="*/ 2752219 w 6404089"/>
              <a:gd name="connsiteY80" fmla="*/ 2822066 h 3487140"/>
              <a:gd name="connsiteX81" fmla="*/ 2892533 w 6404089"/>
              <a:gd name="connsiteY81" fmla="*/ 2789337 h 3487140"/>
              <a:gd name="connsiteX82" fmla="*/ 3020246 w 6404089"/>
              <a:gd name="connsiteY82" fmla="*/ 2713815 h 3487140"/>
              <a:gd name="connsiteX83" fmla="*/ 3106456 w 6404089"/>
              <a:gd name="connsiteY83" fmla="*/ 2544556 h 3487140"/>
              <a:gd name="connsiteX84" fmla="*/ 3326035 w 6404089"/>
              <a:gd name="connsiteY84" fmla="*/ 2482883 h 3487140"/>
              <a:gd name="connsiteX85" fmla="*/ 3861009 w 6404089"/>
              <a:gd name="connsiteY85" fmla="*/ 2466831 h 3487140"/>
              <a:gd name="connsiteX86" fmla="*/ 4016751 w 6404089"/>
              <a:gd name="connsiteY86" fmla="*/ 2420918 h 3487140"/>
              <a:gd name="connsiteX87" fmla="*/ 3866664 w 6404089"/>
              <a:gd name="connsiteY87" fmla="*/ 2252907 h 3487140"/>
              <a:gd name="connsiteX88" fmla="*/ 3391285 w 6404089"/>
              <a:gd name="connsiteY88" fmla="*/ 1791709 h 3487140"/>
              <a:gd name="connsiteX89" fmla="*/ 3127166 w 6404089"/>
              <a:gd name="connsiteY89" fmla="*/ 1600118 h 3487140"/>
              <a:gd name="connsiteX90" fmla="*/ 3003196 w 6404089"/>
              <a:gd name="connsiteY90" fmla="*/ 1733529 h 3487140"/>
              <a:gd name="connsiteX91" fmla="*/ 2940898 w 6404089"/>
              <a:gd name="connsiteY91" fmla="*/ 1995900 h 3487140"/>
              <a:gd name="connsiteX92" fmla="*/ 2981778 w 6404089"/>
              <a:gd name="connsiteY92" fmla="*/ 2048133 h 3487140"/>
              <a:gd name="connsiteX93" fmla="*/ 3044699 w 6404089"/>
              <a:gd name="connsiteY93" fmla="*/ 1778817 h 3487140"/>
              <a:gd name="connsiteX94" fmla="*/ 3166466 w 6404089"/>
              <a:gd name="connsiteY94" fmla="*/ 1356918 h 3487140"/>
              <a:gd name="connsiteX95" fmla="*/ 3272803 w 6404089"/>
              <a:gd name="connsiteY95" fmla="*/ 986960 h 3487140"/>
              <a:gd name="connsiteX96" fmla="*/ 3243526 w 6404089"/>
              <a:gd name="connsiteY96" fmla="*/ 867107 h 3487140"/>
              <a:gd name="connsiteX97" fmla="*/ 3068612 w 6404089"/>
              <a:gd name="connsiteY97" fmla="*/ 840034 h 3487140"/>
              <a:gd name="connsiteX98" fmla="*/ 2924513 w 6404089"/>
              <a:gd name="connsiteY98" fmla="*/ 782769 h 3487140"/>
              <a:gd name="connsiteX99" fmla="*/ 2940857 w 6404089"/>
              <a:gd name="connsiteY99" fmla="*/ 714816 h 3487140"/>
              <a:gd name="connsiteX100" fmla="*/ 3114524 w 6404089"/>
              <a:gd name="connsiteY100" fmla="*/ 723008 h 3487140"/>
              <a:gd name="connsiteX101" fmla="*/ 3317135 w 6404089"/>
              <a:gd name="connsiteY101" fmla="*/ 729288 h 3487140"/>
              <a:gd name="connsiteX102" fmla="*/ 3483857 w 6404089"/>
              <a:gd name="connsiteY102" fmla="*/ 682087 h 3487140"/>
              <a:gd name="connsiteX103" fmla="*/ 3601506 w 6404089"/>
              <a:gd name="connsiteY103" fmla="*/ 703463 h 3487140"/>
              <a:gd name="connsiteX104" fmla="*/ 3624171 w 6404089"/>
              <a:gd name="connsiteY104" fmla="*/ 797199 h 3487140"/>
              <a:gd name="connsiteX105" fmla="*/ 3496458 w 6404089"/>
              <a:gd name="connsiteY105" fmla="*/ 890936 h 3487140"/>
              <a:gd name="connsiteX106" fmla="*/ 3326575 w 6404089"/>
              <a:gd name="connsiteY106" fmla="*/ 918009 h 3487140"/>
              <a:gd name="connsiteX107" fmla="*/ 3198862 w 6404089"/>
              <a:gd name="connsiteY107" fmla="*/ 1002306 h 3487140"/>
              <a:gd name="connsiteX108" fmla="*/ 3097972 w 6404089"/>
              <a:gd name="connsiteY108" fmla="*/ 1299902 h 3487140"/>
              <a:gd name="connsiteX109" fmla="*/ 3159022 w 6404089"/>
              <a:gd name="connsiteY109" fmla="*/ 1545930 h 3487140"/>
              <a:gd name="connsiteX110" fmla="*/ 3371697 w 6404089"/>
              <a:gd name="connsiteY110" fmla="*/ 1536490 h 3487140"/>
              <a:gd name="connsiteX111" fmla="*/ 3551228 w 6404089"/>
              <a:gd name="connsiteY111" fmla="*/ 1376048 h 3487140"/>
              <a:gd name="connsiteX112" fmla="*/ 3554389 w 6404089"/>
              <a:gd name="connsiteY112" fmla="*/ 1231949 h 3487140"/>
              <a:gd name="connsiteX113" fmla="*/ 3336348 w 6404089"/>
              <a:gd name="connsiteY113" fmla="*/ 1191693 h 3487140"/>
              <a:gd name="connsiteX114" fmla="*/ 3344832 w 6404089"/>
              <a:gd name="connsiteY114" fmla="*/ 1255238 h 3487140"/>
              <a:gd name="connsiteX115" fmla="*/ 3769850 w 6404089"/>
              <a:gd name="connsiteY115" fmla="*/ 1241722 h 3487140"/>
              <a:gd name="connsiteX116" fmla="*/ 4254670 w 6404089"/>
              <a:gd name="connsiteY116" fmla="*/ 1259646 h 3487140"/>
              <a:gd name="connsiteX117" fmla="*/ 4484022 w 6404089"/>
              <a:gd name="connsiteY117" fmla="*/ 1236981 h 3487140"/>
              <a:gd name="connsiteX118" fmla="*/ 4465766 w 6404089"/>
              <a:gd name="connsiteY118" fmla="*/ 1185995 h 3487140"/>
              <a:gd name="connsiteX119" fmla="*/ 4105248 w 6404089"/>
              <a:gd name="connsiteY119" fmla="*/ 1177512 h 3487140"/>
              <a:gd name="connsiteX120" fmla="*/ 3734668 w 6404089"/>
              <a:gd name="connsiteY120" fmla="*/ 1331342 h 3487140"/>
              <a:gd name="connsiteX121" fmla="*/ 3388914 w 6404089"/>
              <a:gd name="connsiteY121" fmla="*/ 1604110 h 3487140"/>
              <a:gd name="connsiteX122" fmla="*/ 3156111 w 6404089"/>
              <a:gd name="connsiteY122" fmla="*/ 1921252 h 3487140"/>
              <a:gd name="connsiteX123" fmla="*/ 3060461 w 6404089"/>
              <a:gd name="connsiteY123" fmla="*/ 2419255 h 3487140"/>
              <a:gd name="connsiteX124" fmla="*/ 3290769 w 6404089"/>
              <a:gd name="connsiteY124" fmla="*/ 3048465 h 3487140"/>
              <a:gd name="connsiteX125" fmla="*/ 3868994 w 6404089"/>
              <a:gd name="connsiteY125" fmla="*/ 3394510 h 3487140"/>
              <a:gd name="connsiteX126" fmla="*/ 4507643 w 6404089"/>
              <a:gd name="connsiteY126" fmla="*/ 3330632 h 3487140"/>
              <a:gd name="connsiteX127" fmla="*/ 5002818 w 6404089"/>
              <a:gd name="connsiteY127" fmla="*/ 2841404 h 3487140"/>
              <a:gd name="connsiteX128" fmla="*/ 5036171 w 6404089"/>
              <a:gd name="connsiteY128" fmla="*/ 2052999 h 3487140"/>
              <a:gd name="connsiteX129" fmla="*/ 4605164 w 6404089"/>
              <a:gd name="connsiteY129" fmla="*/ 1482011 h 3487140"/>
              <a:gd name="connsiteX130" fmla="*/ 4138310 w 6404089"/>
              <a:gd name="connsiteY130" fmla="*/ 1352717 h 3487140"/>
              <a:gd name="connsiteX131" fmla="*/ 3977868 w 6404089"/>
              <a:gd name="connsiteY131" fmla="*/ 1466624 h 3487140"/>
              <a:gd name="connsiteX132" fmla="*/ 3999909 w 6404089"/>
              <a:gd name="connsiteY132" fmla="*/ 2001140 h 3487140"/>
              <a:gd name="connsiteX133" fmla="*/ 4033885 w 6404089"/>
              <a:gd name="connsiteY133" fmla="*/ 2313208 h 3487140"/>
              <a:gd name="connsiteX134" fmla="*/ 4125585 w 6404089"/>
              <a:gd name="connsiteY134" fmla="*/ 2399085 h 3487140"/>
              <a:gd name="connsiteX135" fmla="*/ 4230051 w 6404089"/>
              <a:gd name="connsiteY135" fmla="*/ 2362905 h 3487140"/>
              <a:gd name="connsiteX136" fmla="*/ 4194660 w 6404089"/>
              <a:gd name="connsiteY136" fmla="*/ 2271372 h 3487140"/>
              <a:gd name="connsiteX137" fmla="*/ 4097056 w 6404089"/>
              <a:gd name="connsiteY137" fmla="*/ 2303394 h 3487140"/>
              <a:gd name="connsiteX138" fmla="*/ 4080670 w 6404089"/>
              <a:gd name="connsiteY138" fmla="*/ 2437262 h 3487140"/>
              <a:gd name="connsiteX139" fmla="*/ 4079589 w 6404089"/>
              <a:gd name="connsiteY139" fmla="*/ 2519521 h 3487140"/>
              <a:gd name="connsiteX140" fmla="*/ 3900475 w 6404089"/>
              <a:gd name="connsiteY140" fmla="*/ 2539400 h 3487140"/>
              <a:gd name="connsiteX141" fmla="*/ 3490220 w 6404089"/>
              <a:gd name="connsiteY141" fmla="*/ 2545679 h 3487140"/>
              <a:gd name="connsiteX142" fmla="*/ 3249848 w 6404089"/>
              <a:gd name="connsiteY142" fmla="*/ 2602944 h 3487140"/>
              <a:gd name="connsiteX143" fmla="*/ 3240241 w 6404089"/>
              <a:gd name="connsiteY143" fmla="*/ 2790460 h 3487140"/>
              <a:gd name="connsiteX144" fmla="*/ 3433578 w 6404089"/>
              <a:gd name="connsiteY144" fmla="*/ 3133385 h 3487140"/>
              <a:gd name="connsiteX145" fmla="*/ 3925468 w 6404089"/>
              <a:gd name="connsiteY145" fmla="*/ 3465290 h 3487140"/>
              <a:gd name="connsiteX146" fmla="*/ 4666214 w 6404089"/>
              <a:gd name="connsiteY146" fmla="*/ 3390434 h 3487140"/>
              <a:gd name="connsiteX147" fmla="*/ 5106037 w 6404089"/>
              <a:gd name="connsiteY147" fmla="*/ 3017940 h 3487140"/>
              <a:gd name="connsiteX148" fmla="*/ 5420018 w 6404089"/>
              <a:gd name="connsiteY148" fmla="*/ 2655510 h 3487140"/>
              <a:gd name="connsiteX149" fmla="*/ 5792512 w 6404089"/>
              <a:gd name="connsiteY149" fmla="*/ 3163577 h 3487140"/>
              <a:gd name="connsiteX150" fmla="*/ 6016499 w 6404089"/>
              <a:gd name="connsiteY150" fmla="*/ 3255443 h 3487140"/>
              <a:gd name="connsiteX151" fmla="*/ 6094516 w 6404089"/>
              <a:gd name="connsiteY151" fmla="*/ 2786675 h 3487140"/>
              <a:gd name="connsiteX152" fmla="*/ 6404089 w 6404089"/>
              <a:gd name="connsiteY152" fmla="*/ 2869724 h 3487140"/>
              <a:gd name="connsiteX0" fmla="*/ 777215 w 6094516"/>
              <a:gd name="connsiteY0" fmla="*/ 3295741 h 3487140"/>
              <a:gd name="connsiteX1" fmla="*/ 526113 w 6094516"/>
              <a:gd name="connsiteY1" fmla="*/ 3112384 h 3487140"/>
              <a:gd name="connsiteX2" fmla="*/ 219950 w 6094516"/>
              <a:gd name="connsiteY2" fmla="*/ 2750287 h 3487140"/>
              <a:gd name="connsiteX3" fmla="*/ 128418 w 6094516"/>
              <a:gd name="connsiteY3" fmla="*/ 2305432 h 3487140"/>
              <a:gd name="connsiteX4" fmla="*/ 256006 w 6094516"/>
              <a:gd name="connsiteY4" fmla="*/ 1919713 h 3487140"/>
              <a:gd name="connsiteX5" fmla="*/ 580218 w 6094516"/>
              <a:gd name="connsiteY5" fmla="*/ 1637837 h 3487140"/>
              <a:gd name="connsiteX6" fmla="*/ 1073522 w 6094516"/>
              <a:gd name="connsiteY6" fmla="*/ 1545972 h 3487140"/>
              <a:gd name="connsiteX7" fmla="*/ 1308197 w 6094516"/>
              <a:gd name="connsiteY7" fmla="*/ 1517651 h 3487140"/>
              <a:gd name="connsiteX8" fmla="*/ 1292934 w 6094516"/>
              <a:gd name="connsiteY8" fmla="*/ 1460718 h 3487140"/>
              <a:gd name="connsiteX9" fmla="*/ 1016880 w 6094516"/>
              <a:gd name="connsiteY9" fmla="*/ 1416969 h 3487140"/>
              <a:gd name="connsiteX10" fmla="*/ 497460 w 6094516"/>
              <a:gd name="connsiteY10" fmla="*/ 1517318 h 3487140"/>
              <a:gd name="connsiteX11" fmla="*/ 88162 w 6094516"/>
              <a:gd name="connsiteY11" fmla="*/ 1960593 h 3487140"/>
              <a:gd name="connsiteX12" fmla="*/ 28692 w 6094516"/>
              <a:gd name="connsiteY12" fmla="*/ 2569342 h 3487140"/>
              <a:gd name="connsiteX13" fmla="*/ 442399 w 6094516"/>
              <a:gd name="connsiteY13" fmla="*/ 3165532 h 3487140"/>
              <a:gd name="connsiteX14" fmla="*/ 1232384 w 6094516"/>
              <a:gd name="connsiteY14" fmla="*/ 3283181 h 3487140"/>
              <a:gd name="connsiteX15" fmla="*/ 1835020 w 6094516"/>
              <a:gd name="connsiteY15" fmla="*/ 2757481 h 3487140"/>
              <a:gd name="connsiteX16" fmla="*/ 1824789 w 6094516"/>
              <a:gd name="connsiteY16" fmla="*/ 1980430 h 3487140"/>
              <a:gd name="connsiteX17" fmla="*/ 1494755 w 6094516"/>
              <a:gd name="connsiteY17" fmla="*/ 1589139 h 3487140"/>
              <a:gd name="connsiteX18" fmla="*/ 1305701 w 6094516"/>
              <a:gd name="connsiteY18" fmla="*/ 1660710 h 3487140"/>
              <a:gd name="connsiteX19" fmla="*/ 1197284 w 6094516"/>
              <a:gd name="connsiteY19" fmla="*/ 2116627 h 3487140"/>
              <a:gd name="connsiteX20" fmla="*/ 973921 w 6094516"/>
              <a:gd name="connsiteY20" fmla="*/ 2374258 h 3487140"/>
              <a:gd name="connsiteX21" fmla="*/ 918985 w 6094516"/>
              <a:gd name="connsiteY21" fmla="*/ 2276986 h 3487140"/>
              <a:gd name="connsiteX22" fmla="*/ 1298257 w 6094516"/>
              <a:gd name="connsiteY22" fmla="*/ 2021601 h 3487140"/>
              <a:gd name="connsiteX23" fmla="*/ 1558176 w 6094516"/>
              <a:gd name="connsiteY23" fmla="*/ 1234153 h 3487140"/>
              <a:gd name="connsiteX24" fmla="*/ 1788276 w 6094516"/>
              <a:gd name="connsiteY24" fmla="*/ 725296 h 3487140"/>
              <a:gd name="connsiteX25" fmla="*/ 1896859 w 6094516"/>
              <a:gd name="connsiteY25" fmla="*/ 539984 h 3487140"/>
              <a:gd name="connsiteX26" fmla="*/ 1865711 w 6094516"/>
              <a:gd name="connsiteY26" fmla="*/ 435851 h 3487140"/>
              <a:gd name="connsiteX27" fmla="*/ 1759373 w 6094516"/>
              <a:gd name="connsiteY27" fmla="*/ 350265 h 3487140"/>
              <a:gd name="connsiteX28" fmla="*/ 1714085 w 6094516"/>
              <a:gd name="connsiteY28" fmla="*/ 209327 h 3487140"/>
              <a:gd name="connsiteX29" fmla="*/ 1758915 w 6094516"/>
              <a:gd name="connsiteY29" fmla="*/ 82237 h 3487140"/>
              <a:gd name="connsiteX30" fmla="*/ 1939195 w 6094516"/>
              <a:gd name="connsiteY30" fmla="*/ 6716 h 3487140"/>
              <a:gd name="connsiteX31" fmla="*/ 2207888 w 6094516"/>
              <a:gd name="connsiteY31" fmla="*/ 10167 h 3487140"/>
              <a:gd name="connsiteX32" fmla="*/ 2291561 w 6094516"/>
              <a:gd name="connsiteY32" fmla="*/ 49800 h 3487140"/>
              <a:gd name="connsiteX33" fmla="*/ 2244526 w 6094516"/>
              <a:gd name="connsiteY33" fmla="*/ 86812 h 3487140"/>
              <a:gd name="connsiteX34" fmla="*/ 2008603 w 6094516"/>
              <a:gd name="connsiteY34" fmla="*/ 91886 h 3487140"/>
              <a:gd name="connsiteX35" fmla="*/ 1765070 w 6094516"/>
              <a:gd name="connsiteY35" fmla="*/ 75833 h 3487140"/>
              <a:gd name="connsiteX36" fmla="*/ 1657319 w 6094516"/>
              <a:gd name="connsiteY36" fmla="*/ 176931 h 3487140"/>
              <a:gd name="connsiteX37" fmla="*/ 1672581 w 6094516"/>
              <a:gd name="connsiteY37" fmla="*/ 370393 h 3487140"/>
              <a:gd name="connsiteX38" fmla="*/ 1617354 w 6094516"/>
              <a:gd name="connsiteY38" fmla="*/ 589348 h 3487140"/>
              <a:gd name="connsiteX39" fmla="*/ 1460820 w 6094516"/>
              <a:gd name="connsiteY39" fmla="*/ 903953 h 3487140"/>
              <a:gd name="connsiteX40" fmla="*/ 1250349 w 6094516"/>
              <a:gd name="connsiteY40" fmla="*/ 922501 h 3487140"/>
              <a:gd name="connsiteX41" fmla="*/ 1055930 w 6094516"/>
              <a:gd name="connsiteY41" fmla="*/ 866816 h 3487140"/>
              <a:gd name="connsiteX42" fmla="*/ 997085 w 6094516"/>
              <a:gd name="connsiteY42" fmla="*/ 751038 h 3487140"/>
              <a:gd name="connsiteX43" fmla="*/ 1009021 w 6094516"/>
              <a:gd name="connsiteY43" fmla="*/ 369436 h 3487140"/>
              <a:gd name="connsiteX44" fmla="*/ 1070694 w 6094516"/>
              <a:gd name="connsiteY44" fmla="*/ 155805 h 3487140"/>
              <a:gd name="connsiteX45" fmla="*/ 1272058 w 6094516"/>
              <a:gd name="connsiteY45" fmla="*/ 156761 h 3487140"/>
              <a:gd name="connsiteX46" fmla="*/ 1524989 w 6094516"/>
              <a:gd name="connsiteY46" fmla="*/ 245175 h 3487140"/>
              <a:gd name="connsiteX47" fmla="*/ 1694081 w 6094516"/>
              <a:gd name="connsiteY47" fmla="*/ 357792 h 3487140"/>
              <a:gd name="connsiteX48" fmla="*/ 1798672 w 6094516"/>
              <a:gd name="connsiteY48" fmla="*/ 483301 h 3487140"/>
              <a:gd name="connsiteX49" fmla="*/ 1822876 w 6094516"/>
              <a:gd name="connsiteY49" fmla="*/ 600951 h 3487140"/>
              <a:gd name="connsiteX50" fmla="*/ 1795345 w 6094516"/>
              <a:gd name="connsiteY50" fmla="*/ 761726 h 3487140"/>
              <a:gd name="connsiteX51" fmla="*/ 1967266 w 6094516"/>
              <a:gd name="connsiteY51" fmla="*/ 1160004 h 3487140"/>
              <a:gd name="connsiteX52" fmla="*/ 2390246 w 6094516"/>
              <a:gd name="connsiteY52" fmla="*/ 1793622 h 3487140"/>
              <a:gd name="connsiteX53" fmla="*/ 2807737 w 6094516"/>
              <a:gd name="connsiteY53" fmla="*/ 2087475 h 3487140"/>
              <a:gd name="connsiteX54" fmla="*/ 2917360 w 6094516"/>
              <a:gd name="connsiteY54" fmla="*/ 2185620 h 3487140"/>
              <a:gd name="connsiteX55" fmla="*/ 2804411 w 6094516"/>
              <a:gd name="connsiteY55" fmla="*/ 2468120 h 3487140"/>
              <a:gd name="connsiteX56" fmla="*/ 2638312 w 6094516"/>
              <a:gd name="connsiteY56" fmla="*/ 2505548 h 3487140"/>
              <a:gd name="connsiteX57" fmla="*/ 2329862 w 6094516"/>
              <a:gd name="connsiteY57" fmla="*/ 2278109 h 3487140"/>
              <a:gd name="connsiteX58" fmla="*/ 1885173 w 6094516"/>
              <a:gd name="connsiteY58" fmla="*/ 1678800 h 3487140"/>
              <a:gd name="connsiteX59" fmla="*/ 1765320 w 6094516"/>
              <a:gd name="connsiteY59" fmla="*/ 1175432 h 3487140"/>
              <a:gd name="connsiteX60" fmla="*/ 1919774 w 6094516"/>
              <a:gd name="connsiteY60" fmla="*/ 1377420 h 3487140"/>
              <a:gd name="connsiteX61" fmla="*/ 2281414 w 6094516"/>
              <a:gd name="connsiteY61" fmla="*/ 2268710 h 3487140"/>
              <a:gd name="connsiteX62" fmla="*/ 2601216 w 6094516"/>
              <a:gd name="connsiteY62" fmla="*/ 2693105 h 3487140"/>
              <a:gd name="connsiteX63" fmla="*/ 2834644 w 6094516"/>
              <a:gd name="connsiteY63" fmla="*/ 2746586 h 3487140"/>
              <a:gd name="connsiteX64" fmla="*/ 3001865 w 6094516"/>
              <a:gd name="connsiteY64" fmla="*/ 2631432 h 3487140"/>
              <a:gd name="connsiteX65" fmla="*/ 3013052 w 6094516"/>
              <a:gd name="connsiteY65" fmla="*/ 2436680 h 3487140"/>
              <a:gd name="connsiteX66" fmla="*/ 2859222 w 6094516"/>
              <a:gd name="connsiteY66" fmla="*/ 2309258 h 3487140"/>
              <a:gd name="connsiteX67" fmla="*/ 2652036 w 6094516"/>
              <a:gd name="connsiteY67" fmla="*/ 2375007 h 3487140"/>
              <a:gd name="connsiteX68" fmla="*/ 2629537 w 6094516"/>
              <a:gd name="connsiteY68" fmla="*/ 2581402 h 3487140"/>
              <a:gd name="connsiteX69" fmla="*/ 2772222 w 6094516"/>
              <a:gd name="connsiteY69" fmla="*/ 2671064 h 3487140"/>
              <a:gd name="connsiteX70" fmla="*/ 2868787 w 6094516"/>
              <a:gd name="connsiteY70" fmla="*/ 2596831 h 3487140"/>
              <a:gd name="connsiteX71" fmla="*/ 2835601 w 6094516"/>
              <a:gd name="connsiteY71" fmla="*/ 2530750 h 3487140"/>
              <a:gd name="connsiteX72" fmla="*/ 2713543 w 6094516"/>
              <a:gd name="connsiteY72" fmla="*/ 2615379 h 3487140"/>
              <a:gd name="connsiteX73" fmla="*/ 2567864 w 6094516"/>
              <a:gd name="connsiteY73" fmla="*/ 2907028 h 3487140"/>
              <a:gd name="connsiteX74" fmla="*/ 2520039 w 6094516"/>
              <a:gd name="connsiteY74" fmla="*/ 3008333 h 3487140"/>
              <a:gd name="connsiteX75" fmla="*/ 2484191 w 6094516"/>
              <a:gd name="connsiteY75" fmla="*/ 3024053 h 3487140"/>
              <a:gd name="connsiteX76" fmla="*/ 2389165 w 6094516"/>
              <a:gd name="connsiteY76" fmla="*/ 3013989 h 3487140"/>
              <a:gd name="connsiteX77" fmla="*/ 2396068 w 6094516"/>
              <a:gd name="connsiteY77" fmla="*/ 2956724 h 3487140"/>
              <a:gd name="connsiteX78" fmla="*/ 2584831 w 6094516"/>
              <a:gd name="connsiteY78" fmla="*/ 2951068 h 3487140"/>
              <a:gd name="connsiteX79" fmla="*/ 2671041 w 6094516"/>
              <a:gd name="connsiteY79" fmla="*/ 2951068 h 3487140"/>
              <a:gd name="connsiteX80" fmla="*/ 2752219 w 6094516"/>
              <a:gd name="connsiteY80" fmla="*/ 2822066 h 3487140"/>
              <a:gd name="connsiteX81" fmla="*/ 2892533 w 6094516"/>
              <a:gd name="connsiteY81" fmla="*/ 2789337 h 3487140"/>
              <a:gd name="connsiteX82" fmla="*/ 3020246 w 6094516"/>
              <a:gd name="connsiteY82" fmla="*/ 2713815 h 3487140"/>
              <a:gd name="connsiteX83" fmla="*/ 3106456 w 6094516"/>
              <a:gd name="connsiteY83" fmla="*/ 2544556 h 3487140"/>
              <a:gd name="connsiteX84" fmla="*/ 3326035 w 6094516"/>
              <a:gd name="connsiteY84" fmla="*/ 2482883 h 3487140"/>
              <a:gd name="connsiteX85" fmla="*/ 3861009 w 6094516"/>
              <a:gd name="connsiteY85" fmla="*/ 2466831 h 3487140"/>
              <a:gd name="connsiteX86" fmla="*/ 4016751 w 6094516"/>
              <a:gd name="connsiteY86" fmla="*/ 2420918 h 3487140"/>
              <a:gd name="connsiteX87" fmla="*/ 3866664 w 6094516"/>
              <a:gd name="connsiteY87" fmla="*/ 2252907 h 3487140"/>
              <a:gd name="connsiteX88" fmla="*/ 3391285 w 6094516"/>
              <a:gd name="connsiteY88" fmla="*/ 1791709 h 3487140"/>
              <a:gd name="connsiteX89" fmla="*/ 3127166 w 6094516"/>
              <a:gd name="connsiteY89" fmla="*/ 1600118 h 3487140"/>
              <a:gd name="connsiteX90" fmla="*/ 3003196 w 6094516"/>
              <a:gd name="connsiteY90" fmla="*/ 1733529 h 3487140"/>
              <a:gd name="connsiteX91" fmla="*/ 2940898 w 6094516"/>
              <a:gd name="connsiteY91" fmla="*/ 1995900 h 3487140"/>
              <a:gd name="connsiteX92" fmla="*/ 2981778 w 6094516"/>
              <a:gd name="connsiteY92" fmla="*/ 2048133 h 3487140"/>
              <a:gd name="connsiteX93" fmla="*/ 3044699 w 6094516"/>
              <a:gd name="connsiteY93" fmla="*/ 1778817 h 3487140"/>
              <a:gd name="connsiteX94" fmla="*/ 3166466 w 6094516"/>
              <a:gd name="connsiteY94" fmla="*/ 1356918 h 3487140"/>
              <a:gd name="connsiteX95" fmla="*/ 3272803 w 6094516"/>
              <a:gd name="connsiteY95" fmla="*/ 986960 h 3487140"/>
              <a:gd name="connsiteX96" fmla="*/ 3243526 w 6094516"/>
              <a:gd name="connsiteY96" fmla="*/ 867107 h 3487140"/>
              <a:gd name="connsiteX97" fmla="*/ 3068612 w 6094516"/>
              <a:gd name="connsiteY97" fmla="*/ 840034 h 3487140"/>
              <a:gd name="connsiteX98" fmla="*/ 2924513 w 6094516"/>
              <a:gd name="connsiteY98" fmla="*/ 782769 h 3487140"/>
              <a:gd name="connsiteX99" fmla="*/ 2940857 w 6094516"/>
              <a:gd name="connsiteY99" fmla="*/ 714816 h 3487140"/>
              <a:gd name="connsiteX100" fmla="*/ 3114524 w 6094516"/>
              <a:gd name="connsiteY100" fmla="*/ 723008 h 3487140"/>
              <a:gd name="connsiteX101" fmla="*/ 3317135 w 6094516"/>
              <a:gd name="connsiteY101" fmla="*/ 729288 h 3487140"/>
              <a:gd name="connsiteX102" fmla="*/ 3483857 w 6094516"/>
              <a:gd name="connsiteY102" fmla="*/ 682087 h 3487140"/>
              <a:gd name="connsiteX103" fmla="*/ 3601506 w 6094516"/>
              <a:gd name="connsiteY103" fmla="*/ 703463 h 3487140"/>
              <a:gd name="connsiteX104" fmla="*/ 3624171 w 6094516"/>
              <a:gd name="connsiteY104" fmla="*/ 797199 h 3487140"/>
              <a:gd name="connsiteX105" fmla="*/ 3496458 w 6094516"/>
              <a:gd name="connsiteY105" fmla="*/ 890936 h 3487140"/>
              <a:gd name="connsiteX106" fmla="*/ 3326575 w 6094516"/>
              <a:gd name="connsiteY106" fmla="*/ 918009 h 3487140"/>
              <a:gd name="connsiteX107" fmla="*/ 3198862 w 6094516"/>
              <a:gd name="connsiteY107" fmla="*/ 1002306 h 3487140"/>
              <a:gd name="connsiteX108" fmla="*/ 3097972 w 6094516"/>
              <a:gd name="connsiteY108" fmla="*/ 1299902 h 3487140"/>
              <a:gd name="connsiteX109" fmla="*/ 3159022 w 6094516"/>
              <a:gd name="connsiteY109" fmla="*/ 1545930 h 3487140"/>
              <a:gd name="connsiteX110" fmla="*/ 3371697 w 6094516"/>
              <a:gd name="connsiteY110" fmla="*/ 1536490 h 3487140"/>
              <a:gd name="connsiteX111" fmla="*/ 3551228 w 6094516"/>
              <a:gd name="connsiteY111" fmla="*/ 1376048 h 3487140"/>
              <a:gd name="connsiteX112" fmla="*/ 3554389 w 6094516"/>
              <a:gd name="connsiteY112" fmla="*/ 1231949 h 3487140"/>
              <a:gd name="connsiteX113" fmla="*/ 3336348 w 6094516"/>
              <a:gd name="connsiteY113" fmla="*/ 1191693 h 3487140"/>
              <a:gd name="connsiteX114" fmla="*/ 3344832 w 6094516"/>
              <a:gd name="connsiteY114" fmla="*/ 1255238 h 3487140"/>
              <a:gd name="connsiteX115" fmla="*/ 3769850 w 6094516"/>
              <a:gd name="connsiteY115" fmla="*/ 1241722 h 3487140"/>
              <a:gd name="connsiteX116" fmla="*/ 4254670 w 6094516"/>
              <a:gd name="connsiteY116" fmla="*/ 1259646 h 3487140"/>
              <a:gd name="connsiteX117" fmla="*/ 4484022 w 6094516"/>
              <a:gd name="connsiteY117" fmla="*/ 1236981 h 3487140"/>
              <a:gd name="connsiteX118" fmla="*/ 4465766 w 6094516"/>
              <a:gd name="connsiteY118" fmla="*/ 1185995 h 3487140"/>
              <a:gd name="connsiteX119" fmla="*/ 4105248 w 6094516"/>
              <a:gd name="connsiteY119" fmla="*/ 1177512 h 3487140"/>
              <a:gd name="connsiteX120" fmla="*/ 3734668 w 6094516"/>
              <a:gd name="connsiteY120" fmla="*/ 1331342 h 3487140"/>
              <a:gd name="connsiteX121" fmla="*/ 3388914 w 6094516"/>
              <a:gd name="connsiteY121" fmla="*/ 1604110 h 3487140"/>
              <a:gd name="connsiteX122" fmla="*/ 3156111 w 6094516"/>
              <a:gd name="connsiteY122" fmla="*/ 1921252 h 3487140"/>
              <a:gd name="connsiteX123" fmla="*/ 3060461 w 6094516"/>
              <a:gd name="connsiteY123" fmla="*/ 2419255 h 3487140"/>
              <a:gd name="connsiteX124" fmla="*/ 3290769 w 6094516"/>
              <a:gd name="connsiteY124" fmla="*/ 3048465 h 3487140"/>
              <a:gd name="connsiteX125" fmla="*/ 3868994 w 6094516"/>
              <a:gd name="connsiteY125" fmla="*/ 3394510 h 3487140"/>
              <a:gd name="connsiteX126" fmla="*/ 4507643 w 6094516"/>
              <a:gd name="connsiteY126" fmla="*/ 3330632 h 3487140"/>
              <a:gd name="connsiteX127" fmla="*/ 5002818 w 6094516"/>
              <a:gd name="connsiteY127" fmla="*/ 2841404 h 3487140"/>
              <a:gd name="connsiteX128" fmla="*/ 5036171 w 6094516"/>
              <a:gd name="connsiteY128" fmla="*/ 2052999 h 3487140"/>
              <a:gd name="connsiteX129" fmla="*/ 4605164 w 6094516"/>
              <a:gd name="connsiteY129" fmla="*/ 1482011 h 3487140"/>
              <a:gd name="connsiteX130" fmla="*/ 4138310 w 6094516"/>
              <a:gd name="connsiteY130" fmla="*/ 1352717 h 3487140"/>
              <a:gd name="connsiteX131" fmla="*/ 3977868 w 6094516"/>
              <a:gd name="connsiteY131" fmla="*/ 1466624 h 3487140"/>
              <a:gd name="connsiteX132" fmla="*/ 3999909 w 6094516"/>
              <a:gd name="connsiteY132" fmla="*/ 2001140 h 3487140"/>
              <a:gd name="connsiteX133" fmla="*/ 4033885 w 6094516"/>
              <a:gd name="connsiteY133" fmla="*/ 2313208 h 3487140"/>
              <a:gd name="connsiteX134" fmla="*/ 4125585 w 6094516"/>
              <a:gd name="connsiteY134" fmla="*/ 2399085 h 3487140"/>
              <a:gd name="connsiteX135" fmla="*/ 4230051 w 6094516"/>
              <a:gd name="connsiteY135" fmla="*/ 2362905 h 3487140"/>
              <a:gd name="connsiteX136" fmla="*/ 4194660 w 6094516"/>
              <a:gd name="connsiteY136" fmla="*/ 2271372 h 3487140"/>
              <a:gd name="connsiteX137" fmla="*/ 4097056 w 6094516"/>
              <a:gd name="connsiteY137" fmla="*/ 2303394 h 3487140"/>
              <a:gd name="connsiteX138" fmla="*/ 4080670 w 6094516"/>
              <a:gd name="connsiteY138" fmla="*/ 2437262 h 3487140"/>
              <a:gd name="connsiteX139" fmla="*/ 4079589 w 6094516"/>
              <a:gd name="connsiteY139" fmla="*/ 2519521 h 3487140"/>
              <a:gd name="connsiteX140" fmla="*/ 3900475 w 6094516"/>
              <a:gd name="connsiteY140" fmla="*/ 2539400 h 3487140"/>
              <a:gd name="connsiteX141" fmla="*/ 3490220 w 6094516"/>
              <a:gd name="connsiteY141" fmla="*/ 2545679 h 3487140"/>
              <a:gd name="connsiteX142" fmla="*/ 3249848 w 6094516"/>
              <a:gd name="connsiteY142" fmla="*/ 2602944 h 3487140"/>
              <a:gd name="connsiteX143" fmla="*/ 3240241 w 6094516"/>
              <a:gd name="connsiteY143" fmla="*/ 2790460 h 3487140"/>
              <a:gd name="connsiteX144" fmla="*/ 3433578 w 6094516"/>
              <a:gd name="connsiteY144" fmla="*/ 3133385 h 3487140"/>
              <a:gd name="connsiteX145" fmla="*/ 3925468 w 6094516"/>
              <a:gd name="connsiteY145" fmla="*/ 3465290 h 3487140"/>
              <a:gd name="connsiteX146" fmla="*/ 4666214 w 6094516"/>
              <a:gd name="connsiteY146" fmla="*/ 3390434 h 3487140"/>
              <a:gd name="connsiteX147" fmla="*/ 5106037 w 6094516"/>
              <a:gd name="connsiteY147" fmla="*/ 3017940 h 3487140"/>
              <a:gd name="connsiteX148" fmla="*/ 5420018 w 6094516"/>
              <a:gd name="connsiteY148" fmla="*/ 2655510 h 3487140"/>
              <a:gd name="connsiteX149" fmla="*/ 5792512 w 6094516"/>
              <a:gd name="connsiteY149" fmla="*/ 3163577 h 3487140"/>
              <a:gd name="connsiteX150" fmla="*/ 6016499 w 6094516"/>
              <a:gd name="connsiteY150" fmla="*/ 3255443 h 3487140"/>
              <a:gd name="connsiteX151" fmla="*/ 6094516 w 6094516"/>
              <a:gd name="connsiteY151" fmla="*/ 2786675 h 3487140"/>
              <a:gd name="connsiteX0" fmla="*/ 777215 w 6016499"/>
              <a:gd name="connsiteY0" fmla="*/ 3295741 h 3487140"/>
              <a:gd name="connsiteX1" fmla="*/ 526113 w 6016499"/>
              <a:gd name="connsiteY1" fmla="*/ 3112384 h 3487140"/>
              <a:gd name="connsiteX2" fmla="*/ 219950 w 6016499"/>
              <a:gd name="connsiteY2" fmla="*/ 2750287 h 3487140"/>
              <a:gd name="connsiteX3" fmla="*/ 128418 w 6016499"/>
              <a:gd name="connsiteY3" fmla="*/ 2305432 h 3487140"/>
              <a:gd name="connsiteX4" fmla="*/ 256006 w 6016499"/>
              <a:gd name="connsiteY4" fmla="*/ 1919713 h 3487140"/>
              <a:gd name="connsiteX5" fmla="*/ 580218 w 6016499"/>
              <a:gd name="connsiteY5" fmla="*/ 1637837 h 3487140"/>
              <a:gd name="connsiteX6" fmla="*/ 1073522 w 6016499"/>
              <a:gd name="connsiteY6" fmla="*/ 1545972 h 3487140"/>
              <a:gd name="connsiteX7" fmla="*/ 1308197 w 6016499"/>
              <a:gd name="connsiteY7" fmla="*/ 1517651 h 3487140"/>
              <a:gd name="connsiteX8" fmla="*/ 1292934 w 6016499"/>
              <a:gd name="connsiteY8" fmla="*/ 1460718 h 3487140"/>
              <a:gd name="connsiteX9" fmla="*/ 1016880 w 6016499"/>
              <a:gd name="connsiteY9" fmla="*/ 1416969 h 3487140"/>
              <a:gd name="connsiteX10" fmla="*/ 497460 w 6016499"/>
              <a:gd name="connsiteY10" fmla="*/ 1517318 h 3487140"/>
              <a:gd name="connsiteX11" fmla="*/ 88162 w 6016499"/>
              <a:gd name="connsiteY11" fmla="*/ 1960593 h 3487140"/>
              <a:gd name="connsiteX12" fmla="*/ 28692 w 6016499"/>
              <a:gd name="connsiteY12" fmla="*/ 2569342 h 3487140"/>
              <a:gd name="connsiteX13" fmla="*/ 442399 w 6016499"/>
              <a:gd name="connsiteY13" fmla="*/ 3165532 h 3487140"/>
              <a:gd name="connsiteX14" fmla="*/ 1232384 w 6016499"/>
              <a:gd name="connsiteY14" fmla="*/ 3283181 h 3487140"/>
              <a:gd name="connsiteX15" fmla="*/ 1835020 w 6016499"/>
              <a:gd name="connsiteY15" fmla="*/ 2757481 h 3487140"/>
              <a:gd name="connsiteX16" fmla="*/ 1824789 w 6016499"/>
              <a:gd name="connsiteY16" fmla="*/ 1980430 h 3487140"/>
              <a:gd name="connsiteX17" fmla="*/ 1494755 w 6016499"/>
              <a:gd name="connsiteY17" fmla="*/ 1589139 h 3487140"/>
              <a:gd name="connsiteX18" fmla="*/ 1305701 w 6016499"/>
              <a:gd name="connsiteY18" fmla="*/ 1660710 h 3487140"/>
              <a:gd name="connsiteX19" fmla="*/ 1197284 w 6016499"/>
              <a:gd name="connsiteY19" fmla="*/ 2116627 h 3487140"/>
              <a:gd name="connsiteX20" fmla="*/ 973921 w 6016499"/>
              <a:gd name="connsiteY20" fmla="*/ 2374258 h 3487140"/>
              <a:gd name="connsiteX21" fmla="*/ 918985 w 6016499"/>
              <a:gd name="connsiteY21" fmla="*/ 2276986 h 3487140"/>
              <a:gd name="connsiteX22" fmla="*/ 1298257 w 6016499"/>
              <a:gd name="connsiteY22" fmla="*/ 2021601 h 3487140"/>
              <a:gd name="connsiteX23" fmla="*/ 1558176 w 6016499"/>
              <a:gd name="connsiteY23" fmla="*/ 1234153 h 3487140"/>
              <a:gd name="connsiteX24" fmla="*/ 1788276 w 6016499"/>
              <a:gd name="connsiteY24" fmla="*/ 725296 h 3487140"/>
              <a:gd name="connsiteX25" fmla="*/ 1896859 w 6016499"/>
              <a:gd name="connsiteY25" fmla="*/ 539984 h 3487140"/>
              <a:gd name="connsiteX26" fmla="*/ 1865711 w 6016499"/>
              <a:gd name="connsiteY26" fmla="*/ 435851 h 3487140"/>
              <a:gd name="connsiteX27" fmla="*/ 1759373 w 6016499"/>
              <a:gd name="connsiteY27" fmla="*/ 350265 h 3487140"/>
              <a:gd name="connsiteX28" fmla="*/ 1714085 w 6016499"/>
              <a:gd name="connsiteY28" fmla="*/ 209327 h 3487140"/>
              <a:gd name="connsiteX29" fmla="*/ 1758915 w 6016499"/>
              <a:gd name="connsiteY29" fmla="*/ 82237 h 3487140"/>
              <a:gd name="connsiteX30" fmla="*/ 1939195 w 6016499"/>
              <a:gd name="connsiteY30" fmla="*/ 6716 h 3487140"/>
              <a:gd name="connsiteX31" fmla="*/ 2207888 w 6016499"/>
              <a:gd name="connsiteY31" fmla="*/ 10167 h 3487140"/>
              <a:gd name="connsiteX32" fmla="*/ 2291561 w 6016499"/>
              <a:gd name="connsiteY32" fmla="*/ 49800 h 3487140"/>
              <a:gd name="connsiteX33" fmla="*/ 2244526 w 6016499"/>
              <a:gd name="connsiteY33" fmla="*/ 86812 h 3487140"/>
              <a:gd name="connsiteX34" fmla="*/ 2008603 w 6016499"/>
              <a:gd name="connsiteY34" fmla="*/ 91886 h 3487140"/>
              <a:gd name="connsiteX35" fmla="*/ 1765070 w 6016499"/>
              <a:gd name="connsiteY35" fmla="*/ 75833 h 3487140"/>
              <a:gd name="connsiteX36" fmla="*/ 1657319 w 6016499"/>
              <a:gd name="connsiteY36" fmla="*/ 176931 h 3487140"/>
              <a:gd name="connsiteX37" fmla="*/ 1672581 w 6016499"/>
              <a:gd name="connsiteY37" fmla="*/ 370393 h 3487140"/>
              <a:gd name="connsiteX38" fmla="*/ 1617354 w 6016499"/>
              <a:gd name="connsiteY38" fmla="*/ 589348 h 3487140"/>
              <a:gd name="connsiteX39" fmla="*/ 1460820 w 6016499"/>
              <a:gd name="connsiteY39" fmla="*/ 903953 h 3487140"/>
              <a:gd name="connsiteX40" fmla="*/ 1250349 w 6016499"/>
              <a:gd name="connsiteY40" fmla="*/ 922501 h 3487140"/>
              <a:gd name="connsiteX41" fmla="*/ 1055930 w 6016499"/>
              <a:gd name="connsiteY41" fmla="*/ 866816 h 3487140"/>
              <a:gd name="connsiteX42" fmla="*/ 997085 w 6016499"/>
              <a:gd name="connsiteY42" fmla="*/ 751038 h 3487140"/>
              <a:gd name="connsiteX43" fmla="*/ 1009021 w 6016499"/>
              <a:gd name="connsiteY43" fmla="*/ 369436 h 3487140"/>
              <a:gd name="connsiteX44" fmla="*/ 1070694 w 6016499"/>
              <a:gd name="connsiteY44" fmla="*/ 155805 h 3487140"/>
              <a:gd name="connsiteX45" fmla="*/ 1272058 w 6016499"/>
              <a:gd name="connsiteY45" fmla="*/ 156761 h 3487140"/>
              <a:gd name="connsiteX46" fmla="*/ 1524989 w 6016499"/>
              <a:gd name="connsiteY46" fmla="*/ 245175 h 3487140"/>
              <a:gd name="connsiteX47" fmla="*/ 1694081 w 6016499"/>
              <a:gd name="connsiteY47" fmla="*/ 357792 h 3487140"/>
              <a:gd name="connsiteX48" fmla="*/ 1798672 w 6016499"/>
              <a:gd name="connsiteY48" fmla="*/ 483301 h 3487140"/>
              <a:gd name="connsiteX49" fmla="*/ 1822876 w 6016499"/>
              <a:gd name="connsiteY49" fmla="*/ 600951 h 3487140"/>
              <a:gd name="connsiteX50" fmla="*/ 1795345 w 6016499"/>
              <a:gd name="connsiteY50" fmla="*/ 761726 h 3487140"/>
              <a:gd name="connsiteX51" fmla="*/ 1967266 w 6016499"/>
              <a:gd name="connsiteY51" fmla="*/ 1160004 h 3487140"/>
              <a:gd name="connsiteX52" fmla="*/ 2390246 w 6016499"/>
              <a:gd name="connsiteY52" fmla="*/ 1793622 h 3487140"/>
              <a:gd name="connsiteX53" fmla="*/ 2807737 w 6016499"/>
              <a:gd name="connsiteY53" fmla="*/ 2087475 h 3487140"/>
              <a:gd name="connsiteX54" fmla="*/ 2917360 w 6016499"/>
              <a:gd name="connsiteY54" fmla="*/ 2185620 h 3487140"/>
              <a:gd name="connsiteX55" fmla="*/ 2804411 w 6016499"/>
              <a:gd name="connsiteY55" fmla="*/ 2468120 h 3487140"/>
              <a:gd name="connsiteX56" fmla="*/ 2638312 w 6016499"/>
              <a:gd name="connsiteY56" fmla="*/ 2505548 h 3487140"/>
              <a:gd name="connsiteX57" fmla="*/ 2329862 w 6016499"/>
              <a:gd name="connsiteY57" fmla="*/ 2278109 h 3487140"/>
              <a:gd name="connsiteX58" fmla="*/ 1885173 w 6016499"/>
              <a:gd name="connsiteY58" fmla="*/ 1678800 h 3487140"/>
              <a:gd name="connsiteX59" fmla="*/ 1765320 w 6016499"/>
              <a:gd name="connsiteY59" fmla="*/ 1175432 h 3487140"/>
              <a:gd name="connsiteX60" fmla="*/ 1919774 w 6016499"/>
              <a:gd name="connsiteY60" fmla="*/ 1377420 h 3487140"/>
              <a:gd name="connsiteX61" fmla="*/ 2281414 w 6016499"/>
              <a:gd name="connsiteY61" fmla="*/ 2268710 h 3487140"/>
              <a:gd name="connsiteX62" fmla="*/ 2601216 w 6016499"/>
              <a:gd name="connsiteY62" fmla="*/ 2693105 h 3487140"/>
              <a:gd name="connsiteX63" fmla="*/ 2834644 w 6016499"/>
              <a:gd name="connsiteY63" fmla="*/ 2746586 h 3487140"/>
              <a:gd name="connsiteX64" fmla="*/ 3001865 w 6016499"/>
              <a:gd name="connsiteY64" fmla="*/ 2631432 h 3487140"/>
              <a:gd name="connsiteX65" fmla="*/ 3013052 w 6016499"/>
              <a:gd name="connsiteY65" fmla="*/ 2436680 h 3487140"/>
              <a:gd name="connsiteX66" fmla="*/ 2859222 w 6016499"/>
              <a:gd name="connsiteY66" fmla="*/ 2309258 h 3487140"/>
              <a:gd name="connsiteX67" fmla="*/ 2652036 w 6016499"/>
              <a:gd name="connsiteY67" fmla="*/ 2375007 h 3487140"/>
              <a:gd name="connsiteX68" fmla="*/ 2629537 w 6016499"/>
              <a:gd name="connsiteY68" fmla="*/ 2581402 h 3487140"/>
              <a:gd name="connsiteX69" fmla="*/ 2772222 w 6016499"/>
              <a:gd name="connsiteY69" fmla="*/ 2671064 h 3487140"/>
              <a:gd name="connsiteX70" fmla="*/ 2868787 w 6016499"/>
              <a:gd name="connsiteY70" fmla="*/ 2596831 h 3487140"/>
              <a:gd name="connsiteX71" fmla="*/ 2835601 w 6016499"/>
              <a:gd name="connsiteY71" fmla="*/ 2530750 h 3487140"/>
              <a:gd name="connsiteX72" fmla="*/ 2713543 w 6016499"/>
              <a:gd name="connsiteY72" fmla="*/ 2615379 h 3487140"/>
              <a:gd name="connsiteX73" fmla="*/ 2567864 w 6016499"/>
              <a:gd name="connsiteY73" fmla="*/ 2907028 h 3487140"/>
              <a:gd name="connsiteX74" fmla="*/ 2520039 w 6016499"/>
              <a:gd name="connsiteY74" fmla="*/ 3008333 h 3487140"/>
              <a:gd name="connsiteX75" fmla="*/ 2484191 w 6016499"/>
              <a:gd name="connsiteY75" fmla="*/ 3024053 h 3487140"/>
              <a:gd name="connsiteX76" fmla="*/ 2389165 w 6016499"/>
              <a:gd name="connsiteY76" fmla="*/ 3013989 h 3487140"/>
              <a:gd name="connsiteX77" fmla="*/ 2396068 w 6016499"/>
              <a:gd name="connsiteY77" fmla="*/ 2956724 h 3487140"/>
              <a:gd name="connsiteX78" fmla="*/ 2584831 w 6016499"/>
              <a:gd name="connsiteY78" fmla="*/ 2951068 h 3487140"/>
              <a:gd name="connsiteX79" fmla="*/ 2671041 w 6016499"/>
              <a:gd name="connsiteY79" fmla="*/ 2951068 h 3487140"/>
              <a:gd name="connsiteX80" fmla="*/ 2752219 w 6016499"/>
              <a:gd name="connsiteY80" fmla="*/ 2822066 h 3487140"/>
              <a:gd name="connsiteX81" fmla="*/ 2892533 w 6016499"/>
              <a:gd name="connsiteY81" fmla="*/ 2789337 h 3487140"/>
              <a:gd name="connsiteX82" fmla="*/ 3020246 w 6016499"/>
              <a:gd name="connsiteY82" fmla="*/ 2713815 h 3487140"/>
              <a:gd name="connsiteX83" fmla="*/ 3106456 w 6016499"/>
              <a:gd name="connsiteY83" fmla="*/ 2544556 h 3487140"/>
              <a:gd name="connsiteX84" fmla="*/ 3326035 w 6016499"/>
              <a:gd name="connsiteY84" fmla="*/ 2482883 h 3487140"/>
              <a:gd name="connsiteX85" fmla="*/ 3861009 w 6016499"/>
              <a:gd name="connsiteY85" fmla="*/ 2466831 h 3487140"/>
              <a:gd name="connsiteX86" fmla="*/ 4016751 w 6016499"/>
              <a:gd name="connsiteY86" fmla="*/ 2420918 h 3487140"/>
              <a:gd name="connsiteX87" fmla="*/ 3866664 w 6016499"/>
              <a:gd name="connsiteY87" fmla="*/ 2252907 h 3487140"/>
              <a:gd name="connsiteX88" fmla="*/ 3391285 w 6016499"/>
              <a:gd name="connsiteY88" fmla="*/ 1791709 h 3487140"/>
              <a:gd name="connsiteX89" fmla="*/ 3127166 w 6016499"/>
              <a:gd name="connsiteY89" fmla="*/ 1600118 h 3487140"/>
              <a:gd name="connsiteX90" fmla="*/ 3003196 w 6016499"/>
              <a:gd name="connsiteY90" fmla="*/ 1733529 h 3487140"/>
              <a:gd name="connsiteX91" fmla="*/ 2940898 w 6016499"/>
              <a:gd name="connsiteY91" fmla="*/ 1995900 h 3487140"/>
              <a:gd name="connsiteX92" fmla="*/ 2981778 w 6016499"/>
              <a:gd name="connsiteY92" fmla="*/ 2048133 h 3487140"/>
              <a:gd name="connsiteX93" fmla="*/ 3044699 w 6016499"/>
              <a:gd name="connsiteY93" fmla="*/ 1778817 h 3487140"/>
              <a:gd name="connsiteX94" fmla="*/ 3166466 w 6016499"/>
              <a:gd name="connsiteY94" fmla="*/ 1356918 h 3487140"/>
              <a:gd name="connsiteX95" fmla="*/ 3272803 w 6016499"/>
              <a:gd name="connsiteY95" fmla="*/ 986960 h 3487140"/>
              <a:gd name="connsiteX96" fmla="*/ 3243526 w 6016499"/>
              <a:gd name="connsiteY96" fmla="*/ 867107 h 3487140"/>
              <a:gd name="connsiteX97" fmla="*/ 3068612 w 6016499"/>
              <a:gd name="connsiteY97" fmla="*/ 840034 h 3487140"/>
              <a:gd name="connsiteX98" fmla="*/ 2924513 w 6016499"/>
              <a:gd name="connsiteY98" fmla="*/ 782769 h 3487140"/>
              <a:gd name="connsiteX99" fmla="*/ 2940857 w 6016499"/>
              <a:gd name="connsiteY99" fmla="*/ 714816 h 3487140"/>
              <a:gd name="connsiteX100" fmla="*/ 3114524 w 6016499"/>
              <a:gd name="connsiteY100" fmla="*/ 723008 h 3487140"/>
              <a:gd name="connsiteX101" fmla="*/ 3317135 w 6016499"/>
              <a:gd name="connsiteY101" fmla="*/ 729288 h 3487140"/>
              <a:gd name="connsiteX102" fmla="*/ 3483857 w 6016499"/>
              <a:gd name="connsiteY102" fmla="*/ 682087 h 3487140"/>
              <a:gd name="connsiteX103" fmla="*/ 3601506 w 6016499"/>
              <a:gd name="connsiteY103" fmla="*/ 703463 h 3487140"/>
              <a:gd name="connsiteX104" fmla="*/ 3624171 w 6016499"/>
              <a:gd name="connsiteY104" fmla="*/ 797199 h 3487140"/>
              <a:gd name="connsiteX105" fmla="*/ 3496458 w 6016499"/>
              <a:gd name="connsiteY105" fmla="*/ 890936 h 3487140"/>
              <a:gd name="connsiteX106" fmla="*/ 3326575 w 6016499"/>
              <a:gd name="connsiteY106" fmla="*/ 918009 h 3487140"/>
              <a:gd name="connsiteX107" fmla="*/ 3198862 w 6016499"/>
              <a:gd name="connsiteY107" fmla="*/ 1002306 h 3487140"/>
              <a:gd name="connsiteX108" fmla="*/ 3097972 w 6016499"/>
              <a:gd name="connsiteY108" fmla="*/ 1299902 h 3487140"/>
              <a:gd name="connsiteX109" fmla="*/ 3159022 w 6016499"/>
              <a:gd name="connsiteY109" fmla="*/ 1545930 h 3487140"/>
              <a:gd name="connsiteX110" fmla="*/ 3371697 w 6016499"/>
              <a:gd name="connsiteY110" fmla="*/ 1536490 h 3487140"/>
              <a:gd name="connsiteX111" fmla="*/ 3551228 w 6016499"/>
              <a:gd name="connsiteY111" fmla="*/ 1376048 h 3487140"/>
              <a:gd name="connsiteX112" fmla="*/ 3554389 w 6016499"/>
              <a:gd name="connsiteY112" fmla="*/ 1231949 h 3487140"/>
              <a:gd name="connsiteX113" fmla="*/ 3336348 w 6016499"/>
              <a:gd name="connsiteY113" fmla="*/ 1191693 h 3487140"/>
              <a:gd name="connsiteX114" fmla="*/ 3344832 w 6016499"/>
              <a:gd name="connsiteY114" fmla="*/ 1255238 h 3487140"/>
              <a:gd name="connsiteX115" fmla="*/ 3769850 w 6016499"/>
              <a:gd name="connsiteY115" fmla="*/ 1241722 h 3487140"/>
              <a:gd name="connsiteX116" fmla="*/ 4254670 w 6016499"/>
              <a:gd name="connsiteY116" fmla="*/ 1259646 h 3487140"/>
              <a:gd name="connsiteX117" fmla="*/ 4484022 w 6016499"/>
              <a:gd name="connsiteY117" fmla="*/ 1236981 h 3487140"/>
              <a:gd name="connsiteX118" fmla="*/ 4465766 w 6016499"/>
              <a:gd name="connsiteY118" fmla="*/ 1185995 h 3487140"/>
              <a:gd name="connsiteX119" fmla="*/ 4105248 w 6016499"/>
              <a:gd name="connsiteY119" fmla="*/ 1177512 h 3487140"/>
              <a:gd name="connsiteX120" fmla="*/ 3734668 w 6016499"/>
              <a:gd name="connsiteY120" fmla="*/ 1331342 h 3487140"/>
              <a:gd name="connsiteX121" fmla="*/ 3388914 w 6016499"/>
              <a:gd name="connsiteY121" fmla="*/ 1604110 h 3487140"/>
              <a:gd name="connsiteX122" fmla="*/ 3156111 w 6016499"/>
              <a:gd name="connsiteY122" fmla="*/ 1921252 h 3487140"/>
              <a:gd name="connsiteX123" fmla="*/ 3060461 w 6016499"/>
              <a:gd name="connsiteY123" fmla="*/ 2419255 h 3487140"/>
              <a:gd name="connsiteX124" fmla="*/ 3290769 w 6016499"/>
              <a:gd name="connsiteY124" fmla="*/ 3048465 h 3487140"/>
              <a:gd name="connsiteX125" fmla="*/ 3868994 w 6016499"/>
              <a:gd name="connsiteY125" fmla="*/ 3394510 h 3487140"/>
              <a:gd name="connsiteX126" fmla="*/ 4507643 w 6016499"/>
              <a:gd name="connsiteY126" fmla="*/ 3330632 h 3487140"/>
              <a:gd name="connsiteX127" fmla="*/ 5002818 w 6016499"/>
              <a:gd name="connsiteY127" fmla="*/ 2841404 h 3487140"/>
              <a:gd name="connsiteX128" fmla="*/ 5036171 w 6016499"/>
              <a:gd name="connsiteY128" fmla="*/ 2052999 h 3487140"/>
              <a:gd name="connsiteX129" fmla="*/ 4605164 w 6016499"/>
              <a:gd name="connsiteY129" fmla="*/ 1482011 h 3487140"/>
              <a:gd name="connsiteX130" fmla="*/ 4138310 w 6016499"/>
              <a:gd name="connsiteY130" fmla="*/ 1352717 h 3487140"/>
              <a:gd name="connsiteX131" fmla="*/ 3977868 w 6016499"/>
              <a:gd name="connsiteY131" fmla="*/ 1466624 h 3487140"/>
              <a:gd name="connsiteX132" fmla="*/ 3999909 w 6016499"/>
              <a:gd name="connsiteY132" fmla="*/ 2001140 h 3487140"/>
              <a:gd name="connsiteX133" fmla="*/ 4033885 w 6016499"/>
              <a:gd name="connsiteY133" fmla="*/ 2313208 h 3487140"/>
              <a:gd name="connsiteX134" fmla="*/ 4125585 w 6016499"/>
              <a:gd name="connsiteY134" fmla="*/ 2399085 h 3487140"/>
              <a:gd name="connsiteX135" fmla="*/ 4230051 w 6016499"/>
              <a:gd name="connsiteY135" fmla="*/ 2362905 h 3487140"/>
              <a:gd name="connsiteX136" fmla="*/ 4194660 w 6016499"/>
              <a:gd name="connsiteY136" fmla="*/ 2271372 h 3487140"/>
              <a:gd name="connsiteX137" fmla="*/ 4097056 w 6016499"/>
              <a:gd name="connsiteY137" fmla="*/ 2303394 h 3487140"/>
              <a:gd name="connsiteX138" fmla="*/ 4080670 w 6016499"/>
              <a:gd name="connsiteY138" fmla="*/ 2437262 h 3487140"/>
              <a:gd name="connsiteX139" fmla="*/ 4079589 w 6016499"/>
              <a:gd name="connsiteY139" fmla="*/ 2519521 h 3487140"/>
              <a:gd name="connsiteX140" fmla="*/ 3900475 w 6016499"/>
              <a:gd name="connsiteY140" fmla="*/ 2539400 h 3487140"/>
              <a:gd name="connsiteX141" fmla="*/ 3490220 w 6016499"/>
              <a:gd name="connsiteY141" fmla="*/ 2545679 h 3487140"/>
              <a:gd name="connsiteX142" fmla="*/ 3249848 w 6016499"/>
              <a:gd name="connsiteY142" fmla="*/ 2602944 h 3487140"/>
              <a:gd name="connsiteX143" fmla="*/ 3240241 w 6016499"/>
              <a:gd name="connsiteY143" fmla="*/ 2790460 h 3487140"/>
              <a:gd name="connsiteX144" fmla="*/ 3433578 w 6016499"/>
              <a:gd name="connsiteY144" fmla="*/ 3133385 h 3487140"/>
              <a:gd name="connsiteX145" fmla="*/ 3925468 w 6016499"/>
              <a:gd name="connsiteY145" fmla="*/ 3465290 h 3487140"/>
              <a:gd name="connsiteX146" fmla="*/ 4666214 w 6016499"/>
              <a:gd name="connsiteY146" fmla="*/ 3390434 h 3487140"/>
              <a:gd name="connsiteX147" fmla="*/ 5106037 w 6016499"/>
              <a:gd name="connsiteY147" fmla="*/ 3017940 h 3487140"/>
              <a:gd name="connsiteX148" fmla="*/ 5420018 w 6016499"/>
              <a:gd name="connsiteY148" fmla="*/ 2655510 h 3487140"/>
              <a:gd name="connsiteX149" fmla="*/ 5792512 w 6016499"/>
              <a:gd name="connsiteY149" fmla="*/ 3163577 h 3487140"/>
              <a:gd name="connsiteX150" fmla="*/ 6016499 w 6016499"/>
              <a:gd name="connsiteY150" fmla="*/ 3255443 h 3487140"/>
              <a:gd name="connsiteX0" fmla="*/ 777215 w 5792512"/>
              <a:gd name="connsiteY0" fmla="*/ 3295741 h 3487140"/>
              <a:gd name="connsiteX1" fmla="*/ 526113 w 5792512"/>
              <a:gd name="connsiteY1" fmla="*/ 3112384 h 3487140"/>
              <a:gd name="connsiteX2" fmla="*/ 219950 w 5792512"/>
              <a:gd name="connsiteY2" fmla="*/ 2750287 h 3487140"/>
              <a:gd name="connsiteX3" fmla="*/ 128418 w 5792512"/>
              <a:gd name="connsiteY3" fmla="*/ 2305432 h 3487140"/>
              <a:gd name="connsiteX4" fmla="*/ 256006 w 5792512"/>
              <a:gd name="connsiteY4" fmla="*/ 1919713 h 3487140"/>
              <a:gd name="connsiteX5" fmla="*/ 580218 w 5792512"/>
              <a:gd name="connsiteY5" fmla="*/ 1637837 h 3487140"/>
              <a:gd name="connsiteX6" fmla="*/ 1073522 w 5792512"/>
              <a:gd name="connsiteY6" fmla="*/ 1545972 h 3487140"/>
              <a:gd name="connsiteX7" fmla="*/ 1308197 w 5792512"/>
              <a:gd name="connsiteY7" fmla="*/ 1517651 h 3487140"/>
              <a:gd name="connsiteX8" fmla="*/ 1292934 w 5792512"/>
              <a:gd name="connsiteY8" fmla="*/ 1460718 h 3487140"/>
              <a:gd name="connsiteX9" fmla="*/ 1016880 w 5792512"/>
              <a:gd name="connsiteY9" fmla="*/ 1416969 h 3487140"/>
              <a:gd name="connsiteX10" fmla="*/ 497460 w 5792512"/>
              <a:gd name="connsiteY10" fmla="*/ 1517318 h 3487140"/>
              <a:gd name="connsiteX11" fmla="*/ 88162 w 5792512"/>
              <a:gd name="connsiteY11" fmla="*/ 1960593 h 3487140"/>
              <a:gd name="connsiteX12" fmla="*/ 28692 w 5792512"/>
              <a:gd name="connsiteY12" fmla="*/ 2569342 h 3487140"/>
              <a:gd name="connsiteX13" fmla="*/ 442399 w 5792512"/>
              <a:gd name="connsiteY13" fmla="*/ 3165532 h 3487140"/>
              <a:gd name="connsiteX14" fmla="*/ 1232384 w 5792512"/>
              <a:gd name="connsiteY14" fmla="*/ 3283181 h 3487140"/>
              <a:gd name="connsiteX15" fmla="*/ 1835020 w 5792512"/>
              <a:gd name="connsiteY15" fmla="*/ 2757481 h 3487140"/>
              <a:gd name="connsiteX16" fmla="*/ 1824789 w 5792512"/>
              <a:gd name="connsiteY16" fmla="*/ 1980430 h 3487140"/>
              <a:gd name="connsiteX17" fmla="*/ 1494755 w 5792512"/>
              <a:gd name="connsiteY17" fmla="*/ 1589139 h 3487140"/>
              <a:gd name="connsiteX18" fmla="*/ 1305701 w 5792512"/>
              <a:gd name="connsiteY18" fmla="*/ 1660710 h 3487140"/>
              <a:gd name="connsiteX19" fmla="*/ 1197284 w 5792512"/>
              <a:gd name="connsiteY19" fmla="*/ 2116627 h 3487140"/>
              <a:gd name="connsiteX20" fmla="*/ 973921 w 5792512"/>
              <a:gd name="connsiteY20" fmla="*/ 2374258 h 3487140"/>
              <a:gd name="connsiteX21" fmla="*/ 918985 w 5792512"/>
              <a:gd name="connsiteY21" fmla="*/ 2276986 h 3487140"/>
              <a:gd name="connsiteX22" fmla="*/ 1298257 w 5792512"/>
              <a:gd name="connsiteY22" fmla="*/ 2021601 h 3487140"/>
              <a:gd name="connsiteX23" fmla="*/ 1558176 w 5792512"/>
              <a:gd name="connsiteY23" fmla="*/ 1234153 h 3487140"/>
              <a:gd name="connsiteX24" fmla="*/ 1788276 w 5792512"/>
              <a:gd name="connsiteY24" fmla="*/ 725296 h 3487140"/>
              <a:gd name="connsiteX25" fmla="*/ 1896859 w 5792512"/>
              <a:gd name="connsiteY25" fmla="*/ 539984 h 3487140"/>
              <a:gd name="connsiteX26" fmla="*/ 1865711 w 5792512"/>
              <a:gd name="connsiteY26" fmla="*/ 435851 h 3487140"/>
              <a:gd name="connsiteX27" fmla="*/ 1759373 w 5792512"/>
              <a:gd name="connsiteY27" fmla="*/ 350265 h 3487140"/>
              <a:gd name="connsiteX28" fmla="*/ 1714085 w 5792512"/>
              <a:gd name="connsiteY28" fmla="*/ 209327 h 3487140"/>
              <a:gd name="connsiteX29" fmla="*/ 1758915 w 5792512"/>
              <a:gd name="connsiteY29" fmla="*/ 82237 h 3487140"/>
              <a:gd name="connsiteX30" fmla="*/ 1939195 w 5792512"/>
              <a:gd name="connsiteY30" fmla="*/ 6716 h 3487140"/>
              <a:gd name="connsiteX31" fmla="*/ 2207888 w 5792512"/>
              <a:gd name="connsiteY31" fmla="*/ 10167 h 3487140"/>
              <a:gd name="connsiteX32" fmla="*/ 2291561 w 5792512"/>
              <a:gd name="connsiteY32" fmla="*/ 49800 h 3487140"/>
              <a:gd name="connsiteX33" fmla="*/ 2244526 w 5792512"/>
              <a:gd name="connsiteY33" fmla="*/ 86812 h 3487140"/>
              <a:gd name="connsiteX34" fmla="*/ 2008603 w 5792512"/>
              <a:gd name="connsiteY34" fmla="*/ 91886 h 3487140"/>
              <a:gd name="connsiteX35" fmla="*/ 1765070 w 5792512"/>
              <a:gd name="connsiteY35" fmla="*/ 75833 h 3487140"/>
              <a:gd name="connsiteX36" fmla="*/ 1657319 w 5792512"/>
              <a:gd name="connsiteY36" fmla="*/ 176931 h 3487140"/>
              <a:gd name="connsiteX37" fmla="*/ 1672581 w 5792512"/>
              <a:gd name="connsiteY37" fmla="*/ 370393 h 3487140"/>
              <a:gd name="connsiteX38" fmla="*/ 1617354 w 5792512"/>
              <a:gd name="connsiteY38" fmla="*/ 589348 h 3487140"/>
              <a:gd name="connsiteX39" fmla="*/ 1460820 w 5792512"/>
              <a:gd name="connsiteY39" fmla="*/ 903953 h 3487140"/>
              <a:gd name="connsiteX40" fmla="*/ 1250349 w 5792512"/>
              <a:gd name="connsiteY40" fmla="*/ 922501 h 3487140"/>
              <a:gd name="connsiteX41" fmla="*/ 1055930 w 5792512"/>
              <a:gd name="connsiteY41" fmla="*/ 866816 h 3487140"/>
              <a:gd name="connsiteX42" fmla="*/ 997085 w 5792512"/>
              <a:gd name="connsiteY42" fmla="*/ 751038 h 3487140"/>
              <a:gd name="connsiteX43" fmla="*/ 1009021 w 5792512"/>
              <a:gd name="connsiteY43" fmla="*/ 369436 h 3487140"/>
              <a:gd name="connsiteX44" fmla="*/ 1070694 w 5792512"/>
              <a:gd name="connsiteY44" fmla="*/ 155805 h 3487140"/>
              <a:gd name="connsiteX45" fmla="*/ 1272058 w 5792512"/>
              <a:gd name="connsiteY45" fmla="*/ 156761 h 3487140"/>
              <a:gd name="connsiteX46" fmla="*/ 1524989 w 5792512"/>
              <a:gd name="connsiteY46" fmla="*/ 245175 h 3487140"/>
              <a:gd name="connsiteX47" fmla="*/ 1694081 w 5792512"/>
              <a:gd name="connsiteY47" fmla="*/ 357792 h 3487140"/>
              <a:gd name="connsiteX48" fmla="*/ 1798672 w 5792512"/>
              <a:gd name="connsiteY48" fmla="*/ 483301 h 3487140"/>
              <a:gd name="connsiteX49" fmla="*/ 1822876 w 5792512"/>
              <a:gd name="connsiteY49" fmla="*/ 600951 h 3487140"/>
              <a:gd name="connsiteX50" fmla="*/ 1795345 w 5792512"/>
              <a:gd name="connsiteY50" fmla="*/ 761726 h 3487140"/>
              <a:gd name="connsiteX51" fmla="*/ 1967266 w 5792512"/>
              <a:gd name="connsiteY51" fmla="*/ 1160004 h 3487140"/>
              <a:gd name="connsiteX52" fmla="*/ 2390246 w 5792512"/>
              <a:gd name="connsiteY52" fmla="*/ 1793622 h 3487140"/>
              <a:gd name="connsiteX53" fmla="*/ 2807737 w 5792512"/>
              <a:gd name="connsiteY53" fmla="*/ 2087475 h 3487140"/>
              <a:gd name="connsiteX54" fmla="*/ 2917360 w 5792512"/>
              <a:gd name="connsiteY54" fmla="*/ 2185620 h 3487140"/>
              <a:gd name="connsiteX55" fmla="*/ 2804411 w 5792512"/>
              <a:gd name="connsiteY55" fmla="*/ 2468120 h 3487140"/>
              <a:gd name="connsiteX56" fmla="*/ 2638312 w 5792512"/>
              <a:gd name="connsiteY56" fmla="*/ 2505548 h 3487140"/>
              <a:gd name="connsiteX57" fmla="*/ 2329862 w 5792512"/>
              <a:gd name="connsiteY57" fmla="*/ 2278109 h 3487140"/>
              <a:gd name="connsiteX58" fmla="*/ 1885173 w 5792512"/>
              <a:gd name="connsiteY58" fmla="*/ 1678800 h 3487140"/>
              <a:gd name="connsiteX59" fmla="*/ 1765320 w 5792512"/>
              <a:gd name="connsiteY59" fmla="*/ 1175432 h 3487140"/>
              <a:gd name="connsiteX60" fmla="*/ 1919774 w 5792512"/>
              <a:gd name="connsiteY60" fmla="*/ 1377420 h 3487140"/>
              <a:gd name="connsiteX61" fmla="*/ 2281414 w 5792512"/>
              <a:gd name="connsiteY61" fmla="*/ 2268710 h 3487140"/>
              <a:gd name="connsiteX62" fmla="*/ 2601216 w 5792512"/>
              <a:gd name="connsiteY62" fmla="*/ 2693105 h 3487140"/>
              <a:gd name="connsiteX63" fmla="*/ 2834644 w 5792512"/>
              <a:gd name="connsiteY63" fmla="*/ 2746586 h 3487140"/>
              <a:gd name="connsiteX64" fmla="*/ 3001865 w 5792512"/>
              <a:gd name="connsiteY64" fmla="*/ 2631432 h 3487140"/>
              <a:gd name="connsiteX65" fmla="*/ 3013052 w 5792512"/>
              <a:gd name="connsiteY65" fmla="*/ 2436680 h 3487140"/>
              <a:gd name="connsiteX66" fmla="*/ 2859222 w 5792512"/>
              <a:gd name="connsiteY66" fmla="*/ 2309258 h 3487140"/>
              <a:gd name="connsiteX67" fmla="*/ 2652036 w 5792512"/>
              <a:gd name="connsiteY67" fmla="*/ 2375007 h 3487140"/>
              <a:gd name="connsiteX68" fmla="*/ 2629537 w 5792512"/>
              <a:gd name="connsiteY68" fmla="*/ 2581402 h 3487140"/>
              <a:gd name="connsiteX69" fmla="*/ 2772222 w 5792512"/>
              <a:gd name="connsiteY69" fmla="*/ 2671064 h 3487140"/>
              <a:gd name="connsiteX70" fmla="*/ 2868787 w 5792512"/>
              <a:gd name="connsiteY70" fmla="*/ 2596831 h 3487140"/>
              <a:gd name="connsiteX71" fmla="*/ 2835601 w 5792512"/>
              <a:gd name="connsiteY71" fmla="*/ 2530750 h 3487140"/>
              <a:gd name="connsiteX72" fmla="*/ 2713543 w 5792512"/>
              <a:gd name="connsiteY72" fmla="*/ 2615379 h 3487140"/>
              <a:gd name="connsiteX73" fmla="*/ 2567864 w 5792512"/>
              <a:gd name="connsiteY73" fmla="*/ 2907028 h 3487140"/>
              <a:gd name="connsiteX74" fmla="*/ 2520039 w 5792512"/>
              <a:gd name="connsiteY74" fmla="*/ 3008333 h 3487140"/>
              <a:gd name="connsiteX75" fmla="*/ 2484191 w 5792512"/>
              <a:gd name="connsiteY75" fmla="*/ 3024053 h 3487140"/>
              <a:gd name="connsiteX76" fmla="*/ 2389165 w 5792512"/>
              <a:gd name="connsiteY76" fmla="*/ 3013989 h 3487140"/>
              <a:gd name="connsiteX77" fmla="*/ 2396068 w 5792512"/>
              <a:gd name="connsiteY77" fmla="*/ 2956724 h 3487140"/>
              <a:gd name="connsiteX78" fmla="*/ 2584831 w 5792512"/>
              <a:gd name="connsiteY78" fmla="*/ 2951068 h 3487140"/>
              <a:gd name="connsiteX79" fmla="*/ 2671041 w 5792512"/>
              <a:gd name="connsiteY79" fmla="*/ 2951068 h 3487140"/>
              <a:gd name="connsiteX80" fmla="*/ 2752219 w 5792512"/>
              <a:gd name="connsiteY80" fmla="*/ 2822066 h 3487140"/>
              <a:gd name="connsiteX81" fmla="*/ 2892533 w 5792512"/>
              <a:gd name="connsiteY81" fmla="*/ 2789337 h 3487140"/>
              <a:gd name="connsiteX82" fmla="*/ 3020246 w 5792512"/>
              <a:gd name="connsiteY82" fmla="*/ 2713815 h 3487140"/>
              <a:gd name="connsiteX83" fmla="*/ 3106456 w 5792512"/>
              <a:gd name="connsiteY83" fmla="*/ 2544556 h 3487140"/>
              <a:gd name="connsiteX84" fmla="*/ 3326035 w 5792512"/>
              <a:gd name="connsiteY84" fmla="*/ 2482883 h 3487140"/>
              <a:gd name="connsiteX85" fmla="*/ 3861009 w 5792512"/>
              <a:gd name="connsiteY85" fmla="*/ 2466831 h 3487140"/>
              <a:gd name="connsiteX86" fmla="*/ 4016751 w 5792512"/>
              <a:gd name="connsiteY86" fmla="*/ 2420918 h 3487140"/>
              <a:gd name="connsiteX87" fmla="*/ 3866664 w 5792512"/>
              <a:gd name="connsiteY87" fmla="*/ 2252907 h 3487140"/>
              <a:gd name="connsiteX88" fmla="*/ 3391285 w 5792512"/>
              <a:gd name="connsiteY88" fmla="*/ 1791709 h 3487140"/>
              <a:gd name="connsiteX89" fmla="*/ 3127166 w 5792512"/>
              <a:gd name="connsiteY89" fmla="*/ 1600118 h 3487140"/>
              <a:gd name="connsiteX90" fmla="*/ 3003196 w 5792512"/>
              <a:gd name="connsiteY90" fmla="*/ 1733529 h 3487140"/>
              <a:gd name="connsiteX91" fmla="*/ 2940898 w 5792512"/>
              <a:gd name="connsiteY91" fmla="*/ 1995900 h 3487140"/>
              <a:gd name="connsiteX92" fmla="*/ 2981778 w 5792512"/>
              <a:gd name="connsiteY92" fmla="*/ 2048133 h 3487140"/>
              <a:gd name="connsiteX93" fmla="*/ 3044699 w 5792512"/>
              <a:gd name="connsiteY93" fmla="*/ 1778817 h 3487140"/>
              <a:gd name="connsiteX94" fmla="*/ 3166466 w 5792512"/>
              <a:gd name="connsiteY94" fmla="*/ 1356918 h 3487140"/>
              <a:gd name="connsiteX95" fmla="*/ 3272803 w 5792512"/>
              <a:gd name="connsiteY95" fmla="*/ 986960 h 3487140"/>
              <a:gd name="connsiteX96" fmla="*/ 3243526 w 5792512"/>
              <a:gd name="connsiteY96" fmla="*/ 867107 h 3487140"/>
              <a:gd name="connsiteX97" fmla="*/ 3068612 w 5792512"/>
              <a:gd name="connsiteY97" fmla="*/ 840034 h 3487140"/>
              <a:gd name="connsiteX98" fmla="*/ 2924513 w 5792512"/>
              <a:gd name="connsiteY98" fmla="*/ 782769 h 3487140"/>
              <a:gd name="connsiteX99" fmla="*/ 2940857 w 5792512"/>
              <a:gd name="connsiteY99" fmla="*/ 714816 h 3487140"/>
              <a:gd name="connsiteX100" fmla="*/ 3114524 w 5792512"/>
              <a:gd name="connsiteY100" fmla="*/ 723008 h 3487140"/>
              <a:gd name="connsiteX101" fmla="*/ 3317135 w 5792512"/>
              <a:gd name="connsiteY101" fmla="*/ 729288 h 3487140"/>
              <a:gd name="connsiteX102" fmla="*/ 3483857 w 5792512"/>
              <a:gd name="connsiteY102" fmla="*/ 682087 h 3487140"/>
              <a:gd name="connsiteX103" fmla="*/ 3601506 w 5792512"/>
              <a:gd name="connsiteY103" fmla="*/ 703463 h 3487140"/>
              <a:gd name="connsiteX104" fmla="*/ 3624171 w 5792512"/>
              <a:gd name="connsiteY104" fmla="*/ 797199 h 3487140"/>
              <a:gd name="connsiteX105" fmla="*/ 3496458 w 5792512"/>
              <a:gd name="connsiteY105" fmla="*/ 890936 h 3487140"/>
              <a:gd name="connsiteX106" fmla="*/ 3326575 w 5792512"/>
              <a:gd name="connsiteY106" fmla="*/ 918009 h 3487140"/>
              <a:gd name="connsiteX107" fmla="*/ 3198862 w 5792512"/>
              <a:gd name="connsiteY107" fmla="*/ 1002306 h 3487140"/>
              <a:gd name="connsiteX108" fmla="*/ 3097972 w 5792512"/>
              <a:gd name="connsiteY108" fmla="*/ 1299902 h 3487140"/>
              <a:gd name="connsiteX109" fmla="*/ 3159022 w 5792512"/>
              <a:gd name="connsiteY109" fmla="*/ 1545930 h 3487140"/>
              <a:gd name="connsiteX110" fmla="*/ 3371697 w 5792512"/>
              <a:gd name="connsiteY110" fmla="*/ 1536490 h 3487140"/>
              <a:gd name="connsiteX111" fmla="*/ 3551228 w 5792512"/>
              <a:gd name="connsiteY111" fmla="*/ 1376048 h 3487140"/>
              <a:gd name="connsiteX112" fmla="*/ 3554389 w 5792512"/>
              <a:gd name="connsiteY112" fmla="*/ 1231949 h 3487140"/>
              <a:gd name="connsiteX113" fmla="*/ 3336348 w 5792512"/>
              <a:gd name="connsiteY113" fmla="*/ 1191693 h 3487140"/>
              <a:gd name="connsiteX114" fmla="*/ 3344832 w 5792512"/>
              <a:gd name="connsiteY114" fmla="*/ 1255238 h 3487140"/>
              <a:gd name="connsiteX115" fmla="*/ 3769850 w 5792512"/>
              <a:gd name="connsiteY115" fmla="*/ 1241722 h 3487140"/>
              <a:gd name="connsiteX116" fmla="*/ 4254670 w 5792512"/>
              <a:gd name="connsiteY116" fmla="*/ 1259646 h 3487140"/>
              <a:gd name="connsiteX117" fmla="*/ 4484022 w 5792512"/>
              <a:gd name="connsiteY117" fmla="*/ 1236981 h 3487140"/>
              <a:gd name="connsiteX118" fmla="*/ 4465766 w 5792512"/>
              <a:gd name="connsiteY118" fmla="*/ 1185995 h 3487140"/>
              <a:gd name="connsiteX119" fmla="*/ 4105248 w 5792512"/>
              <a:gd name="connsiteY119" fmla="*/ 1177512 h 3487140"/>
              <a:gd name="connsiteX120" fmla="*/ 3734668 w 5792512"/>
              <a:gd name="connsiteY120" fmla="*/ 1331342 h 3487140"/>
              <a:gd name="connsiteX121" fmla="*/ 3388914 w 5792512"/>
              <a:gd name="connsiteY121" fmla="*/ 1604110 h 3487140"/>
              <a:gd name="connsiteX122" fmla="*/ 3156111 w 5792512"/>
              <a:gd name="connsiteY122" fmla="*/ 1921252 h 3487140"/>
              <a:gd name="connsiteX123" fmla="*/ 3060461 w 5792512"/>
              <a:gd name="connsiteY123" fmla="*/ 2419255 h 3487140"/>
              <a:gd name="connsiteX124" fmla="*/ 3290769 w 5792512"/>
              <a:gd name="connsiteY124" fmla="*/ 3048465 h 3487140"/>
              <a:gd name="connsiteX125" fmla="*/ 3868994 w 5792512"/>
              <a:gd name="connsiteY125" fmla="*/ 3394510 h 3487140"/>
              <a:gd name="connsiteX126" fmla="*/ 4507643 w 5792512"/>
              <a:gd name="connsiteY126" fmla="*/ 3330632 h 3487140"/>
              <a:gd name="connsiteX127" fmla="*/ 5002818 w 5792512"/>
              <a:gd name="connsiteY127" fmla="*/ 2841404 h 3487140"/>
              <a:gd name="connsiteX128" fmla="*/ 5036171 w 5792512"/>
              <a:gd name="connsiteY128" fmla="*/ 2052999 h 3487140"/>
              <a:gd name="connsiteX129" fmla="*/ 4605164 w 5792512"/>
              <a:gd name="connsiteY129" fmla="*/ 1482011 h 3487140"/>
              <a:gd name="connsiteX130" fmla="*/ 4138310 w 5792512"/>
              <a:gd name="connsiteY130" fmla="*/ 1352717 h 3487140"/>
              <a:gd name="connsiteX131" fmla="*/ 3977868 w 5792512"/>
              <a:gd name="connsiteY131" fmla="*/ 1466624 h 3487140"/>
              <a:gd name="connsiteX132" fmla="*/ 3999909 w 5792512"/>
              <a:gd name="connsiteY132" fmla="*/ 2001140 h 3487140"/>
              <a:gd name="connsiteX133" fmla="*/ 4033885 w 5792512"/>
              <a:gd name="connsiteY133" fmla="*/ 2313208 h 3487140"/>
              <a:gd name="connsiteX134" fmla="*/ 4125585 w 5792512"/>
              <a:gd name="connsiteY134" fmla="*/ 2399085 h 3487140"/>
              <a:gd name="connsiteX135" fmla="*/ 4230051 w 5792512"/>
              <a:gd name="connsiteY135" fmla="*/ 2362905 h 3487140"/>
              <a:gd name="connsiteX136" fmla="*/ 4194660 w 5792512"/>
              <a:gd name="connsiteY136" fmla="*/ 2271372 h 3487140"/>
              <a:gd name="connsiteX137" fmla="*/ 4097056 w 5792512"/>
              <a:gd name="connsiteY137" fmla="*/ 2303394 h 3487140"/>
              <a:gd name="connsiteX138" fmla="*/ 4080670 w 5792512"/>
              <a:gd name="connsiteY138" fmla="*/ 2437262 h 3487140"/>
              <a:gd name="connsiteX139" fmla="*/ 4079589 w 5792512"/>
              <a:gd name="connsiteY139" fmla="*/ 2519521 h 3487140"/>
              <a:gd name="connsiteX140" fmla="*/ 3900475 w 5792512"/>
              <a:gd name="connsiteY140" fmla="*/ 2539400 h 3487140"/>
              <a:gd name="connsiteX141" fmla="*/ 3490220 w 5792512"/>
              <a:gd name="connsiteY141" fmla="*/ 2545679 h 3487140"/>
              <a:gd name="connsiteX142" fmla="*/ 3249848 w 5792512"/>
              <a:gd name="connsiteY142" fmla="*/ 2602944 h 3487140"/>
              <a:gd name="connsiteX143" fmla="*/ 3240241 w 5792512"/>
              <a:gd name="connsiteY143" fmla="*/ 2790460 h 3487140"/>
              <a:gd name="connsiteX144" fmla="*/ 3433578 w 5792512"/>
              <a:gd name="connsiteY144" fmla="*/ 3133385 h 3487140"/>
              <a:gd name="connsiteX145" fmla="*/ 3925468 w 5792512"/>
              <a:gd name="connsiteY145" fmla="*/ 3465290 h 3487140"/>
              <a:gd name="connsiteX146" fmla="*/ 4666214 w 5792512"/>
              <a:gd name="connsiteY146" fmla="*/ 3390434 h 3487140"/>
              <a:gd name="connsiteX147" fmla="*/ 5106037 w 5792512"/>
              <a:gd name="connsiteY147" fmla="*/ 3017940 h 3487140"/>
              <a:gd name="connsiteX148" fmla="*/ 5420018 w 5792512"/>
              <a:gd name="connsiteY148" fmla="*/ 2655510 h 3487140"/>
              <a:gd name="connsiteX149" fmla="*/ 5792512 w 5792512"/>
              <a:gd name="connsiteY149" fmla="*/ 3163577 h 3487140"/>
              <a:gd name="connsiteX0" fmla="*/ 777215 w 5420018"/>
              <a:gd name="connsiteY0" fmla="*/ 3295741 h 3487140"/>
              <a:gd name="connsiteX1" fmla="*/ 526113 w 5420018"/>
              <a:gd name="connsiteY1" fmla="*/ 3112384 h 3487140"/>
              <a:gd name="connsiteX2" fmla="*/ 219950 w 5420018"/>
              <a:gd name="connsiteY2" fmla="*/ 2750287 h 3487140"/>
              <a:gd name="connsiteX3" fmla="*/ 128418 w 5420018"/>
              <a:gd name="connsiteY3" fmla="*/ 2305432 h 3487140"/>
              <a:gd name="connsiteX4" fmla="*/ 256006 w 5420018"/>
              <a:gd name="connsiteY4" fmla="*/ 1919713 h 3487140"/>
              <a:gd name="connsiteX5" fmla="*/ 580218 w 5420018"/>
              <a:gd name="connsiteY5" fmla="*/ 1637837 h 3487140"/>
              <a:gd name="connsiteX6" fmla="*/ 1073522 w 5420018"/>
              <a:gd name="connsiteY6" fmla="*/ 1545972 h 3487140"/>
              <a:gd name="connsiteX7" fmla="*/ 1308197 w 5420018"/>
              <a:gd name="connsiteY7" fmla="*/ 1517651 h 3487140"/>
              <a:gd name="connsiteX8" fmla="*/ 1292934 w 5420018"/>
              <a:gd name="connsiteY8" fmla="*/ 1460718 h 3487140"/>
              <a:gd name="connsiteX9" fmla="*/ 1016880 w 5420018"/>
              <a:gd name="connsiteY9" fmla="*/ 1416969 h 3487140"/>
              <a:gd name="connsiteX10" fmla="*/ 497460 w 5420018"/>
              <a:gd name="connsiteY10" fmla="*/ 1517318 h 3487140"/>
              <a:gd name="connsiteX11" fmla="*/ 88162 w 5420018"/>
              <a:gd name="connsiteY11" fmla="*/ 1960593 h 3487140"/>
              <a:gd name="connsiteX12" fmla="*/ 28692 w 5420018"/>
              <a:gd name="connsiteY12" fmla="*/ 2569342 h 3487140"/>
              <a:gd name="connsiteX13" fmla="*/ 442399 w 5420018"/>
              <a:gd name="connsiteY13" fmla="*/ 3165532 h 3487140"/>
              <a:gd name="connsiteX14" fmla="*/ 1232384 w 5420018"/>
              <a:gd name="connsiteY14" fmla="*/ 3283181 h 3487140"/>
              <a:gd name="connsiteX15" fmla="*/ 1835020 w 5420018"/>
              <a:gd name="connsiteY15" fmla="*/ 2757481 h 3487140"/>
              <a:gd name="connsiteX16" fmla="*/ 1824789 w 5420018"/>
              <a:gd name="connsiteY16" fmla="*/ 1980430 h 3487140"/>
              <a:gd name="connsiteX17" fmla="*/ 1494755 w 5420018"/>
              <a:gd name="connsiteY17" fmla="*/ 1589139 h 3487140"/>
              <a:gd name="connsiteX18" fmla="*/ 1305701 w 5420018"/>
              <a:gd name="connsiteY18" fmla="*/ 1660710 h 3487140"/>
              <a:gd name="connsiteX19" fmla="*/ 1197284 w 5420018"/>
              <a:gd name="connsiteY19" fmla="*/ 2116627 h 3487140"/>
              <a:gd name="connsiteX20" fmla="*/ 973921 w 5420018"/>
              <a:gd name="connsiteY20" fmla="*/ 2374258 h 3487140"/>
              <a:gd name="connsiteX21" fmla="*/ 918985 w 5420018"/>
              <a:gd name="connsiteY21" fmla="*/ 2276986 h 3487140"/>
              <a:gd name="connsiteX22" fmla="*/ 1298257 w 5420018"/>
              <a:gd name="connsiteY22" fmla="*/ 2021601 h 3487140"/>
              <a:gd name="connsiteX23" fmla="*/ 1558176 w 5420018"/>
              <a:gd name="connsiteY23" fmla="*/ 1234153 h 3487140"/>
              <a:gd name="connsiteX24" fmla="*/ 1788276 w 5420018"/>
              <a:gd name="connsiteY24" fmla="*/ 725296 h 3487140"/>
              <a:gd name="connsiteX25" fmla="*/ 1896859 w 5420018"/>
              <a:gd name="connsiteY25" fmla="*/ 539984 h 3487140"/>
              <a:gd name="connsiteX26" fmla="*/ 1865711 w 5420018"/>
              <a:gd name="connsiteY26" fmla="*/ 435851 h 3487140"/>
              <a:gd name="connsiteX27" fmla="*/ 1759373 w 5420018"/>
              <a:gd name="connsiteY27" fmla="*/ 350265 h 3487140"/>
              <a:gd name="connsiteX28" fmla="*/ 1714085 w 5420018"/>
              <a:gd name="connsiteY28" fmla="*/ 209327 h 3487140"/>
              <a:gd name="connsiteX29" fmla="*/ 1758915 w 5420018"/>
              <a:gd name="connsiteY29" fmla="*/ 82237 h 3487140"/>
              <a:gd name="connsiteX30" fmla="*/ 1939195 w 5420018"/>
              <a:gd name="connsiteY30" fmla="*/ 6716 h 3487140"/>
              <a:gd name="connsiteX31" fmla="*/ 2207888 w 5420018"/>
              <a:gd name="connsiteY31" fmla="*/ 10167 h 3487140"/>
              <a:gd name="connsiteX32" fmla="*/ 2291561 w 5420018"/>
              <a:gd name="connsiteY32" fmla="*/ 49800 h 3487140"/>
              <a:gd name="connsiteX33" fmla="*/ 2244526 w 5420018"/>
              <a:gd name="connsiteY33" fmla="*/ 86812 h 3487140"/>
              <a:gd name="connsiteX34" fmla="*/ 2008603 w 5420018"/>
              <a:gd name="connsiteY34" fmla="*/ 91886 h 3487140"/>
              <a:gd name="connsiteX35" fmla="*/ 1765070 w 5420018"/>
              <a:gd name="connsiteY35" fmla="*/ 75833 h 3487140"/>
              <a:gd name="connsiteX36" fmla="*/ 1657319 w 5420018"/>
              <a:gd name="connsiteY36" fmla="*/ 176931 h 3487140"/>
              <a:gd name="connsiteX37" fmla="*/ 1672581 w 5420018"/>
              <a:gd name="connsiteY37" fmla="*/ 370393 h 3487140"/>
              <a:gd name="connsiteX38" fmla="*/ 1617354 w 5420018"/>
              <a:gd name="connsiteY38" fmla="*/ 589348 h 3487140"/>
              <a:gd name="connsiteX39" fmla="*/ 1460820 w 5420018"/>
              <a:gd name="connsiteY39" fmla="*/ 903953 h 3487140"/>
              <a:gd name="connsiteX40" fmla="*/ 1250349 w 5420018"/>
              <a:gd name="connsiteY40" fmla="*/ 922501 h 3487140"/>
              <a:gd name="connsiteX41" fmla="*/ 1055930 w 5420018"/>
              <a:gd name="connsiteY41" fmla="*/ 866816 h 3487140"/>
              <a:gd name="connsiteX42" fmla="*/ 997085 w 5420018"/>
              <a:gd name="connsiteY42" fmla="*/ 751038 h 3487140"/>
              <a:gd name="connsiteX43" fmla="*/ 1009021 w 5420018"/>
              <a:gd name="connsiteY43" fmla="*/ 369436 h 3487140"/>
              <a:gd name="connsiteX44" fmla="*/ 1070694 w 5420018"/>
              <a:gd name="connsiteY44" fmla="*/ 155805 h 3487140"/>
              <a:gd name="connsiteX45" fmla="*/ 1272058 w 5420018"/>
              <a:gd name="connsiteY45" fmla="*/ 156761 h 3487140"/>
              <a:gd name="connsiteX46" fmla="*/ 1524989 w 5420018"/>
              <a:gd name="connsiteY46" fmla="*/ 245175 h 3487140"/>
              <a:gd name="connsiteX47" fmla="*/ 1694081 w 5420018"/>
              <a:gd name="connsiteY47" fmla="*/ 357792 h 3487140"/>
              <a:gd name="connsiteX48" fmla="*/ 1798672 w 5420018"/>
              <a:gd name="connsiteY48" fmla="*/ 483301 h 3487140"/>
              <a:gd name="connsiteX49" fmla="*/ 1822876 w 5420018"/>
              <a:gd name="connsiteY49" fmla="*/ 600951 h 3487140"/>
              <a:gd name="connsiteX50" fmla="*/ 1795345 w 5420018"/>
              <a:gd name="connsiteY50" fmla="*/ 761726 h 3487140"/>
              <a:gd name="connsiteX51" fmla="*/ 1967266 w 5420018"/>
              <a:gd name="connsiteY51" fmla="*/ 1160004 h 3487140"/>
              <a:gd name="connsiteX52" fmla="*/ 2390246 w 5420018"/>
              <a:gd name="connsiteY52" fmla="*/ 1793622 h 3487140"/>
              <a:gd name="connsiteX53" fmla="*/ 2807737 w 5420018"/>
              <a:gd name="connsiteY53" fmla="*/ 2087475 h 3487140"/>
              <a:gd name="connsiteX54" fmla="*/ 2917360 w 5420018"/>
              <a:gd name="connsiteY54" fmla="*/ 2185620 h 3487140"/>
              <a:gd name="connsiteX55" fmla="*/ 2804411 w 5420018"/>
              <a:gd name="connsiteY55" fmla="*/ 2468120 h 3487140"/>
              <a:gd name="connsiteX56" fmla="*/ 2638312 w 5420018"/>
              <a:gd name="connsiteY56" fmla="*/ 2505548 h 3487140"/>
              <a:gd name="connsiteX57" fmla="*/ 2329862 w 5420018"/>
              <a:gd name="connsiteY57" fmla="*/ 2278109 h 3487140"/>
              <a:gd name="connsiteX58" fmla="*/ 1885173 w 5420018"/>
              <a:gd name="connsiteY58" fmla="*/ 1678800 h 3487140"/>
              <a:gd name="connsiteX59" fmla="*/ 1765320 w 5420018"/>
              <a:gd name="connsiteY59" fmla="*/ 1175432 h 3487140"/>
              <a:gd name="connsiteX60" fmla="*/ 1919774 w 5420018"/>
              <a:gd name="connsiteY60" fmla="*/ 1377420 h 3487140"/>
              <a:gd name="connsiteX61" fmla="*/ 2281414 w 5420018"/>
              <a:gd name="connsiteY61" fmla="*/ 2268710 h 3487140"/>
              <a:gd name="connsiteX62" fmla="*/ 2601216 w 5420018"/>
              <a:gd name="connsiteY62" fmla="*/ 2693105 h 3487140"/>
              <a:gd name="connsiteX63" fmla="*/ 2834644 w 5420018"/>
              <a:gd name="connsiteY63" fmla="*/ 2746586 h 3487140"/>
              <a:gd name="connsiteX64" fmla="*/ 3001865 w 5420018"/>
              <a:gd name="connsiteY64" fmla="*/ 2631432 h 3487140"/>
              <a:gd name="connsiteX65" fmla="*/ 3013052 w 5420018"/>
              <a:gd name="connsiteY65" fmla="*/ 2436680 h 3487140"/>
              <a:gd name="connsiteX66" fmla="*/ 2859222 w 5420018"/>
              <a:gd name="connsiteY66" fmla="*/ 2309258 h 3487140"/>
              <a:gd name="connsiteX67" fmla="*/ 2652036 w 5420018"/>
              <a:gd name="connsiteY67" fmla="*/ 2375007 h 3487140"/>
              <a:gd name="connsiteX68" fmla="*/ 2629537 w 5420018"/>
              <a:gd name="connsiteY68" fmla="*/ 2581402 h 3487140"/>
              <a:gd name="connsiteX69" fmla="*/ 2772222 w 5420018"/>
              <a:gd name="connsiteY69" fmla="*/ 2671064 h 3487140"/>
              <a:gd name="connsiteX70" fmla="*/ 2868787 w 5420018"/>
              <a:gd name="connsiteY70" fmla="*/ 2596831 h 3487140"/>
              <a:gd name="connsiteX71" fmla="*/ 2835601 w 5420018"/>
              <a:gd name="connsiteY71" fmla="*/ 2530750 h 3487140"/>
              <a:gd name="connsiteX72" fmla="*/ 2713543 w 5420018"/>
              <a:gd name="connsiteY72" fmla="*/ 2615379 h 3487140"/>
              <a:gd name="connsiteX73" fmla="*/ 2567864 w 5420018"/>
              <a:gd name="connsiteY73" fmla="*/ 2907028 h 3487140"/>
              <a:gd name="connsiteX74" fmla="*/ 2520039 w 5420018"/>
              <a:gd name="connsiteY74" fmla="*/ 3008333 h 3487140"/>
              <a:gd name="connsiteX75" fmla="*/ 2484191 w 5420018"/>
              <a:gd name="connsiteY75" fmla="*/ 3024053 h 3487140"/>
              <a:gd name="connsiteX76" fmla="*/ 2389165 w 5420018"/>
              <a:gd name="connsiteY76" fmla="*/ 3013989 h 3487140"/>
              <a:gd name="connsiteX77" fmla="*/ 2396068 w 5420018"/>
              <a:gd name="connsiteY77" fmla="*/ 2956724 h 3487140"/>
              <a:gd name="connsiteX78" fmla="*/ 2584831 w 5420018"/>
              <a:gd name="connsiteY78" fmla="*/ 2951068 h 3487140"/>
              <a:gd name="connsiteX79" fmla="*/ 2671041 w 5420018"/>
              <a:gd name="connsiteY79" fmla="*/ 2951068 h 3487140"/>
              <a:gd name="connsiteX80" fmla="*/ 2752219 w 5420018"/>
              <a:gd name="connsiteY80" fmla="*/ 2822066 h 3487140"/>
              <a:gd name="connsiteX81" fmla="*/ 2892533 w 5420018"/>
              <a:gd name="connsiteY81" fmla="*/ 2789337 h 3487140"/>
              <a:gd name="connsiteX82" fmla="*/ 3020246 w 5420018"/>
              <a:gd name="connsiteY82" fmla="*/ 2713815 h 3487140"/>
              <a:gd name="connsiteX83" fmla="*/ 3106456 w 5420018"/>
              <a:gd name="connsiteY83" fmla="*/ 2544556 h 3487140"/>
              <a:gd name="connsiteX84" fmla="*/ 3326035 w 5420018"/>
              <a:gd name="connsiteY84" fmla="*/ 2482883 h 3487140"/>
              <a:gd name="connsiteX85" fmla="*/ 3861009 w 5420018"/>
              <a:gd name="connsiteY85" fmla="*/ 2466831 h 3487140"/>
              <a:gd name="connsiteX86" fmla="*/ 4016751 w 5420018"/>
              <a:gd name="connsiteY86" fmla="*/ 2420918 h 3487140"/>
              <a:gd name="connsiteX87" fmla="*/ 3866664 w 5420018"/>
              <a:gd name="connsiteY87" fmla="*/ 2252907 h 3487140"/>
              <a:gd name="connsiteX88" fmla="*/ 3391285 w 5420018"/>
              <a:gd name="connsiteY88" fmla="*/ 1791709 h 3487140"/>
              <a:gd name="connsiteX89" fmla="*/ 3127166 w 5420018"/>
              <a:gd name="connsiteY89" fmla="*/ 1600118 h 3487140"/>
              <a:gd name="connsiteX90" fmla="*/ 3003196 w 5420018"/>
              <a:gd name="connsiteY90" fmla="*/ 1733529 h 3487140"/>
              <a:gd name="connsiteX91" fmla="*/ 2940898 w 5420018"/>
              <a:gd name="connsiteY91" fmla="*/ 1995900 h 3487140"/>
              <a:gd name="connsiteX92" fmla="*/ 2981778 w 5420018"/>
              <a:gd name="connsiteY92" fmla="*/ 2048133 h 3487140"/>
              <a:gd name="connsiteX93" fmla="*/ 3044699 w 5420018"/>
              <a:gd name="connsiteY93" fmla="*/ 1778817 h 3487140"/>
              <a:gd name="connsiteX94" fmla="*/ 3166466 w 5420018"/>
              <a:gd name="connsiteY94" fmla="*/ 1356918 h 3487140"/>
              <a:gd name="connsiteX95" fmla="*/ 3272803 w 5420018"/>
              <a:gd name="connsiteY95" fmla="*/ 986960 h 3487140"/>
              <a:gd name="connsiteX96" fmla="*/ 3243526 w 5420018"/>
              <a:gd name="connsiteY96" fmla="*/ 867107 h 3487140"/>
              <a:gd name="connsiteX97" fmla="*/ 3068612 w 5420018"/>
              <a:gd name="connsiteY97" fmla="*/ 840034 h 3487140"/>
              <a:gd name="connsiteX98" fmla="*/ 2924513 w 5420018"/>
              <a:gd name="connsiteY98" fmla="*/ 782769 h 3487140"/>
              <a:gd name="connsiteX99" fmla="*/ 2940857 w 5420018"/>
              <a:gd name="connsiteY99" fmla="*/ 714816 h 3487140"/>
              <a:gd name="connsiteX100" fmla="*/ 3114524 w 5420018"/>
              <a:gd name="connsiteY100" fmla="*/ 723008 h 3487140"/>
              <a:gd name="connsiteX101" fmla="*/ 3317135 w 5420018"/>
              <a:gd name="connsiteY101" fmla="*/ 729288 h 3487140"/>
              <a:gd name="connsiteX102" fmla="*/ 3483857 w 5420018"/>
              <a:gd name="connsiteY102" fmla="*/ 682087 h 3487140"/>
              <a:gd name="connsiteX103" fmla="*/ 3601506 w 5420018"/>
              <a:gd name="connsiteY103" fmla="*/ 703463 h 3487140"/>
              <a:gd name="connsiteX104" fmla="*/ 3624171 w 5420018"/>
              <a:gd name="connsiteY104" fmla="*/ 797199 h 3487140"/>
              <a:gd name="connsiteX105" fmla="*/ 3496458 w 5420018"/>
              <a:gd name="connsiteY105" fmla="*/ 890936 h 3487140"/>
              <a:gd name="connsiteX106" fmla="*/ 3326575 w 5420018"/>
              <a:gd name="connsiteY106" fmla="*/ 918009 h 3487140"/>
              <a:gd name="connsiteX107" fmla="*/ 3198862 w 5420018"/>
              <a:gd name="connsiteY107" fmla="*/ 1002306 h 3487140"/>
              <a:gd name="connsiteX108" fmla="*/ 3097972 w 5420018"/>
              <a:gd name="connsiteY108" fmla="*/ 1299902 h 3487140"/>
              <a:gd name="connsiteX109" fmla="*/ 3159022 w 5420018"/>
              <a:gd name="connsiteY109" fmla="*/ 1545930 h 3487140"/>
              <a:gd name="connsiteX110" fmla="*/ 3371697 w 5420018"/>
              <a:gd name="connsiteY110" fmla="*/ 1536490 h 3487140"/>
              <a:gd name="connsiteX111" fmla="*/ 3551228 w 5420018"/>
              <a:gd name="connsiteY111" fmla="*/ 1376048 h 3487140"/>
              <a:gd name="connsiteX112" fmla="*/ 3554389 w 5420018"/>
              <a:gd name="connsiteY112" fmla="*/ 1231949 h 3487140"/>
              <a:gd name="connsiteX113" fmla="*/ 3336348 w 5420018"/>
              <a:gd name="connsiteY113" fmla="*/ 1191693 h 3487140"/>
              <a:gd name="connsiteX114" fmla="*/ 3344832 w 5420018"/>
              <a:gd name="connsiteY114" fmla="*/ 1255238 h 3487140"/>
              <a:gd name="connsiteX115" fmla="*/ 3769850 w 5420018"/>
              <a:gd name="connsiteY115" fmla="*/ 1241722 h 3487140"/>
              <a:gd name="connsiteX116" fmla="*/ 4254670 w 5420018"/>
              <a:gd name="connsiteY116" fmla="*/ 1259646 h 3487140"/>
              <a:gd name="connsiteX117" fmla="*/ 4484022 w 5420018"/>
              <a:gd name="connsiteY117" fmla="*/ 1236981 h 3487140"/>
              <a:gd name="connsiteX118" fmla="*/ 4465766 w 5420018"/>
              <a:gd name="connsiteY118" fmla="*/ 1185995 h 3487140"/>
              <a:gd name="connsiteX119" fmla="*/ 4105248 w 5420018"/>
              <a:gd name="connsiteY119" fmla="*/ 1177512 h 3487140"/>
              <a:gd name="connsiteX120" fmla="*/ 3734668 w 5420018"/>
              <a:gd name="connsiteY120" fmla="*/ 1331342 h 3487140"/>
              <a:gd name="connsiteX121" fmla="*/ 3388914 w 5420018"/>
              <a:gd name="connsiteY121" fmla="*/ 1604110 h 3487140"/>
              <a:gd name="connsiteX122" fmla="*/ 3156111 w 5420018"/>
              <a:gd name="connsiteY122" fmla="*/ 1921252 h 3487140"/>
              <a:gd name="connsiteX123" fmla="*/ 3060461 w 5420018"/>
              <a:gd name="connsiteY123" fmla="*/ 2419255 h 3487140"/>
              <a:gd name="connsiteX124" fmla="*/ 3290769 w 5420018"/>
              <a:gd name="connsiteY124" fmla="*/ 3048465 h 3487140"/>
              <a:gd name="connsiteX125" fmla="*/ 3868994 w 5420018"/>
              <a:gd name="connsiteY125" fmla="*/ 3394510 h 3487140"/>
              <a:gd name="connsiteX126" fmla="*/ 4507643 w 5420018"/>
              <a:gd name="connsiteY126" fmla="*/ 3330632 h 3487140"/>
              <a:gd name="connsiteX127" fmla="*/ 5002818 w 5420018"/>
              <a:gd name="connsiteY127" fmla="*/ 2841404 h 3487140"/>
              <a:gd name="connsiteX128" fmla="*/ 5036171 w 5420018"/>
              <a:gd name="connsiteY128" fmla="*/ 2052999 h 3487140"/>
              <a:gd name="connsiteX129" fmla="*/ 4605164 w 5420018"/>
              <a:gd name="connsiteY129" fmla="*/ 1482011 h 3487140"/>
              <a:gd name="connsiteX130" fmla="*/ 4138310 w 5420018"/>
              <a:gd name="connsiteY130" fmla="*/ 1352717 h 3487140"/>
              <a:gd name="connsiteX131" fmla="*/ 3977868 w 5420018"/>
              <a:gd name="connsiteY131" fmla="*/ 1466624 h 3487140"/>
              <a:gd name="connsiteX132" fmla="*/ 3999909 w 5420018"/>
              <a:gd name="connsiteY132" fmla="*/ 2001140 h 3487140"/>
              <a:gd name="connsiteX133" fmla="*/ 4033885 w 5420018"/>
              <a:gd name="connsiteY133" fmla="*/ 2313208 h 3487140"/>
              <a:gd name="connsiteX134" fmla="*/ 4125585 w 5420018"/>
              <a:gd name="connsiteY134" fmla="*/ 2399085 h 3487140"/>
              <a:gd name="connsiteX135" fmla="*/ 4230051 w 5420018"/>
              <a:gd name="connsiteY135" fmla="*/ 2362905 h 3487140"/>
              <a:gd name="connsiteX136" fmla="*/ 4194660 w 5420018"/>
              <a:gd name="connsiteY136" fmla="*/ 2271372 h 3487140"/>
              <a:gd name="connsiteX137" fmla="*/ 4097056 w 5420018"/>
              <a:gd name="connsiteY137" fmla="*/ 2303394 h 3487140"/>
              <a:gd name="connsiteX138" fmla="*/ 4080670 w 5420018"/>
              <a:gd name="connsiteY138" fmla="*/ 2437262 h 3487140"/>
              <a:gd name="connsiteX139" fmla="*/ 4079589 w 5420018"/>
              <a:gd name="connsiteY139" fmla="*/ 2519521 h 3487140"/>
              <a:gd name="connsiteX140" fmla="*/ 3900475 w 5420018"/>
              <a:gd name="connsiteY140" fmla="*/ 2539400 h 3487140"/>
              <a:gd name="connsiteX141" fmla="*/ 3490220 w 5420018"/>
              <a:gd name="connsiteY141" fmla="*/ 2545679 h 3487140"/>
              <a:gd name="connsiteX142" fmla="*/ 3249848 w 5420018"/>
              <a:gd name="connsiteY142" fmla="*/ 2602944 h 3487140"/>
              <a:gd name="connsiteX143" fmla="*/ 3240241 w 5420018"/>
              <a:gd name="connsiteY143" fmla="*/ 2790460 h 3487140"/>
              <a:gd name="connsiteX144" fmla="*/ 3433578 w 5420018"/>
              <a:gd name="connsiteY144" fmla="*/ 3133385 h 3487140"/>
              <a:gd name="connsiteX145" fmla="*/ 3925468 w 5420018"/>
              <a:gd name="connsiteY145" fmla="*/ 3465290 h 3487140"/>
              <a:gd name="connsiteX146" fmla="*/ 4666214 w 5420018"/>
              <a:gd name="connsiteY146" fmla="*/ 3390434 h 3487140"/>
              <a:gd name="connsiteX147" fmla="*/ 5106037 w 5420018"/>
              <a:gd name="connsiteY147" fmla="*/ 3017940 h 3487140"/>
              <a:gd name="connsiteX148" fmla="*/ 5420018 w 5420018"/>
              <a:gd name="connsiteY148" fmla="*/ 2655510 h 3487140"/>
              <a:gd name="connsiteX0" fmla="*/ 777215 w 5106037"/>
              <a:gd name="connsiteY0" fmla="*/ 3295741 h 3487140"/>
              <a:gd name="connsiteX1" fmla="*/ 526113 w 5106037"/>
              <a:gd name="connsiteY1" fmla="*/ 3112384 h 3487140"/>
              <a:gd name="connsiteX2" fmla="*/ 219950 w 5106037"/>
              <a:gd name="connsiteY2" fmla="*/ 2750287 h 3487140"/>
              <a:gd name="connsiteX3" fmla="*/ 128418 w 5106037"/>
              <a:gd name="connsiteY3" fmla="*/ 2305432 h 3487140"/>
              <a:gd name="connsiteX4" fmla="*/ 256006 w 5106037"/>
              <a:gd name="connsiteY4" fmla="*/ 1919713 h 3487140"/>
              <a:gd name="connsiteX5" fmla="*/ 580218 w 5106037"/>
              <a:gd name="connsiteY5" fmla="*/ 1637837 h 3487140"/>
              <a:gd name="connsiteX6" fmla="*/ 1073522 w 5106037"/>
              <a:gd name="connsiteY6" fmla="*/ 1545972 h 3487140"/>
              <a:gd name="connsiteX7" fmla="*/ 1308197 w 5106037"/>
              <a:gd name="connsiteY7" fmla="*/ 1517651 h 3487140"/>
              <a:gd name="connsiteX8" fmla="*/ 1292934 w 5106037"/>
              <a:gd name="connsiteY8" fmla="*/ 1460718 h 3487140"/>
              <a:gd name="connsiteX9" fmla="*/ 1016880 w 5106037"/>
              <a:gd name="connsiteY9" fmla="*/ 1416969 h 3487140"/>
              <a:gd name="connsiteX10" fmla="*/ 497460 w 5106037"/>
              <a:gd name="connsiteY10" fmla="*/ 1517318 h 3487140"/>
              <a:gd name="connsiteX11" fmla="*/ 88162 w 5106037"/>
              <a:gd name="connsiteY11" fmla="*/ 1960593 h 3487140"/>
              <a:gd name="connsiteX12" fmla="*/ 28692 w 5106037"/>
              <a:gd name="connsiteY12" fmla="*/ 2569342 h 3487140"/>
              <a:gd name="connsiteX13" fmla="*/ 442399 w 5106037"/>
              <a:gd name="connsiteY13" fmla="*/ 3165532 h 3487140"/>
              <a:gd name="connsiteX14" fmla="*/ 1232384 w 5106037"/>
              <a:gd name="connsiteY14" fmla="*/ 3283181 h 3487140"/>
              <a:gd name="connsiteX15" fmla="*/ 1835020 w 5106037"/>
              <a:gd name="connsiteY15" fmla="*/ 2757481 h 3487140"/>
              <a:gd name="connsiteX16" fmla="*/ 1824789 w 5106037"/>
              <a:gd name="connsiteY16" fmla="*/ 1980430 h 3487140"/>
              <a:gd name="connsiteX17" fmla="*/ 1494755 w 5106037"/>
              <a:gd name="connsiteY17" fmla="*/ 1589139 h 3487140"/>
              <a:gd name="connsiteX18" fmla="*/ 1305701 w 5106037"/>
              <a:gd name="connsiteY18" fmla="*/ 1660710 h 3487140"/>
              <a:gd name="connsiteX19" fmla="*/ 1197284 w 5106037"/>
              <a:gd name="connsiteY19" fmla="*/ 2116627 h 3487140"/>
              <a:gd name="connsiteX20" fmla="*/ 973921 w 5106037"/>
              <a:gd name="connsiteY20" fmla="*/ 2374258 h 3487140"/>
              <a:gd name="connsiteX21" fmla="*/ 918985 w 5106037"/>
              <a:gd name="connsiteY21" fmla="*/ 2276986 h 3487140"/>
              <a:gd name="connsiteX22" fmla="*/ 1298257 w 5106037"/>
              <a:gd name="connsiteY22" fmla="*/ 2021601 h 3487140"/>
              <a:gd name="connsiteX23" fmla="*/ 1558176 w 5106037"/>
              <a:gd name="connsiteY23" fmla="*/ 1234153 h 3487140"/>
              <a:gd name="connsiteX24" fmla="*/ 1788276 w 5106037"/>
              <a:gd name="connsiteY24" fmla="*/ 725296 h 3487140"/>
              <a:gd name="connsiteX25" fmla="*/ 1896859 w 5106037"/>
              <a:gd name="connsiteY25" fmla="*/ 539984 h 3487140"/>
              <a:gd name="connsiteX26" fmla="*/ 1865711 w 5106037"/>
              <a:gd name="connsiteY26" fmla="*/ 435851 h 3487140"/>
              <a:gd name="connsiteX27" fmla="*/ 1759373 w 5106037"/>
              <a:gd name="connsiteY27" fmla="*/ 350265 h 3487140"/>
              <a:gd name="connsiteX28" fmla="*/ 1714085 w 5106037"/>
              <a:gd name="connsiteY28" fmla="*/ 209327 h 3487140"/>
              <a:gd name="connsiteX29" fmla="*/ 1758915 w 5106037"/>
              <a:gd name="connsiteY29" fmla="*/ 82237 h 3487140"/>
              <a:gd name="connsiteX30" fmla="*/ 1939195 w 5106037"/>
              <a:gd name="connsiteY30" fmla="*/ 6716 h 3487140"/>
              <a:gd name="connsiteX31" fmla="*/ 2207888 w 5106037"/>
              <a:gd name="connsiteY31" fmla="*/ 10167 h 3487140"/>
              <a:gd name="connsiteX32" fmla="*/ 2291561 w 5106037"/>
              <a:gd name="connsiteY32" fmla="*/ 49800 h 3487140"/>
              <a:gd name="connsiteX33" fmla="*/ 2244526 w 5106037"/>
              <a:gd name="connsiteY33" fmla="*/ 86812 h 3487140"/>
              <a:gd name="connsiteX34" fmla="*/ 2008603 w 5106037"/>
              <a:gd name="connsiteY34" fmla="*/ 91886 h 3487140"/>
              <a:gd name="connsiteX35" fmla="*/ 1765070 w 5106037"/>
              <a:gd name="connsiteY35" fmla="*/ 75833 h 3487140"/>
              <a:gd name="connsiteX36" fmla="*/ 1657319 w 5106037"/>
              <a:gd name="connsiteY36" fmla="*/ 176931 h 3487140"/>
              <a:gd name="connsiteX37" fmla="*/ 1672581 w 5106037"/>
              <a:gd name="connsiteY37" fmla="*/ 370393 h 3487140"/>
              <a:gd name="connsiteX38" fmla="*/ 1617354 w 5106037"/>
              <a:gd name="connsiteY38" fmla="*/ 589348 h 3487140"/>
              <a:gd name="connsiteX39" fmla="*/ 1460820 w 5106037"/>
              <a:gd name="connsiteY39" fmla="*/ 903953 h 3487140"/>
              <a:gd name="connsiteX40" fmla="*/ 1250349 w 5106037"/>
              <a:gd name="connsiteY40" fmla="*/ 922501 h 3487140"/>
              <a:gd name="connsiteX41" fmla="*/ 1055930 w 5106037"/>
              <a:gd name="connsiteY41" fmla="*/ 866816 h 3487140"/>
              <a:gd name="connsiteX42" fmla="*/ 997085 w 5106037"/>
              <a:gd name="connsiteY42" fmla="*/ 751038 h 3487140"/>
              <a:gd name="connsiteX43" fmla="*/ 1009021 w 5106037"/>
              <a:gd name="connsiteY43" fmla="*/ 369436 h 3487140"/>
              <a:gd name="connsiteX44" fmla="*/ 1070694 w 5106037"/>
              <a:gd name="connsiteY44" fmla="*/ 155805 h 3487140"/>
              <a:gd name="connsiteX45" fmla="*/ 1272058 w 5106037"/>
              <a:gd name="connsiteY45" fmla="*/ 156761 h 3487140"/>
              <a:gd name="connsiteX46" fmla="*/ 1524989 w 5106037"/>
              <a:gd name="connsiteY46" fmla="*/ 245175 h 3487140"/>
              <a:gd name="connsiteX47" fmla="*/ 1694081 w 5106037"/>
              <a:gd name="connsiteY47" fmla="*/ 357792 h 3487140"/>
              <a:gd name="connsiteX48" fmla="*/ 1798672 w 5106037"/>
              <a:gd name="connsiteY48" fmla="*/ 483301 h 3487140"/>
              <a:gd name="connsiteX49" fmla="*/ 1822876 w 5106037"/>
              <a:gd name="connsiteY49" fmla="*/ 600951 h 3487140"/>
              <a:gd name="connsiteX50" fmla="*/ 1795345 w 5106037"/>
              <a:gd name="connsiteY50" fmla="*/ 761726 h 3487140"/>
              <a:gd name="connsiteX51" fmla="*/ 1967266 w 5106037"/>
              <a:gd name="connsiteY51" fmla="*/ 1160004 h 3487140"/>
              <a:gd name="connsiteX52" fmla="*/ 2390246 w 5106037"/>
              <a:gd name="connsiteY52" fmla="*/ 1793622 h 3487140"/>
              <a:gd name="connsiteX53" fmla="*/ 2807737 w 5106037"/>
              <a:gd name="connsiteY53" fmla="*/ 2087475 h 3487140"/>
              <a:gd name="connsiteX54" fmla="*/ 2917360 w 5106037"/>
              <a:gd name="connsiteY54" fmla="*/ 2185620 h 3487140"/>
              <a:gd name="connsiteX55" fmla="*/ 2804411 w 5106037"/>
              <a:gd name="connsiteY55" fmla="*/ 2468120 h 3487140"/>
              <a:gd name="connsiteX56" fmla="*/ 2638312 w 5106037"/>
              <a:gd name="connsiteY56" fmla="*/ 2505548 h 3487140"/>
              <a:gd name="connsiteX57" fmla="*/ 2329862 w 5106037"/>
              <a:gd name="connsiteY57" fmla="*/ 2278109 h 3487140"/>
              <a:gd name="connsiteX58" fmla="*/ 1885173 w 5106037"/>
              <a:gd name="connsiteY58" fmla="*/ 1678800 h 3487140"/>
              <a:gd name="connsiteX59" fmla="*/ 1765320 w 5106037"/>
              <a:gd name="connsiteY59" fmla="*/ 1175432 h 3487140"/>
              <a:gd name="connsiteX60" fmla="*/ 1919774 w 5106037"/>
              <a:gd name="connsiteY60" fmla="*/ 1377420 h 3487140"/>
              <a:gd name="connsiteX61" fmla="*/ 2281414 w 5106037"/>
              <a:gd name="connsiteY61" fmla="*/ 2268710 h 3487140"/>
              <a:gd name="connsiteX62" fmla="*/ 2601216 w 5106037"/>
              <a:gd name="connsiteY62" fmla="*/ 2693105 h 3487140"/>
              <a:gd name="connsiteX63" fmla="*/ 2834644 w 5106037"/>
              <a:gd name="connsiteY63" fmla="*/ 2746586 h 3487140"/>
              <a:gd name="connsiteX64" fmla="*/ 3001865 w 5106037"/>
              <a:gd name="connsiteY64" fmla="*/ 2631432 h 3487140"/>
              <a:gd name="connsiteX65" fmla="*/ 3013052 w 5106037"/>
              <a:gd name="connsiteY65" fmla="*/ 2436680 h 3487140"/>
              <a:gd name="connsiteX66" fmla="*/ 2859222 w 5106037"/>
              <a:gd name="connsiteY66" fmla="*/ 2309258 h 3487140"/>
              <a:gd name="connsiteX67" fmla="*/ 2652036 w 5106037"/>
              <a:gd name="connsiteY67" fmla="*/ 2375007 h 3487140"/>
              <a:gd name="connsiteX68" fmla="*/ 2629537 w 5106037"/>
              <a:gd name="connsiteY68" fmla="*/ 2581402 h 3487140"/>
              <a:gd name="connsiteX69" fmla="*/ 2772222 w 5106037"/>
              <a:gd name="connsiteY69" fmla="*/ 2671064 h 3487140"/>
              <a:gd name="connsiteX70" fmla="*/ 2868787 w 5106037"/>
              <a:gd name="connsiteY70" fmla="*/ 2596831 h 3487140"/>
              <a:gd name="connsiteX71" fmla="*/ 2835601 w 5106037"/>
              <a:gd name="connsiteY71" fmla="*/ 2530750 h 3487140"/>
              <a:gd name="connsiteX72" fmla="*/ 2713543 w 5106037"/>
              <a:gd name="connsiteY72" fmla="*/ 2615379 h 3487140"/>
              <a:gd name="connsiteX73" fmla="*/ 2567864 w 5106037"/>
              <a:gd name="connsiteY73" fmla="*/ 2907028 h 3487140"/>
              <a:gd name="connsiteX74" fmla="*/ 2520039 w 5106037"/>
              <a:gd name="connsiteY74" fmla="*/ 3008333 h 3487140"/>
              <a:gd name="connsiteX75" fmla="*/ 2484191 w 5106037"/>
              <a:gd name="connsiteY75" fmla="*/ 3024053 h 3487140"/>
              <a:gd name="connsiteX76" fmla="*/ 2389165 w 5106037"/>
              <a:gd name="connsiteY76" fmla="*/ 3013989 h 3487140"/>
              <a:gd name="connsiteX77" fmla="*/ 2396068 w 5106037"/>
              <a:gd name="connsiteY77" fmla="*/ 2956724 h 3487140"/>
              <a:gd name="connsiteX78" fmla="*/ 2584831 w 5106037"/>
              <a:gd name="connsiteY78" fmla="*/ 2951068 h 3487140"/>
              <a:gd name="connsiteX79" fmla="*/ 2671041 w 5106037"/>
              <a:gd name="connsiteY79" fmla="*/ 2951068 h 3487140"/>
              <a:gd name="connsiteX80" fmla="*/ 2752219 w 5106037"/>
              <a:gd name="connsiteY80" fmla="*/ 2822066 h 3487140"/>
              <a:gd name="connsiteX81" fmla="*/ 2892533 w 5106037"/>
              <a:gd name="connsiteY81" fmla="*/ 2789337 h 3487140"/>
              <a:gd name="connsiteX82" fmla="*/ 3020246 w 5106037"/>
              <a:gd name="connsiteY82" fmla="*/ 2713815 h 3487140"/>
              <a:gd name="connsiteX83" fmla="*/ 3106456 w 5106037"/>
              <a:gd name="connsiteY83" fmla="*/ 2544556 h 3487140"/>
              <a:gd name="connsiteX84" fmla="*/ 3326035 w 5106037"/>
              <a:gd name="connsiteY84" fmla="*/ 2482883 h 3487140"/>
              <a:gd name="connsiteX85" fmla="*/ 3861009 w 5106037"/>
              <a:gd name="connsiteY85" fmla="*/ 2466831 h 3487140"/>
              <a:gd name="connsiteX86" fmla="*/ 4016751 w 5106037"/>
              <a:gd name="connsiteY86" fmla="*/ 2420918 h 3487140"/>
              <a:gd name="connsiteX87" fmla="*/ 3866664 w 5106037"/>
              <a:gd name="connsiteY87" fmla="*/ 2252907 h 3487140"/>
              <a:gd name="connsiteX88" fmla="*/ 3391285 w 5106037"/>
              <a:gd name="connsiteY88" fmla="*/ 1791709 h 3487140"/>
              <a:gd name="connsiteX89" fmla="*/ 3127166 w 5106037"/>
              <a:gd name="connsiteY89" fmla="*/ 1600118 h 3487140"/>
              <a:gd name="connsiteX90" fmla="*/ 3003196 w 5106037"/>
              <a:gd name="connsiteY90" fmla="*/ 1733529 h 3487140"/>
              <a:gd name="connsiteX91" fmla="*/ 2940898 w 5106037"/>
              <a:gd name="connsiteY91" fmla="*/ 1995900 h 3487140"/>
              <a:gd name="connsiteX92" fmla="*/ 2981778 w 5106037"/>
              <a:gd name="connsiteY92" fmla="*/ 2048133 h 3487140"/>
              <a:gd name="connsiteX93" fmla="*/ 3044699 w 5106037"/>
              <a:gd name="connsiteY93" fmla="*/ 1778817 h 3487140"/>
              <a:gd name="connsiteX94" fmla="*/ 3166466 w 5106037"/>
              <a:gd name="connsiteY94" fmla="*/ 1356918 h 3487140"/>
              <a:gd name="connsiteX95" fmla="*/ 3272803 w 5106037"/>
              <a:gd name="connsiteY95" fmla="*/ 986960 h 3487140"/>
              <a:gd name="connsiteX96" fmla="*/ 3243526 w 5106037"/>
              <a:gd name="connsiteY96" fmla="*/ 867107 h 3487140"/>
              <a:gd name="connsiteX97" fmla="*/ 3068612 w 5106037"/>
              <a:gd name="connsiteY97" fmla="*/ 840034 h 3487140"/>
              <a:gd name="connsiteX98" fmla="*/ 2924513 w 5106037"/>
              <a:gd name="connsiteY98" fmla="*/ 782769 h 3487140"/>
              <a:gd name="connsiteX99" fmla="*/ 2940857 w 5106037"/>
              <a:gd name="connsiteY99" fmla="*/ 714816 h 3487140"/>
              <a:gd name="connsiteX100" fmla="*/ 3114524 w 5106037"/>
              <a:gd name="connsiteY100" fmla="*/ 723008 h 3487140"/>
              <a:gd name="connsiteX101" fmla="*/ 3317135 w 5106037"/>
              <a:gd name="connsiteY101" fmla="*/ 729288 h 3487140"/>
              <a:gd name="connsiteX102" fmla="*/ 3483857 w 5106037"/>
              <a:gd name="connsiteY102" fmla="*/ 682087 h 3487140"/>
              <a:gd name="connsiteX103" fmla="*/ 3601506 w 5106037"/>
              <a:gd name="connsiteY103" fmla="*/ 703463 h 3487140"/>
              <a:gd name="connsiteX104" fmla="*/ 3624171 w 5106037"/>
              <a:gd name="connsiteY104" fmla="*/ 797199 h 3487140"/>
              <a:gd name="connsiteX105" fmla="*/ 3496458 w 5106037"/>
              <a:gd name="connsiteY105" fmla="*/ 890936 h 3487140"/>
              <a:gd name="connsiteX106" fmla="*/ 3326575 w 5106037"/>
              <a:gd name="connsiteY106" fmla="*/ 918009 h 3487140"/>
              <a:gd name="connsiteX107" fmla="*/ 3198862 w 5106037"/>
              <a:gd name="connsiteY107" fmla="*/ 1002306 h 3487140"/>
              <a:gd name="connsiteX108" fmla="*/ 3097972 w 5106037"/>
              <a:gd name="connsiteY108" fmla="*/ 1299902 h 3487140"/>
              <a:gd name="connsiteX109" fmla="*/ 3159022 w 5106037"/>
              <a:gd name="connsiteY109" fmla="*/ 1545930 h 3487140"/>
              <a:gd name="connsiteX110" fmla="*/ 3371697 w 5106037"/>
              <a:gd name="connsiteY110" fmla="*/ 1536490 h 3487140"/>
              <a:gd name="connsiteX111" fmla="*/ 3551228 w 5106037"/>
              <a:gd name="connsiteY111" fmla="*/ 1376048 h 3487140"/>
              <a:gd name="connsiteX112" fmla="*/ 3554389 w 5106037"/>
              <a:gd name="connsiteY112" fmla="*/ 1231949 h 3487140"/>
              <a:gd name="connsiteX113" fmla="*/ 3336348 w 5106037"/>
              <a:gd name="connsiteY113" fmla="*/ 1191693 h 3487140"/>
              <a:gd name="connsiteX114" fmla="*/ 3344832 w 5106037"/>
              <a:gd name="connsiteY114" fmla="*/ 1255238 h 3487140"/>
              <a:gd name="connsiteX115" fmla="*/ 3769850 w 5106037"/>
              <a:gd name="connsiteY115" fmla="*/ 1241722 h 3487140"/>
              <a:gd name="connsiteX116" fmla="*/ 4254670 w 5106037"/>
              <a:gd name="connsiteY116" fmla="*/ 1259646 h 3487140"/>
              <a:gd name="connsiteX117" fmla="*/ 4484022 w 5106037"/>
              <a:gd name="connsiteY117" fmla="*/ 1236981 h 3487140"/>
              <a:gd name="connsiteX118" fmla="*/ 4465766 w 5106037"/>
              <a:gd name="connsiteY118" fmla="*/ 1185995 h 3487140"/>
              <a:gd name="connsiteX119" fmla="*/ 4105248 w 5106037"/>
              <a:gd name="connsiteY119" fmla="*/ 1177512 h 3487140"/>
              <a:gd name="connsiteX120" fmla="*/ 3734668 w 5106037"/>
              <a:gd name="connsiteY120" fmla="*/ 1331342 h 3487140"/>
              <a:gd name="connsiteX121" fmla="*/ 3388914 w 5106037"/>
              <a:gd name="connsiteY121" fmla="*/ 1604110 h 3487140"/>
              <a:gd name="connsiteX122" fmla="*/ 3156111 w 5106037"/>
              <a:gd name="connsiteY122" fmla="*/ 1921252 h 3487140"/>
              <a:gd name="connsiteX123" fmla="*/ 3060461 w 5106037"/>
              <a:gd name="connsiteY123" fmla="*/ 2419255 h 3487140"/>
              <a:gd name="connsiteX124" fmla="*/ 3290769 w 5106037"/>
              <a:gd name="connsiteY124" fmla="*/ 3048465 h 3487140"/>
              <a:gd name="connsiteX125" fmla="*/ 3868994 w 5106037"/>
              <a:gd name="connsiteY125" fmla="*/ 3394510 h 3487140"/>
              <a:gd name="connsiteX126" fmla="*/ 4507643 w 5106037"/>
              <a:gd name="connsiteY126" fmla="*/ 3330632 h 3487140"/>
              <a:gd name="connsiteX127" fmla="*/ 5002818 w 5106037"/>
              <a:gd name="connsiteY127" fmla="*/ 2841404 h 3487140"/>
              <a:gd name="connsiteX128" fmla="*/ 5036171 w 5106037"/>
              <a:gd name="connsiteY128" fmla="*/ 2052999 h 3487140"/>
              <a:gd name="connsiteX129" fmla="*/ 4605164 w 5106037"/>
              <a:gd name="connsiteY129" fmla="*/ 1482011 h 3487140"/>
              <a:gd name="connsiteX130" fmla="*/ 4138310 w 5106037"/>
              <a:gd name="connsiteY130" fmla="*/ 1352717 h 3487140"/>
              <a:gd name="connsiteX131" fmla="*/ 3977868 w 5106037"/>
              <a:gd name="connsiteY131" fmla="*/ 1466624 h 3487140"/>
              <a:gd name="connsiteX132" fmla="*/ 3999909 w 5106037"/>
              <a:gd name="connsiteY132" fmla="*/ 2001140 h 3487140"/>
              <a:gd name="connsiteX133" fmla="*/ 4033885 w 5106037"/>
              <a:gd name="connsiteY133" fmla="*/ 2313208 h 3487140"/>
              <a:gd name="connsiteX134" fmla="*/ 4125585 w 5106037"/>
              <a:gd name="connsiteY134" fmla="*/ 2399085 h 3487140"/>
              <a:gd name="connsiteX135" fmla="*/ 4230051 w 5106037"/>
              <a:gd name="connsiteY135" fmla="*/ 2362905 h 3487140"/>
              <a:gd name="connsiteX136" fmla="*/ 4194660 w 5106037"/>
              <a:gd name="connsiteY136" fmla="*/ 2271372 h 3487140"/>
              <a:gd name="connsiteX137" fmla="*/ 4097056 w 5106037"/>
              <a:gd name="connsiteY137" fmla="*/ 2303394 h 3487140"/>
              <a:gd name="connsiteX138" fmla="*/ 4080670 w 5106037"/>
              <a:gd name="connsiteY138" fmla="*/ 2437262 h 3487140"/>
              <a:gd name="connsiteX139" fmla="*/ 4079589 w 5106037"/>
              <a:gd name="connsiteY139" fmla="*/ 2519521 h 3487140"/>
              <a:gd name="connsiteX140" fmla="*/ 3900475 w 5106037"/>
              <a:gd name="connsiteY140" fmla="*/ 2539400 h 3487140"/>
              <a:gd name="connsiteX141" fmla="*/ 3490220 w 5106037"/>
              <a:gd name="connsiteY141" fmla="*/ 2545679 h 3487140"/>
              <a:gd name="connsiteX142" fmla="*/ 3249848 w 5106037"/>
              <a:gd name="connsiteY142" fmla="*/ 2602944 h 3487140"/>
              <a:gd name="connsiteX143" fmla="*/ 3240241 w 5106037"/>
              <a:gd name="connsiteY143" fmla="*/ 2790460 h 3487140"/>
              <a:gd name="connsiteX144" fmla="*/ 3433578 w 5106037"/>
              <a:gd name="connsiteY144" fmla="*/ 3133385 h 3487140"/>
              <a:gd name="connsiteX145" fmla="*/ 3925468 w 5106037"/>
              <a:gd name="connsiteY145" fmla="*/ 3465290 h 3487140"/>
              <a:gd name="connsiteX146" fmla="*/ 4666214 w 5106037"/>
              <a:gd name="connsiteY146" fmla="*/ 3390434 h 3487140"/>
              <a:gd name="connsiteX147" fmla="*/ 5106037 w 5106037"/>
              <a:gd name="connsiteY147" fmla="*/ 3017940 h 3487140"/>
              <a:gd name="connsiteX0" fmla="*/ 777215 w 5088779"/>
              <a:gd name="connsiteY0" fmla="*/ 3295741 h 3487140"/>
              <a:gd name="connsiteX1" fmla="*/ 526113 w 5088779"/>
              <a:gd name="connsiteY1" fmla="*/ 3112384 h 3487140"/>
              <a:gd name="connsiteX2" fmla="*/ 219950 w 5088779"/>
              <a:gd name="connsiteY2" fmla="*/ 2750287 h 3487140"/>
              <a:gd name="connsiteX3" fmla="*/ 128418 w 5088779"/>
              <a:gd name="connsiteY3" fmla="*/ 2305432 h 3487140"/>
              <a:gd name="connsiteX4" fmla="*/ 256006 w 5088779"/>
              <a:gd name="connsiteY4" fmla="*/ 1919713 h 3487140"/>
              <a:gd name="connsiteX5" fmla="*/ 580218 w 5088779"/>
              <a:gd name="connsiteY5" fmla="*/ 1637837 h 3487140"/>
              <a:gd name="connsiteX6" fmla="*/ 1073522 w 5088779"/>
              <a:gd name="connsiteY6" fmla="*/ 1545972 h 3487140"/>
              <a:gd name="connsiteX7" fmla="*/ 1308197 w 5088779"/>
              <a:gd name="connsiteY7" fmla="*/ 1517651 h 3487140"/>
              <a:gd name="connsiteX8" fmla="*/ 1292934 w 5088779"/>
              <a:gd name="connsiteY8" fmla="*/ 1460718 h 3487140"/>
              <a:gd name="connsiteX9" fmla="*/ 1016880 w 5088779"/>
              <a:gd name="connsiteY9" fmla="*/ 1416969 h 3487140"/>
              <a:gd name="connsiteX10" fmla="*/ 497460 w 5088779"/>
              <a:gd name="connsiteY10" fmla="*/ 1517318 h 3487140"/>
              <a:gd name="connsiteX11" fmla="*/ 88162 w 5088779"/>
              <a:gd name="connsiteY11" fmla="*/ 1960593 h 3487140"/>
              <a:gd name="connsiteX12" fmla="*/ 28692 w 5088779"/>
              <a:gd name="connsiteY12" fmla="*/ 2569342 h 3487140"/>
              <a:gd name="connsiteX13" fmla="*/ 442399 w 5088779"/>
              <a:gd name="connsiteY13" fmla="*/ 3165532 h 3487140"/>
              <a:gd name="connsiteX14" fmla="*/ 1232384 w 5088779"/>
              <a:gd name="connsiteY14" fmla="*/ 3283181 h 3487140"/>
              <a:gd name="connsiteX15" fmla="*/ 1835020 w 5088779"/>
              <a:gd name="connsiteY15" fmla="*/ 2757481 h 3487140"/>
              <a:gd name="connsiteX16" fmla="*/ 1824789 w 5088779"/>
              <a:gd name="connsiteY16" fmla="*/ 1980430 h 3487140"/>
              <a:gd name="connsiteX17" fmla="*/ 1494755 w 5088779"/>
              <a:gd name="connsiteY17" fmla="*/ 1589139 h 3487140"/>
              <a:gd name="connsiteX18" fmla="*/ 1305701 w 5088779"/>
              <a:gd name="connsiteY18" fmla="*/ 1660710 h 3487140"/>
              <a:gd name="connsiteX19" fmla="*/ 1197284 w 5088779"/>
              <a:gd name="connsiteY19" fmla="*/ 2116627 h 3487140"/>
              <a:gd name="connsiteX20" fmla="*/ 973921 w 5088779"/>
              <a:gd name="connsiteY20" fmla="*/ 2374258 h 3487140"/>
              <a:gd name="connsiteX21" fmla="*/ 918985 w 5088779"/>
              <a:gd name="connsiteY21" fmla="*/ 2276986 h 3487140"/>
              <a:gd name="connsiteX22" fmla="*/ 1298257 w 5088779"/>
              <a:gd name="connsiteY22" fmla="*/ 2021601 h 3487140"/>
              <a:gd name="connsiteX23" fmla="*/ 1558176 w 5088779"/>
              <a:gd name="connsiteY23" fmla="*/ 1234153 h 3487140"/>
              <a:gd name="connsiteX24" fmla="*/ 1788276 w 5088779"/>
              <a:gd name="connsiteY24" fmla="*/ 725296 h 3487140"/>
              <a:gd name="connsiteX25" fmla="*/ 1896859 w 5088779"/>
              <a:gd name="connsiteY25" fmla="*/ 539984 h 3487140"/>
              <a:gd name="connsiteX26" fmla="*/ 1865711 w 5088779"/>
              <a:gd name="connsiteY26" fmla="*/ 435851 h 3487140"/>
              <a:gd name="connsiteX27" fmla="*/ 1759373 w 5088779"/>
              <a:gd name="connsiteY27" fmla="*/ 350265 h 3487140"/>
              <a:gd name="connsiteX28" fmla="*/ 1714085 w 5088779"/>
              <a:gd name="connsiteY28" fmla="*/ 209327 h 3487140"/>
              <a:gd name="connsiteX29" fmla="*/ 1758915 w 5088779"/>
              <a:gd name="connsiteY29" fmla="*/ 82237 h 3487140"/>
              <a:gd name="connsiteX30" fmla="*/ 1939195 w 5088779"/>
              <a:gd name="connsiteY30" fmla="*/ 6716 h 3487140"/>
              <a:gd name="connsiteX31" fmla="*/ 2207888 w 5088779"/>
              <a:gd name="connsiteY31" fmla="*/ 10167 h 3487140"/>
              <a:gd name="connsiteX32" fmla="*/ 2291561 w 5088779"/>
              <a:gd name="connsiteY32" fmla="*/ 49800 h 3487140"/>
              <a:gd name="connsiteX33" fmla="*/ 2244526 w 5088779"/>
              <a:gd name="connsiteY33" fmla="*/ 86812 h 3487140"/>
              <a:gd name="connsiteX34" fmla="*/ 2008603 w 5088779"/>
              <a:gd name="connsiteY34" fmla="*/ 91886 h 3487140"/>
              <a:gd name="connsiteX35" fmla="*/ 1765070 w 5088779"/>
              <a:gd name="connsiteY35" fmla="*/ 75833 h 3487140"/>
              <a:gd name="connsiteX36" fmla="*/ 1657319 w 5088779"/>
              <a:gd name="connsiteY36" fmla="*/ 176931 h 3487140"/>
              <a:gd name="connsiteX37" fmla="*/ 1672581 w 5088779"/>
              <a:gd name="connsiteY37" fmla="*/ 370393 h 3487140"/>
              <a:gd name="connsiteX38" fmla="*/ 1617354 w 5088779"/>
              <a:gd name="connsiteY38" fmla="*/ 589348 h 3487140"/>
              <a:gd name="connsiteX39" fmla="*/ 1460820 w 5088779"/>
              <a:gd name="connsiteY39" fmla="*/ 903953 h 3487140"/>
              <a:gd name="connsiteX40" fmla="*/ 1250349 w 5088779"/>
              <a:gd name="connsiteY40" fmla="*/ 922501 h 3487140"/>
              <a:gd name="connsiteX41" fmla="*/ 1055930 w 5088779"/>
              <a:gd name="connsiteY41" fmla="*/ 866816 h 3487140"/>
              <a:gd name="connsiteX42" fmla="*/ 997085 w 5088779"/>
              <a:gd name="connsiteY42" fmla="*/ 751038 h 3487140"/>
              <a:gd name="connsiteX43" fmla="*/ 1009021 w 5088779"/>
              <a:gd name="connsiteY43" fmla="*/ 369436 h 3487140"/>
              <a:gd name="connsiteX44" fmla="*/ 1070694 w 5088779"/>
              <a:gd name="connsiteY44" fmla="*/ 155805 h 3487140"/>
              <a:gd name="connsiteX45" fmla="*/ 1272058 w 5088779"/>
              <a:gd name="connsiteY45" fmla="*/ 156761 h 3487140"/>
              <a:gd name="connsiteX46" fmla="*/ 1524989 w 5088779"/>
              <a:gd name="connsiteY46" fmla="*/ 245175 h 3487140"/>
              <a:gd name="connsiteX47" fmla="*/ 1694081 w 5088779"/>
              <a:gd name="connsiteY47" fmla="*/ 357792 h 3487140"/>
              <a:gd name="connsiteX48" fmla="*/ 1798672 w 5088779"/>
              <a:gd name="connsiteY48" fmla="*/ 483301 h 3487140"/>
              <a:gd name="connsiteX49" fmla="*/ 1822876 w 5088779"/>
              <a:gd name="connsiteY49" fmla="*/ 600951 h 3487140"/>
              <a:gd name="connsiteX50" fmla="*/ 1795345 w 5088779"/>
              <a:gd name="connsiteY50" fmla="*/ 761726 h 3487140"/>
              <a:gd name="connsiteX51" fmla="*/ 1967266 w 5088779"/>
              <a:gd name="connsiteY51" fmla="*/ 1160004 h 3487140"/>
              <a:gd name="connsiteX52" fmla="*/ 2390246 w 5088779"/>
              <a:gd name="connsiteY52" fmla="*/ 1793622 h 3487140"/>
              <a:gd name="connsiteX53" fmla="*/ 2807737 w 5088779"/>
              <a:gd name="connsiteY53" fmla="*/ 2087475 h 3487140"/>
              <a:gd name="connsiteX54" fmla="*/ 2917360 w 5088779"/>
              <a:gd name="connsiteY54" fmla="*/ 2185620 h 3487140"/>
              <a:gd name="connsiteX55" fmla="*/ 2804411 w 5088779"/>
              <a:gd name="connsiteY55" fmla="*/ 2468120 h 3487140"/>
              <a:gd name="connsiteX56" fmla="*/ 2638312 w 5088779"/>
              <a:gd name="connsiteY56" fmla="*/ 2505548 h 3487140"/>
              <a:gd name="connsiteX57" fmla="*/ 2329862 w 5088779"/>
              <a:gd name="connsiteY57" fmla="*/ 2278109 h 3487140"/>
              <a:gd name="connsiteX58" fmla="*/ 1885173 w 5088779"/>
              <a:gd name="connsiteY58" fmla="*/ 1678800 h 3487140"/>
              <a:gd name="connsiteX59" fmla="*/ 1765320 w 5088779"/>
              <a:gd name="connsiteY59" fmla="*/ 1175432 h 3487140"/>
              <a:gd name="connsiteX60" fmla="*/ 1919774 w 5088779"/>
              <a:gd name="connsiteY60" fmla="*/ 1377420 h 3487140"/>
              <a:gd name="connsiteX61" fmla="*/ 2281414 w 5088779"/>
              <a:gd name="connsiteY61" fmla="*/ 2268710 h 3487140"/>
              <a:gd name="connsiteX62" fmla="*/ 2601216 w 5088779"/>
              <a:gd name="connsiteY62" fmla="*/ 2693105 h 3487140"/>
              <a:gd name="connsiteX63" fmla="*/ 2834644 w 5088779"/>
              <a:gd name="connsiteY63" fmla="*/ 2746586 h 3487140"/>
              <a:gd name="connsiteX64" fmla="*/ 3001865 w 5088779"/>
              <a:gd name="connsiteY64" fmla="*/ 2631432 h 3487140"/>
              <a:gd name="connsiteX65" fmla="*/ 3013052 w 5088779"/>
              <a:gd name="connsiteY65" fmla="*/ 2436680 h 3487140"/>
              <a:gd name="connsiteX66" fmla="*/ 2859222 w 5088779"/>
              <a:gd name="connsiteY66" fmla="*/ 2309258 h 3487140"/>
              <a:gd name="connsiteX67" fmla="*/ 2652036 w 5088779"/>
              <a:gd name="connsiteY67" fmla="*/ 2375007 h 3487140"/>
              <a:gd name="connsiteX68" fmla="*/ 2629537 w 5088779"/>
              <a:gd name="connsiteY68" fmla="*/ 2581402 h 3487140"/>
              <a:gd name="connsiteX69" fmla="*/ 2772222 w 5088779"/>
              <a:gd name="connsiteY69" fmla="*/ 2671064 h 3487140"/>
              <a:gd name="connsiteX70" fmla="*/ 2868787 w 5088779"/>
              <a:gd name="connsiteY70" fmla="*/ 2596831 h 3487140"/>
              <a:gd name="connsiteX71" fmla="*/ 2835601 w 5088779"/>
              <a:gd name="connsiteY71" fmla="*/ 2530750 h 3487140"/>
              <a:gd name="connsiteX72" fmla="*/ 2713543 w 5088779"/>
              <a:gd name="connsiteY72" fmla="*/ 2615379 h 3487140"/>
              <a:gd name="connsiteX73" fmla="*/ 2567864 w 5088779"/>
              <a:gd name="connsiteY73" fmla="*/ 2907028 h 3487140"/>
              <a:gd name="connsiteX74" fmla="*/ 2520039 w 5088779"/>
              <a:gd name="connsiteY74" fmla="*/ 3008333 h 3487140"/>
              <a:gd name="connsiteX75" fmla="*/ 2484191 w 5088779"/>
              <a:gd name="connsiteY75" fmla="*/ 3024053 h 3487140"/>
              <a:gd name="connsiteX76" fmla="*/ 2389165 w 5088779"/>
              <a:gd name="connsiteY76" fmla="*/ 3013989 h 3487140"/>
              <a:gd name="connsiteX77" fmla="*/ 2396068 w 5088779"/>
              <a:gd name="connsiteY77" fmla="*/ 2956724 h 3487140"/>
              <a:gd name="connsiteX78" fmla="*/ 2584831 w 5088779"/>
              <a:gd name="connsiteY78" fmla="*/ 2951068 h 3487140"/>
              <a:gd name="connsiteX79" fmla="*/ 2671041 w 5088779"/>
              <a:gd name="connsiteY79" fmla="*/ 2951068 h 3487140"/>
              <a:gd name="connsiteX80" fmla="*/ 2752219 w 5088779"/>
              <a:gd name="connsiteY80" fmla="*/ 2822066 h 3487140"/>
              <a:gd name="connsiteX81" fmla="*/ 2892533 w 5088779"/>
              <a:gd name="connsiteY81" fmla="*/ 2789337 h 3487140"/>
              <a:gd name="connsiteX82" fmla="*/ 3020246 w 5088779"/>
              <a:gd name="connsiteY82" fmla="*/ 2713815 h 3487140"/>
              <a:gd name="connsiteX83" fmla="*/ 3106456 w 5088779"/>
              <a:gd name="connsiteY83" fmla="*/ 2544556 h 3487140"/>
              <a:gd name="connsiteX84" fmla="*/ 3326035 w 5088779"/>
              <a:gd name="connsiteY84" fmla="*/ 2482883 h 3487140"/>
              <a:gd name="connsiteX85" fmla="*/ 3861009 w 5088779"/>
              <a:gd name="connsiteY85" fmla="*/ 2466831 h 3487140"/>
              <a:gd name="connsiteX86" fmla="*/ 4016751 w 5088779"/>
              <a:gd name="connsiteY86" fmla="*/ 2420918 h 3487140"/>
              <a:gd name="connsiteX87" fmla="*/ 3866664 w 5088779"/>
              <a:gd name="connsiteY87" fmla="*/ 2252907 h 3487140"/>
              <a:gd name="connsiteX88" fmla="*/ 3391285 w 5088779"/>
              <a:gd name="connsiteY88" fmla="*/ 1791709 h 3487140"/>
              <a:gd name="connsiteX89" fmla="*/ 3127166 w 5088779"/>
              <a:gd name="connsiteY89" fmla="*/ 1600118 h 3487140"/>
              <a:gd name="connsiteX90" fmla="*/ 3003196 w 5088779"/>
              <a:gd name="connsiteY90" fmla="*/ 1733529 h 3487140"/>
              <a:gd name="connsiteX91" fmla="*/ 2940898 w 5088779"/>
              <a:gd name="connsiteY91" fmla="*/ 1995900 h 3487140"/>
              <a:gd name="connsiteX92" fmla="*/ 2981778 w 5088779"/>
              <a:gd name="connsiteY92" fmla="*/ 2048133 h 3487140"/>
              <a:gd name="connsiteX93" fmla="*/ 3044699 w 5088779"/>
              <a:gd name="connsiteY93" fmla="*/ 1778817 h 3487140"/>
              <a:gd name="connsiteX94" fmla="*/ 3166466 w 5088779"/>
              <a:gd name="connsiteY94" fmla="*/ 1356918 h 3487140"/>
              <a:gd name="connsiteX95" fmla="*/ 3272803 w 5088779"/>
              <a:gd name="connsiteY95" fmla="*/ 986960 h 3487140"/>
              <a:gd name="connsiteX96" fmla="*/ 3243526 w 5088779"/>
              <a:gd name="connsiteY96" fmla="*/ 867107 h 3487140"/>
              <a:gd name="connsiteX97" fmla="*/ 3068612 w 5088779"/>
              <a:gd name="connsiteY97" fmla="*/ 840034 h 3487140"/>
              <a:gd name="connsiteX98" fmla="*/ 2924513 w 5088779"/>
              <a:gd name="connsiteY98" fmla="*/ 782769 h 3487140"/>
              <a:gd name="connsiteX99" fmla="*/ 2940857 w 5088779"/>
              <a:gd name="connsiteY99" fmla="*/ 714816 h 3487140"/>
              <a:gd name="connsiteX100" fmla="*/ 3114524 w 5088779"/>
              <a:gd name="connsiteY100" fmla="*/ 723008 h 3487140"/>
              <a:gd name="connsiteX101" fmla="*/ 3317135 w 5088779"/>
              <a:gd name="connsiteY101" fmla="*/ 729288 h 3487140"/>
              <a:gd name="connsiteX102" fmla="*/ 3483857 w 5088779"/>
              <a:gd name="connsiteY102" fmla="*/ 682087 h 3487140"/>
              <a:gd name="connsiteX103" fmla="*/ 3601506 w 5088779"/>
              <a:gd name="connsiteY103" fmla="*/ 703463 h 3487140"/>
              <a:gd name="connsiteX104" fmla="*/ 3624171 w 5088779"/>
              <a:gd name="connsiteY104" fmla="*/ 797199 h 3487140"/>
              <a:gd name="connsiteX105" fmla="*/ 3496458 w 5088779"/>
              <a:gd name="connsiteY105" fmla="*/ 890936 h 3487140"/>
              <a:gd name="connsiteX106" fmla="*/ 3326575 w 5088779"/>
              <a:gd name="connsiteY106" fmla="*/ 918009 h 3487140"/>
              <a:gd name="connsiteX107" fmla="*/ 3198862 w 5088779"/>
              <a:gd name="connsiteY107" fmla="*/ 1002306 h 3487140"/>
              <a:gd name="connsiteX108" fmla="*/ 3097972 w 5088779"/>
              <a:gd name="connsiteY108" fmla="*/ 1299902 h 3487140"/>
              <a:gd name="connsiteX109" fmla="*/ 3159022 w 5088779"/>
              <a:gd name="connsiteY109" fmla="*/ 1545930 h 3487140"/>
              <a:gd name="connsiteX110" fmla="*/ 3371697 w 5088779"/>
              <a:gd name="connsiteY110" fmla="*/ 1536490 h 3487140"/>
              <a:gd name="connsiteX111" fmla="*/ 3551228 w 5088779"/>
              <a:gd name="connsiteY111" fmla="*/ 1376048 h 3487140"/>
              <a:gd name="connsiteX112" fmla="*/ 3554389 w 5088779"/>
              <a:gd name="connsiteY112" fmla="*/ 1231949 h 3487140"/>
              <a:gd name="connsiteX113" fmla="*/ 3336348 w 5088779"/>
              <a:gd name="connsiteY113" fmla="*/ 1191693 h 3487140"/>
              <a:gd name="connsiteX114" fmla="*/ 3344832 w 5088779"/>
              <a:gd name="connsiteY114" fmla="*/ 1255238 h 3487140"/>
              <a:gd name="connsiteX115" fmla="*/ 3769850 w 5088779"/>
              <a:gd name="connsiteY115" fmla="*/ 1241722 h 3487140"/>
              <a:gd name="connsiteX116" fmla="*/ 4254670 w 5088779"/>
              <a:gd name="connsiteY116" fmla="*/ 1259646 h 3487140"/>
              <a:gd name="connsiteX117" fmla="*/ 4484022 w 5088779"/>
              <a:gd name="connsiteY117" fmla="*/ 1236981 h 3487140"/>
              <a:gd name="connsiteX118" fmla="*/ 4465766 w 5088779"/>
              <a:gd name="connsiteY118" fmla="*/ 1185995 h 3487140"/>
              <a:gd name="connsiteX119" fmla="*/ 4105248 w 5088779"/>
              <a:gd name="connsiteY119" fmla="*/ 1177512 h 3487140"/>
              <a:gd name="connsiteX120" fmla="*/ 3734668 w 5088779"/>
              <a:gd name="connsiteY120" fmla="*/ 1331342 h 3487140"/>
              <a:gd name="connsiteX121" fmla="*/ 3388914 w 5088779"/>
              <a:gd name="connsiteY121" fmla="*/ 1604110 h 3487140"/>
              <a:gd name="connsiteX122" fmla="*/ 3156111 w 5088779"/>
              <a:gd name="connsiteY122" fmla="*/ 1921252 h 3487140"/>
              <a:gd name="connsiteX123" fmla="*/ 3060461 w 5088779"/>
              <a:gd name="connsiteY123" fmla="*/ 2419255 h 3487140"/>
              <a:gd name="connsiteX124" fmla="*/ 3290769 w 5088779"/>
              <a:gd name="connsiteY124" fmla="*/ 3048465 h 3487140"/>
              <a:gd name="connsiteX125" fmla="*/ 3868994 w 5088779"/>
              <a:gd name="connsiteY125" fmla="*/ 3394510 h 3487140"/>
              <a:gd name="connsiteX126" fmla="*/ 4507643 w 5088779"/>
              <a:gd name="connsiteY126" fmla="*/ 3330632 h 3487140"/>
              <a:gd name="connsiteX127" fmla="*/ 5002818 w 5088779"/>
              <a:gd name="connsiteY127" fmla="*/ 2841404 h 3487140"/>
              <a:gd name="connsiteX128" fmla="*/ 5036171 w 5088779"/>
              <a:gd name="connsiteY128" fmla="*/ 2052999 h 3487140"/>
              <a:gd name="connsiteX129" fmla="*/ 4605164 w 5088779"/>
              <a:gd name="connsiteY129" fmla="*/ 1482011 h 3487140"/>
              <a:gd name="connsiteX130" fmla="*/ 4138310 w 5088779"/>
              <a:gd name="connsiteY130" fmla="*/ 1352717 h 3487140"/>
              <a:gd name="connsiteX131" fmla="*/ 3977868 w 5088779"/>
              <a:gd name="connsiteY131" fmla="*/ 1466624 h 3487140"/>
              <a:gd name="connsiteX132" fmla="*/ 3999909 w 5088779"/>
              <a:gd name="connsiteY132" fmla="*/ 2001140 h 3487140"/>
              <a:gd name="connsiteX133" fmla="*/ 4033885 w 5088779"/>
              <a:gd name="connsiteY133" fmla="*/ 2313208 h 3487140"/>
              <a:gd name="connsiteX134" fmla="*/ 4125585 w 5088779"/>
              <a:gd name="connsiteY134" fmla="*/ 2399085 h 3487140"/>
              <a:gd name="connsiteX135" fmla="*/ 4230051 w 5088779"/>
              <a:gd name="connsiteY135" fmla="*/ 2362905 h 3487140"/>
              <a:gd name="connsiteX136" fmla="*/ 4194660 w 5088779"/>
              <a:gd name="connsiteY136" fmla="*/ 2271372 h 3487140"/>
              <a:gd name="connsiteX137" fmla="*/ 4097056 w 5088779"/>
              <a:gd name="connsiteY137" fmla="*/ 2303394 h 3487140"/>
              <a:gd name="connsiteX138" fmla="*/ 4080670 w 5088779"/>
              <a:gd name="connsiteY138" fmla="*/ 2437262 h 3487140"/>
              <a:gd name="connsiteX139" fmla="*/ 4079589 w 5088779"/>
              <a:gd name="connsiteY139" fmla="*/ 2519521 h 3487140"/>
              <a:gd name="connsiteX140" fmla="*/ 3900475 w 5088779"/>
              <a:gd name="connsiteY140" fmla="*/ 2539400 h 3487140"/>
              <a:gd name="connsiteX141" fmla="*/ 3490220 w 5088779"/>
              <a:gd name="connsiteY141" fmla="*/ 2545679 h 3487140"/>
              <a:gd name="connsiteX142" fmla="*/ 3249848 w 5088779"/>
              <a:gd name="connsiteY142" fmla="*/ 2602944 h 3487140"/>
              <a:gd name="connsiteX143" fmla="*/ 3240241 w 5088779"/>
              <a:gd name="connsiteY143" fmla="*/ 2790460 h 3487140"/>
              <a:gd name="connsiteX144" fmla="*/ 3433578 w 5088779"/>
              <a:gd name="connsiteY144" fmla="*/ 3133385 h 3487140"/>
              <a:gd name="connsiteX145" fmla="*/ 3925468 w 5088779"/>
              <a:gd name="connsiteY145" fmla="*/ 3465290 h 3487140"/>
              <a:gd name="connsiteX146" fmla="*/ 4666214 w 5088779"/>
              <a:gd name="connsiteY146" fmla="*/ 3390434 h 3487140"/>
              <a:gd name="connsiteX0" fmla="*/ 777215 w 5088779"/>
              <a:gd name="connsiteY0" fmla="*/ 3295741 h 3465287"/>
              <a:gd name="connsiteX1" fmla="*/ 526113 w 5088779"/>
              <a:gd name="connsiteY1" fmla="*/ 3112384 h 3465287"/>
              <a:gd name="connsiteX2" fmla="*/ 219950 w 5088779"/>
              <a:gd name="connsiteY2" fmla="*/ 2750287 h 3465287"/>
              <a:gd name="connsiteX3" fmla="*/ 128418 w 5088779"/>
              <a:gd name="connsiteY3" fmla="*/ 2305432 h 3465287"/>
              <a:gd name="connsiteX4" fmla="*/ 256006 w 5088779"/>
              <a:gd name="connsiteY4" fmla="*/ 1919713 h 3465287"/>
              <a:gd name="connsiteX5" fmla="*/ 580218 w 5088779"/>
              <a:gd name="connsiteY5" fmla="*/ 1637837 h 3465287"/>
              <a:gd name="connsiteX6" fmla="*/ 1073522 w 5088779"/>
              <a:gd name="connsiteY6" fmla="*/ 1545972 h 3465287"/>
              <a:gd name="connsiteX7" fmla="*/ 1308197 w 5088779"/>
              <a:gd name="connsiteY7" fmla="*/ 1517651 h 3465287"/>
              <a:gd name="connsiteX8" fmla="*/ 1292934 w 5088779"/>
              <a:gd name="connsiteY8" fmla="*/ 1460718 h 3465287"/>
              <a:gd name="connsiteX9" fmla="*/ 1016880 w 5088779"/>
              <a:gd name="connsiteY9" fmla="*/ 1416969 h 3465287"/>
              <a:gd name="connsiteX10" fmla="*/ 497460 w 5088779"/>
              <a:gd name="connsiteY10" fmla="*/ 1517318 h 3465287"/>
              <a:gd name="connsiteX11" fmla="*/ 88162 w 5088779"/>
              <a:gd name="connsiteY11" fmla="*/ 1960593 h 3465287"/>
              <a:gd name="connsiteX12" fmla="*/ 28692 w 5088779"/>
              <a:gd name="connsiteY12" fmla="*/ 2569342 h 3465287"/>
              <a:gd name="connsiteX13" fmla="*/ 442399 w 5088779"/>
              <a:gd name="connsiteY13" fmla="*/ 3165532 h 3465287"/>
              <a:gd name="connsiteX14" fmla="*/ 1232384 w 5088779"/>
              <a:gd name="connsiteY14" fmla="*/ 3283181 h 3465287"/>
              <a:gd name="connsiteX15" fmla="*/ 1835020 w 5088779"/>
              <a:gd name="connsiteY15" fmla="*/ 2757481 h 3465287"/>
              <a:gd name="connsiteX16" fmla="*/ 1824789 w 5088779"/>
              <a:gd name="connsiteY16" fmla="*/ 1980430 h 3465287"/>
              <a:gd name="connsiteX17" fmla="*/ 1494755 w 5088779"/>
              <a:gd name="connsiteY17" fmla="*/ 1589139 h 3465287"/>
              <a:gd name="connsiteX18" fmla="*/ 1305701 w 5088779"/>
              <a:gd name="connsiteY18" fmla="*/ 1660710 h 3465287"/>
              <a:gd name="connsiteX19" fmla="*/ 1197284 w 5088779"/>
              <a:gd name="connsiteY19" fmla="*/ 2116627 h 3465287"/>
              <a:gd name="connsiteX20" fmla="*/ 973921 w 5088779"/>
              <a:gd name="connsiteY20" fmla="*/ 2374258 h 3465287"/>
              <a:gd name="connsiteX21" fmla="*/ 918985 w 5088779"/>
              <a:gd name="connsiteY21" fmla="*/ 2276986 h 3465287"/>
              <a:gd name="connsiteX22" fmla="*/ 1298257 w 5088779"/>
              <a:gd name="connsiteY22" fmla="*/ 2021601 h 3465287"/>
              <a:gd name="connsiteX23" fmla="*/ 1558176 w 5088779"/>
              <a:gd name="connsiteY23" fmla="*/ 1234153 h 3465287"/>
              <a:gd name="connsiteX24" fmla="*/ 1788276 w 5088779"/>
              <a:gd name="connsiteY24" fmla="*/ 725296 h 3465287"/>
              <a:gd name="connsiteX25" fmla="*/ 1896859 w 5088779"/>
              <a:gd name="connsiteY25" fmla="*/ 539984 h 3465287"/>
              <a:gd name="connsiteX26" fmla="*/ 1865711 w 5088779"/>
              <a:gd name="connsiteY26" fmla="*/ 435851 h 3465287"/>
              <a:gd name="connsiteX27" fmla="*/ 1759373 w 5088779"/>
              <a:gd name="connsiteY27" fmla="*/ 350265 h 3465287"/>
              <a:gd name="connsiteX28" fmla="*/ 1714085 w 5088779"/>
              <a:gd name="connsiteY28" fmla="*/ 209327 h 3465287"/>
              <a:gd name="connsiteX29" fmla="*/ 1758915 w 5088779"/>
              <a:gd name="connsiteY29" fmla="*/ 82237 h 3465287"/>
              <a:gd name="connsiteX30" fmla="*/ 1939195 w 5088779"/>
              <a:gd name="connsiteY30" fmla="*/ 6716 h 3465287"/>
              <a:gd name="connsiteX31" fmla="*/ 2207888 w 5088779"/>
              <a:gd name="connsiteY31" fmla="*/ 10167 h 3465287"/>
              <a:gd name="connsiteX32" fmla="*/ 2291561 w 5088779"/>
              <a:gd name="connsiteY32" fmla="*/ 49800 h 3465287"/>
              <a:gd name="connsiteX33" fmla="*/ 2244526 w 5088779"/>
              <a:gd name="connsiteY33" fmla="*/ 86812 h 3465287"/>
              <a:gd name="connsiteX34" fmla="*/ 2008603 w 5088779"/>
              <a:gd name="connsiteY34" fmla="*/ 91886 h 3465287"/>
              <a:gd name="connsiteX35" fmla="*/ 1765070 w 5088779"/>
              <a:gd name="connsiteY35" fmla="*/ 75833 h 3465287"/>
              <a:gd name="connsiteX36" fmla="*/ 1657319 w 5088779"/>
              <a:gd name="connsiteY36" fmla="*/ 176931 h 3465287"/>
              <a:gd name="connsiteX37" fmla="*/ 1672581 w 5088779"/>
              <a:gd name="connsiteY37" fmla="*/ 370393 h 3465287"/>
              <a:gd name="connsiteX38" fmla="*/ 1617354 w 5088779"/>
              <a:gd name="connsiteY38" fmla="*/ 589348 h 3465287"/>
              <a:gd name="connsiteX39" fmla="*/ 1460820 w 5088779"/>
              <a:gd name="connsiteY39" fmla="*/ 903953 h 3465287"/>
              <a:gd name="connsiteX40" fmla="*/ 1250349 w 5088779"/>
              <a:gd name="connsiteY40" fmla="*/ 922501 h 3465287"/>
              <a:gd name="connsiteX41" fmla="*/ 1055930 w 5088779"/>
              <a:gd name="connsiteY41" fmla="*/ 866816 h 3465287"/>
              <a:gd name="connsiteX42" fmla="*/ 997085 w 5088779"/>
              <a:gd name="connsiteY42" fmla="*/ 751038 h 3465287"/>
              <a:gd name="connsiteX43" fmla="*/ 1009021 w 5088779"/>
              <a:gd name="connsiteY43" fmla="*/ 369436 h 3465287"/>
              <a:gd name="connsiteX44" fmla="*/ 1070694 w 5088779"/>
              <a:gd name="connsiteY44" fmla="*/ 155805 h 3465287"/>
              <a:gd name="connsiteX45" fmla="*/ 1272058 w 5088779"/>
              <a:gd name="connsiteY45" fmla="*/ 156761 h 3465287"/>
              <a:gd name="connsiteX46" fmla="*/ 1524989 w 5088779"/>
              <a:gd name="connsiteY46" fmla="*/ 245175 h 3465287"/>
              <a:gd name="connsiteX47" fmla="*/ 1694081 w 5088779"/>
              <a:gd name="connsiteY47" fmla="*/ 357792 h 3465287"/>
              <a:gd name="connsiteX48" fmla="*/ 1798672 w 5088779"/>
              <a:gd name="connsiteY48" fmla="*/ 483301 h 3465287"/>
              <a:gd name="connsiteX49" fmla="*/ 1822876 w 5088779"/>
              <a:gd name="connsiteY49" fmla="*/ 600951 h 3465287"/>
              <a:gd name="connsiteX50" fmla="*/ 1795345 w 5088779"/>
              <a:gd name="connsiteY50" fmla="*/ 761726 h 3465287"/>
              <a:gd name="connsiteX51" fmla="*/ 1967266 w 5088779"/>
              <a:gd name="connsiteY51" fmla="*/ 1160004 h 3465287"/>
              <a:gd name="connsiteX52" fmla="*/ 2390246 w 5088779"/>
              <a:gd name="connsiteY52" fmla="*/ 1793622 h 3465287"/>
              <a:gd name="connsiteX53" fmla="*/ 2807737 w 5088779"/>
              <a:gd name="connsiteY53" fmla="*/ 2087475 h 3465287"/>
              <a:gd name="connsiteX54" fmla="*/ 2917360 w 5088779"/>
              <a:gd name="connsiteY54" fmla="*/ 2185620 h 3465287"/>
              <a:gd name="connsiteX55" fmla="*/ 2804411 w 5088779"/>
              <a:gd name="connsiteY55" fmla="*/ 2468120 h 3465287"/>
              <a:gd name="connsiteX56" fmla="*/ 2638312 w 5088779"/>
              <a:gd name="connsiteY56" fmla="*/ 2505548 h 3465287"/>
              <a:gd name="connsiteX57" fmla="*/ 2329862 w 5088779"/>
              <a:gd name="connsiteY57" fmla="*/ 2278109 h 3465287"/>
              <a:gd name="connsiteX58" fmla="*/ 1885173 w 5088779"/>
              <a:gd name="connsiteY58" fmla="*/ 1678800 h 3465287"/>
              <a:gd name="connsiteX59" fmla="*/ 1765320 w 5088779"/>
              <a:gd name="connsiteY59" fmla="*/ 1175432 h 3465287"/>
              <a:gd name="connsiteX60" fmla="*/ 1919774 w 5088779"/>
              <a:gd name="connsiteY60" fmla="*/ 1377420 h 3465287"/>
              <a:gd name="connsiteX61" fmla="*/ 2281414 w 5088779"/>
              <a:gd name="connsiteY61" fmla="*/ 2268710 h 3465287"/>
              <a:gd name="connsiteX62" fmla="*/ 2601216 w 5088779"/>
              <a:gd name="connsiteY62" fmla="*/ 2693105 h 3465287"/>
              <a:gd name="connsiteX63" fmla="*/ 2834644 w 5088779"/>
              <a:gd name="connsiteY63" fmla="*/ 2746586 h 3465287"/>
              <a:gd name="connsiteX64" fmla="*/ 3001865 w 5088779"/>
              <a:gd name="connsiteY64" fmla="*/ 2631432 h 3465287"/>
              <a:gd name="connsiteX65" fmla="*/ 3013052 w 5088779"/>
              <a:gd name="connsiteY65" fmla="*/ 2436680 h 3465287"/>
              <a:gd name="connsiteX66" fmla="*/ 2859222 w 5088779"/>
              <a:gd name="connsiteY66" fmla="*/ 2309258 h 3465287"/>
              <a:gd name="connsiteX67" fmla="*/ 2652036 w 5088779"/>
              <a:gd name="connsiteY67" fmla="*/ 2375007 h 3465287"/>
              <a:gd name="connsiteX68" fmla="*/ 2629537 w 5088779"/>
              <a:gd name="connsiteY68" fmla="*/ 2581402 h 3465287"/>
              <a:gd name="connsiteX69" fmla="*/ 2772222 w 5088779"/>
              <a:gd name="connsiteY69" fmla="*/ 2671064 h 3465287"/>
              <a:gd name="connsiteX70" fmla="*/ 2868787 w 5088779"/>
              <a:gd name="connsiteY70" fmla="*/ 2596831 h 3465287"/>
              <a:gd name="connsiteX71" fmla="*/ 2835601 w 5088779"/>
              <a:gd name="connsiteY71" fmla="*/ 2530750 h 3465287"/>
              <a:gd name="connsiteX72" fmla="*/ 2713543 w 5088779"/>
              <a:gd name="connsiteY72" fmla="*/ 2615379 h 3465287"/>
              <a:gd name="connsiteX73" fmla="*/ 2567864 w 5088779"/>
              <a:gd name="connsiteY73" fmla="*/ 2907028 h 3465287"/>
              <a:gd name="connsiteX74" fmla="*/ 2520039 w 5088779"/>
              <a:gd name="connsiteY74" fmla="*/ 3008333 h 3465287"/>
              <a:gd name="connsiteX75" fmla="*/ 2484191 w 5088779"/>
              <a:gd name="connsiteY75" fmla="*/ 3024053 h 3465287"/>
              <a:gd name="connsiteX76" fmla="*/ 2389165 w 5088779"/>
              <a:gd name="connsiteY76" fmla="*/ 3013989 h 3465287"/>
              <a:gd name="connsiteX77" fmla="*/ 2396068 w 5088779"/>
              <a:gd name="connsiteY77" fmla="*/ 2956724 h 3465287"/>
              <a:gd name="connsiteX78" fmla="*/ 2584831 w 5088779"/>
              <a:gd name="connsiteY78" fmla="*/ 2951068 h 3465287"/>
              <a:gd name="connsiteX79" fmla="*/ 2671041 w 5088779"/>
              <a:gd name="connsiteY79" fmla="*/ 2951068 h 3465287"/>
              <a:gd name="connsiteX80" fmla="*/ 2752219 w 5088779"/>
              <a:gd name="connsiteY80" fmla="*/ 2822066 h 3465287"/>
              <a:gd name="connsiteX81" fmla="*/ 2892533 w 5088779"/>
              <a:gd name="connsiteY81" fmla="*/ 2789337 h 3465287"/>
              <a:gd name="connsiteX82" fmla="*/ 3020246 w 5088779"/>
              <a:gd name="connsiteY82" fmla="*/ 2713815 h 3465287"/>
              <a:gd name="connsiteX83" fmla="*/ 3106456 w 5088779"/>
              <a:gd name="connsiteY83" fmla="*/ 2544556 h 3465287"/>
              <a:gd name="connsiteX84" fmla="*/ 3326035 w 5088779"/>
              <a:gd name="connsiteY84" fmla="*/ 2482883 h 3465287"/>
              <a:gd name="connsiteX85" fmla="*/ 3861009 w 5088779"/>
              <a:gd name="connsiteY85" fmla="*/ 2466831 h 3465287"/>
              <a:gd name="connsiteX86" fmla="*/ 4016751 w 5088779"/>
              <a:gd name="connsiteY86" fmla="*/ 2420918 h 3465287"/>
              <a:gd name="connsiteX87" fmla="*/ 3866664 w 5088779"/>
              <a:gd name="connsiteY87" fmla="*/ 2252907 h 3465287"/>
              <a:gd name="connsiteX88" fmla="*/ 3391285 w 5088779"/>
              <a:gd name="connsiteY88" fmla="*/ 1791709 h 3465287"/>
              <a:gd name="connsiteX89" fmla="*/ 3127166 w 5088779"/>
              <a:gd name="connsiteY89" fmla="*/ 1600118 h 3465287"/>
              <a:gd name="connsiteX90" fmla="*/ 3003196 w 5088779"/>
              <a:gd name="connsiteY90" fmla="*/ 1733529 h 3465287"/>
              <a:gd name="connsiteX91" fmla="*/ 2940898 w 5088779"/>
              <a:gd name="connsiteY91" fmla="*/ 1995900 h 3465287"/>
              <a:gd name="connsiteX92" fmla="*/ 2981778 w 5088779"/>
              <a:gd name="connsiteY92" fmla="*/ 2048133 h 3465287"/>
              <a:gd name="connsiteX93" fmla="*/ 3044699 w 5088779"/>
              <a:gd name="connsiteY93" fmla="*/ 1778817 h 3465287"/>
              <a:gd name="connsiteX94" fmla="*/ 3166466 w 5088779"/>
              <a:gd name="connsiteY94" fmla="*/ 1356918 h 3465287"/>
              <a:gd name="connsiteX95" fmla="*/ 3272803 w 5088779"/>
              <a:gd name="connsiteY95" fmla="*/ 986960 h 3465287"/>
              <a:gd name="connsiteX96" fmla="*/ 3243526 w 5088779"/>
              <a:gd name="connsiteY96" fmla="*/ 867107 h 3465287"/>
              <a:gd name="connsiteX97" fmla="*/ 3068612 w 5088779"/>
              <a:gd name="connsiteY97" fmla="*/ 840034 h 3465287"/>
              <a:gd name="connsiteX98" fmla="*/ 2924513 w 5088779"/>
              <a:gd name="connsiteY98" fmla="*/ 782769 h 3465287"/>
              <a:gd name="connsiteX99" fmla="*/ 2940857 w 5088779"/>
              <a:gd name="connsiteY99" fmla="*/ 714816 h 3465287"/>
              <a:gd name="connsiteX100" fmla="*/ 3114524 w 5088779"/>
              <a:gd name="connsiteY100" fmla="*/ 723008 h 3465287"/>
              <a:gd name="connsiteX101" fmla="*/ 3317135 w 5088779"/>
              <a:gd name="connsiteY101" fmla="*/ 729288 h 3465287"/>
              <a:gd name="connsiteX102" fmla="*/ 3483857 w 5088779"/>
              <a:gd name="connsiteY102" fmla="*/ 682087 h 3465287"/>
              <a:gd name="connsiteX103" fmla="*/ 3601506 w 5088779"/>
              <a:gd name="connsiteY103" fmla="*/ 703463 h 3465287"/>
              <a:gd name="connsiteX104" fmla="*/ 3624171 w 5088779"/>
              <a:gd name="connsiteY104" fmla="*/ 797199 h 3465287"/>
              <a:gd name="connsiteX105" fmla="*/ 3496458 w 5088779"/>
              <a:gd name="connsiteY105" fmla="*/ 890936 h 3465287"/>
              <a:gd name="connsiteX106" fmla="*/ 3326575 w 5088779"/>
              <a:gd name="connsiteY106" fmla="*/ 918009 h 3465287"/>
              <a:gd name="connsiteX107" fmla="*/ 3198862 w 5088779"/>
              <a:gd name="connsiteY107" fmla="*/ 1002306 h 3465287"/>
              <a:gd name="connsiteX108" fmla="*/ 3097972 w 5088779"/>
              <a:gd name="connsiteY108" fmla="*/ 1299902 h 3465287"/>
              <a:gd name="connsiteX109" fmla="*/ 3159022 w 5088779"/>
              <a:gd name="connsiteY109" fmla="*/ 1545930 h 3465287"/>
              <a:gd name="connsiteX110" fmla="*/ 3371697 w 5088779"/>
              <a:gd name="connsiteY110" fmla="*/ 1536490 h 3465287"/>
              <a:gd name="connsiteX111" fmla="*/ 3551228 w 5088779"/>
              <a:gd name="connsiteY111" fmla="*/ 1376048 h 3465287"/>
              <a:gd name="connsiteX112" fmla="*/ 3554389 w 5088779"/>
              <a:gd name="connsiteY112" fmla="*/ 1231949 h 3465287"/>
              <a:gd name="connsiteX113" fmla="*/ 3336348 w 5088779"/>
              <a:gd name="connsiteY113" fmla="*/ 1191693 h 3465287"/>
              <a:gd name="connsiteX114" fmla="*/ 3344832 w 5088779"/>
              <a:gd name="connsiteY114" fmla="*/ 1255238 h 3465287"/>
              <a:gd name="connsiteX115" fmla="*/ 3769850 w 5088779"/>
              <a:gd name="connsiteY115" fmla="*/ 1241722 h 3465287"/>
              <a:gd name="connsiteX116" fmla="*/ 4254670 w 5088779"/>
              <a:gd name="connsiteY116" fmla="*/ 1259646 h 3465287"/>
              <a:gd name="connsiteX117" fmla="*/ 4484022 w 5088779"/>
              <a:gd name="connsiteY117" fmla="*/ 1236981 h 3465287"/>
              <a:gd name="connsiteX118" fmla="*/ 4465766 w 5088779"/>
              <a:gd name="connsiteY118" fmla="*/ 1185995 h 3465287"/>
              <a:gd name="connsiteX119" fmla="*/ 4105248 w 5088779"/>
              <a:gd name="connsiteY119" fmla="*/ 1177512 h 3465287"/>
              <a:gd name="connsiteX120" fmla="*/ 3734668 w 5088779"/>
              <a:gd name="connsiteY120" fmla="*/ 1331342 h 3465287"/>
              <a:gd name="connsiteX121" fmla="*/ 3388914 w 5088779"/>
              <a:gd name="connsiteY121" fmla="*/ 1604110 h 3465287"/>
              <a:gd name="connsiteX122" fmla="*/ 3156111 w 5088779"/>
              <a:gd name="connsiteY122" fmla="*/ 1921252 h 3465287"/>
              <a:gd name="connsiteX123" fmla="*/ 3060461 w 5088779"/>
              <a:gd name="connsiteY123" fmla="*/ 2419255 h 3465287"/>
              <a:gd name="connsiteX124" fmla="*/ 3290769 w 5088779"/>
              <a:gd name="connsiteY124" fmla="*/ 3048465 h 3465287"/>
              <a:gd name="connsiteX125" fmla="*/ 3868994 w 5088779"/>
              <a:gd name="connsiteY125" fmla="*/ 3394510 h 3465287"/>
              <a:gd name="connsiteX126" fmla="*/ 4507643 w 5088779"/>
              <a:gd name="connsiteY126" fmla="*/ 3330632 h 3465287"/>
              <a:gd name="connsiteX127" fmla="*/ 5002818 w 5088779"/>
              <a:gd name="connsiteY127" fmla="*/ 2841404 h 3465287"/>
              <a:gd name="connsiteX128" fmla="*/ 5036171 w 5088779"/>
              <a:gd name="connsiteY128" fmla="*/ 2052999 h 3465287"/>
              <a:gd name="connsiteX129" fmla="*/ 4605164 w 5088779"/>
              <a:gd name="connsiteY129" fmla="*/ 1482011 h 3465287"/>
              <a:gd name="connsiteX130" fmla="*/ 4138310 w 5088779"/>
              <a:gd name="connsiteY130" fmla="*/ 1352717 h 3465287"/>
              <a:gd name="connsiteX131" fmla="*/ 3977868 w 5088779"/>
              <a:gd name="connsiteY131" fmla="*/ 1466624 h 3465287"/>
              <a:gd name="connsiteX132" fmla="*/ 3999909 w 5088779"/>
              <a:gd name="connsiteY132" fmla="*/ 2001140 h 3465287"/>
              <a:gd name="connsiteX133" fmla="*/ 4033885 w 5088779"/>
              <a:gd name="connsiteY133" fmla="*/ 2313208 h 3465287"/>
              <a:gd name="connsiteX134" fmla="*/ 4125585 w 5088779"/>
              <a:gd name="connsiteY134" fmla="*/ 2399085 h 3465287"/>
              <a:gd name="connsiteX135" fmla="*/ 4230051 w 5088779"/>
              <a:gd name="connsiteY135" fmla="*/ 2362905 h 3465287"/>
              <a:gd name="connsiteX136" fmla="*/ 4194660 w 5088779"/>
              <a:gd name="connsiteY136" fmla="*/ 2271372 h 3465287"/>
              <a:gd name="connsiteX137" fmla="*/ 4097056 w 5088779"/>
              <a:gd name="connsiteY137" fmla="*/ 2303394 h 3465287"/>
              <a:gd name="connsiteX138" fmla="*/ 4080670 w 5088779"/>
              <a:gd name="connsiteY138" fmla="*/ 2437262 h 3465287"/>
              <a:gd name="connsiteX139" fmla="*/ 4079589 w 5088779"/>
              <a:gd name="connsiteY139" fmla="*/ 2519521 h 3465287"/>
              <a:gd name="connsiteX140" fmla="*/ 3900475 w 5088779"/>
              <a:gd name="connsiteY140" fmla="*/ 2539400 h 3465287"/>
              <a:gd name="connsiteX141" fmla="*/ 3490220 w 5088779"/>
              <a:gd name="connsiteY141" fmla="*/ 2545679 h 3465287"/>
              <a:gd name="connsiteX142" fmla="*/ 3249848 w 5088779"/>
              <a:gd name="connsiteY142" fmla="*/ 2602944 h 3465287"/>
              <a:gd name="connsiteX143" fmla="*/ 3240241 w 5088779"/>
              <a:gd name="connsiteY143" fmla="*/ 2790460 h 3465287"/>
              <a:gd name="connsiteX144" fmla="*/ 3433578 w 5088779"/>
              <a:gd name="connsiteY144" fmla="*/ 3133385 h 3465287"/>
              <a:gd name="connsiteX145" fmla="*/ 3925468 w 5088779"/>
              <a:gd name="connsiteY145" fmla="*/ 3465290 h 3465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088779" h="3465287">
                <a:moveTo>
                  <a:pt x="777215" y="3295741"/>
                </a:moveTo>
                <a:cubicBezTo>
                  <a:pt x="734921" y="3254861"/>
                  <a:pt x="636277" y="3202669"/>
                  <a:pt x="526113" y="3112384"/>
                </a:cubicBezTo>
                <a:cubicBezTo>
                  <a:pt x="415950" y="3022099"/>
                  <a:pt x="294183" y="2893762"/>
                  <a:pt x="219950" y="2750287"/>
                </a:cubicBezTo>
                <a:cubicBezTo>
                  <a:pt x="145718" y="2606812"/>
                  <a:pt x="118978" y="2448283"/>
                  <a:pt x="128418" y="2305432"/>
                </a:cubicBezTo>
                <a:cubicBezTo>
                  <a:pt x="137858" y="2162622"/>
                  <a:pt x="183479" y="2035491"/>
                  <a:pt x="256006" y="1919713"/>
                </a:cubicBezTo>
                <a:cubicBezTo>
                  <a:pt x="328534" y="1803935"/>
                  <a:pt x="427927" y="1699510"/>
                  <a:pt x="580218" y="1637837"/>
                </a:cubicBezTo>
                <a:cubicBezTo>
                  <a:pt x="732468" y="1576164"/>
                  <a:pt x="937616" y="1557283"/>
                  <a:pt x="1073522" y="1545972"/>
                </a:cubicBezTo>
                <a:cubicBezTo>
                  <a:pt x="1209428" y="1534660"/>
                  <a:pt x="1276133" y="1530876"/>
                  <a:pt x="1308197" y="1517651"/>
                </a:cubicBezTo>
                <a:cubicBezTo>
                  <a:pt x="1340302" y="1504426"/>
                  <a:pt x="1337765" y="1481803"/>
                  <a:pt x="1292934" y="1460718"/>
                </a:cubicBezTo>
                <a:cubicBezTo>
                  <a:pt x="1248104" y="1439634"/>
                  <a:pt x="1160979" y="1420130"/>
                  <a:pt x="1016880" y="1416969"/>
                </a:cubicBezTo>
                <a:cubicBezTo>
                  <a:pt x="872782" y="1413808"/>
                  <a:pt x="671751" y="1427033"/>
                  <a:pt x="497460" y="1517318"/>
                </a:cubicBezTo>
                <a:cubicBezTo>
                  <a:pt x="323169" y="1607603"/>
                  <a:pt x="175619" y="1774991"/>
                  <a:pt x="88162" y="1960593"/>
                </a:cubicBezTo>
                <a:cubicBezTo>
                  <a:pt x="704" y="2146195"/>
                  <a:pt x="-26660" y="2350054"/>
                  <a:pt x="28692" y="2569342"/>
                </a:cubicBezTo>
                <a:cubicBezTo>
                  <a:pt x="84044" y="2788630"/>
                  <a:pt x="222155" y="3023305"/>
                  <a:pt x="442399" y="3165532"/>
                </a:cubicBezTo>
                <a:cubicBezTo>
                  <a:pt x="662601" y="3307718"/>
                  <a:pt x="964938" y="3357456"/>
                  <a:pt x="1232384" y="3283181"/>
                </a:cubicBezTo>
                <a:cubicBezTo>
                  <a:pt x="1499787" y="3208949"/>
                  <a:pt x="1732300" y="3010746"/>
                  <a:pt x="1835020" y="2757481"/>
                </a:cubicBezTo>
                <a:cubicBezTo>
                  <a:pt x="1937739" y="2504217"/>
                  <a:pt x="1910666" y="2195933"/>
                  <a:pt x="1824789" y="1980430"/>
                </a:cubicBezTo>
                <a:cubicBezTo>
                  <a:pt x="1738912" y="1764927"/>
                  <a:pt x="1594190" y="1642245"/>
                  <a:pt x="1494755" y="1589139"/>
                </a:cubicBezTo>
                <a:cubicBezTo>
                  <a:pt x="1395363" y="1536032"/>
                  <a:pt x="1341216" y="1552501"/>
                  <a:pt x="1305701" y="1660710"/>
                </a:cubicBezTo>
                <a:cubicBezTo>
                  <a:pt x="1270145" y="1768919"/>
                  <a:pt x="1253177" y="1968910"/>
                  <a:pt x="1197284" y="2116627"/>
                </a:cubicBezTo>
                <a:cubicBezTo>
                  <a:pt x="1141391" y="2264344"/>
                  <a:pt x="1046615" y="2359786"/>
                  <a:pt x="973921" y="2374258"/>
                </a:cubicBezTo>
                <a:cubicBezTo>
                  <a:pt x="901227" y="2388730"/>
                  <a:pt x="850658" y="2322191"/>
                  <a:pt x="918985" y="2276986"/>
                </a:cubicBezTo>
                <a:cubicBezTo>
                  <a:pt x="987312" y="2231781"/>
                  <a:pt x="1174495" y="2207910"/>
                  <a:pt x="1298257" y="2021601"/>
                </a:cubicBezTo>
                <a:cubicBezTo>
                  <a:pt x="1422020" y="1835292"/>
                  <a:pt x="1482321" y="1486544"/>
                  <a:pt x="1558176" y="1234153"/>
                </a:cubicBezTo>
                <a:cubicBezTo>
                  <a:pt x="1633988" y="981762"/>
                  <a:pt x="1725313" y="825686"/>
                  <a:pt x="1788276" y="725296"/>
                </a:cubicBezTo>
                <a:cubicBezTo>
                  <a:pt x="1851238" y="624905"/>
                  <a:pt x="1885839" y="580241"/>
                  <a:pt x="1896859" y="539984"/>
                </a:cubicBezTo>
                <a:cubicBezTo>
                  <a:pt x="1907880" y="499728"/>
                  <a:pt x="1895279" y="463839"/>
                  <a:pt x="1865711" y="435851"/>
                </a:cubicBezTo>
                <a:cubicBezTo>
                  <a:pt x="1836142" y="407863"/>
                  <a:pt x="1789565" y="387735"/>
                  <a:pt x="1759373" y="350265"/>
                </a:cubicBezTo>
                <a:cubicBezTo>
                  <a:pt x="1729181" y="312837"/>
                  <a:pt x="1715332" y="258067"/>
                  <a:pt x="1714085" y="209327"/>
                </a:cubicBezTo>
                <a:cubicBezTo>
                  <a:pt x="1712837" y="160545"/>
                  <a:pt x="1724149" y="117794"/>
                  <a:pt x="1758915" y="82237"/>
                </a:cubicBezTo>
                <a:cubicBezTo>
                  <a:pt x="1793682" y="46681"/>
                  <a:pt x="1851862" y="18360"/>
                  <a:pt x="1939195" y="6716"/>
                </a:cubicBezTo>
                <a:cubicBezTo>
                  <a:pt x="2026486" y="-4929"/>
                  <a:pt x="2142887" y="103"/>
                  <a:pt x="2207888" y="10167"/>
                </a:cubicBezTo>
                <a:cubicBezTo>
                  <a:pt x="2272846" y="20231"/>
                  <a:pt x="2286362" y="35327"/>
                  <a:pt x="2291561" y="49800"/>
                </a:cubicBezTo>
                <a:cubicBezTo>
                  <a:pt x="2296759" y="64272"/>
                  <a:pt x="2293598" y="78120"/>
                  <a:pt x="2244526" y="86812"/>
                </a:cubicBezTo>
                <a:cubicBezTo>
                  <a:pt x="2195453" y="95504"/>
                  <a:pt x="2100469" y="99122"/>
                  <a:pt x="2008603" y="91886"/>
                </a:cubicBezTo>
                <a:cubicBezTo>
                  <a:pt x="1916738" y="84649"/>
                  <a:pt x="1828033" y="66601"/>
                  <a:pt x="1765070" y="75833"/>
                </a:cubicBezTo>
                <a:cubicBezTo>
                  <a:pt x="1702149" y="85065"/>
                  <a:pt x="1665012" y="121537"/>
                  <a:pt x="1657319" y="176931"/>
                </a:cubicBezTo>
                <a:cubicBezTo>
                  <a:pt x="1649625" y="232283"/>
                  <a:pt x="1671333" y="306557"/>
                  <a:pt x="1672581" y="370393"/>
                </a:cubicBezTo>
                <a:cubicBezTo>
                  <a:pt x="1673829" y="434270"/>
                  <a:pt x="1654657" y="487751"/>
                  <a:pt x="1617354" y="589348"/>
                </a:cubicBezTo>
                <a:cubicBezTo>
                  <a:pt x="1580092" y="690945"/>
                  <a:pt x="1524698" y="840699"/>
                  <a:pt x="1460820" y="903953"/>
                </a:cubicBezTo>
                <a:cubicBezTo>
                  <a:pt x="1396943" y="967207"/>
                  <a:pt x="1324582" y="943918"/>
                  <a:pt x="1250349" y="922501"/>
                </a:cubicBezTo>
                <a:cubicBezTo>
                  <a:pt x="1176117" y="901125"/>
                  <a:pt x="1099971" y="881621"/>
                  <a:pt x="1055930" y="866816"/>
                </a:cubicBezTo>
                <a:cubicBezTo>
                  <a:pt x="1011890" y="852011"/>
                  <a:pt x="999913" y="841947"/>
                  <a:pt x="997085" y="751038"/>
                </a:cubicBezTo>
                <a:cubicBezTo>
                  <a:pt x="994257" y="660129"/>
                  <a:pt x="1000537" y="488333"/>
                  <a:pt x="1009021" y="369436"/>
                </a:cubicBezTo>
                <a:cubicBezTo>
                  <a:pt x="1017504" y="250498"/>
                  <a:pt x="1028192" y="184458"/>
                  <a:pt x="1070694" y="155805"/>
                </a:cubicBezTo>
                <a:cubicBezTo>
                  <a:pt x="1113154" y="127193"/>
                  <a:pt x="1187428" y="135968"/>
                  <a:pt x="1272058" y="156761"/>
                </a:cubicBezTo>
                <a:cubicBezTo>
                  <a:pt x="1356687" y="177513"/>
                  <a:pt x="1451713" y="210242"/>
                  <a:pt x="1524989" y="245175"/>
                </a:cubicBezTo>
                <a:cubicBezTo>
                  <a:pt x="1598307" y="280108"/>
                  <a:pt x="1649875" y="317203"/>
                  <a:pt x="1694081" y="357792"/>
                </a:cubicBezTo>
                <a:cubicBezTo>
                  <a:pt x="1738288" y="398381"/>
                  <a:pt x="1775093" y="442422"/>
                  <a:pt x="1798672" y="483301"/>
                </a:cubicBezTo>
                <a:cubicBezTo>
                  <a:pt x="1822252" y="524181"/>
                  <a:pt x="1832649" y="561942"/>
                  <a:pt x="1822876" y="600951"/>
                </a:cubicBezTo>
                <a:cubicBezTo>
                  <a:pt x="1813103" y="639959"/>
                  <a:pt x="1783244" y="680215"/>
                  <a:pt x="1795345" y="761726"/>
                </a:cubicBezTo>
                <a:cubicBezTo>
                  <a:pt x="1807447" y="843195"/>
                  <a:pt x="1861552" y="965917"/>
                  <a:pt x="1967266" y="1160004"/>
                </a:cubicBezTo>
                <a:cubicBezTo>
                  <a:pt x="2072980" y="1354131"/>
                  <a:pt x="2230261" y="1619622"/>
                  <a:pt x="2390246" y="1793622"/>
                </a:cubicBezTo>
                <a:cubicBezTo>
                  <a:pt x="2550231" y="1967580"/>
                  <a:pt x="2712878" y="2050005"/>
                  <a:pt x="2807737" y="2087475"/>
                </a:cubicBezTo>
                <a:cubicBezTo>
                  <a:pt x="2902597" y="2124903"/>
                  <a:pt x="2929629" y="2117376"/>
                  <a:pt x="2917360" y="2185620"/>
                </a:cubicBezTo>
                <a:cubicBezTo>
                  <a:pt x="2905092" y="2253906"/>
                  <a:pt x="2853483" y="2397963"/>
                  <a:pt x="2804411" y="2468120"/>
                </a:cubicBezTo>
                <a:cubicBezTo>
                  <a:pt x="2755338" y="2538277"/>
                  <a:pt x="2708761" y="2534492"/>
                  <a:pt x="2638312" y="2505548"/>
                </a:cubicBezTo>
                <a:cubicBezTo>
                  <a:pt x="2567823" y="2476603"/>
                  <a:pt x="2473462" y="2422499"/>
                  <a:pt x="2329862" y="2278109"/>
                </a:cubicBezTo>
                <a:cubicBezTo>
                  <a:pt x="2186263" y="2133719"/>
                  <a:pt x="1993383" y="1899003"/>
                  <a:pt x="1885173" y="1678800"/>
                </a:cubicBezTo>
                <a:cubicBezTo>
                  <a:pt x="1776964" y="1458598"/>
                  <a:pt x="1753343" y="1252826"/>
                  <a:pt x="1765320" y="1175432"/>
                </a:cubicBezTo>
                <a:cubicBezTo>
                  <a:pt x="1777255" y="1098039"/>
                  <a:pt x="1824789" y="1149025"/>
                  <a:pt x="1919774" y="1377420"/>
                </a:cubicBezTo>
                <a:cubicBezTo>
                  <a:pt x="2014800" y="1605815"/>
                  <a:pt x="2157318" y="2011662"/>
                  <a:pt x="2281414" y="2268710"/>
                </a:cubicBezTo>
                <a:cubicBezTo>
                  <a:pt x="2405509" y="2525759"/>
                  <a:pt x="2511223" y="2633968"/>
                  <a:pt x="2601216" y="2693105"/>
                </a:cubicBezTo>
                <a:cubicBezTo>
                  <a:pt x="2691211" y="2752241"/>
                  <a:pt x="2765443" y="2762305"/>
                  <a:pt x="2834644" y="2746586"/>
                </a:cubicBezTo>
                <a:cubicBezTo>
                  <a:pt x="2903844" y="2730866"/>
                  <a:pt x="2968055" y="2689320"/>
                  <a:pt x="3001865" y="2631432"/>
                </a:cubicBezTo>
                <a:cubicBezTo>
                  <a:pt x="3035675" y="2573542"/>
                  <a:pt x="3039127" y="2499310"/>
                  <a:pt x="3013052" y="2436680"/>
                </a:cubicBezTo>
                <a:cubicBezTo>
                  <a:pt x="2986935" y="2374092"/>
                  <a:pt x="2931251" y="2323106"/>
                  <a:pt x="2859222" y="2309258"/>
                </a:cubicBezTo>
                <a:cubicBezTo>
                  <a:pt x="2787193" y="2295409"/>
                  <a:pt x="2698780" y="2318698"/>
                  <a:pt x="2652036" y="2375007"/>
                </a:cubicBezTo>
                <a:cubicBezTo>
                  <a:pt x="2605334" y="2431315"/>
                  <a:pt x="2600302" y="2520686"/>
                  <a:pt x="2629537" y="2581402"/>
                </a:cubicBezTo>
                <a:cubicBezTo>
                  <a:pt x="2658773" y="2642119"/>
                  <a:pt x="2722359" y="2674224"/>
                  <a:pt x="2772222" y="2671064"/>
                </a:cubicBezTo>
                <a:cubicBezTo>
                  <a:pt x="2822085" y="2667903"/>
                  <a:pt x="2858265" y="2629518"/>
                  <a:pt x="2868787" y="2596831"/>
                </a:cubicBezTo>
                <a:cubicBezTo>
                  <a:pt x="2879308" y="2564144"/>
                  <a:pt x="2864212" y="2537071"/>
                  <a:pt x="2835601" y="2530750"/>
                </a:cubicBezTo>
                <a:cubicBezTo>
                  <a:pt x="2806989" y="2524470"/>
                  <a:pt x="2764820" y="2538942"/>
                  <a:pt x="2713543" y="2615379"/>
                </a:cubicBezTo>
                <a:cubicBezTo>
                  <a:pt x="2662266" y="2691816"/>
                  <a:pt x="2601840" y="2830259"/>
                  <a:pt x="2567864" y="2907028"/>
                </a:cubicBezTo>
                <a:cubicBezTo>
                  <a:pt x="2533888" y="2983797"/>
                  <a:pt x="2526318" y="2998893"/>
                  <a:pt x="2520039" y="3008333"/>
                </a:cubicBezTo>
                <a:cubicBezTo>
                  <a:pt x="2513760" y="3017774"/>
                  <a:pt x="2508727" y="3021558"/>
                  <a:pt x="2484191" y="3024053"/>
                </a:cubicBezTo>
                <a:cubicBezTo>
                  <a:pt x="2459655" y="3026590"/>
                  <a:pt x="2415614" y="3027838"/>
                  <a:pt x="2389165" y="3013989"/>
                </a:cubicBezTo>
                <a:cubicBezTo>
                  <a:pt x="2362757" y="3000141"/>
                  <a:pt x="2353941" y="2971196"/>
                  <a:pt x="2396068" y="2956724"/>
                </a:cubicBezTo>
                <a:cubicBezTo>
                  <a:pt x="2438238" y="2942252"/>
                  <a:pt x="2531351" y="2942252"/>
                  <a:pt x="2584831" y="2951068"/>
                </a:cubicBezTo>
                <a:cubicBezTo>
                  <a:pt x="2638312" y="2959885"/>
                  <a:pt x="2652160" y="2977476"/>
                  <a:pt x="2671041" y="2951068"/>
                </a:cubicBezTo>
                <a:cubicBezTo>
                  <a:pt x="2689922" y="2924661"/>
                  <a:pt x="2713834" y="2854171"/>
                  <a:pt x="2752219" y="2822066"/>
                </a:cubicBezTo>
                <a:cubicBezTo>
                  <a:pt x="2790603" y="2789961"/>
                  <a:pt x="2843460" y="2796282"/>
                  <a:pt x="2892533" y="2789337"/>
                </a:cubicBezTo>
                <a:cubicBezTo>
                  <a:pt x="2941606" y="2782434"/>
                  <a:pt x="2986935" y="2762264"/>
                  <a:pt x="3020246" y="2713815"/>
                </a:cubicBezTo>
                <a:cubicBezTo>
                  <a:pt x="3053599" y="2665366"/>
                  <a:pt x="3074975" y="2588597"/>
                  <a:pt x="3106456" y="2544556"/>
                </a:cubicBezTo>
                <a:cubicBezTo>
                  <a:pt x="3137896" y="2500516"/>
                  <a:pt x="3179441" y="2489204"/>
                  <a:pt x="3326035" y="2482883"/>
                </a:cubicBezTo>
                <a:cubicBezTo>
                  <a:pt x="3472629" y="2476603"/>
                  <a:pt x="3724313" y="2475314"/>
                  <a:pt x="3861009" y="2466831"/>
                </a:cubicBezTo>
                <a:cubicBezTo>
                  <a:pt x="3997705" y="2458347"/>
                  <a:pt x="4019413" y="2442627"/>
                  <a:pt x="4016751" y="2420918"/>
                </a:cubicBezTo>
                <a:cubicBezTo>
                  <a:pt x="4014090" y="2399210"/>
                  <a:pt x="3987017" y="2371513"/>
                  <a:pt x="3866664" y="2252907"/>
                </a:cubicBezTo>
                <a:cubicBezTo>
                  <a:pt x="3746312" y="2134302"/>
                  <a:pt x="3532721" y="1924787"/>
                  <a:pt x="3391285" y="1791709"/>
                </a:cubicBezTo>
                <a:cubicBezTo>
                  <a:pt x="3249889" y="1658631"/>
                  <a:pt x="3180647" y="1601989"/>
                  <a:pt x="3127166" y="1600118"/>
                </a:cubicBezTo>
                <a:cubicBezTo>
                  <a:pt x="3073686" y="1598246"/>
                  <a:pt x="3035924" y="1651103"/>
                  <a:pt x="3003196" y="1733529"/>
                </a:cubicBezTo>
                <a:cubicBezTo>
                  <a:pt x="2970467" y="1815954"/>
                  <a:pt x="2942811" y="1927947"/>
                  <a:pt x="2940898" y="1995900"/>
                </a:cubicBezTo>
                <a:cubicBezTo>
                  <a:pt x="2939027" y="2063853"/>
                  <a:pt x="2962940" y="2087766"/>
                  <a:pt x="2981778" y="2048133"/>
                </a:cubicBezTo>
                <a:cubicBezTo>
                  <a:pt x="3000659" y="2008501"/>
                  <a:pt x="3014507" y="1905324"/>
                  <a:pt x="3044699" y="1778817"/>
                </a:cubicBezTo>
                <a:cubicBezTo>
                  <a:pt x="3074891" y="1652351"/>
                  <a:pt x="3121469" y="1502596"/>
                  <a:pt x="3166466" y="1356918"/>
                </a:cubicBezTo>
                <a:cubicBezTo>
                  <a:pt x="3211463" y="1211239"/>
                  <a:pt x="3254880" y="1069677"/>
                  <a:pt x="3272803" y="986960"/>
                </a:cubicBezTo>
                <a:cubicBezTo>
                  <a:pt x="3290727" y="904202"/>
                  <a:pt x="3283200" y="880290"/>
                  <a:pt x="3243526" y="867107"/>
                </a:cubicBezTo>
                <a:cubicBezTo>
                  <a:pt x="3203894" y="853882"/>
                  <a:pt x="3132157" y="851387"/>
                  <a:pt x="3068612" y="840034"/>
                </a:cubicBezTo>
                <a:cubicBezTo>
                  <a:pt x="3005067" y="828722"/>
                  <a:pt x="2949673" y="808594"/>
                  <a:pt x="2924513" y="782769"/>
                </a:cubicBezTo>
                <a:cubicBezTo>
                  <a:pt x="2899353" y="756985"/>
                  <a:pt x="2904385" y="725504"/>
                  <a:pt x="2940857" y="714816"/>
                </a:cubicBezTo>
                <a:cubicBezTo>
                  <a:pt x="2977370" y="704128"/>
                  <a:pt x="3045323" y="714192"/>
                  <a:pt x="3114524" y="723008"/>
                </a:cubicBezTo>
                <a:cubicBezTo>
                  <a:pt x="3183724" y="731825"/>
                  <a:pt x="3254214" y="739352"/>
                  <a:pt x="3317135" y="729288"/>
                </a:cubicBezTo>
                <a:cubicBezTo>
                  <a:pt x="3380056" y="719224"/>
                  <a:pt x="3435408" y="691527"/>
                  <a:pt x="3483857" y="682087"/>
                </a:cubicBezTo>
                <a:cubicBezTo>
                  <a:pt x="3532306" y="672647"/>
                  <a:pt x="3573851" y="681463"/>
                  <a:pt x="3601506" y="703463"/>
                </a:cubicBezTo>
                <a:cubicBezTo>
                  <a:pt x="3629203" y="725504"/>
                  <a:pt x="3643052" y="760728"/>
                  <a:pt x="3624171" y="797199"/>
                </a:cubicBezTo>
                <a:cubicBezTo>
                  <a:pt x="3605291" y="833713"/>
                  <a:pt x="3553681" y="871432"/>
                  <a:pt x="3496458" y="890936"/>
                </a:cubicBezTo>
                <a:cubicBezTo>
                  <a:pt x="3439193" y="910441"/>
                  <a:pt x="3376272" y="911688"/>
                  <a:pt x="3326575" y="918009"/>
                </a:cubicBezTo>
                <a:cubicBezTo>
                  <a:pt x="3276879" y="924289"/>
                  <a:pt x="3240366" y="935642"/>
                  <a:pt x="3198862" y="1002306"/>
                </a:cubicBezTo>
                <a:cubicBezTo>
                  <a:pt x="3157317" y="1069011"/>
                  <a:pt x="3110781" y="1191069"/>
                  <a:pt x="3097972" y="1299902"/>
                </a:cubicBezTo>
                <a:cubicBezTo>
                  <a:pt x="3085163" y="1408735"/>
                  <a:pt x="3106165" y="1504385"/>
                  <a:pt x="3159022" y="1545930"/>
                </a:cubicBezTo>
                <a:cubicBezTo>
                  <a:pt x="3211879" y="1587475"/>
                  <a:pt x="3296591" y="1574875"/>
                  <a:pt x="3371697" y="1536490"/>
                </a:cubicBezTo>
                <a:cubicBezTo>
                  <a:pt x="3446803" y="1498105"/>
                  <a:pt x="3512219" y="1433937"/>
                  <a:pt x="3551228" y="1376048"/>
                </a:cubicBezTo>
                <a:cubicBezTo>
                  <a:pt x="3590236" y="1318159"/>
                  <a:pt x="3602837" y="1266549"/>
                  <a:pt x="3554389" y="1231949"/>
                </a:cubicBezTo>
                <a:cubicBezTo>
                  <a:pt x="3505940" y="1197349"/>
                  <a:pt x="3396442" y="1179716"/>
                  <a:pt x="3336348" y="1191693"/>
                </a:cubicBezTo>
                <a:cubicBezTo>
                  <a:pt x="3276255" y="1203628"/>
                  <a:pt x="3265567" y="1245174"/>
                  <a:pt x="3344832" y="1255238"/>
                </a:cubicBezTo>
                <a:cubicBezTo>
                  <a:pt x="3424096" y="1265302"/>
                  <a:pt x="3593355" y="1243926"/>
                  <a:pt x="3769850" y="1241722"/>
                </a:cubicBezTo>
                <a:cubicBezTo>
                  <a:pt x="3946345" y="1239518"/>
                  <a:pt x="4130076" y="1256527"/>
                  <a:pt x="4254670" y="1259646"/>
                </a:cubicBezTo>
                <a:cubicBezTo>
                  <a:pt x="4379265" y="1262806"/>
                  <a:pt x="4444681" y="1252077"/>
                  <a:pt x="4484022" y="1236981"/>
                </a:cubicBezTo>
                <a:cubicBezTo>
                  <a:pt x="4523363" y="1221885"/>
                  <a:pt x="4536546" y="1202381"/>
                  <a:pt x="4465766" y="1185995"/>
                </a:cubicBezTo>
                <a:cubicBezTo>
                  <a:pt x="4394985" y="1169652"/>
                  <a:pt x="4240198" y="1156427"/>
                  <a:pt x="4105248" y="1177512"/>
                </a:cubicBezTo>
                <a:cubicBezTo>
                  <a:pt x="3970299" y="1198596"/>
                  <a:pt x="3855145" y="1253948"/>
                  <a:pt x="3734668" y="1331342"/>
                </a:cubicBezTo>
                <a:cubicBezTo>
                  <a:pt x="3614191" y="1408735"/>
                  <a:pt x="3488349" y="1508128"/>
                  <a:pt x="3388914" y="1604110"/>
                </a:cubicBezTo>
                <a:cubicBezTo>
                  <a:pt x="3289480" y="1700051"/>
                  <a:pt x="3216495" y="1792540"/>
                  <a:pt x="3156111" y="1921252"/>
                </a:cubicBezTo>
                <a:cubicBezTo>
                  <a:pt x="3095726" y="2049922"/>
                  <a:pt x="3047902" y="2214772"/>
                  <a:pt x="3060461" y="2419255"/>
                </a:cubicBezTo>
                <a:cubicBezTo>
                  <a:pt x="3073062" y="2623738"/>
                  <a:pt x="3146046" y="2867895"/>
                  <a:pt x="3290769" y="3048465"/>
                </a:cubicBezTo>
                <a:cubicBezTo>
                  <a:pt x="3435492" y="3229035"/>
                  <a:pt x="3651951" y="3346061"/>
                  <a:pt x="3868994" y="3394510"/>
                </a:cubicBezTo>
                <a:cubicBezTo>
                  <a:pt x="4086077" y="3442958"/>
                  <a:pt x="4303784" y="3422830"/>
                  <a:pt x="4507643" y="3330632"/>
                </a:cubicBezTo>
                <a:cubicBezTo>
                  <a:pt x="4711502" y="3238434"/>
                  <a:pt x="4901513" y="3074249"/>
                  <a:pt x="5002818" y="2841404"/>
                </a:cubicBezTo>
                <a:cubicBezTo>
                  <a:pt x="5104125" y="2608600"/>
                  <a:pt x="5116725" y="2307220"/>
                  <a:pt x="5036171" y="2052999"/>
                </a:cubicBezTo>
                <a:cubicBezTo>
                  <a:pt x="4955617" y="1798820"/>
                  <a:pt x="4781992" y="1591800"/>
                  <a:pt x="4605164" y="1482011"/>
                </a:cubicBezTo>
                <a:cubicBezTo>
                  <a:pt x="4428379" y="1372221"/>
                  <a:pt x="4248391" y="1359621"/>
                  <a:pt x="4138310" y="1352717"/>
                </a:cubicBezTo>
                <a:cubicBezTo>
                  <a:pt x="4028188" y="1345814"/>
                  <a:pt x="3987932" y="1344525"/>
                  <a:pt x="3977868" y="1466624"/>
                </a:cubicBezTo>
                <a:cubicBezTo>
                  <a:pt x="3967804" y="1588681"/>
                  <a:pt x="3987932" y="1834086"/>
                  <a:pt x="3999909" y="2001140"/>
                </a:cubicBezTo>
                <a:cubicBezTo>
                  <a:pt x="4011844" y="2168195"/>
                  <a:pt x="4015629" y="2256900"/>
                  <a:pt x="4033885" y="2313208"/>
                </a:cubicBezTo>
                <a:cubicBezTo>
                  <a:pt x="4052142" y="2369517"/>
                  <a:pt x="4084871" y="2393430"/>
                  <a:pt x="4125585" y="2399085"/>
                </a:cubicBezTo>
                <a:cubicBezTo>
                  <a:pt x="4166340" y="2404741"/>
                  <a:pt x="4215080" y="2392182"/>
                  <a:pt x="4230051" y="2362905"/>
                </a:cubicBezTo>
                <a:cubicBezTo>
                  <a:pt x="4244980" y="2333628"/>
                  <a:pt x="4226100" y="2287716"/>
                  <a:pt x="4194660" y="2271372"/>
                </a:cubicBezTo>
                <a:cubicBezTo>
                  <a:pt x="4163179" y="2255028"/>
                  <a:pt x="4119138" y="2268211"/>
                  <a:pt x="4097056" y="2303394"/>
                </a:cubicBezTo>
                <a:cubicBezTo>
                  <a:pt x="4074973" y="2338576"/>
                  <a:pt x="4074849" y="2395758"/>
                  <a:pt x="4080670" y="2437262"/>
                </a:cubicBezTo>
                <a:cubicBezTo>
                  <a:pt x="4086493" y="2478808"/>
                  <a:pt x="4098262" y="2504675"/>
                  <a:pt x="4079589" y="2519521"/>
                </a:cubicBezTo>
                <a:cubicBezTo>
                  <a:pt x="4060917" y="2534368"/>
                  <a:pt x="4011844" y="2538152"/>
                  <a:pt x="3900475" y="2539400"/>
                </a:cubicBezTo>
                <a:cubicBezTo>
                  <a:pt x="3789105" y="2540647"/>
                  <a:pt x="3615438" y="2539400"/>
                  <a:pt x="3490220" y="2545679"/>
                </a:cubicBezTo>
                <a:cubicBezTo>
                  <a:pt x="3365002" y="2551959"/>
                  <a:pt x="3288232" y="2565807"/>
                  <a:pt x="3249848" y="2602944"/>
                </a:cubicBezTo>
                <a:cubicBezTo>
                  <a:pt x="3211463" y="2640081"/>
                  <a:pt x="3211463" y="2700466"/>
                  <a:pt x="3240241" y="2790460"/>
                </a:cubicBezTo>
                <a:cubicBezTo>
                  <a:pt x="3269019" y="2880454"/>
                  <a:pt x="3326617" y="2999975"/>
                  <a:pt x="3433578" y="3133385"/>
                </a:cubicBezTo>
                <a:cubicBezTo>
                  <a:pt x="3540540" y="3266796"/>
                  <a:pt x="3696907" y="3414014"/>
                  <a:pt x="3925468" y="3465290"/>
                </a:cubicBezTo>
              </a:path>
            </a:pathLst>
          </a:custGeom>
          <a:noFill/>
          <a:ln w="15875" cap="rnd">
            <a:solidFill>
              <a:schemeClr val="accent1"/>
            </a:solidFill>
            <a:prstDash val="solid"/>
            <a:miter/>
          </a:ln>
        </p:spPr>
        <p:txBody>
          <a:bodyPr rtlCol="0" anchor="ctr"/>
          <a:lstStyle/>
          <a:p>
            <a:endParaRPr lang="ja-JP" altLang="en-US"/>
          </a:p>
        </p:txBody>
      </p:sp>
      <p:sp>
        <p:nvSpPr>
          <p:cNvPr id="12" name="テキスト プレースホルダー 11">
            <a:extLst>
              <a:ext uri="{FF2B5EF4-FFF2-40B4-BE49-F238E27FC236}">
                <a16:creationId xmlns:a16="http://schemas.microsoft.com/office/drawing/2014/main" id="{A1364C17-3CB4-D6A1-374A-0345B1CCF956}"/>
              </a:ext>
            </a:extLst>
          </p:cNvPr>
          <p:cNvSpPr>
            <a:spLocks noGrp="1"/>
          </p:cNvSpPr>
          <p:nvPr>
            <p:ph type="body" sz="quarter" idx="14"/>
          </p:nvPr>
        </p:nvSpPr>
        <p:spPr>
          <a:xfrm>
            <a:off x="452438" y="1125538"/>
            <a:ext cx="9217025" cy="1008062"/>
          </a:xfrm>
        </p:spPr>
        <p:txBody>
          <a:bodyPr lIns="0" rIns="0">
            <a:normAutofit/>
          </a:bodyPr>
          <a:lstStyle>
            <a:lvl1pPr algn="l">
              <a:defRPr kumimoji="1" lang="ja-JP" altLang="en-US" sz="1200" b="1" dirty="0">
                <a:latin typeface="+mn-ea"/>
                <a:ea typeface="+mn-ea"/>
              </a:defRPr>
            </a:lvl1pPr>
          </a:lstStyle>
          <a:p>
            <a:pPr lvl="0"/>
            <a:endParaRPr kumimoji="1" lang="ja-JP" altLang="en-US"/>
          </a:p>
        </p:txBody>
      </p:sp>
      <p:sp>
        <p:nvSpPr>
          <p:cNvPr id="14" name="タイトル 1">
            <a:extLst>
              <a:ext uri="{FF2B5EF4-FFF2-40B4-BE49-F238E27FC236}">
                <a16:creationId xmlns:a16="http://schemas.microsoft.com/office/drawing/2014/main" id="{2A7C65E3-75AA-1D57-D4B3-AC0D5027F1FD}"/>
              </a:ext>
            </a:extLst>
          </p:cNvPr>
          <p:cNvSpPr>
            <a:spLocks noGrp="1"/>
          </p:cNvSpPr>
          <p:nvPr>
            <p:ph type="title"/>
          </p:nvPr>
        </p:nvSpPr>
        <p:spPr>
          <a:xfrm>
            <a:off x="352482" y="434305"/>
            <a:ext cx="5419467" cy="428400"/>
          </a:xfrm>
        </p:spPr>
        <p:txBody>
          <a:bodyPr wrap="none">
            <a:noAutofit/>
          </a:bodyPr>
          <a:lstStyle>
            <a:lvl1pPr>
              <a:defRPr lang="ja-JP" altLang="en-US" sz="2000" b="1" dirty="0"/>
            </a:lvl1pPr>
          </a:lstStyle>
          <a:p>
            <a:pPr lvl="0"/>
            <a:r>
              <a:rPr kumimoji="1" lang="ja-JP" altLang="en-US"/>
              <a:t>マスター タイトルの書式設定</a:t>
            </a:r>
          </a:p>
        </p:txBody>
      </p:sp>
      <p:sp>
        <p:nvSpPr>
          <p:cNvPr id="15" name="テキスト プレースホルダー 51">
            <a:extLst>
              <a:ext uri="{FF2B5EF4-FFF2-40B4-BE49-F238E27FC236}">
                <a16:creationId xmlns:a16="http://schemas.microsoft.com/office/drawing/2014/main" id="{2EE81487-12FD-5D50-56D5-9E2FE8952ECE}"/>
              </a:ext>
            </a:extLst>
          </p:cNvPr>
          <p:cNvSpPr>
            <a:spLocks noGrp="1"/>
          </p:cNvSpPr>
          <p:nvPr>
            <p:ph type="body" sz="quarter" idx="13"/>
          </p:nvPr>
        </p:nvSpPr>
        <p:spPr>
          <a:xfrm>
            <a:off x="383811" y="212725"/>
            <a:ext cx="2228495" cy="259815"/>
          </a:xfrm>
          <a:noFill/>
        </p:spPr>
        <p:txBody>
          <a:bodyPr wrap="none" rtlCol="0">
            <a:spAutoFit/>
          </a:bodyPr>
          <a:lstStyle>
            <a:lvl1pPr marL="0" indent="0">
              <a:buFontTx/>
              <a:buNone/>
              <a:defRPr lang="ja-JP" altLang="en-US" sz="1200" b="1" dirty="0">
                <a:latin typeface="+mj-ea"/>
                <a:ea typeface="+mj-ea"/>
              </a:defRPr>
            </a:lvl1pPr>
          </a:lstStyle>
          <a:p>
            <a:pPr lvl="0"/>
            <a:r>
              <a:rPr kumimoji="1" lang="ja-JP" altLang="en-US"/>
              <a:t>マスター テキストの書式設定</a:t>
            </a:r>
          </a:p>
        </p:txBody>
      </p:sp>
    </p:spTree>
    <p:extLst>
      <p:ext uri="{BB962C8B-B14F-4D97-AF65-F5344CB8AC3E}">
        <p14:creationId xmlns:p14="http://schemas.microsoft.com/office/powerpoint/2010/main" val="631070079"/>
      </p:ext>
    </p:extLst>
  </p:cSld>
  <p:clrMapOvr>
    <a:masterClrMapping/>
  </p:clrMapOvr>
  <p:extLst mod="1">
    <p:ext uri="{DCECCB84-F9BA-43D5-87BE-67443E8EF086}">
      <p15:sldGuideLst xmlns:p15="http://schemas.microsoft.com/office/powerpoint/2012/main">
        <p15:guide id="1" orient="horz" pos="70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赤線_タイトルなし">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590CD8F7-B765-3CB6-9036-61B8EBDC7AD2}"/>
              </a:ext>
            </a:extLst>
          </p:cNvPr>
          <p:cNvSpPr>
            <a:spLocks noGrp="1"/>
          </p:cNvSpPr>
          <p:nvPr>
            <p:ph type="dt" sz="half" idx="10"/>
          </p:nvPr>
        </p:nvSpPr>
        <p:spPr/>
        <p:txBody>
          <a:bodyPr/>
          <a:lstStyle/>
          <a:p>
            <a:fld id="{9E7A664F-AE4E-4B6E-993D-BBEE79BC5D16}" type="datetime1">
              <a:rPr kumimoji="1" lang="ja-JP" altLang="en-US" smtClean="0"/>
              <a:t>2024/7/1</a:t>
            </a:fld>
            <a:endParaRPr kumimoji="1" lang="ja-JP" altLang="en-US"/>
          </a:p>
        </p:txBody>
      </p:sp>
      <p:sp>
        <p:nvSpPr>
          <p:cNvPr id="3" name="フッター プレースホルダー 2">
            <a:extLst>
              <a:ext uri="{FF2B5EF4-FFF2-40B4-BE49-F238E27FC236}">
                <a16:creationId xmlns:a16="http://schemas.microsoft.com/office/drawing/2014/main" id="{D766499A-ED94-0F69-099E-87D5B933CB6F}"/>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5" name="スライド番号プレースホルダー 4">
            <a:extLst>
              <a:ext uri="{FF2B5EF4-FFF2-40B4-BE49-F238E27FC236}">
                <a16:creationId xmlns:a16="http://schemas.microsoft.com/office/drawing/2014/main" id="{3A43CC76-FD01-4D12-3976-5E659672B14F}"/>
              </a:ext>
            </a:extLst>
          </p:cNvPr>
          <p:cNvSpPr>
            <a:spLocks noGrp="1"/>
          </p:cNvSpPr>
          <p:nvPr>
            <p:ph type="sldNum" sz="quarter" idx="12"/>
          </p:nvPr>
        </p:nvSpPr>
        <p:spPr>
          <a:xfrm>
            <a:off x="7544584" y="6492875"/>
            <a:ext cx="2228850" cy="365125"/>
          </a:xfrm>
        </p:spPr>
        <p:txBody>
          <a:bodyPr/>
          <a:lstStyle>
            <a:lvl1pPr>
              <a:defRPr sz="1100" b="1">
                <a:solidFill>
                  <a:schemeClr val="tx1">
                    <a:lumMod val="50000"/>
                    <a:lumOff val="50000"/>
                  </a:schemeClr>
                </a:solidFill>
                <a:latin typeface="+mn-lt"/>
              </a:defRPr>
            </a:lvl1pPr>
          </a:lstStyle>
          <a:p>
            <a:fld id="{3DB74C4F-4DC2-4C31-8D08-159129179147}" type="slidenum">
              <a:rPr kumimoji="1" lang="ja-JP" altLang="en-US" smtClean="0"/>
              <a:pPr/>
              <a:t>‹#›</a:t>
            </a:fld>
            <a:endParaRPr kumimoji="1" lang="ja-JP" altLang="en-US"/>
          </a:p>
        </p:txBody>
      </p:sp>
      <p:sp>
        <p:nvSpPr>
          <p:cNvPr id="6" name="フリーフォーム: 図形 5">
            <a:extLst>
              <a:ext uri="{FF2B5EF4-FFF2-40B4-BE49-F238E27FC236}">
                <a16:creationId xmlns:a16="http://schemas.microsoft.com/office/drawing/2014/main" id="{7D8472CA-E133-8E30-FFBD-005A50E6BD3D}"/>
              </a:ext>
            </a:extLst>
          </p:cNvPr>
          <p:cNvSpPr/>
          <p:nvPr userDrawn="1"/>
        </p:nvSpPr>
        <p:spPr>
          <a:xfrm>
            <a:off x="0" y="724339"/>
            <a:ext cx="9956798" cy="179116"/>
          </a:xfrm>
          <a:custGeom>
            <a:avLst/>
            <a:gdLst>
              <a:gd name="connsiteX0" fmla="*/ 0 w 5915025"/>
              <a:gd name="connsiteY0" fmla="*/ 0 h 761742"/>
              <a:gd name="connsiteX1" fmla="*/ 2947987 w 5915025"/>
              <a:gd name="connsiteY1" fmla="*/ 733425 h 761742"/>
              <a:gd name="connsiteX2" fmla="*/ 5915025 w 5915025"/>
              <a:gd name="connsiteY2" fmla="*/ 552450 h 761742"/>
              <a:gd name="connsiteX0" fmla="*/ 0 w 8328025"/>
              <a:gd name="connsiteY0" fmla="*/ 0 h 733425"/>
              <a:gd name="connsiteX1" fmla="*/ 2947987 w 8328025"/>
              <a:gd name="connsiteY1" fmla="*/ 733425 h 733425"/>
              <a:gd name="connsiteX2" fmla="*/ 8328025 w 8328025"/>
              <a:gd name="connsiteY2" fmla="*/ 184150 h 733425"/>
              <a:gd name="connsiteX0" fmla="*/ 0 w 8328025"/>
              <a:gd name="connsiteY0" fmla="*/ 0 h 733425"/>
              <a:gd name="connsiteX1" fmla="*/ 2947987 w 8328025"/>
              <a:gd name="connsiteY1" fmla="*/ 733425 h 733425"/>
              <a:gd name="connsiteX2" fmla="*/ 8328025 w 8328025"/>
              <a:gd name="connsiteY2" fmla="*/ 184150 h 733425"/>
              <a:gd name="connsiteX0" fmla="*/ 0 w 8328025"/>
              <a:gd name="connsiteY0" fmla="*/ 0 h 755652"/>
              <a:gd name="connsiteX1" fmla="*/ 2947987 w 8328025"/>
              <a:gd name="connsiteY1" fmla="*/ 733425 h 755652"/>
              <a:gd name="connsiteX2" fmla="*/ 8328025 w 8328025"/>
              <a:gd name="connsiteY2" fmla="*/ 184150 h 755652"/>
              <a:gd name="connsiteX0" fmla="*/ 0 w 8328025"/>
              <a:gd name="connsiteY0" fmla="*/ 0 h 755652"/>
              <a:gd name="connsiteX1" fmla="*/ 2947987 w 8328025"/>
              <a:gd name="connsiteY1" fmla="*/ 733425 h 755652"/>
              <a:gd name="connsiteX2" fmla="*/ 8328025 w 8328025"/>
              <a:gd name="connsiteY2" fmla="*/ 184150 h 755652"/>
              <a:gd name="connsiteX0" fmla="*/ 0 w 10576775"/>
              <a:gd name="connsiteY0" fmla="*/ 332943 h 1069864"/>
              <a:gd name="connsiteX1" fmla="*/ 2947987 w 10576775"/>
              <a:gd name="connsiteY1" fmla="*/ 1066368 h 1069864"/>
              <a:gd name="connsiteX2" fmla="*/ 10576775 w 10576775"/>
              <a:gd name="connsiteY2" fmla="*/ 0 h 1069864"/>
              <a:gd name="connsiteX0" fmla="*/ 0 w 10576775"/>
              <a:gd name="connsiteY0" fmla="*/ 332943 h 1069865"/>
              <a:gd name="connsiteX1" fmla="*/ 2947987 w 10576775"/>
              <a:gd name="connsiteY1" fmla="*/ 1066368 h 1069865"/>
              <a:gd name="connsiteX2" fmla="*/ 10576775 w 10576775"/>
              <a:gd name="connsiteY2" fmla="*/ 0 h 1069865"/>
              <a:gd name="connsiteX0" fmla="*/ 0 w 10576775"/>
              <a:gd name="connsiteY0" fmla="*/ 332943 h 1237511"/>
              <a:gd name="connsiteX1" fmla="*/ 3669511 w 10576775"/>
              <a:gd name="connsiteY1" fmla="*/ 1234723 h 1237511"/>
              <a:gd name="connsiteX2" fmla="*/ 10576775 w 10576775"/>
              <a:gd name="connsiteY2" fmla="*/ 0 h 1237511"/>
              <a:gd name="connsiteX0" fmla="*/ 0 w 10576775"/>
              <a:gd name="connsiteY0" fmla="*/ 332943 h 1234776"/>
              <a:gd name="connsiteX1" fmla="*/ 3669511 w 10576775"/>
              <a:gd name="connsiteY1" fmla="*/ 1234723 h 1234776"/>
              <a:gd name="connsiteX2" fmla="*/ 10576775 w 10576775"/>
              <a:gd name="connsiteY2" fmla="*/ 0 h 1234776"/>
              <a:gd name="connsiteX0" fmla="*/ 0 w 10576775"/>
              <a:gd name="connsiteY0" fmla="*/ 332943 h 1251515"/>
              <a:gd name="connsiteX1" fmla="*/ 3669511 w 10576775"/>
              <a:gd name="connsiteY1" fmla="*/ 1234723 h 1251515"/>
              <a:gd name="connsiteX2" fmla="*/ 7221703 w 10576775"/>
              <a:gd name="connsiteY2" fmla="*/ 673308 h 1251515"/>
              <a:gd name="connsiteX3" fmla="*/ 10576775 w 10576775"/>
              <a:gd name="connsiteY3" fmla="*/ 0 h 1251515"/>
              <a:gd name="connsiteX0" fmla="*/ 0 w 10753148"/>
              <a:gd name="connsiteY0" fmla="*/ 0 h 918572"/>
              <a:gd name="connsiteX1" fmla="*/ 3669511 w 10753148"/>
              <a:gd name="connsiteY1" fmla="*/ 901780 h 918572"/>
              <a:gd name="connsiteX2" fmla="*/ 7221703 w 10753148"/>
              <a:gd name="connsiteY2" fmla="*/ 340365 h 918572"/>
              <a:gd name="connsiteX3" fmla="*/ 10753148 w 10753148"/>
              <a:gd name="connsiteY3" fmla="*/ 532873 h 918572"/>
              <a:gd name="connsiteX0" fmla="*/ 0 w 10753148"/>
              <a:gd name="connsiteY0" fmla="*/ 0 h 918572"/>
              <a:gd name="connsiteX1" fmla="*/ 3669511 w 10753148"/>
              <a:gd name="connsiteY1" fmla="*/ 901780 h 918572"/>
              <a:gd name="connsiteX2" fmla="*/ 7221703 w 10753148"/>
              <a:gd name="connsiteY2" fmla="*/ 340365 h 918572"/>
              <a:gd name="connsiteX3" fmla="*/ 10753148 w 10753148"/>
              <a:gd name="connsiteY3" fmla="*/ 532873 h 918572"/>
              <a:gd name="connsiteX0" fmla="*/ 0 w 10753148"/>
              <a:gd name="connsiteY0" fmla="*/ 0 h 918572"/>
              <a:gd name="connsiteX1" fmla="*/ 3669511 w 10753148"/>
              <a:gd name="connsiteY1" fmla="*/ 901780 h 918572"/>
              <a:gd name="connsiteX2" fmla="*/ 7221703 w 10753148"/>
              <a:gd name="connsiteY2" fmla="*/ 340365 h 918572"/>
              <a:gd name="connsiteX3" fmla="*/ 10753148 w 10753148"/>
              <a:gd name="connsiteY3" fmla="*/ 532873 h 918572"/>
              <a:gd name="connsiteX0" fmla="*/ 0 w 10753148"/>
              <a:gd name="connsiteY0" fmla="*/ 0 h 925735"/>
              <a:gd name="connsiteX1" fmla="*/ 3669511 w 10753148"/>
              <a:gd name="connsiteY1" fmla="*/ 901780 h 925735"/>
              <a:gd name="connsiteX2" fmla="*/ 7221703 w 10753148"/>
              <a:gd name="connsiteY2" fmla="*/ 340365 h 925735"/>
              <a:gd name="connsiteX3" fmla="*/ 10753148 w 10753148"/>
              <a:gd name="connsiteY3" fmla="*/ 532873 h 925735"/>
              <a:gd name="connsiteX0" fmla="*/ 0 w 10753148"/>
              <a:gd name="connsiteY0" fmla="*/ 0 h 1043474"/>
              <a:gd name="connsiteX1" fmla="*/ 3100309 w 10753148"/>
              <a:gd name="connsiteY1" fmla="*/ 1023536 h 1043474"/>
              <a:gd name="connsiteX2" fmla="*/ 7221703 w 10753148"/>
              <a:gd name="connsiteY2" fmla="*/ 340365 h 1043474"/>
              <a:gd name="connsiteX3" fmla="*/ 10753148 w 10753148"/>
              <a:gd name="connsiteY3" fmla="*/ 532873 h 1043474"/>
              <a:gd name="connsiteX0" fmla="*/ 0 w 10753148"/>
              <a:gd name="connsiteY0" fmla="*/ 0 h 1031142"/>
              <a:gd name="connsiteX1" fmla="*/ 3100309 w 10753148"/>
              <a:gd name="connsiteY1" fmla="*/ 1023536 h 1031142"/>
              <a:gd name="connsiteX2" fmla="*/ 7919177 w 10753148"/>
              <a:gd name="connsiteY2" fmla="*/ 432006 h 1031142"/>
              <a:gd name="connsiteX3" fmla="*/ 10753148 w 10753148"/>
              <a:gd name="connsiteY3" fmla="*/ 532873 h 1031142"/>
              <a:gd name="connsiteX0" fmla="*/ 0 w 10753148"/>
              <a:gd name="connsiteY0" fmla="*/ 0 h 1028248"/>
              <a:gd name="connsiteX1" fmla="*/ 3100309 w 10753148"/>
              <a:gd name="connsiteY1" fmla="*/ 1023536 h 1028248"/>
              <a:gd name="connsiteX2" fmla="*/ 7919177 w 10753148"/>
              <a:gd name="connsiteY2" fmla="*/ 432006 h 1028248"/>
              <a:gd name="connsiteX3" fmla="*/ 10753148 w 10753148"/>
              <a:gd name="connsiteY3" fmla="*/ 532873 h 1028248"/>
              <a:gd name="connsiteX0" fmla="*/ 0 w 10753148"/>
              <a:gd name="connsiteY0" fmla="*/ 0 h 1034490"/>
              <a:gd name="connsiteX1" fmla="*/ 3100309 w 10753148"/>
              <a:gd name="connsiteY1" fmla="*/ 1023536 h 1034490"/>
              <a:gd name="connsiteX2" fmla="*/ 10753148 w 10753148"/>
              <a:gd name="connsiteY2" fmla="*/ 532873 h 1034490"/>
              <a:gd name="connsiteX0" fmla="*/ 0 w 10945554"/>
              <a:gd name="connsiteY0" fmla="*/ 16986 h 1040530"/>
              <a:gd name="connsiteX1" fmla="*/ 3100309 w 10945554"/>
              <a:gd name="connsiteY1" fmla="*/ 1040522 h 1040530"/>
              <a:gd name="connsiteX2" fmla="*/ 10945554 w 10945554"/>
              <a:gd name="connsiteY2" fmla="*/ 0 h 1040530"/>
              <a:gd name="connsiteX0" fmla="*/ 0 w 10945554"/>
              <a:gd name="connsiteY0" fmla="*/ 16986 h 1055583"/>
              <a:gd name="connsiteX1" fmla="*/ 3100309 w 10945554"/>
              <a:gd name="connsiteY1" fmla="*/ 1040522 h 1055583"/>
              <a:gd name="connsiteX2" fmla="*/ 10945554 w 10945554"/>
              <a:gd name="connsiteY2" fmla="*/ 0 h 1055583"/>
              <a:gd name="connsiteX0" fmla="*/ 0 w 10945554"/>
              <a:gd name="connsiteY0" fmla="*/ 16986 h 1055577"/>
              <a:gd name="connsiteX1" fmla="*/ 3100309 w 10945554"/>
              <a:gd name="connsiteY1" fmla="*/ 1040522 h 1055577"/>
              <a:gd name="connsiteX2" fmla="*/ 10945554 w 10945554"/>
              <a:gd name="connsiteY2" fmla="*/ 0 h 1055577"/>
              <a:gd name="connsiteX0" fmla="*/ 0 w 10945554"/>
              <a:gd name="connsiteY0" fmla="*/ 16986 h 1055577"/>
              <a:gd name="connsiteX1" fmla="*/ 3100309 w 10945554"/>
              <a:gd name="connsiteY1" fmla="*/ 1040522 h 1055577"/>
              <a:gd name="connsiteX2" fmla="*/ 10945554 w 10945554"/>
              <a:gd name="connsiteY2" fmla="*/ 0 h 1055577"/>
              <a:gd name="connsiteX0" fmla="*/ 0 w 10945554"/>
              <a:gd name="connsiteY0" fmla="*/ 16986 h 1055577"/>
              <a:gd name="connsiteX1" fmla="*/ 3100309 w 10945554"/>
              <a:gd name="connsiteY1" fmla="*/ 1040522 h 1055577"/>
              <a:gd name="connsiteX2" fmla="*/ 10945554 w 10945554"/>
              <a:gd name="connsiteY2" fmla="*/ 0 h 1055577"/>
              <a:gd name="connsiteX0" fmla="*/ 0 w 10945554"/>
              <a:gd name="connsiteY0" fmla="*/ 16986 h 1055577"/>
              <a:gd name="connsiteX1" fmla="*/ 3100309 w 10945554"/>
              <a:gd name="connsiteY1" fmla="*/ 1040522 h 1055577"/>
              <a:gd name="connsiteX2" fmla="*/ 10945554 w 10945554"/>
              <a:gd name="connsiteY2" fmla="*/ 0 h 1055577"/>
            </a:gdLst>
            <a:ahLst/>
            <a:cxnLst>
              <a:cxn ang="0">
                <a:pos x="connsiteX0" y="connsiteY0"/>
              </a:cxn>
              <a:cxn ang="0">
                <a:pos x="connsiteX1" y="connsiteY1"/>
              </a:cxn>
              <a:cxn ang="0">
                <a:pos x="connsiteX2" y="connsiteY2"/>
              </a:cxn>
            </a:cxnLst>
            <a:rect l="l" t="t" r="r" b="b"/>
            <a:pathLst>
              <a:path w="10945554" h="1055577">
                <a:moveTo>
                  <a:pt x="0" y="16986"/>
                </a:moveTo>
                <a:cubicBezTo>
                  <a:pt x="135247" y="1083393"/>
                  <a:pt x="1276050" y="1043353"/>
                  <a:pt x="3100309" y="1040522"/>
                </a:cubicBezTo>
                <a:cubicBezTo>
                  <a:pt x="4924568" y="1037691"/>
                  <a:pt x="8786019" y="1270669"/>
                  <a:pt x="10945554" y="0"/>
                </a:cubicBez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7" name="グラフィックス 6">
            <a:extLst>
              <a:ext uri="{FF2B5EF4-FFF2-40B4-BE49-F238E27FC236}">
                <a16:creationId xmlns:a16="http://schemas.microsoft.com/office/drawing/2014/main" id="{9DC6F92E-6B8C-02C2-AB94-5BEFD506C8D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8406818" y="210781"/>
            <a:ext cx="1026676" cy="233049"/>
          </a:xfrm>
          <a:prstGeom prst="rect">
            <a:avLst/>
          </a:prstGeom>
        </p:spPr>
      </p:pic>
      <p:sp>
        <p:nvSpPr>
          <p:cNvPr id="8" name="フリーフォーム: 図形 7">
            <a:extLst>
              <a:ext uri="{FF2B5EF4-FFF2-40B4-BE49-F238E27FC236}">
                <a16:creationId xmlns:a16="http://schemas.microsoft.com/office/drawing/2014/main" id="{04770AE3-DA02-7881-6B6C-A46E455CFE0C}"/>
              </a:ext>
            </a:extLst>
          </p:cNvPr>
          <p:cNvSpPr/>
          <p:nvPr userDrawn="1"/>
        </p:nvSpPr>
        <p:spPr>
          <a:xfrm rot="650446">
            <a:off x="11520" y="611212"/>
            <a:ext cx="81972" cy="130278"/>
          </a:xfrm>
          <a:custGeom>
            <a:avLst/>
            <a:gdLst>
              <a:gd name="connsiteX0" fmla="*/ 6253 w 177898"/>
              <a:gd name="connsiteY0" fmla="*/ 282666 h 282735"/>
              <a:gd name="connsiteX1" fmla="*/ 50703 w 177898"/>
              <a:gd name="connsiteY1" fmla="*/ 22316 h 282735"/>
              <a:gd name="connsiteX2" fmla="*/ 177703 w 177898"/>
              <a:gd name="connsiteY2" fmla="*/ 47716 h 282735"/>
              <a:gd name="connsiteX3" fmla="*/ 6253 w 177898"/>
              <a:gd name="connsiteY3" fmla="*/ 282666 h 282735"/>
            </a:gdLst>
            <a:ahLst/>
            <a:cxnLst>
              <a:cxn ang="0">
                <a:pos x="connsiteX0" y="connsiteY0"/>
              </a:cxn>
              <a:cxn ang="0">
                <a:pos x="connsiteX1" y="connsiteY1"/>
              </a:cxn>
              <a:cxn ang="0">
                <a:pos x="connsiteX2" y="connsiteY2"/>
              </a:cxn>
              <a:cxn ang="0">
                <a:pos x="connsiteX3" y="connsiteY3"/>
              </a:cxn>
            </a:cxnLst>
            <a:rect l="l" t="t" r="r" b="b"/>
            <a:pathLst>
              <a:path w="177898" h="282735">
                <a:moveTo>
                  <a:pt x="6253" y="282666"/>
                </a:moveTo>
                <a:cubicBezTo>
                  <a:pt x="-14914" y="278433"/>
                  <a:pt x="22128" y="61474"/>
                  <a:pt x="50703" y="22316"/>
                </a:cubicBezTo>
                <a:cubicBezTo>
                  <a:pt x="79278" y="-16842"/>
                  <a:pt x="182995" y="-2026"/>
                  <a:pt x="177703" y="47716"/>
                </a:cubicBezTo>
                <a:cubicBezTo>
                  <a:pt x="172411" y="97458"/>
                  <a:pt x="27420" y="286899"/>
                  <a:pt x="6253" y="282666"/>
                </a:cubicBezTo>
                <a:close/>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グラフィックス 6">
            <a:extLst>
              <a:ext uri="{FF2B5EF4-FFF2-40B4-BE49-F238E27FC236}">
                <a16:creationId xmlns:a16="http://schemas.microsoft.com/office/drawing/2014/main" id="{45D729C5-C88C-0BFC-FA56-B1B325E1D3CD}"/>
              </a:ext>
            </a:extLst>
          </p:cNvPr>
          <p:cNvSpPr/>
          <p:nvPr userDrawn="1"/>
        </p:nvSpPr>
        <p:spPr>
          <a:xfrm flipH="1">
            <a:off x="7538926" y="387159"/>
            <a:ext cx="690674" cy="470326"/>
          </a:xfrm>
          <a:custGeom>
            <a:avLst/>
            <a:gdLst>
              <a:gd name="connsiteX0" fmla="*/ 0 w 9875100"/>
              <a:gd name="connsiteY0" fmla="*/ 3339656 h 3487140"/>
              <a:gd name="connsiteX1" fmla="*/ 659859 w 9875100"/>
              <a:gd name="connsiteY1" fmla="*/ 3395424 h 3487140"/>
              <a:gd name="connsiteX2" fmla="*/ 984944 w 9875100"/>
              <a:gd name="connsiteY2" fmla="*/ 2916759 h 3487140"/>
              <a:gd name="connsiteX3" fmla="*/ 1241411 w 9875100"/>
              <a:gd name="connsiteY3" fmla="*/ 2898295 h 3487140"/>
              <a:gd name="connsiteX4" fmla="*/ 1470762 w 9875100"/>
              <a:gd name="connsiteY4" fmla="*/ 3416675 h 3487140"/>
              <a:gd name="connsiteX5" fmla="*/ 1630581 w 9875100"/>
              <a:gd name="connsiteY5" fmla="*/ 3205871 h 3487140"/>
              <a:gd name="connsiteX6" fmla="*/ 1889834 w 9875100"/>
              <a:gd name="connsiteY6" fmla="*/ 2696848 h 3487140"/>
              <a:gd name="connsiteX7" fmla="*/ 2164182 w 9875100"/>
              <a:gd name="connsiteY7" fmla="*/ 2954187 h 3487140"/>
              <a:gd name="connsiteX8" fmla="*/ 2511516 w 9875100"/>
              <a:gd name="connsiteY8" fmla="*/ 3339906 h 3487140"/>
              <a:gd name="connsiteX9" fmla="*/ 2969638 w 9875100"/>
              <a:gd name="connsiteY9" fmla="*/ 3385485 h 3487140"/>
              <a:gd name="connsiteX10" fmla="*/ 3048320 w 9875100"/>
              <a:gd name="connsiteY10" fmla="*/ 3295741 h 3487140"/>
              <a:gd name="connsiteX11" fmla="*/ 2797218 w 9875100"/>
              <a:gd name="connsiteY11" fmla="*/ 3112384 h 3487140"/>
              <a:gd name="connsiteX12" fmla="*/ 2491055 w 9875100"/>
              <a:gd name="connsiteY12" fmla="*/ 2750287 h 3487140"/>
              <a:gd name="connsiteX13" fmla="*/ 2399523 w 9875100"/>
              <a:gd name="connsiteY13" fmla="*/ 2305432 h 3487140"/>
              <a:gd name="connsiteX14" fmla="*/ 2527111 w 9875100"/>
              <a:gd name="connsiteY14" fmla="*/ 1919713 h 3487140"/>
              <a:gd name="connsiteX15" fmla="*/ 2851323 w 9875100"/>
              <a:gd name="connsiteY15" fmla="*/ 1637837 h 3487140"/>
              <a:gd name="connsiteX16" fmla="*/ 3344627 w 9875100"/>
              <a:gd name="connsiteY16" fmla="*/ 1545972 h 3487140"/>
              <a:gd name="connsiteX17" fmla="*/ 3579302 w 9875100"/>
              <a:gd name="connsiteY17" fmla="*/ 1517651 h 3487140"/>
              <a:gd name="connsiteX18" fmla="*/ 3564039 w 9875100"/>
              <a:gd name="connsiteY18" fmla="*/ 1460718 h 3487140"/>
              <a:gd name="connsiteX19" fmla="*/ 3287985 w 9875100"/>
              <a:gd name="connsiteY19" fmla="*/ 1416969 h 3487140"/>
              <a:gd name="connsiteX20" fmla="*/ 2768565 w 9875100"/>
              <a:gd name="connsiteY20" fmla="*/ 1517318 h 3487140"/>
              <a:gd name="connsiteX21" fmla="*/ 2359267 w 9875100"/>
              <a:gd name="connsiteY21" fmla="*/ 1960593 h 3487140"/>
              <a:gd name="connsiteX22" fmla="*/ 2299797 w 9875100"/>
              <a:gd name="connsiteY22" fmla="*/ 2569342 h 3487140"/>
              <a:gd name="connsiteX23" fmla="*/ 2713504 w 9875100"/>
              <a:gd name="connsiteY23" fmla="*/ 3165532 h 3487140"/>
              <a:gd name="connsiteX24" fmla="*/ 3503489 w 9875100"/>
              <a:gd name="connsiteY24" fmla="*/ 3283181 h 3487140"/>
              <a:gd name="connsiteX25" fmla="*/ 4106125 w 9875100"/>
              <a:gd name="connsiteY25" fmla="*/ 2757481 h 3487140"/>
              <a:gd name="connsiteX26" fmla="*/ 4095894 w 9875100"/>
              <a:gd name="connsiteY26" fmla="*/ 1980430 h 3487140"/>
              <a:gd name="connsiteX27" fmla="*/ 3765860 w 9875100"/>
              <a:gd name="connsiteY27" fmla="*/ 1589139 h 3487140"/>
              <a:gd name="connsiteX28" fmla="*/ 3576806 w 9875100"/>
              <a:gd name="connsiteY28" fmla="*/ 1660710 h 3487140"/>
              <a:gd name="connsiteX29" fmla="*/ 3468389 w 9875100"/>
              <a:gd name="connsiteY29" fmla="*/ 2116627 h 3487140"/>
              <a:gd name="connsiteX30" fmla="*/ 3245026 w 9875100"/>
              <a:gd name="connsiteY30" fmla="*/ 2374258 h 3487140"/>
              <a:gd name="connsiteX31" fmla="*/ 3190090 w 9875100"/>
              <a:gd name="connsiteY31" fmla="*/ 2276986 h 3487140"/>
              <a:gd name="connsiteX32" fmla="*/ 3569362 w 9875100"/>
              <a:gd name="connsiteY32" fmla="*/ 2021601 h 3487140"/>
              <a:gd name="connsiteX33" fmla="*/ 3829281 w 9875100"/>
              <a:gd name="connsiteY33" fmla="*/ 1234153 h 3487140"/>
              <a:gd name="connsiteX34" fmla="*/ 4059381 w 9875100"/>
              <a:gd name="connsiteY34" fmla="*/ 725296 h 3487140"/>
              <a:gd name="connsiteX35" fmla="*/ 4167964 w 9875100"/>
              <a:gd name="connsiteY35" fmla="*/ 539984 h 3487140"/>
              <a:gd name="connsiteX36" fmla="*/ 4136816 w 9875100"/>
              <a:gd name="connsiteY36" fmla="*/ 435851 h 3487140"/>
              <a:gd name="connsiteX37" fmla="*/ 4030478 w 9875100"/>
              <a:gd name="connsiteY37" fmla="*/ 350265 h 3487140"/>
              <a:gd name="connsiteX38" fmla="*/ 3985190 w 9875100"/>
              <a:gd name="connsiteY38" fmla="*/ 209327 h 3487140"/>
              <a:gd name="connsiteX39" fmla="*/ 4030020 w 9875100"/>
              <a:gd name="connsiteY39" fmla="*/ 82237 h 3487140"/>
              <a:gd name="connsiteX40" fmla="*/ 4210300 w 9875100"/>
              <a:gd name="connsiteY40" fmla="*/ 6716 h 3487140"/>
              <a:gd name="connsiteX41" fmla="*/ 4478993 w 9875100"/>
              <a:gd name="connsiteY41" fmla="*/ 10167 h 3487140"/>
              <a:gd name="connsiteX42" fmla="*/ 4562666 w 9875100"/>
              <a:gd name="connsiteY42" fmla="*/ 49800 h 3487140"/>
              <a:gd name="connsiteX43" fmla="*/ 4515631 w 9875100"/>
              <a:gd name="connsiteY43" fmla="*/ 86812 h 3487140"/>
              <a:gd name="connsiteX44" fmla="*/ 4279708 w 9875100"/>
              <a:gd name="connsiteY44" fmla="*/ 91886 h 3487140"/>
              <a:gd name="connsiteX45" fmla="*/ 4036175 w 9875100"/>
              <a:gd name="connsiteY45" fmla="*/ 75833 h 3487140"/>
              <a:gd name="connsiteX46" fmla="*/ 3928424 w 9875100"/>
              <a:gd name="connsiteY46" fmla="*/ 176931 h 3487140"/>
              <a:gd name="connsiteX47" fmla="*/ 3943686 w 9875100"/>
              <a:gd name="connsiteY47" fmla="*/ 370393 h 3487140"/>
              <a:gd name="connsiteX48" fmla="*/ 3888459 w 9875100"/>
              <a:gd name="connsiteY48" fmla="*/ 589348 h 3487140"/>
              <a:gd name="connsiteX49" fmla="*/ 3731925 w 9875100"/>
              <a:gd name="connsiteY49" fmla="*/ 903953 h 3487140"/>
              <a:gd name="connsiteX50" fmla="*/ 3521454 w 9875100"/>
              <a:gd name="connsiteY50" fmla="*/ 922501 h 3487140"/>
              <a:gd name="connsiteX51" fmla="*/ 3327035 w 9875100"/>
              <a:gd name="connsiteY51" fmla="*/ 866816 h 3487140"/>
              <a:gd name="connsiteX52" fmla="*/ 3268190 w 9875100"/>
              <a:gd name="connsiteY52" fmla="*/ 751038 h 3487140"/>
              <a:gd name="connsiteX53" fmla="*/ 3280126 w 9875100"/>
              <a:gd name="connsiteY53" fmla="*/ 369436 h 3487140"/>
              <a:gd name="connsiteX54" fmla="*/ 3341799 w 9875100"/>
              <a:gd name="connsiteY54" fmla="*/ 155805 h 3487140"/>
              <a:gd name="connsiteX55" fmla="*/ 3543163 w 9875100"/>
              <a:gd name="connsiteY55" fmla="*/ 156761 h 3487140"/>
              <a:gd name="connsiteX56" fmla="*/ 3796094 w 9875100"/>
              <a:gd name="connsiteY56" fmla="*/ 245175 h 3487140"/>
              <a:gd name="connsiteX57" fmla="*/ 3965186 w 9875100"/>
              <a:gd name="connsiteY57" fmla="*/ 357792 h 3487140"/>
              <a:gd name="connsiteX58" fmla="*/ 4069777 w 9875100"/>
              <a:gd name="connsiteY58" fmla="*/ 483301 h 3487140"/>
              <a:gd name="connsiteX59" fmla="*/ 4093981 w 9875100"/>
              <a:gd name="connsiteY59" fmla="*/ 600951 h 3487140"/>
              <a:gd name="connsiteX60" fmla="*/ 4066450 w 9875100"/>
              <a:gd name="connsiteY60" fmla="*/ 761726 h 3487140"/>
              <a:gd name="connsiteX61" fmla="*/ 4238371 w 9875100"/>
              <a:gd name="connsiteY61" fmla="*/ 1160004 h 3487140"/>
              <a:gd name="connsiteX62" fmla="*/ 4661351 w 9875100"/>
              <a:gd name="connsiteY62" fmla="*/ 1793622 h 3487140"/>
              <a:gd name="connsiteX63" fmla="*/ 5078842 w 9875100"/>
              <a:gd name="connsiteY63" fmla="*/ 2087475 h 3487140"/>
              <a:gd name="connsiteX64" fmla="*/ 5188465 w 9875100"/>
              <a:gd name="connsiteY64" fmla="*/ 2185620 h 3487140"/>
              <a:gd name="connsiteX65" fmla="*/ 5075516 w 9875100"/>
              <a:gd name="connsiteY65" fmla="*/ 2468120 h 3487140"/>
              <a:gd name="connsiteX66" fmla="*/ 4909417 w 9875100"/>
              <a:gd name="connsiteY66" fmla="*/ 2505548 h 3487140"/>
              <a:gd name="connsiteX67" fmla="*/ 4600967 w 9875100"/>
              <a:gd name="connsiteY67" fmla="*/ 2278109 h 3487140"/>
              <a:gd name="connsiteX68" fmla="*/ 4156278 w 9875100"/>
              <a:gd name="connsiteY68" fmla="*/ 1678800 h 3487140"/>
              <a:gd name="connsiteX69" fmla="*/ 4036425 w 9875100"/>
              <a:gd name="connsiteY69" fmla="*/ 1175432 h 3487140"/>
              <a:gd name="connsiteX70" fmla="*/ 4190879 w 9875100"/>
              <a:gd name="connsiteY70" fmla="*/ 1377420 h 3487140"/>
              <a:gd name="connsiteX71" fmla="*/ 4552519 w 9875100"/>
              <a:gd name="connsiteY71" fmla="*/ 2268710 h 3487140"/>
              <a:gd name="connsiteX72" fmla="*/ 4872321 w 9875100"/>
              <a:gd name="connsiteY72" fmla="*/ 2693105 h 3487140"/>
              <a:gd name="connsiteX73" fmla="*/ 5105749 w 9875100"/>
              <a:gd name="connsiteY73" fmla="*/ 2746586 h 3487140"/>
              <a:gd name="connsiteX74" fmla="*/ 5272970 w 9875100"/>
              <a:gd name="connsiteY74" fmla="*/ 2631432 h 3487140"/>
              <a:gd name="connsiteX75" fmla="*/ 5284157 w 9875100"/>
              <a:gd name="connsiteY75" fmla="*/ 2436680 h 3487140"/>
              <a:gd name="connsiteX76" fmla="*/ 5130327 w 9875100"/>
              <a:gd name="connsiteY76" fmla="*/ 2309258 h 3487140"/>
              <a:gd name="connsiteX77" fmla="*/ 4923141 w 9875100"/>
              <a:gd name="connsiteY77" fmla="*/ 2375007 h 3487140"/>
              <a:gd name="connsiteX78" fmla="*/ 4900642 w 9875100"/>
              <a:gd name="connsiteY78" fmla="*/ 2581402 h 3487140"/>
              <a:gd name="connsiteX79" fmla="*/ 5043327 w 9875100"/>
              <a:gd name="connsiteY79" fmla="*/ 2671064 h 3487140"/>
              <a:gd name="connsiteX80" fmla="*/ 5139892 w 9875100"/>
              <a:gd name="connsiteY80" fmla="*/ 2596831 h 3487140"/>
              <a:gd name="connsiteX81" fmla="*/ 5106706 w 9875100"/>
              <a:gd name="connsiteY81" fmla="*/ 2530750 h 3487140"/>
              <a:gd name="connsiteX82" fmla="*/ 4984648 w 9875100"/>
              <a:gd name="connsiteY82" fmla="*/ 2615379 h 3487140"/>
              <a:gd name="connsiteX83" fmla="*/ 4838969 w 9875100"/>
              <a:gd name="connsiteY83" fmla="*/ 2907028 h 3487140"/>
              <a:gd name="connsiteX84" fmla="*/ 4791144 w 9875100"/>
              <a:gd name="connsiteY84" fmla="*/ 3008333 h 3487140"/>
              <a:gd name="connsiteX85" fmla="*/ 4755296 w 9875100"/>
              <a:gd name="connsiteY85" fmla="*/ 3024053 h 3487140"/>
              <a:gd name="connsiteX86" fmla="*/ 4660270 w 9875100"/>
              <a:gd name="connsiteY86" fmla="*/ 3013989 h 3487140"/>
              <a:gd name="connsiteX87" fmla="*/ 4667173 w 9875100"/>
              <a:gd name="connsiteY87" fmla="*/ 2956724 h 3487140"/>
              <a:gd name="connsiteX88" fmla="*/ 4855936 w 9875100"/>
              <a:gd name="connsiteY88" fmla="*/ 2951068 h 3487140"/>
              <a:gd name="connsiteX89" fmla="*/ 4942146 w 9875100"/>
              <a:gd name="connsiteY89" fmla="*/ 2951068 h 3487140"/>
              <a:gd name="connsiteX90" fmla="*/ 5023324 w 9875100"/>
              <a:gd name="connsiteY90" fmla="*/ 2822066 h 3487140"/>
              <a:gd name="connsiteX91" fmla="*/ 5163638 w 9875100"/>
              <a:gd name="connsiteY91" fmla="*/ 2789337 h 3487140"/>
              <a:gd name="connsiteX92" fmla="*/ 5291351 w 9875100"/>
              <a:gd name="connsiteY92" fmla="*/ 2713815 h 3487140"/>
              <a:gd name="connsiteX93" fmla="*/ 5377561 w 9875100"/>
              <a:gd name="connsiteY93" fmla="*/ 2544556 h 3487140"/>
              <a:gd name="connsiteX94" fmla="*/ 5597140 w 9875100"/>
              <a:gd name="connsiteY94" fmla="*/ 2482883 h 3487140"/>
              <a:gd name="connsiteX95" fmla="*/ 6132114 w 9875100"/>
              <a:gd name="connsiteY95" fmla="*/ 2466831 h 3487140"/>
              <a:gd name="connsiteX96" fmla="*/ 6287856 w 9875100"/>
              <a:gd name="connsiteY96" fmla="*/ 2420918 h 3487140"/>
              <a:gd name="connsiteX97" fmla="*/ 6137769 w 9875100"/>
              <a:gd name="connsiteY97" fmla="*/ 2252907 h 3487140"/>
              <a:gd name="connsiteX98" fmla="*/ 5662390 w 9875100"/>
              <a:gd name="connsiteY98" fmla="*/ 1791709 h 3487140"/>
              <a:gd name="connsiteX99" fmla="*/ 5398271 w 9875100"/>
              <a:gd name="connsiteY99" fmla="*/ 1600118 h 3487140"/>
              <a:gd name="connsiteX100" fmla="*/ 5274301 w 9875100"/>
              <a:gd name="connsiteY100" fmla="*/ 1733529 h 3487140"/>
              <a:gd name="connsiteX101" fmla="*/ 5212003 w 9875100"/>
              <a:gd name="connsiteY101" fmla="*/ 1995900 h 3487140"/>
              <a:gd name="connsiteX102" fmla="*/ 5252883 w 9875100"/>
              <a:gd name="connsiteY102" fmla="*/ 2048133 h 3487140"/>
              <a:gd name="connsiteX103" fmla="*/ 5315804 w 9875100"/>
              <a:gd name="connsiteY103" fmla="*/ 1778817 h 3487140"/>
              <a:gd name="connsiteX104" fmla="*/ 5437571 w 9875100"/>
              <a:gd name="connsiteY104" fmla="*/ 1356918 h 3487140"/>
              <a:gd name="connsiteX105" fmla="*/ 5543908 w 9875100"/>
              <a:gd name="connsiteY105" fmla="*/ 986960 h 3487140"/>
              <a:gd name="connsiteX106" fmla="*/ 5514631 w 9875100"/>
              <a:gd name="connsiteY106" fmla="*/ 867107 h 3487140"/>
              <a:gd name="connsiteX107" fmla="*/ 5339717 w 9875100"/>
              <a:gd name="connsiteY107" fmla="*/ 840034 h 3487140"/>
              <a:gd name="connsiteX108" fmla="*/ 5195618 w 9875100"/>
              <a:gd name="connsiteY108" fmla="*/ 782769 h 3487140"/>
              <a:gd name="connsiteX109" fmla="*/ 5211962 w 9875100"/>
              <a:gd name="connsiteY109" fmla="*/ 714816 h 3487140"/>
              <a:gd name="connsiteX110" fmla="*/ 5385629 w 9875100"/>
              <a:gd name="connsiteY110" fmla="*/ 723008 h 3487140"/>
              <a:gd name="connsiteX111" fmla="*/ 5588240 w 9875100"/>
              <a:gd name="connsiteY111" fmla="*/ 729288 h 3487140"/>
              <a:gd name="connsiteX112" fmla="*/ 5754962 w 9875100"/>
              <a:gd name="connsiteY112" fmla="*/ 682087 h 3487140"/>
              <a:gd name="connsiteX113" fmla="*/ 5872611 w 9875100"/>
              <a:gd name="connsiteY113" fmla="*/ 703463 h 3487140"/>
              <a:gd name="connsiteX114" fmla="*/ 5895276 w 9875100"/>
              <a:gd name="connsiteY114" fmla="*/ 797199 h 3487140"/>
              <a:gd name="connsiteX115" fmla="*/ 5767563 w 9875100"/>
              <a:gd name="connsiteY115" fmla="*/ 890936 h 3487140"/>
              <a:gd name="connsiteX116" fmla="*/ 5597680 w 9875100"/>
              <a:gd name="connsiteY116" fmla="*/ 918009 h 3487140"/>
              <a:gd name="connsiteX117" fmla="*/ 5469967 w 9875100"/>
              <a:gd name="connsiteY117" fmla="*/ 1002306 h 3487140"/>
              <a:gd name="connsiteX118" fmla="*/ 5369077 w 9875100"/>
              <a:gd name="connsiteY118" fmla="*/ 1299902 h 3487140"/>
              <a:gd name="connsiteX119" fmla="*/ 5430127 w 9875100"/>
              <a:gd name="connsiteY119" fmla="*/ 1545930 h 3487140"/>
              <a:gd name="connsiteX120" fmla="*/ 5642802 w 9875100"/>
              <a:gd name="connsiteY120" fmla="*/ 1536490 h 3487140"/>
              <a:gd name="connsiteX121" fmla="*/ 5822333 w 9875100"/>
              <a:gd name="connsiteY121" fmla="*/ 1376048 h 3487140"/>
              <a:gd name="connsiteX122" fmla="*/ 5825494 w 9875100"/>
              <a:gd name="connsiteY122" fmla="*/ 1231949 h 3487140"/>
              <a:gd name="connsiteX123" fmla="*/ 5607453 w 9875100"/>
              <a:gd name="connsiteY123" fmla="*/ 1191693 h 3487140"/>
              <a:gd name="connsiteX124" fmla="*/ 5615937 w 9875100"/>
              <a:gd name="connsiteY124" fmla="*/ 1255238 h 3487140"/>
              <a:gd name="connsiteX125" fmla="*/ 6040955 w 9875100"/>
              <a:gd name="connsiteY125" fmla="*/ 1241722 h 3487140"/>
              <a:gd name="connsiteX126" fmla="*/ 6525775 w 9875100"/>
              <a:gd name="connsiteY126" fmla="*/ 1259646 h 3487140"/>
              <a:gd name="connsiteX127" fmla="*/ 6755127 w 9875100"/>
              <a:gd name="connsiteY127" fmla="*/ 1236981 h 3487140"/>
              <a:gd name="connsiteX128" fmla="*/ 6736871 w 9875100"/>
              <a:gd name="connsiteY128" fmla="*/ 1185995 h 3487140"/>
              <a:gd name="connsiteX129" fmla="*/ 6376353 w 9875100"/>
              <a:gd name="connsiteY129" fmla="*/ 1177512 h 3487140"/>
              <a:gd name="connsiteX130" fmla="*/ 6005773 w 9875100"/>
              <a:gd name="connsiteY130" fmla="*/ 1331342 h 3487140"/>
              <a:gd name="connsiteX131" fmla="*/ 5660019 w 9875100"/>
              <a:gd name="connsiteY131" fmla="*/ 1604110 h 3487140"/>
              <a:gd name="connsiteX132" fmla="*/ 5427216 w 9875100"/>
              <a:gd name="connsiteY132" fmla="*/ 1921252 h 3487140"/>
              <a:gd name="connsiteX133" fmla="*/ 5331566 w 9875100"/>
              <a:gd name="connsiteY133" fmla="*/ 2419255 h 3487140"/>
              <a:gd name="connsiteX134" fmla="*/ 5561874 w 9875100"/>
              <a:gd name="connsiteY134" fmla="*/ 3048465 h 3487140"/>
              <a:gd name="connsiteX135" fmla="*/ 6140099 w 9875100"/>
              <a:gd name="connsiteY135" fmla="*/ 3394510 h 3487140"/>
              <a:gd name="connsiteX136" fmla="*/ 6778748 w 9875100"/>
              <a:gd name="connsiteY136" fmla="*/ 3330632 h 3487140"/>
              <a:gd name="connsiteX137" fmla="*/ 7273923 w 9875100"/>
              <a:gd name="connsiteY137" fmla="*/ 2841404 h 3487140"/>
              <a:gd name="connsiteX138" fmla="*/ 7307276 w 9875100"/>
              <a:gd name="connsiteY138" fmla="*/ 2052999 h 3487140"/>
              <a:gd name="connsiteX139" fmla="*/ 6876269 w 9875100"/>
              <a:gd name="connsiteY139" fmla="*/ 1482011 h 3487140"/>
              <a:gd name="connsiteX140" fmla="*/ 6409415 w 9875100"/>
              <a:gd name="connsiteY140" fmla="*/ 1352717 h 3487140"/>
              <a:gd name="connsiteX141" fmla="*/ 6248973 w 9875100"/>
              <a:gd name="connsiteY141" fmla="*/ 1466624 h 3487140"/>
              <a:gd name="connsiteX142" fmla="*/ 6271014 w 9875100"/>
              <a:gd name="connsiteY142" fmla="*/ 2001140 h 3487140"/>
              <a:gd name="connsiteX143" fmla="*/ 6304990 w 9875100"/>
              <a:gd name="connsiteY143" fmla="*/ 2313208 h 3487140"/>
              <a:gd name="connsiteX144" fmla="*/ 6396690 w 9875100"/>
              <a:gd name="connsiteY144" fmla="*/ 2399085 h 3487140"/>
              <a:gd name="connsiteX145" fmla="*/ 6501156 w 9875100"/>
              <a:gd name="connsiteY145" fmla="*/ 2362905 h 3487140"/>
              <a:gd name="connsiteX146" fmla="*/ 6465765 w 9875100"/>
              <a:gd name="connsiteY146" fmla="*/ 2271372 h 3487140"/>
              <a:gd name="connsiteX147" fmla="*/ 6368161 w 9875100"/>
              <a:gd name="connsiteY147" fmla="*/ 2303394 h 3487140"/>
              <a:gd name="connsiteX148" fmla="*/ 6351775 w 9875100"/>
              <a:gd name="connsiteY148" fmla="*/ 2437262 h 3487140"/>
              <a:gd name="connsiteX149" fmla="*/ 6350694 w 9875100"/>
              <a:gd name="connsiteY149" fmla="*/ 2519521 h 3487140"/>
              <a:gd name="connsiteX150" fmla="*/ 6171580 w 9875100"/>
              <a:gd name="connsiteY150" fmla="*/ 2539400 h 3487140"/>
              <a:gd name="connsiteX151" fmla="*/ 5761325 w 9875100"/>
              <a:gd name="connsiteY151" fmla="*/ 2545679 h 3487140"/>
              <a:gd name="connsiteX152" fmla="*/ 5520953 w 9875100"/>
              <a:gd name="connsiteY152" fmla="*/ 2602944 h 3487140"/>
              <a:gd name="connsiteX153" fmla="*/ 5511346 w 9875100"/>
              <a:gd name="connsiteY153" fmla="*/ 2790460 h 3487140"/>
              <a:gd name="connsiteX154" fmla="*/ 5704683 w 9875100"/>
              <a:gd name="connsiteY154" fmla="*/ 3133385 h 3487140"/>
              <a:gd name="connsiteX155" fmla="*/ 6196573 w 9875100"/>
              <a:gd name="connsiteY155" fmla="*/ 3465290 h 3487140"/>
              <a:gd name="connsiteX156" fmla="*/ 6937319 w 9875100"/>
              <a:gd name="connsiteY156" fmla="*/ 3390434 h 3487140"/>
              <a:gd name="connsiteX157" fmla="*/ 7377142 w 9875100"/>
              <a:gd name="connsiteY157" fmla="*/ 3017940 h 3487140"/>
              <a:gd name="connsiteX158" fmla="*/ 7691123 w 9875100"/>
              <a:gd name="connsiteY158" fmla="*/ 2655510 h 3487140"/>
              <a:gd name="connsiteX159" fmla="*/ 8063617 w 9875100"/>
              <a:gd name="connsiteY159" fmla="*/ 3163577 h 3487140"/>
              <a:gd name="connsiteX160" fmla="*/ 8287604 w 9875100"/>
              <a:gd name="connsiteY160" fmla="*/ 3255443 h 3487140"/>
              <a:gd name="connsiteX161" fmla="*/ 8365621 w 9875100"/>
              <a:gd name="connsiteY161" fmla="*/ 2786675 h 3487140"/>
              <a:gd name="connsiteX162" fmla="*/ 8675194 w 9875100"/>
              <a:gd name="connsiteY162" fmla="*/ 2869724 h 3487140"/>
              <a:gd name="connsiteX163" fmla="*/ 8913986 w 9875100"/>
              <a:gd name="connsiteY163" fmla="*/ 3245046 h 3487140"/>
              <a:gd name="connsiteX164" fmla="*/ 9286479 w 9875100"/>
              <a:gd name="connsiteY164" fmla="*/ 3329676 h 3487140"/>
              <a:gd name="connsiteX165" fmla="*/ 9875101 w 9875100"/>
              <a:gd name="connsiteY165" fmla="*/ 3217682 h 3487140"/>
              <a:gd name="connsiteX0" fmla="*/ 0 w 9215242"/>
              <a:gd name="connsiteY0" fmla="*/ 3395424 h 3487140"/>
              <a:gd name="connsiteX1" fmla="*/ 325085 w 9215242"/>
              <a:gd name="connsiteY1" fmla="*/ 2916759 h 3487140"/>
              <a:gd name="connsiteX2" fmla="*/ 581552 w 9215242"/>
              <a:gd name="connsiteY2" fmla="*/ 2898295 h 3487140"/>
              <a:gd name="connsiteX3" fmla="*/ 810903 w 9215242"/>
              <a:gd name="connsiteY3" fmla="*/ 3416675 h 3487140"/>
              <a:gd name="connsiteX4" fmla="*/ 970722 w 9215242"/>
              <a:gd name="connsiteY4" fmla="*/ 3205871 h 3487140"/>
              <a:gd name="connsiteX5" fmla="*/ 1229975 w 9215242"/>
              <a:gd name="connsiteY5" fmla="*/ 2696848 h 3487140"/>
              <a:gd name="connsiteX6" fmla="*/ 1504323 w 9215242"/>
              <a:gd name="connsiteY6" fmla="*/ 2954187 h 3487140"/>
              <a:gd name="connsiteX7" fmla="*/ 1851657 w 9215242"/>
              <a:gd name="connsiteY7" fmla="*/ 3339906 h 3487140"/>
              <a:gd name="connsiteX8" fmla="*/ 2309779 w 9215242"/>
              <a:gd name="connsiteY8" fmla="*/ 3385485 h 3487140"/>
              <a:gd name="connsiteX9" fmla="*/ 2388461 w 9215242"/>
              <a:gd name="connsiteY9" fmla="*/ 3295741 h 3487140"/>
              <a:gd name="connsiteX10" fmla="*/ 2137359 w 9215242"/>
              <a:gd name="connsiteY10" fmla="*/ 3112384 h 3487140"/>
              <a:gd name="connsiteX11" fmla="*/ 1831196 w 9215242"/>
              <a:gd name="connsiteY11" fmla="*/ 2750287 h 3487140"/>
              <a:gd name="connsiteX12" fmla="*/ 1739664 w 9215242"/>
              <a:gd name="connsiteY12" fmla="*/ 2305432 h 3487140"/>
              <a:gd name="connsiteX13" fmla="*/ 1867252 w 9215242"/>
              <a:gd name="connsiteY13" fmla="*/ 1919713 h 3487140"/>
              <a:gd name="connsiteX14" fmla="*/ 2191464 w 9215242"/>
              <a:gd name="connsiteY14" fmla="*/ 1637837 h 3487140"/>
              <a:gd name="connsiteX15" fmla="*/ 2684768 w 9215242"/>
              <a:gd name="connsiteY15" fmla="*/ 1545972 h 3487140"/>
              <a:gd name="connsiteX16" fmla="*/ 2919443 w 9215242"/>
              <a:gd name="connsiteY16" fmla="*/ 1517651 h 3487140"/>
              <a:gd name="connsiteX17" fmla="*/ 2904180 w 9215242"/>
              <a:gd name="connsiteY17" fmla="*/ 1460718 h 3487140"/>
              <a:gd name="connsiteX18" fmla="*/ 2628126 w 9215242"/>
              <a:gd name="connsiteY18" fmla="*/ 1416969 h 3487140"/>
              <a:gd name="connsiteX19" fmla="*/ 2108706 w 9215242"/>
              <a:gd name="connsiteY19" fmla="*/ 1517318 h 3487140"/>
              <a:gd name="connsiteX20" fmla="*/ 1699408 w 9215242"/>
              <a:gd name="connsiteY20" fmla="*/ 1960593 h 3487140"/>
              <a:gd name="connsiteX21" fmla="*/ 1639938 w 9215242"/>
              <a:gd name="connsiteY21" fmla="*/ 2569342 h 3487140"/>
              <a:gd name="connsiteX22" fmla="*/ 2053645 w 9215242"/>
              <a:gd name="connsiteY22" fmla="*/ 3165532 h 3487140"/>
              <a:gd name="connsiteX23" fmla="*/ 2843630 w 9215242"/>
              <a:gd name="connsiteY23" fmla="*/ 3283181 h 3487140"/>
              <a:gd name="connsiteX24" fmla="*/ 3446266 w 9215242"/>
              <a:gd name="connsiteY24" fmla="*/ 2757481 h 3487140"/>
              <a:gd name="connsiteX25" fmla="*/ 3436035 w 9215242"/>
              <a:gd name="connsiteY25" fmla="*/ 1980430 h 3487140"/>
              <a:gd name="connsiteX26" fmla="*/ 3106001 w 9215242"/>
              <a:gd name="connsiteY26" fmla="*/ 1589139 h 3487140"/>
              <a:gd name="connsiteX27" fmla="*/ 2916947 w 9215242"/>
              <a:gd name="connsiteY27" fmla="*/ 1660710 h 3487140"/>
              <a:gd name="connsiteX28" fmla="*/ 2808530 w 9215242"/>
              <a:gd name="connsiteY28" fmla="*/ 2116627 h 3487140"/>
              <a:gd name="connsiteX29" fmla="*/ 2585167 w 9215242"/>
              <a:gd name="connsiteY29" fmla="*/ 2374258 h 3487140"/>
              <a:gd name="connsiteX30" fmla="*/ 2530231 w 9215242"/>
              <a:gd name="connsiteY30" fmla="*/ 2276986 h 3487140"/>
              <a:gd name="connsiteX31" fmla="*/ 2909503 w 9215242"/>
              <a:gd name="connsiteY31" fmla="*/ 2021601 h 3487140"/>
              <a:gd name="connsiteX32" fmla="*/ 3169422 w 9215242"/>
              <a:gd name="connsiteY32" fmla="*/ 1234153 h 3487140"/>
              <a:gd name="connsiteX33" fmla="*/ 3399522 w 9215242"/>
              <a:gd name="connsiteY33" fmla="*/ 725296 h 3487140"/>
              <a:gd name="connsiteX34" fmla="*/ 3508105 w 9215242"/>
              <a:gd name="connsiteY34" fmla="*/ 539984 h 3487140"/>
              <a:gd name="connsiteX35" fmla="*/ 3476957 w 9215242"/>
              <a:gd name="connsiteY35" fmla="*/ 435851 h 3487140"/>
              <a:gd name="connsiteX36" fmla="*/ 3370619 w 9215242"/>
              <a:gd name="connsiteY36" fmla="*/ 350265 h 3487140"/>
              <a:gd name="connsiteX37" fmla="*/ 3325331 w 9215242"/>
              <a:gd name="connsiteY37" fmla="*/ 209327 h 3487140"/>
              <a:gd name="connsiteX38" fmla="*/ 3370161 w 9215242"/>
              <a:gd name="connsiteY38" fmla="*/ 82237 h 3487140"/>
              <a:gd name="connsiteX39" fmla="*/ 3550441 w 9215242"/>
              <a:gd name="connsiteY39" fmla="*/ 6716 h 3487140"/>
              <a:gd name="connsiteX40" fmla="*/ 3819134 w 9215242"/>
              <a:gd name="connsiteY40" fmla="*/ 10167 h 3487140"/>
              <a:gd name="connsiteX41" fmla="*/ 3902807 w 9215242"/>
              <a:gd name="connsiteY41" fmla="*/ 49800 h 3487140"/>
              <a:gd name="connsiteX42" fmla="*/ 3855772 w 9215242"/>
              <a:gd name="connsiteY42" fmla="*/ 86812 h 3487140"/>
              <a:gd name="connsiteX43" fmla="*/ 3619849 w 9215242"/>
              <a:gd name="connsiteY43" fmla="*/ 91886 h 3487140"/>
              <a:gd name="connsiteX44" fmla="*/ 3376316 w 9215242"/>
              <a:gd name="connsiteY44" fmla="*/ 75833 h 3487140"/>
              <a:gd name="connsiteX45" fmla="*/ 3268565 w 9215242"/>
              <a:gd name="connsiteY45" fmla="*/ 176931 h 3487140"/>
              <a:gd name="connsiteX46" fmla="*/ 3283827 w 9215242"/>
              <a:gd name="connsiteY46" fmla="*/ 370393 h 3487140"/>
              <a:gd name="connsiteX47" fmla="*/ 3228600 w 9215242"/>
              <a:gd name="connsiteY47" fmla="*/ 589348 h 3487140"/>
              <a:gd name="connsiteX48" fmla="*/ 3072066 w 9215242"/>
              <a:gd name="connsiteY48" fmla="*/ 903953 h 3487140"/>
              <a:gd name="connsiteX49" fmla="*/ 2861595 w 9215242"/>
              <a:gd name="connsiteY49" fmla="*/ 922501 h 3487140"/>
              <a:gd name="connsiteX50" fmla="*/ 2667176 w 9215242"/>
              <a:gd name="connsiteY50" fmla="*/ 866816 h 3487140"/>
              <a:gd name="connsiteX51" fmla="*/ 2608331 w 9215242"/>
              <a:gd name="connsiteY51" fmla="*/ 751038 h 3487140"/>
              <a:gd name="connsiteX52" fmla="*/ 2620267 w 9215242"/>
              <a:gd name="connsiteY52" fmla="*/ 369436 h 3487140"/>
              <a:gd name="connsiteX53" fmla="*/ 2681940 w 9215242"/>
              <a:gd name="connsiteY53" fmla="*/ 155805 h 3487140"/>
              <a:gd name="connsiteX54" fmla="*/ 2883304 w 9215242"/>
              <a:gd name="connsiteY54" fmla="*/ 156761 h 3487140"/>
              <a:gd name="connsiteX55" fmla="*/ 3136235 w 9215242"/>
              <a:gd name="connsiteY55" fmla="*/ 245175 h 3487140"/>
              <a:gd name="connsiteX56" fmla="*/ 3305327 w 9215242"/>
              <a:gd name="connsiteY56" fmla="*/ 357792 h 3487140"/>
              <a:gd name="connsiteX57" fmla="*/ 3409918 w 9215242"/>
              <a:gd name="connsiteY57" fmla="*/ 483301 h 3487140"/>
              <a:gd name="connsiteX58" fmla="*/ 3434122 w 9215242"/>
              <a:gd name="connsiteY58" fmla="*/ 600951 h 3487140"/>
              <a:gd name="connsiteX59" fmla="*/ 3406591 w 9215242"/>
              <a:gd name="connsiteY59" fmla="*/ 761726 h 3487140"/>
              <a:gd name="connsiteX60" fmla="*/ 3578512 w 9215242"/>
              <a:gd name="connsiteY60" fmla="*/ 1160004 h 3487140"/>
              <a:gd name="connsiteX61" fmla="*/ 4001492 w 9215242"/>
              <a:gd name="connsiteY61" fmla="*/ 1793622 h 3487140"/>
              <a:gd name="connsiteX62" fmla="*/ 4418983 w 9215242"/>
              <a:gd name="connsiteY62" fmla="*/ 2087475 h 3487140"/>
              <a:gd name="connsiteX63" fmla="*/ 4528606 w 9215242"/>
              <a:gd name="connsiteY63" fmla="*/ 2185620 h 3487140"/>
              <a:gd name="connsiteX64" fmla="*/ 4415657 w 9215242"/>
              <a:gd name="connsiteY64" fmla="*/ 2468120 h 3487140"/>
              <a:gd name="connsiteX65" fmla="*/ 4249558 w 9215242"/>
              <a:gd name="connsiteY65" fmla="*/ 2505548 h 3487140"/>
              <a:gd name="connsiteX66" fmla="*/ 3941108 w 9215242"/>
              <a:gd name="connsiteY66" fmla="*/ 2278109 h 3487140"/>
              <a:gd name="connsiteX67" fmla="*/ 3496419 w 9215242"/>
              <a:gd name="connsiteY67" fmla="*/ 1678800 h 3487140"/>
              <a:gd name="connsiteX68" fmla="*/ 3376566 w 9215242"/>
              <a:gd name="connsiteY68" fmla="*/ 1175432 h 3487140"/>
              <a:gd name="connsiteX69" fmla="*/ 3531020 w 9215242"/>
              <a:gd name="connsiteY69" fmla="*/ 1377420 h 3487140"/>
              <a:gd name="connsiteX70" fmla="*/ 3892660 w 9215242"/>
              <a:gd name="connsiteY70" fmla="*/ 2268710 h 3487140"/>
              <a:gd name="connsiteX71" fmla="*/ 4212462 w 9215242"/>
              <a:gd name="connsiteY71" fmla="*/ 2693105 h 3487140"/>
              <a:gd name="connsiteX72" fmla="*/ 4445890 w 9215242"/>
              <a:gd name="connsiteY72" fmla="*/ 2746586 h 3487140"/>
              <a:gd name="connsiteX73" fmla="*/ 4613111 w 9215242"/>
              <a:gd name="connsiteY73" fmla="*/ 2631432 h 3487140"/>
              <a:gd name="connsiteX74" fmla="*/ 4624298 w 9215242"/>
              <a:gd name="connsiteY74" fmla="*/ 2436680 h 3487140"/>
              <a:gd name="connsiteX75" fmla="*/ 4470468 w 9215242"/>
              <a:gd name="connsiteY75" fmla="*/ 2309258 h 3487140"/>
              <a:gd name="connsiteX76" fmla="*/ 4263282 w 9215242"/>
              <a:gd name="connsiteY76" fmla="*/ 2375007 h 3487140"/>
              <a:gd name="connsiteX77" fmla="*/ 4240783 w 9215242"/>
              <a:gd name="connsiteY77" fmla="*/ 2581402 h 3487140"/>
              <a:gd name="connsiteX78" fmla="*/ 4383468 w 9215242"/>
              <a:gd name="connsiteY78" fmla="*/ 2671064 h 3487140"/>
              <a:gd name="connsiteX79" fmla="*/ 4480033 w 9215242"/>
              <a:gd name="connsiteY79" fmla="*/ 2596831 h 3487140"/>
              <a:gd name="connsiteX80" fmla="*/ 4446847 w 9215242"/>
              <a:gd name="connsiteY80" fmla="*/ 2530750 h 3487140"/>
              <a:gd name="connsiteX81" fmla="*/ 4324789 w 9215242"/>
              <a:gd name="connsiteY81" fmla="*/ 2615379 h 3487140"/>
              <a:gd name="connsiteX82" fmla="*/ 4179110 w 9215242"/>
              <a:gd name="connsiteY82" fmla="*/ 2907028 h 3487140"/>
              <a:gd name="connsiteX83" fmla="*/ 4131285 w 9215242"/>
              <a:gd name="connsiteY83" fmla="*/ 3008333 h 3487140"/>
              <a:gd name="connsiteX84" fmla="*/ 4095437 w 9215242"/>
              <a:gd name="connsiteY84" fmla="*/ 3024053 h 3487140"/>
              <a:gd name="connsiteX85" fmla="*/ 4000411 w 9215242"/>
              <a:gd name="connsiteY85" fmla="*/ 3013989 h 3487140"/>
              <a:gd name="connsiteX86" fmla="*/ 4007314 w 9215242"/>
              <a:gd name="connsiteY86" fmla="*/ 2956724 h 3487140"/>
              <a:gd name="connsiteX87" fmla="*/ 4196077 w 9215242"/>
              <a:gd name="connsiteY87" fmla="*/ 2951068 h 3487140"/>
              <a:gd name="connsiteX88" fmla="*/ 4282287 w 9215242"/>
              <a:gd name="connsiteY88" fmla="*/ 2951068 h 3487140"/>
              <a:gd name="connsiteX89" fmla="*/ 4363465 w 9215242"/>
              <a:gd name="connsiteY89" fmla="*/ 2822066 h 3487140"/>
              <a:gd name="connsiteX90" fmla="*/ 4503779 w 9215242"/>
              <a:gd name="connsiteY90" fmla="*/ 2789337 h 3487140"/>
              <a:gd name="connsiteX91" fmla="*/ 4631492 w 9215242"/>
              <a:gd name="connsiteY91" fmla="*/ 2713815 h 3487140"/>
              <a:gd name="connsiteX92" fmla="*/ 4717702 w 9215242"/>
              <a:gd name="connsiteY92" fmla="*/ 2544556 h 3487140"/>
              <a:gd name="connsiteX93" fmla="*/ 4937281 w 9215242"/>
              <a:gd name="connsiteY93" fmla="*/ 2482883 h 3487140"/>
              <a:gd name="connsiteX94" fmla="*/ 5472255 w 9215242"/>
              <a:gd name="connsiteY94" fmla="*/ 2466831 h 3487140"/>
              <a:gd name="connsiteX95" fmla="*/ 5627997 w 9215242"/>
              <a:gd name="connsiteY95" fmla="*/ 2420918 h 3487140"/>
              <a:gd name="connsiteX96" fmla="*/ 5477910 w 9215242"/>
              <a:gd name="connsiteY96" fmla="*/ 2252907 h 3487140"/>
              <a:gd name="connsiteX97" fmla="*/ 5002531 w 9215242"/>
              <a:gd name="connsiteY97" fmla="*/ 1791709 h 3487140"/>
              <a:gd name="connsiteX98" fmla="*/ 4738412 w 9215242"/>
              <a:gd name="connsiteY98" fmla="*/ 1600118 h 3487140"/>
              <a:gd name="connsiteX99" fmla="*/ 4614442 w 9215242"/>
              <a:gd name="connsiteY99" fmla="*/ 1733529 h 3487140"/>
              <a:gd name="connsiteX100" fmla="*/ 4552144 w 9215242"/>
              <a:gd name="connsiteY100" fmla="*/ 1995900 h 3487140"/>
              <a:gd name="connsiteX101" fmla="*/ 4593024 w 9215242"/>
              <a:gd name="connsiteY101" fmla="*/ 2048133 h 3487140"/>
              <a:gd name="connsiteX102" fmla="*/ 4655945 w 9215242"/>
              <a:gd name="connsiteY102" fmla="*/ 1778817 h 3487140"/>
              <a:gd name="connsiteX103" fmla="*/ 4777712 w 9215242"/>
              <a:gd name="connsiteY103" fmla="*/ 1356918 h 3487140"/>
              <a:gd name="connsiteX104" fmla="*/ 4884049 w 9215242"/>
              <a:gd name="connsiteY104" fmla="*/ 986960 h 3487140"/>
              <a:gd name="connsiteX105" fmla="*/ 4854772 w 9215242"/>
              <a:gd name="connsiteY105" fmla="*/ 867107 h 3487140"/>
              <a:gd name="connsiteX106" fmla="*/ 4679858 w 9215242"/>
              <a:gd name="connsiteY106" fmla="*/ 840034 h 3487140"/>
              <a:gd name="connsiteX107" fmla="*/ 4535759 w 9215242"/>
              <a:gd name="connsiteY107" fmla="*/ 782769 h 3487140"/>
              <a:gd name="connsiteX108" fmla="*/ 4552103 w 9215242"/>
              <a:gd name="connsiteY108" fmla="*/ 714816 h 3487140"/>
              <a:gd name="connsiteX109" fmla="*/ 4725770 w 9215242"/>
              <a:gd name="connsiteY109" fmla="*/ 723008 h 3487140"/>
              <a:gd name="connsiteX110" fmla="*/ 4928381 w 9215242"/>
              <a:gd name="connsiteY110" fmla="*/ 729288 h 3487140"/>
              <a:gd name="connsiteX111" fmla="*/ 5095103 w 9215242"/>
              <a:gd name="connsiteY111" fmla="*/ 682087 h 3487140"/>
              <a:gd name="connsiteX112" fmla="*/ 5212752 w 9215242"/>
              <a:gd name="connsiteY112" fmla="*/ 703463 h 3487140"/>
              <a:gd name="connsiteX113" fmla="*/ 5235417 w 9215242"/>
              <a:gd name="connsiteY113" fmla="*/ 797199 h 3487140"/>
              <a:gd name="connsiteX114" fmla="*/ 5107704 w 9215242"/>
              <a:gd name="connsiteY114" fmla="*/ 890936 h 3487140"/>
              <a:gd name="connsiteX115" fmla="*/ 4937821 w 9215242"/>
              <a:gd name="connsiteY115" fmla="*/ 918009 h 3487140"/>
              <a:gd name="connsiteX116" fmla="*/ 4810108 w 9215242"/>
              <a:gd name="connsiteY116" fmla="*/ 1002306 h 3487140"/>
              <a:gd name="connsiteX117" fmla="*/ 4709218 w 9215242"/>
              <a:gd name="connsiteY117" fmla="*/ 1299902 h 3487140"/>
              <a:gd name="connsiteX118" fmla="*/ 4770268 w 9215242"/>
              <a:gd name="connsiteY118" fmla="*/ 1545930 h 3487140"/>
              <a:gd name="connsiteX119" fmla="*/ 4982943 w 9215242"/>
              <a:gd name="connsiteY119" fmla="*/ 1536490 h 3487140"/>
              <a:gd name="connsiteX120" fmla="*/ 5162474 w 9215242"/>
              <a:gd name="connsiteY120" fmla="*/ 1376048 h 3487140"/>
              <a:gd name="connsiteX121" fmla="*/ 5165635 w 9215242"/>
              <a:gd name="connsiteY121" fmla="*/ 1231949 h 3487140"/>
              <a:gd name="connsiteX122" fmla="*/ 4947594 w 9215242"/>
              <a:gd name="connsiteY122" fmla="*/ 1191693 h 3487140"/>
              <a:gd name="connsiteX123" fmla="*/ 4956078 w 9215242"/>
              <a:gd name="connsiteY123" fmla="*/ 1255238 h 3487140"/>
              <a:gd name="connsiteX124" fmla="*/ 5381096 w 9215242"/>
              <a:gd name="connsiteY124" fmla="*/ 1241722 h 3487140"/>
              <a:gd name="connsiteX125" fmla="*/ 5865916 w 9215242"/>
              <a:gd name="connsiteY125" fmla="*/ 1259646 h 3487140"/>
              <a:gd name="connsiteX126" fmla="*/ 6095268 w 9215242"/>
              <a:gd name="connsiteY126" fmla="*/ 1236981 h 3487140"/>
              <a:gd name="connsiteX127" fmla="*/ 6077012 w 9215242"/>
              <a:gd name="connsiteY127" fmla="*/ 1185995 h 3487140"/>
              <a:gd name="connsiteX128" fmla="*/ 5716494 w 9215242"/>
              <a:gd name="connsiteY128" fmla="*/ 1177512 h 3487140"/>
              <a:gd name="connsiteX129" fmla="*/ 5345914 w 9215242"/>
              <a:gd name="connsiteY129" fmla="*/ 1331342 h 3487140"/>
              <a:gd name="connsiteX130" fmla="*/ 5000160 w 9215242"/>
              <a:gd name="connsiteY130" fmla="*/ 1604110 h 3487140"/>
              <a:gd name="connsiteX131" fmla="*/ 4767357 w 9215242"/>
              <a:gd name="connsiteY131" fmla="*/ 1921252 h 3487140"/>
              <a:gd name="connsiteX132" fmla="*/ 4671707 w 9215242"/>
              <a:gd name="connsiteY132" fmla="*/ 2419255 h 3487140"/>
              <a:gd name="connsiteX133" fmla="*/ 4902015 w 9215242"/>
              <a:gd name="connsiteY133" fmla="*/ 3048465 h 3487140"/>
              <a:gd name="connsiteX134" fmla="*/ 5480240 w 9215242"/>
              <a:gd name="connsiteY134" fmla="*/ 3394510 h 3487140"/>
              <a:gd name="connsiteX135" fmla="*/ 6118889 w 9215242"/>
              <a:gd name="connsiteY135" fmla="*/ 3330632 h 3487140"/>
              <a:gd name="connsiteX136" fmla="*/ 6614064 w 9215242"/>
              <a:gd name="connsiteY136" fmla="*/ 2841404 h 3487140"/>
              <a:gd name="connsiteX137" fmla="*/ 6647417 w 9215242"/>
              <a:gd name="connsiteY137" fmla="*/ 2052999 h 3487140"/>
              <a:gd name="connsiteX138" fmla="*/ 6216410 w 9215242"/>
              <a:gd name="connsiteY138" fmla="*/ 1482011 h 3487140"/>
              <a:gd name="connsiteX139" fmla="*/ 5749556 w 9215242"/>
              <a:gd name="connsiteY139" fmla="*/ 1352717 h 3487140"/>
              <a:gd name="connsiteX140" fmla="*/ 5589114 w 9215242"/>
              <a:gd name="connsiteY140" fmla="*/ 1466624 h 3487140"/>
              <a:gd name="connsiteX141" fmla="*/ 5611155 w 9215242"/>
              <a:gd name="connsiteY141" fmla="*/ 2001140 h 3487140"/>
              <a:gd name="connsiteX142" fmla="*/ 5645131 w 9215242"/>
              <a:gd name="connsiteY142" fmla="*/ 2313208 h 3487140"/>
              <a:gd name="connsiteX143" fmla="*/ 5736831 w 9215242"/>
              <a:gd name="connsiteY143" fmla="*/ 2399085 h 3487140"/>
              <a:gd name="connsiteX144" fmla="*/ 5841297 w 9215242"/>
              <a:gd name="connsiteY144" fmla="*/ 2362905 h 3487140"/>
              <a:gd name="connsiteX145" fmla="*/ 5805906 w 9215242"/>
              <a:gd name="connsiteY145" fmla="*/ 2271372 h 3487140"/>
              <a:gd name="connsiteX146" fmla="*/ 5708302 w 9215242"/>
              <a:gd name="connsiteY146" fmla="*/ 2303394 h 3487140"/>
              <a:gd name="connsiteX147" fmla="*/ 5691916 w 9215242"/>
              <a:gd name="connsiteY147" fmla="*/ 2437262 h 3487140"/>
              <a:gd name="connsiteX148" fmla="*/ 5690835 w 9215242"/>
              <a:gd name="connsiteY148" fmla="*/ 2519521 h 3487140"/>
              <a:gd name="connsiteX149" fmla="*/ 5511721 w 9215242"/>
              <a:gd name="connsiteY149" fmla="*/ 2539400 h 3487140"/>
              <a:gd name="connsiteX150" fmla="*/ 5101466 w 9215242"/>
              <a:gd name="connsiteY150" fmla="*/ 2545679 h 3487140"/>
              <a:gd name="connsiteX151" fmla="*/ 4861094 w 9215242"/>
              <a:gd name="connsiteY151" fmla="*/ 2602944 h 3487140"/>
              <a:gd name="connsiteX152" fmla="*/ 4851487 w 9215242"/>
              <a:gd name="connsiteY152" fmla="*/ 2790460 h 3487140"/>
              <a:gd name="connsiteX153" fmla="*/ 5044824 w 9215242"/>
              <a:gd name="connsiteY153" fmla="*/ 3133385 h 3487140"/>
              <a:gd name="connsiteX154" fmla="*/ 5536714 w 9215242"/>
              <a:gd name="connsiteY154" fmla="*/ 3465290 h 3487140"/>
              <a:gd name="connsiteX155" fmla="*/ 6277460 w 9215242"/>
              <a:gd name="connsiteY155" fmla="*/ 3390434 h 3487140"/>
              <a:gd name="connsiteX156" fmla="*/ 6717283 w 9215242"/>
              <a:gd name="connsiteY156" fmla="*/ 3017940 h 3487140"/>
              <a:gd name="connsiteX157" fmla="*/ 7031264 w 9215242"/>
              <a:gd name="connsiteY157" fmla="*/ 2655510 h 3487140"/>
              <a:gd name="connsiteX158" fmla="*/ 7403758 w 9215242"/>
              <a:gd name="connsiteY158" fmla="*/ 3163577 h 3487140"/>
              <a:gd name="connsiteX159" fmla="*/ 7627745 w 9215242"/>
              <a:gd name="connsiteY159" fmla="*/ 3255443 h 3487140"/>
              <a:gd name="connsiteX160" fmla="*/ 7705762 w 9215242"/>
              <a:gd name="connsiteY160" fmla="*/ 2786675 h 3487140"/>
              <a:gd name="connsiteX161" fmla="*/ 8015335 w 9215242"/>
              <a:gd name="connsiteY161" fmla="*/ 2869724 h 3487140"/>
              <a:gd name="connsiteX162" fmla="*/ 8254127 w 9215242"/>
              <a:gd name="connsiteY162" fmla="*/ 3245046 h 3487140"/>
              <a:gd name="connsiteX163" fmla="*/ 8626620 w 9215242"/>
              <a:gd name="connsiteY163" fmla="*/ 3329676 h 3487140"/>
              <a:gd name="connsiteX164" fmla="*/ 9215242 w 9215242"/>
              <a:gd name="connsiteY164" fmla="*/ 3217682 h 3487140"/>
              <a:gd name="connsiteX0" fmla="*/ 0 w 8890157"/>
              <a:gd name="connsiteY0" fmla="*/ 2916759 h 3487140"/>
              <a:gd name="connsiteX1" fmla="*/ 256467 w 8890157"/>
              <a:gd name="connsiteY1" fmla="*/ 2898295 h 3487140"/>
              <a:gd name="connsiteX2" fmla="*/ 485818 w 8890157"/>
              <a:gd name="connsiteY2" fmla="*/ 3416675 h 3487140"/>
              <a:gd name="connsiteX3" fmla="*/ 645637 w 8890157"/>
              <a:gd name="connsiteY3" fmla="*/ 3205871 h 3487140"/>
              <a:gd name="connsiteX4" fmla="*/ 904890 w 8890157"/>
              <a:gd name="connsiteY4" fmla="*/ 2696848 h 3487140"/>
              <a:gd name="connsiteX5" fmla="*/ 1179238 w 8890157"/>
              <a:gd name="connsiteY5" fmla="*/ 2954187 h 3487140"/>
              <a:gd name="connsiteX6" fmla="*/ 1526572 w 8890157"/>
              <a:gd name="connsiteY6" fmla="*/ 3339906 h 3487140"/>
              <a:gd name="connsiteX7" fmla="*/ 1984694 w 8890157"/>
              <a:gd name="connsiteY7" fmla="*/ 3385485 h 3487140"/>
              <a:gd name="connsiteX8" fmla="*/ 2063376 w 8890157"/>
              <a:gd name="connsiteY8" fmla="*/ 3295741 h 3487140"/>
              <a:gd name="connsiteX9" fmla="*/ 1812274 w 8890157"/>
              <a:gd name="connsiteY9" fmla="*/ 3112384 h 3487140"/>
              <a:gd name="connsiteX10" fmla="*/ 1506111 w 8890157"/>
              <a:gd name="connsiteY10" fmla="*/ 2750287 h 3487140"/>
              <a:gd name="connsiteX11" fmla="*/ 1414579 w 8890157"/>
              <a:gd name="connsiteY11" fmla="*/ 2305432 h 3487140"/>
              <a:gd name="connsiteX12" fmla="*/ 1542167 w 8890157"/>
              <a:gd name="connsiteY12" fmla="*/ 1919713 h 3487140"/>
              <a:gd name="connsiteX13" fmla="*/ 1866379 w 8890157"/>
              <a:gd name="connsiteY13" fmla="*/ 1637837 h 3487140"/>
              <a:gd name="connsiteX14" fmla="*/ 2359683 w 8890157"/>
              <a:gd name="connsiteY14" fmla="*/ 1545972 h 3487140"/>
              <a:gd name="connsiteX15" fmla="*/ 2594358 w 8890157"/>
              <a:gd name="connsiteY15" fmla="*/ 1517651 h 3487140"/>
              <a:gd name="connsiteX16" fmla="*/ 2579095 w 8890157"/>
              <a:gd name="connsiteY16" fmla="*/ 1460718 h 3487140"/>
              <a:gd name="connsiteX17" fmla="*/ 2303041 w 8890157"/>
              <a:gd name="connsiteY17" fmla="*/ 1416969 h 3487140"/>
              <a:gd name="connsiteX18" fmla="*/ 1783621 w 8890157"/>
              <a:gd name="connsiteY18" fmla="*/ 1517318 h 3487140"/>
              <a:gd name="connsiteX19" fmla="*/ 1374323 w 8890157"/>
              <a:gd name="connsiteY19" fmla="*/ 1960593 h 3487140"/>
              <a:gd name="connsiteX20" fmla="*/ 1314853 w 8890157"/>
              <a:gd name="connsiteY20" fmla="*/ 2569342 h 3487140"/>
              <a:gd name="connsiteX21" fmla="*/ 1728560 w 8890157"/>
              <a:gd name="connsiteY21" fmla="*/ 3165532 h 3487140"/>
              <a:gd name="connsiteX22" fmla="*/ 2518545 w 8890157"/>
              <a:gd name="connsiteY22" fmla="*/ 3283181 h 3487140"/>
              <a:gd name="connsiteX23" fmla="*/ 3121181 w 8890157"/>
              <a:gd name="connsiteY23" fmla="*/ 2757481 h 3487140"/>
              <a:gd name="connsiteX24" fmla="*/ 3110950 w 8890157"/>
              <a:gd name="connsiteY24" fmla="*/ 1980430 h 3487140"/>
              <a:gd name="connsiteX25" fmla="*/ 2780916 w 8890157"/>
              <a:gd name="connsiteY25" fmla="*/ 1589139 h 3487140"/>
              <a:gd name="connsiteX26" fmla="*/ 2591862 w 8890157"/>
              <a:gd name="connsiteY26" fmla="*/ 1660710 h 3487140"/>
              <a:gd name="connsiteX27" fmla="*/ 2483445 w 8890157"/>
              <a:gd name="connsiteY27" fmla="*/ 2116627 h 3487140"/>
              <a:gd name="connsiteX28" fmla="*/ 2260082 w 8890157"/>
              <a:gd name="connsiteY28" fmla="*/ 2374258 h 3487140"/>
              <a:gd name="connsiteX29" fmla="*/ 2205146 w 8890157"/>
              <a:gd name="connsiteY29" fmla="*/ 2276986 h 3487140"/>
              <a:gd name="connsiteX30" fmla="*/ 2584418 w 8890157"/>
              <a:gd name="connsiteY30" fmla="*/ 2021601 h 3487140"/>
              <a:gd name="connsiteX31" fmla="*/ 2844337 w 8890157"/>
              <a:gd name="connsiteY31" fmla="*/ 1234153 h 3487140"/>
              <a:gd name="connsiteX32" fmla="*/ 3074437 w 8890157"/>
              <a:gd name="connsiteY32" fmla="*/ 725296 h 3487140"/>
              <a:gd name="connsiteX33" fmla="*/ 3183020 w 8890157"/>
              <a:gd name="connsiteY33" fmla="*/ 539984 h 3487140"/>
              <a:gd name="connsiteX34" fmla="*/ 3151872 w 8890157"/>
              <a:gd name="connsiteY34" fmla="*/ 435851 h 3487140"/>
              <a:gd name="connsiteX35" fmla="*/ 3045534 w 8890157"/>
              <a:gd name="connsiteY35" fmla="*/ 350265 h 3487140"/>
              <a:gd name="connsiteX36" fmla="*/ 3000246 w 8890157"/>
              <a:gd name="connsiteY36" fmla="*/ 209327 h 3487140"/>
              <a:gd name="connsiteX37" fmla="*/ 3045076 w 8890157"/>
              <a:gd name="connsiteY37" fmla="*/ 82237 h 3487140"/>
              <a:gd name="connsiteX38" fmla="*/ 3225356 w 8890157"/>
              <a:gd name="connsiteY38" fmla="*/ 6716 h 3487140"/>
              <a:gd name="connsiteX39" fmla="*/ 3494049 w 8890157"/>
              <a:gd name="connsiteY39" fmla="*/ 10167 h 3487140"/>
              <a:gd name="connsiteX40" fmla="*/ 3577722 w 8890157"/>
              <a:gd name="connsiteY40" fmla="*/ 49800 h 3487140"/>
              <a:gd name="connsiteX41" fmla="*/ 3530687 w 8890157"/>
              <a:gd name="connsiteY41" fmla="*/ 86812 h 3487140"/>
              <a:gd name="connsiteX42" fmla="*/ 3294764 w 8890157"/>
              <a:gd name="connsiteY42" fmla="*/ 91886 h 3487140"/>
              <a:gd name="connsiteX43" fmla="*/ 3051231 w 8890157"/>
              <a:gd name="connsiteY43" fmla="*/ 75833 h 3487140"/>
              <a:gd name="connsiteX44" fmla="*/ 2943480 w 8890157"/>
              <a:gd name="connsiteY44" fmla="*/ 176931 h 3487140"/>
              <a:gd name="connsiteX45" fmla="*/ 2958742 w 8890157"/>
              <a:gd name="connsiteY45" fmla="*/ 370393 h 3487140"/>
              <a:gd name="connsiteX46" fmla="*/ 2903515 w 8890157"/>
              <a:gd name="connsiteY46" fmla="*/ 589348 h 3487140"/>
              <a:gd name="connsiteX47" fmla="*/ 2746981 w 8890157"/>
              <a:gd name="connsiteY47" fmla="*/ 903953 h 3487140"/>
              <a:gd name="connsiteX48" fmla="*/ 2536510 w 8890157"/>
              <a:gd name="connsiteY48" fmla="*/ 922501 h 3487140"/>
              <a:gd name="connsiteX49" fmla="*/ 2342091 w 8890157"/>
              <a:gd name="connsiteY49" fmla="*/ 866816 h 3487140"/>
              <a:gd name="connsiteX50" fmla="*/ 2283246 w 8890157"/>
              <a:gd name="connsiteY50" fmla="*/ 751038 h 3487140"/>
              <a:gd name="connsiteX51" fmla="*/ 2295182 w 8890157"/>
              <a:gd name="connsiteY51" fmla="*/ 369436 h 3487140"/>
              <a:gd name="connsiteX52" fmla="*/ 2356855 w 8890157"/>
              <a:gd name="connsiteY52" fmla="*/ 155805 h 3487140"/>
              <a:gd name="connsiteX53" fmla="*/ 2558219 w 8890157"/>
              <a:gd name="connsiteY53" fmla="*/ 156761 h 3487140"/>
              <a:gd name="connsiteX54" fmla="*/ 2811150 w 8890157"/>
              <a:gd name="connsiteY54" fmla="*/ 245175 h 3487140"/>
              <a:gd name="connsiteX55" fmla="*/ 2980242 w 8890157"/>
              <a:gd name="connsiteY55" fmla="*/ 357792 h 3487140"/>
              <a:gd name="connsiteX56" fmla="*/ 3084833 w 8890157"/>
              <a:gd name="connsiteY56" fmla="*/ 483301 h 3487140"/>
              <a:gd name="connsiteX57" fmla="*/ 3109037 w 8890157"/>
              <a:gd name="connsiteY57" fmla="*/ 600951 h 3487140"/>
              <a:gd name="connsiteX58" fmla="*/ 3081506 w 8890157"/>
              <a:gd name="connsiteY58" fmla="*/ 761726 h 3487140"/>
              <a:gd name="connsiteX59" fmla="*/ 3253427 w 8890157"/>
              <a:gd name="connsiteY59" fmla="*/ 1160004 h 3487140"/>
              <a:gd name="connsiteX60" fmla="*/ 3676407 w 8890157"/>
              <a:gd name="connsiteY60" fmla="*/ 1793622 h 3487140"/>
              <a:gd name="connsiteX61" fmla="*/ 4093898 w 8890157"/>
              <a:gd name="connsiteY61" fmla="*/ 2087475 h 3487140"/>
              <a:gd name="connsiteX62" fmla="*/ 4203521 w 8890157"/>
              <a:gd name="connsiteY62" fmla="*/ 2185620 h 3487140"/>
              <a:gd name="connsiteX63" fmla="*/ 4090572 w 8890157"/>
              <a:gd name="connsiteY63" fmla="*/ 2468120 h 3487140"/>
              <a:gd name="connsiteX64" fmla="*/ 3924473 w 8890157"/>
              <a:gd name="connsiteY64" fmla="*/ 2505548 h 3487140"/>
              <a:gd name="connsiteX65" fmla="*/ 3616023 w 8890157"/>
              <a:gd name="connsiteY65" fmla="*/ 2278109 h 3487140"/>
              <a:gd name="connsiteX66" fmla="*/ 3171334 w 8890157"/>
              <a:gd name="connsiteY66" fmla="*/ 1678800 h 3487140"/>
              <a:gd name="connsiteX67" fmla="*/ 3051481 w 8890157"/>
              <a:gd name="connsiteY67" fmla="*/ 1175432 h 3487140"/>
              <a:gd name="connsiteX68" fmla="*/ 3205935 w 8890157"/>
              <a:gd name="connsiteY68" fmla="*/ 1377420 h 3487140"/>
              <a:gd name="connsiteX69" fmla="*/ 3567575 w 8890157"/>
              <a:gd name="connsiteY69" fmla="*/ 2268710 h 3487140"/>
              <a:gd name="connsiteX70" fmla="*/ 3887377 w 8890157"/>
              <a:gd name="connsiteY70" fmla="*/ 2693105 h 3487140"/>
              <a:gd name="connsiteX71" fmla="*/ 4120805 w 8890157"/>
              <a:gd name="connsiteY71" fmla="*/ 2746586 h 3487140"/>
              <a:gd name="connsiteX72" fmla="*/ 4288026 w 8890157"/>
              <a:gd name="connsiteY72" fmla="*/ 2631432 h 3487140"/>
              <a:gd name="connsiteX73" fmla="*/ 4299213 w 8890157"/>
              <a:gd name="connsiteY73" fmla="*/ 2436680 h 3487140"/>
              <a:gd name="connsiteX74" fmla="*/ 4145383 w 8890157"/>
              <a:gd name="connsiteY74" fmla="*/ 2309258 h 3487140"/>
              <a:gd name="connsiteX75" fmla="*/ 3938197 w 8890157"/>
              <a:gd name="connsiteY75" fmla="*/ 2375007 h 3487140"/>
              <a:gd name="connsiteX76" fmla="*/ 3915698 w 8890157"/>
              <a:gd name="connsiteY76" fmla="*/ 2581402 h 3487140"/>
              <a:gd name="connsiteX77" fmla="*/ 4058383 w 8890157"/>
              <a:gd name="connsiteY77" fmla="*/ 2671064 h 3487140"/>
              <a:gd name="connsiteX78" fmla="*/ 4154948 w 8890157"/>
              <a:gd name="connsiteY78" fmla="*/ 2596831 h 3487140"/>
              <a:gd name="connsiteX79" fmla="*/ 4121762 w 8890157"/>
              <a:gd name="connsiteY79" fmla="*/ 2530750 h 3487140"/>
              <a:gd name="connsiteX80" fmla="*/ 3999704 w 8890157"/>
              <a:gd name="connsiteY80" fmla="*/ 2615379 h 3487140"/>
              <a:gd name="connsiteX81" fmla="*/ 3854025 w 8890157"/>
              <a:gd name="connsiteY81" fmla="*/ 2907028 h 3487140"/>
              <a:gd name="connsiteX82" fmla="*/ 3806200 w 8890157"/>
              <a:gd name="connsiteY82" fmla="*/ 3008333 h 3487140"/>
              <a:gd name="connsiteX83" fmla="*/ 3770352 w 8890157"/>
              <a:gd name="connsiteY83" fmla="*/ 3024053 h 3487140"/>
              <a:gd name="connsiteX84" fmla="*/ 3675326 w 8890157"/>
              <a:gd name="connsiteY84" fmla="*/ 3013989 h 3487140"/>
              <a:gd name="connsiteX85" fmla="*/ 3682229 w 8890157"/>
              <a:gd name="connsiteY85" fmla="*/ 2956724 h 3487140"/>
              <a:gd name="connsiteX86" fmla="*/ 3870992 w 8890157"/>
              <a:gd name="connsiteY86" fmla="*/ 2951068 h 3487140"/>
              <a:gd name="connsiteX87" fmla="*/ 3957202 w 8890157"/>
              <a:gd name="connsiteY87" fmla="*/ 2951068 h 3487140"/>
              <a:gd name="connsiteX88" fmla="*/ 4038380 w 8890157"/>
              <a:gd name="connsiteY88" fmla="*/ 2822066 h 3487140"/>
              <a:gd name="connsiteX89" fmla="*/ 4178694 w 8890157"/>
              <a:gd name="connsiteY89" fmla="*/ 2789337 h 3487140"/>
              <a:gd name="connsiteX90" fmla="*/ 4306407 w 8890157"/>
              <a:gd name="connsiteY90" fmla="*/ 2713815 h 3487140"/>
              <a:gd name="connsiteX91" fmla="*/ 4392617 w 8890157"/>
              <a:gd name="connsiteY91" fmla="*/ 2544556 h 3487140"/>
              <a:gd name="connsiteX92" fmla="*/ 4612196 w 8890157"/>
              <a:gd name="connsiteY92" fmla="*/ 2482883 h 3487140"/>
              <a:gd name="connsiteX93" fmla="*/ 5147170 w 8890157"/>
              <a:gd name="connsiteY93" fmla="*/ 2466831 h 3487140"/>
              <a:gd name="connsiteX94" fmla="*/ 5302912 w 8890157"/>
              <a:gd name="connsiteY94" fmla="*/ 2420918 h 3487140"/>
              <a:gd name="connsiteX95" fmla="*/ 5152825 w 8890157"/>
              <a:gd name="connsiteY95" fmla="*/ 2252907 h 3487140"/>
              <a:gd name="connsiteX96" fmla="*/ 4677446 w 8890157"/>
              <a:gd name="connsiteY96" fmla="*/ 1791709 h 3487140"/>
              <a:gd name="connsiteX97" fmla="*/ 4413327 w 8890157"/>
              <a:gd name="connsiteY97" fmla="*/ 1600118 h 3487140"/>
              <a:gd name="connsiteX98" fmla="*/ 4289357 w 8890157"/>
              <a:gd name="connsiteY98" fmla="*/ 1733529 h 3487140"/>
              <a:gd name="connsiteX99" fmla="*/ 4227059 w 8890157"/>
              <a:gd name="connsiteY99" fmla="*/ 1995900 h 3487140"/>
              <a:gd name="connsiteX100" fmla="*/ 4267939 w 8890157"/>
              <a:gd name="connsiteY100" fmla="*/ 2048133 h 3487140"/>
              <a:gd name="connsiteX101" fmla="*/ 4330860 w 8890157"/>
              <a:gd name="connsiteY101" fmla="*/ 1778817 h 3487140"/>
              <a:gd name="connsiteX102" fmla="*/ 4452627 w 8890157"/>
              <a:gd name="connsiteY102" fmla="*/ 1356918 h 3487140"/>
              <a:gd name="connsiteX103" fmla="*/ 4558964 w 8890157"/>
              <a:gd name="connsiteY103" fmla="*/ 986960 h 3487140"/>
              <a:gd name="connsiteX104" fmla="*/ 4529687 w 8890157"/>
              <a:gd name="connsiteY104" fmla="*/ 867107 h 3487140"/>
              <a:gd name="connsiteX105" fmla="*/ 4354773 w 8890157"/>
              <a:gd name="connsiteY105" fmla="*/ 840034 h 3487140"/>
              <a:gd name="connsiteX106" fmla="*/ 4210674 w 8890157"/>
              <a:gd name="connsiteY106" fmla="*/ 782769 h 3487140"/>
              <a:gd name="connsiteX107" fmla="*/ 4227018 w 8890157"/>
              <a:gd name="connsiteY107" fmla="*/ 714816 h 3487140"/>
              <a:gd name="connsiteX108" fmla="*/ 4400685 w 8890157"/>
              <a:gd name="connsiteY108" fmla="*/ 723008 h 3487140"/>
              <a:gd name="connsiteX109" fmla="*/ 4603296 w 8890157"/>
              <a:gd name="connsiteY109" fmla="*/ 729288 h 3487140"/>
              <a:gd name="connsiteX110" fmla="*/ 4770018 w 8890157"/>
              <a:gd name="connsiteY110" fmla="*/ 682087 h 3487140"/>
              <a:gd name="connsiteX111" fmla="*/ 4887667 w 8890157"/>
              <a:gd name="connsiteY111" fmla="*/ 703463 h 3487140"/>
              <a:gd name="connsiteX112" fmla="*/ 4910332 w 8890157"/>
              <a:gd name="connsiteY112" fmla="*/ 797199 h 3487140"/>
              <a:gd name="connsiteX113" fmla="*/ 4782619 w 8890157"/>
              <a:gd name="connsiteY113" fmla="*/ 890936 h 3487140"/>
              <a:gd name="connsiteX114" fmla="*/ 4612736 w 8890157"/>
              <a:gd name="connsiteY114" fmla="*/ 918009 h 3487140"/>
              <a:gd name="connsiteX115" fmla="*/ 4485023 w 8890157"/>
              <a:gd name="connsiteY115" fmla="*/ 1002306 h 3487140"/>
              <a:gd name="connsiteX116" fmla="*/ 4384133 w 8890157"/>
              <a:gd name="connsiteY116" fmla="*/ 1299902 h 3487140"/>
              <a:gd name="connsiteX117" fmla="*/ 4445183 w 8890157"/>
              <a:gd name="connsiteY117" fmla="*/ 1545930 h 3487140"/>
              <a:gd name="connsiteX118" fmla="*/ 4657858 w 8890157"/>
              <a:gd name="connsiteY118" fmla="*/ 1536490 h 3487140"/>
              <a:gd name="connsiteX119" fmla="*/ 4837389 w 8890157"/>
              <a:gd name="connsiteY119" fmla="*/ 1376048 h 3487140"/>
              <a:gd name="connsiteX120" fmla="*/ 4840550 w 8890157"/>
              <a:gd name="connsiteY120" fmla="*/ 1231949 h 3487140"/>
              <a:gd name="connsiteX121" fmla="*/ 4622509 w 8890157"/>
              <a:gd name="connsiteY121" fmla="*/ 1191693 h 3487140"/>
              <a:gd name="connsiteX122" fmla="*/ 4630993 w 8890157"/>
              <a:gd name="connsiteY122" fmla="*/ 1255238 h 3487140"/>
              <a:gd name="connsiteX123" fmla="*/ 5056011 w 8890157"/>
              <a:gd name="connsiteY123" fmla="*/ 1241722 h 3487140"/>
              <a:gd name="connsiteX124" fmla="*/ 5540831 w 8890157"/>
              <a:gd name="connsiteY124" fmla="*/ 1259646 h 3487140"/>
              <a:gd name="connsiteX125" fmla="*/ 5770183 w 8890157"/>
              <a:gd name="connsiteY125" fmla="*/ 1236981 h 3487140"/>
              <a:gd name="connsiteX126" fmla="*/ 5751927 w 8890157"/>
              <a:gd name="connsiteY126" fmla="*/ 1185995 h 3487140"/>
              <a:gd name="connsiteX127" fmla="*/ 5391409 w 8890157"/>
              <a:gd name="connsiteY127" fmla="*/ 1177512 h 3487140"/>
              <a:gd name="connsiteX128" fmla="*/ 5020829 w 8890157"/>
              <a:gd name="connsiteY128" fmla="*/ 1331342 h 3487140"/>
              <a:gd name="connsiteX129" fmla="*/ 4675075 w 8890157"/>
              <a:gd name="connsiteY129" fmla="*/ 1604110 h 3487140"/>
              <a:gd name="connsiteX130" fmla="*/ 4442272 w 8890157"/>
              <a:gd name="connsiteY130" fmla="*/ 1921252 h 3487140"/>
              <a:gd name="connsiteX131" fmla="*/ 4346622 w 8890157"/>
              <a:gd name="connsiteY131" fmla="*/ 2419255 h 3487140"/>
              <a:gd name="connsiteX132" fmla="*/ 4576930 w 8890157"/>
              <a:gd name="connsiteY132" fmla="*/ 3048465 h 3487140"/>
              <a:gd name="connsiteX133" fmla="*/ 5155155 w 8890157"/>
              <a:gd name="connsiteY133" fmla="*/ 3394510 h 3487140"/>
              <a:gd name="connsiteX134" fmla="*/ 5793804 w 8890157"/>
              <a:gd name="connsiteY134" fmla="*/ 3330632 h 3487140"/>
              <a:gd name="connsiteX135" fmla="*/ 6288979 w 8890157"/>
              <a:gd name="connsiteY135" fmla="*/ 2841404 h 3487140"/>
              <a:gd name="connsiteX136" fmla="*/ 6322332 w 8890157"/>
              <a:gd name="connsiteY136" fmla="*/ 2052999 h 3487140"/>
              <a:gd name="connsiteX137" fmla="*/ 5891325 w 8890157"/>
              <a:gd name="connsiteY137" fmla="*/ 1482011 h 3487140"/>
              <a:gd name="connsiteX138" fmla="*/ 5424471 w 8890157"/>
              <a:gd name="connsiteY138" fmla="*/ 1352717 h 3487140"/>
              <a:gd name="connsiteX139" fmla="*/ 5264029 w 8890157"/>
              <a:gd name="connsiteY139" fmla="*/ 1466624 h 3487140"/>
              <a:gd name="connsiteX140" fmla="*/ 5286070 w 8890157"/>
              <a:gd name="connsiteY140" fmla="*/ 2001140 h 3487140"/>
              <a:gd name="connsiteX141" fmla="*/ 5320046 w 8890157"/>
              <a:gd name="connsiteY141" fmla="*/ 2313208 h 3487140"/>
              <a:gd name="connsiteX142" fmla="*/ 5411746 w 8890157"/>
              <a:gd name="connsiteY142" fmla="*/ 2399085 h 3487140"/>
              <a:gd name="connsiteX143" fmla="*/ 5516212 w 8890157"/>
              <a:gd name="connsiteY143" fmla="*/ 2362905 h 3487140"/>
              <a:gd name="connsiteX144" fmla="*/ 5480821 w 8890157"/>
              <a:gd name="connsiteY144" fmla="*/ 2271372 h 3487140"/>
              <a:gd name="connsiteX145" fmla="*/ 5383217 w 8890157"/>
              <a:gd name="connsiteY145" fmla="*/ 2303394 h 3487140"/>
              <a:gd name="connsiteX146" fmla="*/ 5366831 w 8890157"/>
              <a:gd name="connsiteY146" fmla="*/ 2437262 h 3487140"/>
              <a:gd name="connsiteX147" fmla="*/ 5365750 w 8890157"/>
              <a:gd name="connsiteY147" fmla="*/ 2519521 h 3487140"/>
              <a:gd name="connsiteX148" fmla="*/ 5186636 w 8890157"/>
              <a:gd name="connsiteY148" fmla="*/ 2539400 h 3487140"/>
              <a:gd name="connsiteX149" fmla="*/ 4776381 w 8890157"/>
              <a:gd name="connsiteY149" fmla="*/ 2545679 h 3487140"/>
              <a:gd name="connsiteX150" fmla="*/ 4536009 w 8890157"/>
              <a:gd name="connsiteY150" fmla="*/ 2602944 h 3487140"/>
              <a:gd name="connsiteX151" fmla="*/ 4526402 w 8890157"/>
              <a:gd name="connsiteY151" fmla="*/ 2790460 h 3487140"/>
              <a:gd name="connsiteX152" fmla="*/ 4719739 w 8890157"/>
              <a:gd name="connsiteY152" fmla="*/ 3133385 h 3487140"/>
              <a:gd name="connsiteX153" fmla="*/ 5211629 w 8890157"/>
              <a:gd name="connsiteY153" fmla="*/ 3465290 h 3487140"/>
              <a:gd name="connsiteX154" fmla="*/ 5952375 w 8890157"/>
              <a:gd name="connsiteY154" fmla="*/ 3390434 h 3487140"/>
              <a:gd name="connsiteX155" fmla="*/ 6392198 w 8890157"/>
              <a:gd name="connsiteY155" fmla="*/ 3017940 h 3487140"/>
              <a:gd name="connsiteX156" fmla="*/ 6706179 w 8890157"/>
              <a:gd name="connsiteY156" fmla="*/ 2655510 h 3487140"/>
              <a:gd name="connsiteX157" fmla="*/ 7078673 w 8890157"/>
              <a:gd name="connsiteY157" fmla="*/ 3163577 h 3487140"/>
              <a:gd name="connsiteX158" fmla="*/ 7302660 w 8890157"/>
              <a:gd name="connsiteY158" fmla="*/ 3255443 h 3487140"/>
              <a:gd name="connsiteX159" fmla="*/ 7380677 w 8890157"/>
              <a:gd name="connsiteY159" fmla="*/ 2786675 h 3487140"/>
              <a:gd name="connsiteX160" fmla="*/ 7690250 w 8890157"/>
              <a:gd name="connsiteY160" fmla="*/ 2869724 h 3487140"/>
              <a:gd name="connsiteX161" fmla="*/ 7929042 w 8890157"/>
              <a:gd name="connsiteY161" fmla="*/ 3245046 h 3487140"/>
              <a:gd name="connsiteX162" fmla="*/ 8301535 w 8890157"/>
              <a:gd name="connsiteY162" fmla="*/ 3329676 h 3487140"/>
              <a:gd name="connsiteX163" fmla="*/ 8890157 w 8890157"/>
              <a:gd name="connsiteY163" fmla="*/ 3217682 h 3487140"/>
              <a:gd name="connsiteX0" fmla="*/ 0 w 8633690"/>
              <a:gd name="connsiteY0" fmla="*/ 2898295 h 3487140"/>
              <a:gd name="connsiteX1" fmla="*/ 229351 w 8633690"/>
              <a:gd name="connsiteY1" fmla="*/ 3416675 h 3487140"/>
              <a:gd name="connsiteX2" fmla="*/ 389170 w 8633690"/>
              <a:gd name="connsiteY2" fmla="*/ 3205871 h 3487140"/>
              <a:gd name="connsiteX3" fmla="*/ 648423 w 8633690"/>
              <a:gd name="connsiteY3" fmla="*/ 2696848 h 3487140"/>
              <a:gd name="connsiteX4" fmla="*/ 922771 w 8633690"/>
              <a:gd name="connsiteY4" fmla="*/ 2954187 h 3487140"/>
              <a:gd name="connsiteX5" fmla="*/ 1270105 w 8633690"/>
              <a:gd name="connsiteY5" fmla="*/ 3339906 h 3487140"/>
              <a:gd name="connsiteX6" fmla="*/ 1728227 w 8633690"/>
              <a:gd name="connsiteY6" fmla="*/ 3385485 h 3487140"/>
              <a:gd name="connsiteX7" fmla="*/ 1806909 w 8633690"/>
              <a:gd name="connsiteY7" fmla="*/ 3295741 h 3487140"/>
              <a:gd name="connsiteX8" fmla="*/ 1555807 w 8633690"/>
              <a:gd name="connsiteY8" fmla="*/ 3112384 h 3487140"/>
              <a:gd name="connsiteX9" fmla="*/ 1249644 w 8633690"/>
              <a:gd name="connsiteY9" fmla="*/ 2750287 h 3487140"/>
              <a:gd name="connsiteX10" fmla="*/ 1158112 w 8633690"/>
              <a:gd name="connsiteY10" fmla="*/ 2305432 h 3487140"/>
              <a:gd name="connsiteX11" fmla="*/ 1285700 w 8633690"/>
              <a:gd name="connsiteY11" fmla="*/ 1919713 h 3487140"/>
              <a:gd name="connsiteX12" fmla="*/ 1609912 w 8633690"/>
              <a:gd name="connsiteY12" fmla="*/ 1637837 h 3487140"/>
              <a:gd name="connsiteX13" fmla="*/ 2103216 w 8633690"/>
              <a:gd name="connsiteY13" fmla="*/ 1545972 h 3487140"/>
              <a:gd name="connsiteX14" fmla="*/ 2337891 w 8633690"/>
              <a:gd name="connsiteY14" fmla="*/ 1517651 h 3487140"/>
              <a:gd name="connsiteX15" fmla="*/ 2322628 w 8633690"/>
              <a:gd name="connsiteY15" fmla="*/ 1460718 h 3487140"/>
              <a:gd name="connsiteX16" fmla="*/ 2046574 w 8633690"/>
              <a:gd name="connsiteY16" fmla="*/ 1416969 h 3487140"/>
              <a:gd name="connsiteX17" fmla="*/ 1527154 w 8633690"/>
              <a:gd name="connsiteY17" fmla="*/ 1517318 h 3487140"/>
              <a:gd name="connsiteX18" fmla="*/ 1117856 w 8633690"/>
              <a:gd name="connsiteY18" fmla="*/ 1960593 h 3487140"/>
              <a:gd name="connsiteX19" fmla="*/ 1058386 w 8633690"/>
              <a:gd name="connsiteY19" fmla="*/ 2569342 h 3487140"/>
              <a:gd name="connsiteX20" fmla="*/ 1472093 w 8633690"/>
              <a:gd name="connsiteY20" fmla="*/ 3165532 h 3487140"/>
              <a:gd name="connsiteX21" fmla="*/ 2262078 w 8633690"/>
              <a:gd name="connsiteY21" fmla="*/ 3283181 h 3487140"/>
              <a:gd name="connsiteX22" fmla="*/ 2864714 w 8633690"/>
              <a:gd name="connsiteY22" fmla="*/ 2757481 h 3487140"/>
              <a:gd name="connsiteX23" fmla="*/ 2854483 w 8633690"/>
              <a:gd name="connsiteY23" fmla="*/ 1980430 h 3487140"/>
              <a:gd name="connsiteX24" fmla="*/ 2524449 w 8633690"/>
              <a:gd name="connsiteY24" fmla="*/ 1589139 h 3487140"/>
              <a:gd name="connsiteX25" fmla="*/ 2335395 w 8633690"/>
              <a:gd name="connsiteY25" fmla="*/ 1660710 h 3487140"/>
              <a:gd name="connsiteX26" fmla="*/ 2226978 w 8633690"/>
              <a:gd name="connsiteY26" fmla="*/ 2116627 h 3487140"/>
              <a:gd name="connsiteX27" fmla="*/ 2003615 w 8633690"/>
              <a:gd name="connsiteY27" fmla="*/ 2374258 h 3487140"/>
              <a:gd name="connsiteX28" fmla="*/ 1948679 w 8633690"/>
              <a:gd name="connsiteY28" fmla="*/ 2276986 h 3487140"/>
              <a:gd name="connsiteX29" fmla="*/ 2327951 w 8633690"/>
              <a:gd name="connsiteY29" fmla="*/ 2021601 h 3487140"/>
              <a:gd name="connsiteX30" fmla="*/ 2587870 w 8633690"/>
              <a:gd name="connsiteY30" fmla="*/ 1234153 h 3487140"/>
              <a:gd name="connsiteX31" fmla="*/ 2817970 w 8633690"/>
              <a:gd name="connsiteY31" fmla="*/ 725296 h 3487140"/>
              <a:gd name="connsiteX32" fmla="*/ 2926553 w 8633690"/>
              <a:gd name="connsiteY32" fmla="*/ 539984 h 3487140"/>
              <a:gd name="connsiteX33" fmla="*/ 2895405 w 8633690"/>
              <a:gd name="connsiteY33" fmla="*/ 435851 h 3487140"/>
              <a:gd name="connsiteX34" fmla="*/ 2789067 w 8633690"/>
              <a:gd name="connsiteY34" fmla="*/ 350265 h 3487140"/>
              <a:gd name="connsiteX35" fmla="*/ 2743779 w 8633690"/>
              <a:gd name="connsiteY35" fmla="*/ 209327 h 3487140"/>
              <a:gd name="connsiteX36" fmla="*/ 2788609 w 8633690"/>
              <a:gd name="connsiteY36" fmla="*/ 82237 h 3487140"/>
              <a:gd name="connsiteX37" fmla="*/ 2968889 w 8633690"/>
              <a:gd name="connsiteY37" fmla="*/ 6716 h 3487140"/>
              <a:gd name="connsiteX38" fmla="*/ 3237582 w 8633690"/>
              <a:gd name="connsiteY38" fmla="*/ 10167 h 3487140"/>
              <a:gd name="connsiteX39" fmla="*/ 3321255 w 8633690"/>
              <a:gd name="connsiteY39" fmla="*/ 49800 h 3487140"/>
              <a:gd name="connsiteX40" fmla="*/ 3274220 w 8633690"/>
              <a:gd name="connsiteY40" fmla="*/ 86812 h 3487140"/>
              <a:gd name="connsiteX41" fmla="*/ 3038297 w 8633690"/>
              <a:gd name="connsiteY41" fmla="*/ 91886 h 3487140"/>
              <a:gd name="connsiteX42" fmla="*/ 2794764 w 8633690"/>
              <a:gd name="connsiteY42" fmla="*/ 75833 h 3487140"/>
              <a:gd name="connsiteX43" fmla="*/ 2687013 w 8633690"/>
              <a:gd name="connsiteY43" fmla="*/ 176931 h 3487140"/>
              <a:gd name="connsiteX44" fmla="*/ 2702275 w 8633690"/>
              <a:gd name="connsiteY44" fmla="*/ 370393 h 3487140"/>
              <a:gd name="connsiteX45" fmla="*/ 2647048 w 8633690"/>
              <a:gd name="connsiteY45" fmla="*/ 589348 h 3487140"/>
              <a:gd name="connsiteX46" fmla="*/ 2490514 w 8633690"/>
              <a:gd name="connsiteY46" fmla="*/ 903953 h 3487140"/>
              <a:gd name="connsiteX47" fmla="*/ 2280043 w 8633690"/>
              <a:gd name="connsiteY47" fmla="*/ 922501 h 3487140"/>
              <a:gd name="connsiteX48" fmla="*/ 2085624 w 8633690"/>
              <a:gd name="connsiteY48" fmla="*/ 866816 h 3487140"/>
              <a:gd name="connsiteX49" fmla="*/ 2026779 w 8633690"/>
              <a:gd name="connsiteY49" fmla="*/ 751038 h 3487140"/>
              <a:gd name="connsiteX50" fmla="*/ 2038715 w 8633690"/>
              <a:gd name="connsiteY50" fmla="*/ 369436 h 3487140"/>
              <a:gd name="connsiteX51" fmla="*/ 2100388 w 8633690"/>
              <a:gd name="connsiteY51" fmla="*/ 155805 h 3487140"/>
              <a:gd name="connsiteX52" fmla="*/ 2301752 w 8633690"/>
              <a:gd name="connsiteY52" fmla="*/ 156761 h 3487140"/>
              <a:gd name="connsiteX53" fmla="*/ 2554683 w 8633690"/>
              <a:gd name="connsiteY53" fmla="*/ 245175 h 3487140"/>
              <a:gd name="connsiteX54" fmla="*/ 2723775 w 8633690"/>
              <a:gd name="connsiteY54" fmla="*/ 357792 h 3487140"/>
              <a:gd name="connsiteX55" fmla="*/ 2828366 w 8633690"/>
              <a:gd name="connsiteY55" fmla="*/ 483301 h 3487140"/>
              <a:gd name="connsiteX56" fmla="*/ 2852570 w 8633690"/>
              <a:gd name="connsiteY56" fmla="*/ 600951 h 3487140"/>
              <a:gd name="connsiteX57" fmla="*/ 2825039 w 8633690"/>
              <a:gd name="connsiteY57" fmla="*/ 761726 h 3487140"/>
              <a:gd name="connsiteX58" fmla="*/ 2996960 w 8633690"/>
              <a:gd name="connsiteY58" fmla="*/ 1160004 h 3487140"/>
              <a:gd name="connsiteX59" fmla="*/ 3419940 w 8633690"/>
              <a:gd name="connsiteY59" fmla="*/ 1793622 h 3487140"/>
              <a:gd name="connsiteX60" fmla="*/ 3837431 w 8633690"/>
              <a:gd name="connsiteY60" fmla="*/ 2087475 h 3487140"/>
              <a:gd name="connsiteX61" fmla="*/ 3947054 w 8633690"/>
              <a:gd name="connsiteY61" fmla="*/ 2185620 h 3487140"/>
              <a:gd name="connsiteX62" fmla="*/ 3834105 w 8633690"/>
              <a:gd name="connsiteY62" fmla="*/ 2468120 h 3487140"/>
              <a:gd name="connsiteX63" fmla="*/ 3668006 w 8633690"/>
              <a:gd name="connsiteY63" fmla="*/ 2505548 h 3487140"/>
              <a:gd name="connsiteX64" fmla="*/ 3359556 w 8633690"/>
              <a:gd name="connsiteY64" fmla="*/ 2278109 h 3487140"/>
              <a:gd name="connsiteX65" fmla="*/ 2914867 w 8633690"/>
              <a:gd name="connsiteY65" fmla="*/ 1678800 h 3487140"/>
              <a:gd name="connsiteX66" fmla="*/ 2795014 w 8633690"/>
              <a:gd name="connsiteY66" fmla="*/ 1175432 h 3487140"/>
              <a:gd name="connsiteX67" fmla="*/ 2949468 w 8633690"/>
              <a:gd name="connsiteY67" fmla="*/ 1377420 h 3487140"/>
              <a:gd name="connsiteX68" fmla="*/ 3311108 w 8633690"/>
              <a:gd name="connsiteY68" fmla="*/ 2268710 h 3487140"/>
              <a:gd name="connsiteX69" fmla="*/ 3630910 w 8633690"/>
              <a:gd name="connsiteY69" fmla="*/ 2693105 h 3487140"/>
              <a:gd name="connsiteX70" fmla="*/ 3864338 w 8633690"/>
              <a:gd name="connsiteY70" fmla="*/ 2746586 h 3487140"/>
              <a:gd name="connsiteX71" fmla="*/ 4031559 w 8633690"/>
              <a:gd name="connsiteY71" fmla="*/ 2631432 h 3487140"/>
              <a:gd name="connsiteX72" fmla="*/ 4042746 w 8633690"/>
              <a:gd name="connsiteY72" fmla="*/ 2436680 h 3487140"/>
              <a:gd name="connsiteX73" fmla="*/ 3888916 w 8633690"/>
              <a:gd name="connsiteY73" fmla="*/ 2309258 h 3487140"/>
              <a:gd name="connsiteX74" fmla="*/ 3681730 w 8633690"/>
              <a:gd name="connsiteY74" fmla="*/ 2375007 h 3487140"/>
              <a:gd name="connsiteX75" fmla="*/ 3659231 w 8633690"/>
              <a:gd name="connsiteY75" fmla="*/ 2581402 h 3487140"/>
              <a:gd name="connsiteX76" fmla="*/ 3801916 w 8633690"/>
              <a:gd name="connsiteY76" fmla="*/ 2671064 h 3487140"/>
              <a:gd name="connsiteX77" fmla="*/ 3898481 w 8633690"/>
              <a:gd name="connsiteY77" fmla="*/ 2596831 h 3487140"/>
              <a:gd name="connsiteX78" fmla="*/ 3865295 w 8633690"/>
              <a:gd name="connsiteY78" fmla="*/ 2530750 h 3487140"/>
              <a:gd name="connsiteX79" fmla="*/ 3743237 w 8633690"/>
              <a:gd name="connsiteY79" fmla="*/ 2615379 h 3487140"/>
              <a:gd name="connsiteX80" fmla="*/ 3597558 w 8633690"/>
              <a:gd name="connsiteY80" fmla="*/ 2907028 h 3487140"/>
              <a:gd name="connsiteX81" fmla="*/ 3549733 w 8633690"/>
              <a:gd name="connsiteY81" fmla="*/ 3008333 h 3487140"/>
              <a:gd name="connsiteX82" fmla="*/ 3513885 w 8633690"/>
              <a:gd name="connsiteY82" fmla="*/ 3024053 h 3487140"/>
              <a:gd name="connsiteX83" fmla="*/ 3418859 w 8633690"/>
              <a:gd name="connsiteY83" fmla="*/ 3013989 h 3487140"/>
              <a:gd name="connsiteX84" fmla="*/ 3425762 w 8633690"/>
              <a:gd name="connsiteY84" fmla="*/ 2956724 h 3487140"/>
              <a:gd name="connsiteX85" fmla="*/ 3614525 w 8633690"/>
              <a:gd name="connsiteY85" fmla="*/ 2951068 h 3487140"/>
              <a:gd name="connsiteX86" fmla="*/ 3700735 w 8633690"/>
              <a:gd name="connsiteY86" fmla="*/ 2951068 h 3487140"/>
              <a:gd name="connsiteX87" fmla="*/ 3781913 w 8633690"/>
              <a:gd name="connsiteY87" fmla="*/ 2822066 h 3487140"/>
              <a:gd name="connsiteX88" fmla="*/ 3922227 w 8633690"/>
              <a:gd name="connsiteY88" fmla="*/ 2789337 h 3487140"/>
              <a:gd name="connsiteX89" fmla="*/ 4049940 w 8633690"/>
              <a:gd name="connsiteY89" fmla="*/ 2713815 h 3487140"/>
              <a:gd name="connsiteX90" fmla="*/ 4136150 w 8633690"/>
              <a:gd name="connsiteY90" fmla="*/ 2544556 h 3487140"/>
              <a:gd name="connsiteX91" fmla="*/ 4355729 w 8633690"/>
              <a:gd name="connsiteY91" fmla="*/ 2482883 h 3487140"/>
              <a:gd name="connsiteX92" fmla="*/ 4890703 w 8633690"/>
              <a:gd name="connsiteY92" fmla="*/ 2466831 h 3487140"/>
              <a:gd name="connsiteX93" fmla="*/ 5046445 w 8633690"/>
              <a:gd name="connsiteY93" fmla="*/ 2420918 h 3487140"/>
              <a:gd name="connsiteX94" fmla="*/ 4896358 w 8633690"/>
              <a:gd name="connsiteY94" fmla="*/ 2252907 h 3487140"/>
              <a:gd name="connsiteX95" fmla="*/ 4420979 w 8633690"/>
              <a:gd name="connsiteY95" fmla="*/ 1791709 h 3487140"/>
              <a:gd name="connsiteX96" fmla="*/ 4156860 w 8633690"/>
              <a:gd name="connsiteY96" fmla="*/ 1600118 h 3487140"/>
              <a:gd name="connsiteX97" fmla="*/ 4032890 w 8633690"/>
              <a:gd name="connsiteY97" fmla="*/ 1733529 h 3487140"/>
              <a:gd name="connsiteX98" fmla="*/ 3970592 w 8633690"/>
              <a:gd name="connsiteY98" fmla="*/ 1995900 h 3487140"/>
              <a:gd name="connsiteX99" fmla="*/ 4011472 w 8633690"/>
              <a:gd name="connsiteY99" fmla="*/ 2048133 h 3487140"/>
              <a:gd name="connsiteX100" fmla="*/ 4074393 w 8633690"/>
              <a:gd name="connsiteY100" fmla="*/ 1778817 h 3487140"/>
              <a:gd name="connsiteX101" fmla="*/ 4196160 w 8633690"/>
              <a:gd name="connsiteY101" fmla="*/ 1356918 h 3487140"/>
              <a:gd name="connsiteX102" fmla="*/ 4302497 w 8633690"/>
              <a:gd name="connsiteY102" fmla="*/ 986960 h 3487140"/>
              <a:gd name="connsiteX103" fmla="*/ 4273220 w 8633690"/>
              <a:gd name="connsiteY103" fmla="*/ 867107 h 3487140"/>
              <a:gd name="connsiteX104" fmla="*/ 4098306 w 8633690"/>
              <a:gd name="connsiteY104" fmla="*/ 840034 h 3487140"/>
              <a:gd name="connsiteX105" fmla="*/ 3954207 w 8633690"/>
              <a:gd name="connsiteY105" fmla="*/ 782769 h 3487140"/>
              <a:gd name="connsiteX106" fmla="*/ 3970551 w 8633690"/>
              <a:gd name="connsiteY106" fmla="*/ 714816 h 3487140"/>
              <a:gd name="connsiteX107" fmla="*/ 4144218 w 8633690"/>
              <a:gd name="connsiteY107" fmla="*/ 723008 h 3487140"/>
              <a:gd name="connsiteX108" fmla="*/ 4346829 w 8633690"/>
              <a:gd name="connsiteY108" fmla="*/ 729288 h 3487140"/>
              <a:gd name="connsiteX109" fmla="*/ 4513551 w 8633690"/>
              <a:gd name="connsiteY109" fmla="*/ 682087 h 3487140"/>
              <a:gd name="connsiteX110" fmla="*/ 4631200 w 8633690"/>
              <a:gd name="connsiteY110" fmla="*/ 703463 h 3487140"/>
              <a:gd name="connsiteX111" fmla="*/ 4653865 w 8633690"/>
              <a:gd name="connsiteY111" fmla="*/ 797199 h 3487140"/>
              <a:gd name="connsiteX112" fmla="*/ 4526152 w 8633690"/>
              <a:gd name="connsiteY112" fmla="*/ 890936 h 3487140"/>
              <a:gd name="connsiteX113" fmla="*/ 4356269 w 8633690"/>
              <a:gd name="connsiteY113" fmla="*/ 918009 h 3487140"/>
              <a:gd name="connsiteX114" fmla="*/ 4228556 w 8633690"/>
              <a:gd name="connsiteY114" fmla="*/ 1002306 h 3487140"/>
              <a:gd name="connsiteX115" fmla="*/ 4127666 w 8633690"/>
              <a:gd name="connsiteY115" fmla="*/ 1299902 h 3487140"/>
              <a:gd name="connsiteX116" fmla="*/ 4188716 w 8633690"/>
              <a:gd name="connsiteY116" fmla="*/ 1545930 h 3487140"/>
              <a:gd name="connsiteX117" fmla="*/ 4401391 w 8633690"/>
              <a:gd name="connsiteY117" fmla="*/ 1536490 h 3487140"/>
              <a:gd name="connsiteX118" fmla="*/ 4580922 w 8633690"/>
              <a:gd name="connsiteY118" fmla="*/ 1376048 h 3487140"/>
              <a:gd name="connsiteX119" fmla="*/ 4584083 w 8633690"/>
              <a:gd name="connsiteY119" fmla="*/ 1231949 h 3487140"/>
              <a:gd name="connsiteX120" fmla="*/ 4366042 w 8633690"/>
              <a:gd name="connsiteY120" fmla="*/ 1191693 h 3487140"/>
              <a:gd name="connsiteX121" fmla="*/ 4374526 w 8633690"/>
              <a:gd name="connsiteY121" fmla="*/ 1255238 h 3487140"/>
              <a:gd name="connsiteX122" fmla="*/ 4799544 w 8633690"/>
              <a:gd name="connsiteY122" fmla="*/ 1241722 h 3487140"/>
              <a:gd name="connsiteX123" fmla="*/ 5284364 w 8633690"/>
              <a:gd name="connsiteY123" fmla="*/ 1259646 h 3487140"/>
              <a:gd name="connsiteX124" fmla="*/ 5513716 w 8633690"/>
              <a:gd name="connsiteY124" fmla="*/ 1236981 h 3487140"/>
              <a:gd name="connsiteX125" fmla="*/ 5495460 w 8633690"/>
              <a:gd name="connsiteY125" fmla="*/ 1185995 h 3487140"/>
              <a:gd name="connsiteX126" fmla="*/ 5134942 w 8633690"/>
              <a:gd name="connsiteY126" fmla="*/ 1177512 h 3487140"/>
              <a:gd name="connsiteX127" fmla="*/ 4764362 w 8633690"/>
              <a:gd name="connsiteY127" fmla="*/ 1331342 h 3487140"/>
              <a:gd name="connsiteX128" fmla="*/ 4418608 w 8633690"/>
              <a:gd name="connsiteY128" fmla="*/ 1604110 h 3487140"/>
              <a:gd name="connsiteX129" fmla="*/ 4185805 w 8633690"/>
              <a:gd name="connsiteY129" fmla="*/ 1921252 h 3487140"/>
              <a:gd name="connsiteX130" fmla="*/ 4090155 w 8633690"/>
              <a:gd name="connsiteY130" fmla="*/ 2419255 h 3487140"/>
              <a:gd name="connsiteX131" fmla="*/ 4320463 w 8633690"/>
              <a:gd name="connsiteY131" fmla="*/ 3048465 h 3487140"/>
              <a:gd name="connsiteX132" fmla="*/ 4898688 w 8633690"/>
              <a:gd name="connsiteY132" fmla="*/ 3394510 h 3487140"/>
              <a:gd name="connsiteX133" fmla="*/ 5537337 w 8633690"/>
              <a:gd name="connsiteY133" fmla="*/ 3330632 h 3487140"/>
              <a:gd name="connsiteX134" fmla="*/ 6032512 w 8633690"/>
              <a:gd name="connsiteY134" fmla="*/ 2841404 h 3487140"/>
              <a:gd name="connsiteX135" fmla="*/ 6065865 w 8633690"/>
              <a:gd name="connsiteY135" fmla="*/ 2052999 h 3487140"/>
              <a:gd name="connsiteX136" fmla="*/ 5634858 w 8633690"/>
              <a:gd name="connsiteY136" fmla="*/ 1482011 h 3487140"/>
              <a:gd name="connsiteX137" fmla="*/ 5168004 w 8633690"/>
              <a:gd name="connsiteY137" fmla="*/ 1352717 h 3487140"/>
              <a:gd name="connsiteX138" fmla="*/ 5007562 w 8633690"/>
              <a:gd name="connsiteY138" fmla="*/ 1466624 h 3487140"/>
              <a:gd name="connsiteX139" fmla="*/ 5029603 w 8633690"/>
              <a:gd name="connsiteY139" fmla="*/ 2001140 h 3487140"/>
              <a:gd name="connsiteX140" fmla="*/ 5063579 w 8633690"/>
              <a:gd name="connsiteY140" fmla="*/ 2313208 h 3487140"/>
              <a:gd name="connsiteX141" fmla="*/ 5155279 w 8633690"/>
              <a:gd name="connsiteY141" fmla="*/ 2399085 h 3487140"/>
              <a:gd name="connsiteX142" fmla="*/ 5259745 w 8633690"/>
              <a:gd name="connsiteY142" fmla="*/ 2362905 h 3487140"/>
              <a:gd name="connsiteX143" fmla="*/ 5224354 w 8633690"/>
              <a:gd name="connsiteY143" fmla="*/ 2271372 h 3487140"/>
              <a:gd name="connsiteX144" fmla="*/ 5126750 w 8633690"/>
              <a:gd name="connsiteY144" fmla="*/ 2303394 h 3487140"/>
              <a:gd name="connsiteX145" fmla="*/ 5110364 w 8633690"/>
              <a:gd name="connsiteY145" fmla="*/ 2437262 h 3487140"/>
              <a:gd name="connsiteX146" fmla="*/ 5109283 w 8633690"/>
              <a:gd name="connsiteY146" fmla="*/ 2519521 h 3487140"/>
              <a:gd name="connsiteX147" fmla="*/ 4930169 w 8633690"/>
              <a:gd name="connsiteY147" fmla="*/ 2539400 h 3487140"/>
              <a:gd name="connsiteX148" fmla="*/ 4519914 w 8633690"/>
              <a:gd name="connsiteY148" fmla="*/ 2545679 h 3487140"/>
              <a:gd name="connsiteX149" fmla="*/ 4279542 w 8633690"/>
              <a:gd name="connsiteY149" fmla="*/ 2602944 h 3487140"/>
              <a:gd name="connsiteX150" fmla="*/ 4269935 w 8633690"/>
              <a:gd name="connsiteY150" fmla="*/ 2790460 h 3487140"/>
              <a:gd name="connsiteX151" fmla="*/ 4463272 w 8633690"/>
              <a:gd name="connsiteY151" fmla="*/ 3133385 h 3487140"/>
              <a:gd name="connsiteX152" fmla="*/ 4955162 w 8633690"/>
              <a:gd name="connsiteY152" fmla="*/ 3465290 h 3487140"/>
              <a:gd name="connsiteX153" fmla="*/ 5695908 w 8633690"/>
              <a:gd name="connsiteY153" fmla="*/ 3390434 h 3487140"/>
              <a:gd name="connsiteX154" fmla="*/ 6135731 w 8633690"/>
              <a:gd name="connsiteY154" fmla="*/ 3017940 h 3487140"/>
              <a:gd name="connsiteX155" fmla="*/ 6449712 w 8633690"/>
              <a:gd name="connsiteY155" fmla="*/ 2655510 h 3487140"/>
              <a:gd name="connsiteX156" fmla="*/ 6822206 w 8633690"/>
              <a:gd name="connsiteY156" fmla="*/ 3163577 h 3487140"/>
              <a:gd name="connsiteX157" fmla="*/ 7046193 w 8633690"/>
              <a:gd name="connsiteY157" fmla="*/ 3255443 h 3487140"/>
              <a:gd name="connsiteX158" fmla="*/ 7124210 w 8633690"/>
              <a:gd name="connsiteY158" fmla="*/ 2786675 h 3487140"/>
              <a:gd name="connsiteX159" fmla="*/ 7433783 w 8633690"/>
              <a:gd name="connsiteY159" fmla="*/ 2869724 h 3487140"/>
              <a:gd name="connsiteX160" fmla="*/ 7672575 w 8633690"/>
              <a:gd name="connsiteY160" fmla="*/ 3245046 h 3487140"/>
              <a:gd name="connsiteX161" fmla="*/ 8045068 w 8633690"/>
              <a:gd name="connsiteY161" fmla="*/ 3329676 h 3487140"/>
              <a:gd name="connsiteX162" fmla="*/ 8633690 w 8633690"/>
              <a:gd name="connsiteY162" fmla="*/ 3217682 h 3487140"/>
              <a:gd name="connsiteX0" fmla="*/ 0 w 8404339"/>
              <a:gd name="connsiteY0" fmla="*/ 3416675 h 3487140"/>
              <a:gd name="connsiteX1" fmla="*/ 159819 w 8404339"/>
              <a:gd name="connsiteY1" fmla="*/ 3205871 h 3487140"/>
              <a:gd name="connsiteX2" fmla="*/ 419072 w 8404339"/>
              <a:gd name="connsiteY2" fmla="*/ 2696848 h 3487140"/>
              <a:gd name="connsiteX3" fmla="*/ 693420 w 8404339"/>
              <a:gd name="connsiteY3" fmla="*/ 2954187 h 3487140"/>
              <a:gd name="connsiteX4" fmla="*/ 1040754 w 8404339"/>
              <a:gd name="connsiteY4" fmla="*/ 3339906 h 3487140"/>
              <a:gd name="connsiteX5" fmla="*/ 1498876 w 8404339"/>
              <a:gd name="connsiteY5" fmla="*/ 3385485 h 3487140"/>
              <a:gd name="connsiteX6" fmla="*/ 1577558 w 8404339"/>
              <a:gd name="connsiteY6" fmla="*/ 3295741 h 3487140"/>
              <a:gd name="connsiteX7" fmla="*/ 1326456 w 8404339"/>
              <a:gd name="connsiteY7" fmla="*/ 3112384 h 3487140"/>
              <a:gd name="connsiteX8" fmla="*/ 1020293 w 8404339"/>
              <a:gd name="connsiteY8" fmla="*/ 2750287 h 3487140"/>
              <a:gd name="connsiteX9" fmla="*/ 928761 w 8404339"/>
              <a:gd name="connsiteY9" fmla="*/ 2305432 h 3487140"/>
              <a:gd name="connsiteX10" fmla="*/ 1056349 w 8404339"/>
              <a:gd name="connsiteY10" fmla="*/ 1919713 h 3487140"/>
              <a:gd name="connsiteX11" fmla="*/ 1380561 w 8404339"/>
              <a:gd name="connsiteY11" fmla="*/ 1637837 h 3487140"/>
              <a:gd name="connsiteX12" fmla="*/ 1873865 w 8404339"/>
              <a:gd name="connsiteY12" fmla="*/ 1545972 h 3487140"/>
              <a:gd name="connsiteX13" fmla="*/ 2108540 w 8404339"/>
              <a:gd name="connsiteY13" fmla="*/ 1517651 h 3487140"/>
              <a:gd name="connsiteX14" fmla="*/ 2093277 w 8404339"/>
              <a:gd name="connsiteY14" fmla="*/ 1460718 h 3487140"/>
              <a:gd name="connsiteX15" fmla="*/ 1817223 w 8404339"/>
              <a:gd name="connsiteY15" fmla="*/ 1416969 h 3487140"/>
              <a:gd name="connsiteX16" fmla="*/ 1297803 w 8404339"/>
              <a:gd name="connsiteY16" fmla="*/ 1517318 h 3487140"/>
              <a:gd name="connsiteX17" fmla="*/ 888505 w 8404339"/>
              <a:gd name="connsiteY17" fmla="*/ 1960593 h 3487140"/>
              <a:gd name="connsiteX18" fmla="*/ 829035 w 8404339"/>
              <a:gd name="connsiteY18" fmla="*/ 2569342 h 3487140"/>
              <a:gd name="connsiteX19" fmla="*/ 1242742 w 8404339"/>
              <a:gd name="connsiteY19" fmla="*/ 3165532 h 3487140"/>
              <a:gd name="connsiteX20" fmla="*/ 2032727 w 8404339"/>
              <a:gd name="connsiteY20" fmla="*/ 3283181 h 3487140"/>
              <a:gd name="connsiteX21" fmla="*/ 2635363 w 8404339"/>
              <a:gd name="connsiteY21" fmla="*/ 2757481 h 3487140"/>
              <a:gd name="connsiteX22" fmla="*/ 2625132 w 8404339"/>
              <a:gd name="connsiteY22" fmla="*/ 1980430 h 3487140"/>
              <a:gd name="connsiteX23" fmla="*/ 2295098 w 8404339"/>
              <a:gd name="connsiteY23" fmla="*/ 1589139 h 3487140"/>
              <a:gd name="connsiteX24" fmla="*/ 2106044 w 8404339"/>
              <a:gd name="connsiteY24" fmla="*/ 1660710 h 3487140"/>
              <a:gd name="connsiteX25" fmla="*/ 1997627 w 8404339"/>
              <a:gd name="connsiteY25" fmla="*/ 2116627 h 3487140"/>
              <a:gd name="connsiteX26" fmla="*/ 1774264 w 8404339"/>
              <a:gd name="connsiteY26" fmla="*/ 2374258 h 3487140"/>
              <a:gd name="connsiteX27" fmla="*/ 1719328 w 8404339"/>
              <a:gd name="connsiteY27" fmla="*/ 2276986 h 3487140"/>
              <a:gd name="connsiteX28" fmla="*/ 2098600 w 8404339"/>
              <a:gd name="connsiteY28" fmla="*/ 2021601 h 3487140"/>
              <a:gd name="connsiteX29" fmla="*/ 2358519 w 8404339"/>
              <a:gd name="connsiteY29" fmla="*/ 1234153 h 3487140"/>
              <a:gd name="connsiteX30" fmla="*/ 2588619 w 8404339"/>
              <a:gd name="connsiteY30" fmla="*/ 725296 h 3487140"/>
              <a:gd name="connsiteX31" fmla="*/ 2697202 w 8404339"/>
              <a:gd name="connsiteY31" fmla="*/ 539984 h 3487140"/>
              <a:gd name="connsiteX32" fmla="*/ 2666054 w 8404339"/>
              <a:gd name="connsiteY32" fmla="*/ 435851 h 3487140"/>
              <a:gd name="connsiteX33" fmla="*/ 2559716 w 8404339"/>
              <a:gd name="connsiteY33" fmla="*/ 350265 h 3487140"/>
              <a:gd name="connsiteX34" fmla="*/ 2514428 w 8404339"/>
              <a:gd name="connsiteY34" fmla="*/ 209327 h 3487140"/>
              <a:gd name="connsiteX35" fmla="*/ 2559258 w 8404339"/>
              <a:gd name="connsiteY35" fmla="*/ 82237 h 3487140"/>
              <a:gd name="connsiteX36" fmla="*/ 2739538 w 8404339"/>
              <a:gd name="connsiteY36" fmla="*/ 6716 h 3487140"/>
              <a:gd name="connsiteX37" fmla="*/ 3008231 w 8404339"/>
              <a:gd name="connsiteY37" fmla="*/ 10167 h 3487140"/>
              <a:gd name="connsiteX38" fmla="*/ 3091904 w 8404339"/>
              <a:gd name="connsiteY38" fmla="*/ 49800 h 3487140"/>
              <a:gd name="connsiteX39" fmla="*/ 3044869 w 8404339"/>
              <a:gd name="connsiteY39" fmla="*/ 86812 h 3487140"/>
              <a:gd name="connsiteX40" fmla="*/ 2808946 w 8404339"/>
              <a:gd name="connsiteY40" fmla="*/ 91886 h 3487140"/>
              <a:gd name="connsiteX41" fmla="*/ 2565413 w 8404339"/>
              <a:gd name="connsiteY41" fmla="*/ 75833 h 3487140"/>
              <a:gd name="connsiteX42" fmla="*/ 2457662 w 8404339"/>
              <a:gd name="connsiteY42" fmla="*/ 176931 h 3487140"/>
              <a:gd name="connsiteX43" fmla="*/ 2472924 w 8404339"/>
              <a:gd name="connsiteY43" fmla="*/ 370393 h 3487140"/>
              <a:gd name="connsiteX44" fmla="*/ 2417697 w 8404339"/>
              <a:gd name="connsiteY44" fmla="*/ 589348 h 3487140"/>
              <a:gd name="connsiteX45" fmla="*/ 2261163 w 8404339"/>
              <a:gd name="connsiteY45" fmla="*/ 903953 h 3487140"/>
              <a:gd name="connsiteX46" fmla="*/ 2050692 w 8404339"/>
              <a:gd name="connsiteY46" fmla="*/ 922501 h 3487140"/>
              <a:gd name="connsiteX47" fmla="*/ 1856273 w 8404339"/>
              <a:gd name="connsiteY47" fmla="*/ 866816 h 3487140"/>
              <a:gd name="connsiteX48" fmla="*/ 1797428 w 8404339"/>
              <a:gd name="connsiteY48" fmla="*/ 751038 h 3487140"/>
              <a:gd name="connsiteX49" fmla="*/ 1809364 w 8404339"/>
              <a:gd name="connsiteY49" fmla="*/ 369436 h 3487140"/>
              <a:gd name="connsiteX50" fmla="*/ 1871037 w 8404339"/>
              <a:gd name="connsiteY50" fmla="*/ 155805 h 3487140"/>
              <a:gd name="connsiteX51" fmla="*/ 2072401 w 8404339"/>
              <a:gd name="connsiteY51" fmla="*/ 156761 h 3487140"/>
              <a:gd name="connsiteX52" fmla="*/ 2325332 w 8404339"/>
              <a:gd name="connsiteY52" fmla="*/ 245175 h 3487140"/>
              <a:gd name="connsiteX53" fmla="*/ 2494424 w 8404339"/>
              <a:gd name="connsiteY53" fmla="*/ 357792 h 3487140"/>
              <a:gd name="connsiteX54" fmla="*/ 2599015 w 8404339"/>
              <a:gd name="connsiteY54" fmla="*/ 483301 h 3487140"/>
              <a:gd name="connsiteX55" fmla="*/ 2623219 w 8404339"/>
              <a:gd name="connsiteY55" fmla="*/ 600951 h 3487140"/>
              <a:gd name="connsiteX56" fmla="*/ 2595688 w 8404339"/>
              <a:gd name="connsiteY56" fmla="*/ 761726 h 3487140"/>
              <a:gd name="connsiteX57" fmla="*/ 2767609 w 8404339"/>
              <a:gd name="connsiteY57" fmla="*/ 1160004 h 3487140"/>
              <a:gd name="connsiteX58" fmla="*/ 3190589 w 8404339"/>
              <a:gd name="connsiteY58" fmla="*/ 1793622 h 3487140"/>
              <a:gd name="connsiteX59" fmla="*/ 3608080 w 8404339"/>
              <a:gd name="connsiteY59" fmla="*/ 2087475 h 3487140"/>
              <a:gd name="connsiteX60" fmla="*/ 3717703 w 8404339"/>
              <a:gd name="connsiteY60" fmla="*/ 2185620 h 3487140"/>
              <a:gd name="connsiteX61" fmla="*/ 3604754 w 8404339"/>
              <a:gd name="connsiteY61" fmla="*/ 2468120 h 3487140"/>
              <a:gd name="connsiteX62" fmla="*/ 3438655 w 8404339"/>
              <a:gd name="connsiteY62" fmla="*/ 2505548 h 3487140"/>
              <a:gd name="connsiteX63" fmla="*/ 3130205 w 8404339"/>
              <a:gd name="connsiteY63" fmla="*/ 2278109 h 3487140"/>
              <a:gd name="connsiteX64" fmla="*/ 2685516 w 8404339"/>
              <a:gd name="connsiteY64" fmla="*/ 1678800 h 3487140"/>
              <a:gd name="connsiteX65" fmla="*/ 2565663 w 8404339"/>
              <a:gd name="connsiteY65" fmla="*/ 1175432 h 3487140"/>
              <a:gd name="connsiteX66" fmla="*/ 2720117 w 8404339"/>
              <a:gd name="connsiteY66" fmla="*/ 1377420 h 3487140"/>
              <a:gd name="connsiteX67" fmla="*/ 3081757 w 8404339"/>
              <a:gd name="connsiteY67" fmla="*/ 2268710 h 3487140"/>
              <a:gd name="connsiteX68" fmla="*/ 3401559 w 8404339"/>
              <a:gd name="connsiteY68" fmla="*/ 2693105 h 3487140"/>
              <a:gd name="connsiteX69" fmla="*/ 3634987 w 8404339"/>
              <a:gd name="connsiteY69" fmla="*/ 2746586 h 3487140"/>
              <a:gd name="connsiteX70" fmla="*/ 3802208 w 8404339"/>
              <a:gd name="connsiteY70" fmla="*/ 2631432 h 3487140"/>
              <a:gd name="connsiteX71" fmla="*/ 3813395 w 8404339"/>
              <a:gd name="connsiteY71" fmla="*/ 2436680 h 3487140"/>
              <a:gd name="connsiteX72" fmla="*/ 3659565 w 8404339"/>
              <a:gd name="connsiteY72" fmla="*/ 2309258 h 3487140"/>
              <a:gd name="connsiteX73" fmla="*/ 3452379 w 8404339"/>
              <a:gd name="connsiteY73" fmla="*/ 2375007 h 3487140"/>
              <a:gd name="connsiteX74" fmla="*/ 3429880 w 8404339"/>
              <a:gd name="connsiteY74" fmla="*/ 2581402 h 3487140"/>
              <a:gd name="connsiteX75" fmla="*/ 3572565 w 8404339"/>
              <a:gd name="connsiteY75" fmla="*/ 2671064 h 3487140"/>
              <a:gd name="connsiteX76" fmla="*/ 3669130 w 8404339"/>
              <a:gd name="connsiteY76" fmla="*/ 2596831 h 3487140"/>
              <a:gd name="connsiteX77" fmla="*/ 3635944 w 8404339"/>
              <a:gd name="connsiteY77" fmla="*/ 2530750 h 3487140"/>
              <a:gd name="connsiteX78" fmla="*/ 3513886 w 8404339"/>
              <a:gd name="connsiteY78" fmla="*/ 2615379 h 3487140"/>
              <a:gd name="connsiteX79" fmla="*/ 3368207 w 8404339"/>
              <a:gd name="connsiteY79" fmla="*/ 2907028 h 3487140"/>
              <a:gd name="connsiteX80" fmla="*/ 3320382 w 8404339"/>
              <a:gd name="connsiteY80" fmla="*/ 3008333 h 3487140"/>
              <a:gd name="connsiteX81" fmla="*/ 3284534 w 8404339"/>
              <a:gd name="connsiteY81" fmla="*/ 3024053 h 3487140"/>
              <a:gd name="connsiteX82" fmla="*/ 3189508 w 8404339"/>
              <a:gd name="connsiteY82" fmla="*/ 3013989 h 3487140"/>
              <a:gd name="connsiteX83" fmla="*/ 3196411 w 8404339"/>
              <a:gd name="connsiteY83" fmla="*/ 2956724 h 3487140"/>
              <a:gd name="connsiteX84" fmla="*/ 3385174 w 8404339"/>
              <a:gd name="connsiteY84" fmla="*/ 2951068 h 3487140"/>
              <a:gd name="connsiteX85" fmla="*/ 3471384 w 8404339"/>
              <a:gd name="connsiteY85" fmla="*/ 2951068 h 3487140"/>
              <a:gd name="connsiteX86" fmla="*/ 3552562 w 8404339"/>
              <a:gd name="connsiteY86" fmla="*/ 2822066 h 3487140"/>
              <a:gd name="connsiteX87" fmla="*/ 3692876 w 8404339"/>
              <a:gd name="connsiteY87" fmla="*/ 2789337 h 3487140"/>
              <a:gd name="connsiteX88" fmla="*/ 3820589 w 8404339"/>
              <a:gd name="connsiteY88" fmla="*/ 2713815 h 3487140"/>
              <a:gd name="connsiteX89" fmla="*/ 3906799 w 8404339"/>
              <a:gd name="connsiteY89" fmla="*/ 2544556 h 3487140"/>
              <a:gd name="connsiteX90" fmla="*/ 4126378 w 8404339"/>
              <a:gd name="connsiteY90" fmla="*/ 2482883 h 3487140"/>
              <a:gd name="connsiteX91" fmla="*/ 4661352 w 8404339"/>
              <a:gd name="connsiteY91" fmla="*/ 2466831 h 3487140"/>
              <a:gd name="connsiteX92" fmla="*/ 4817094 w 8404339"/>
              <a:gd name="connsiteY92" fmla="*/ 2420918 h 3487140"/>
              <a:gd name="connsiteX93" fmla="*/ 4667007 w 8404339"/>
              <a:gd name="connsiteY93" fmla="*/ 2252907 h 3487140"/>
              <a:gd name="connsiteX94" fmla="*/ 4191628 w 8404339"/>
              <a:gd name="connsiteY94" fmla="*/ 1791709 h 3487140"/>
              <a:gd name="connsiteX95" fmla="*/ 3927509 w 8404339"/>
              <a:gd name="connsiteY95" fmla="*/ 1600118 h 3487140"/>
              <a:gd name="connsiteX96" fmla="*/ 3803539 w 8404339"/>
              <a:gd name="connsiteY96" fmla="*/ 1733529 h 3487140"/>
              <a:gd name="connsiteX97" fmla="*/ 3741241 w 8404339"/>
              <a:gd name="connsiteY97" fmla="*/ 1995900 h 3487140"/>
              <a:gd name="connsiteX98" fmla="*/ 3782121 w 8404339"/>
              <a:gd name="connsiteY98" fmla="*/ 2048133 h 3487140"/>
              <a:gd name="connsiteX99" fmla="*/ 3845042 w 8404339"/>
              <a:gd name="connsiteY99" fmla="*/ 1778817 h 3487140"/>
              <a:gd name="connsiteX100" fmla="*/ 3966809 w 8404339"/>
              <a:gd name="connsiteY100" fmla="*/ 1356918 h 3487140"/>
              <a:gd name="connsiteX101" fmla="*/ 4073146 w 8404339"/>
              <a:gd name="connsiteY101" fmla="*/ 986960 h 3487140"/>
              <a:gd name="connsiteX102" fmla="*/ 4043869 w 8404339"/>
              <a:gd name="connsiteY102" fmla="*/ 867107 h 3487140"/>
              <a:gd name="connsiteX103" fmla="*/ 3868955 w 8404339"/>
              <a:gd name="connsiteY103" fmla="*/ 840034 h 3487140"/>
              <a:gd name="connsiteX104" fmla="*/ 3724856 w 8404339"/>
              <a:gd name="connsiteY104" fmla="*/ 782769 h 3487140"/>
              <a:gd name="connsiteX105" fmla="*/ 3741200 w 8404339"/>
              <a:gd name="connsiteY105" fmla="*/ 714816 h 3487140"/>
              <a:gd name="connsiteX106" fmla="*/ 3914867 w 8404339"/>
              <a:gd name="connsiteY106" fmla="*/ 723008 h 3487140"/>
              <a:gd name="connsiteX107" fmla="*/ 4117478 w 8404339"/>
              <a:gd name="connsiteY107" fmla="*/ 729288 h 3487140"/>
              <a:gd name="connsiteX108" fmla="*/ 4284200 w 8404339"/>
              <a:gd name="connsiteY108" fmla="*/ 682087 h 3487140"/>
              <a:gd name="connsiteX109" fmla="*/ 4401849 w 8404339"/>
              <a:gd name="connsiteY109" fmla="*/ 703463 h 3487140"/>
              <a:gd name="connsiteX110" fmla="*/ 4424514 w 8404339"/>
              <a:gd name="connsiteY110" fmla="*/ 797199 h 3487140"/>
              <a:gd name="connsiteX111" fmla="*/ 4296801 w 8404339"/>
              <a:gd name="connsiteY111" fmla="*/ 890936 h 3487140"/>
              <a:gd name="connsiteX112" fmla="*/ 4126918 w 8404339"/>
              <a:gd name="connsiteY112" fmla="*/ 918009 h 3487140"/>
              <a:gd name="connsiteX113" fmla="*/ 3999205 w 8404339"/>
              <a:gd name="connsiteY113" fmla="*/ 1002306 h 3487140"/>
              <a:gd name="connsiteX114" fmla="*/ 3898315 w 8404339"/>
              <a:gd name="connsiteY114" fmla="*/ 1299902 h 3487140"/>
              <a:gd name="connsiteX115" fmla="*/ 3959365 w 8404339"/>
              <a:gd name="connsiteY115" fmla="*/ 1545930 h 3487140"/>
              <a:gd name="connsiteX116" fmla="*/ 4172040 w 8404339"/>
              <a:gd name="connsiteY116" fmla="*/ 1536490 h 3487140"/>
              <a:gd name="connsiteX117" fmla="*/ 4351571 w 8404339"/>
              <a:gd name="connsiteY117" fmla="*/ 1376048 h 3487140"/>
              <a:gd name="connsiteX118" fmla="*/ 4354732 w 8404339"/>
              <a:gd name="connsiteY118" fmla="*/ 1231949 h 3487140"/>
              <a:gd name="connsiteX119" fmla="*/ 4136691 w 8404339"/>
              <a:gd name="connsiteY119" fmla="*/ 1191693 h 3487140"/>
              <a:gd name="connsiteX120" fmla="*/ 4145175 w 8404339"/>
              <a:gd name="connsiteY120" fmla="*/ 1255238 h 3487140"/>
              <a:gd name="connsiteX121" fmla="*/ 4570193 w 8404339"/>
              <a:gd name="connsiteY121" fmla="*/ 1241722 h 3487140"/>
              <a:gd name="connsiteX122" fmla="*/ 5055013 w 8404339"/>
              <a:gd name="connsiteY122" fmla="*/ 1259646 h 3487140"/>
              <a:gd name="connsiteX123" fmla="*/ 5284365 w 8404339"/>
              <a:gd name="connsiteY123" fmla="*/ 1236981 h 3487140"/>
              <a:gd name="connsiteX124" fmla="*/ 5266109 w 8404339"/>
              <a:gd name="connsiteY124" fmla="*/ 1185995 h 3487140"/>
              <a:gd name="connsiteX125" fmla="*/ 4905591 w 8404339"/>
              <a:gd name="connsiteY125" fmla="*/ 1177512 h 3487140"/>
              <a:gd name="connsiteX126" fmla="*/ 4535011 w 8404339"/>
              <a:gd name="connsiteY126" fmla="*/ 1331342 h 3487140"/>
              <a:gd name="connsiteX127" fmla="*/ 4189257 w 8404339"/>
              <a:gd name="connsiteY127" fmla="*/ 1604110 h 3487140"/>
              <a:gd name="connsiteX128" fmla="*/ 3956454 w 8404339"/>
              <a:gd name="connsiteY128" fmla="*/ 1921252 h 3487140"/>
              <a:gd name="connsiteX129" fmla="*/ 3860804 w 8404339"/>
              <a:gd name="connsiteY129" fmla="*/ 2419255 h 3487140"/>
              <a:gd name="connsiteX130" fmla="*/ 4091112 w 8404339"/>
              <a:gd name="connsiteY130" fmla="*/ 3048465 h 3487140"/>
              <a:gd name="connsiteX131" fmla="*/ 4669337 w 8404339"/>
              <a:gd name="connsiteY131" fmla="*/ 3394510 h 3487140"/>
              <a:gd name="connsiteX132" fmla="*/ 5307986 w 8404339"/>
              <a:gd name="connsiteY132" fmla="*/ 3330632 h 3487140"/>
              <a:gd name="connsiteX133" fmla="*/ 5803161 w 8404339"/>
              <a:gd name="connsiteY133" fmla="*/ 2841404 h 3487140"/>
              <a:gd name="connsiteX134" fmla="*/ 5836514 w 8404339"/>
              <a:gd name="connsiteY134" fmla="*/ 2052999 h 3487140"/>
              <a:gd name="connsiteX135" fmla="*/ 5405507 w 8404339"/>
              <a:gd name="connsiteY135" fmla="*/ 1482011 h 3487140"/>
              <a:gd name="connsiteX136" fmla="*/ 4938653 w 8404339"/>
              <a:gd name="connsiteY136" fmla="*/ 1352717 h 3487140"/>
              <a:gd name="connsiteX137" fmla="*/ 4778211 w 8404339"/>
              <a:gd name="connsiteY137" fmla="*/ 1466624 h 3487140"/>
              <a:gd name="connsiteX138" fmla="*/ 4800252 w 8404339"/>
              <a:gd name="connsiteY138" fmla="*/ 2001140 h 3487140"/>
              <a:gd name="connsiteX139" fmla="*/ 4834228 w 8404339"/>
              <a:gd name="connsiteY139" fmla="*/ 2313208 h 3487140"/>
              <a:gd name="connsiteX140" fmla="*/ 4925928 w 8404339"/>
              <a:gd name="connsiteY140" fmla="*/ 2399085 h 3487140"/>
              <a:gd name="connsiteX141" fmla="*/ 5030394 w 8404339"/>
              <a:gd name="connsiteY141" fmla="*/ 2362905 h 3487140"/>
              <a:gd name="connsiteX142" fmla="*/ 4995003 w 8404339"/>
              <a:gd name="connsiteY142" fmla="*/ 2271372 h 3487140"/>
              <a:gd name="connsiteX143" fmla="*/ 4897399 w 8404339"/>
              <a:gd name="connsiteY143" fmla="*/ 2303394 h 3487140"/>
              <a:gd name="connsiteX144" fmla="*/ 4881013 w 8404339"/>
              <a:gd name="connsiteY144" fmla="*/ 2437262 h 3487140"/>
              <a:gd name="connsiteX145" fmla="*/ 4879932 w 8404339"/>
              <a:gd name="connsiteY145" fmla="*/ 2519521 h 3487140"/>
              <a:gd name="connsiteX146" fmla="*/ 4700818 w 8404339"/>
              <a:gd name="connsiteY146" fmla="*/ 2539400 h 3487140"/>
              <a:gd name="connsiteX147" fmla="*/ 4290563 w 8404339"/>
              <a:gd name="connsiteY147" fmla="*/ 2545679 h 3487140"/>
              <a:gd name="connsiteX148" fmla="*/ 4050191 w 8404339"/>
              <a:gd name="connsiteY148" fmla="*/ 2602944 h 3487140"/>
              <a:gd name="connsiteX149" fmla="*/ 4040584 w 8404339"/>
              <a:gd name="connsiteY149" fmla="*/ 2790460 h 3487140"/>
              <a:gd name="connsiteX150" fmla="*/ 4233921 w 8404339"/>
              <a:gd name="connsiteY150" fmla="*/ 3133385 h 3487140"/>
              <a:gd name="connsiteX151" fmla="*/ 4725811 w 8404339"/>
              <a:gd name="connsiteY151" fmla="*/ 3465290 h 3487140"/>
              <a:gd name="connsiteX152" fmla="*/ 5466557 w 8404339"/>
              <a:gd name="connsiteY152" fmla="*/ 3390434 h 3487140"/>
              <a:gd name="connsiteX153" fmla="*/ 5906380 w 8404339"/>
              <a:gd name="connsiteY153" fmla="*/ 3017940 h 3487140"/>
              <a:gd name="connsiteX154" fmla="*/ 6220361 w 8404339"/>
              <a:gd name="connsiteY154" fmla="*/ 2655510 h 3487140"/>
              <a:gd name="connsiteX155" fmla="*/ 6592855 w 8404339"/>
              <a:gd name="connsiteY155" fmla="*/ 3163577 h 3487140"/>
              <a:gd name="connsiteX156" fmla="*/ 6816842 w 8404339"/>
              <a:gd name="connsiteY156" fmla="*/ 3255443 h 3487140"/>
              <a:gd name="connsiteX157" fmla="*/ 6894859 w 8404339"/>
              <a:gd name="connsiteY157" fmla="*/ 2786675 h 3487140"/>
              <a:gd name="connsiteX158" fmla="*/ 7204432 w 8404339"/>
              <a:gd name="connsiteY158" fmla="*/ 2869724 h 3487140"/>
              <a:gd name="connsiteX159" fmla="*/ 7443224 w 8404339"/>
              <a:gd name="connsiteY159" fmla="*/ 3245046 h 3487140"/>
              <a:gd name="connsiteX160" fmla="*/ 7815717 w 8404339"/>
              <a:gd name="connsiteY160" fmla="*/ 3329676 h 3487140"/>
              <a:gd name="connsiteX161" fmla="*/ 8404339 w 8404339"/>
              <a:gd name="connsiteY161" fmla="*/ 3217682 h 3487140"/>
              <a:gd name="connsiteX0" fmla="*/ 0 w 8244520"/>
              <a:gd name="connsiteY0" fmla="*/ 3205871 h 3487140"/>
              <a:gd name="connsiteX1" fmla="*/ 259253 w 8244520"/>
              <a:gd name="connsiteY1" fmla="*/ 2696848 h 3487140"/>
              <a:gd name="connsiteX2" fmla="*/ 533601 w 8244520"/>
              <a:gd name="connsiteY2" fmla="*/ 2954187 h 3487140"/>
              <a:gd name="connsiteX3" fmla="*/ 880935 w 8244520"/>
              <a:gd name="connsiteY3" fmla="*/ 3339906 h 3487140"/>
              <a:gd name="connsiteX4" fmla="*/ 1339057 w 8244520"/>
              <a:gd name="connsiteY4" fmla="*/ 3385485 h 3487140"/>
              <a:gd name="connsiteX5" fmla="*/ 1417739 w 8244520"/>
              <a:gd name="connsiteY5" fmla="*/ 3295741 h 3487140"/>
              <a:gd name="connsiteX6" fmla="*/ 1166637 w 8244520"/>
              <a:gd name="connsiteY6" fmla="*/ 3112384 h 3487140"/>
              <a:gd name="connsiteX7" fmla="*/ 860474 w 8244520"/>
              <a:gd name="connsiteY7" fmla="*/ 2750287 h 3487140"/>
              <a:gd name="connsiteX8" fmla="*/ 768942 w 8244520"/>
              <a:gd name="connsiteY8" fmla="*/ 2305432 h 3487140"/>
              <a:gd name="connsiteX9" fmla="*/ 896530 w 8244520"/>
              <a:gd name="connsiteY9" fmla="*/ 1919713 h 3487140"/>
              <a:gd name="connsiteX10" fmla="*/ 1220742 w 8244520"/>
              <a:gd name="connsiteY10" fmla="*/ 1637837 h 3487140"/>
              <a:gd name="connsiteX11" fmla="*/ 1714046 w 8244520"/>
              <a:gd name="connsiteY11" fmla="*/ 1545972 h 3487140"/>
              <a:gd name="connsiteX12" fmla="*/ 1948721 w 8244520"/>
              <a:gd name="connsiteY12" fmla="*/ 1517651 h 3487140"/>
              <a:gd name="connsiteX13" fmla="*/ 1933458 w 8244520"/>
              <a:gd name="connsiteY13" fmla="*/ 1460718 h 3487140"/>
              <a:gd name="connsiteX14" fmla="*/ 1657404 w 8244520"/>
              <a:gd name="connsiteY14" fmla="*/ 1416969 h 3487140"/>
              <a:gd name="connsiteX15" fmla="*/ 1137984 w 8244520"/>
              <a:gd name="connsiteY15" fmla="*/ 1517318 h 3487140"/>
              <a:gd name="connsiteX16" fmla="*/ 728686 w 8244520"/>
              <a:gd name="connsiteY16" fmla="*/ 1960593 h 3487140"/>
              <a:gd name="connsiteX17" fmla="*/ 669216 w 8244520"/>
              <a:gd name="connsiteY17" fmla="*/ 2569342 h 3487140"/>
              <a:gd name="connsiteX18" fmla="*/ 1082923 w 8244520"/>
              <a:gd name="connsiteY18" fmla="*/ 3165532 h 3487140"/>
              <a:gd name="connsiteX19" fmla="*/ 1872908 w 8244520"/>
              <a:gd name="connsiteY19" fmla="*/ 3283181 h 3487140"/>
              <a:gd name="connsiteX20" fmla="*/ 2475544 w 8244520"/>
              <a:gd name="connsiteY20" fmla="*/ 2757481 h 3487140"/>
              <a:gd name="connsiteX21" fmla="*/ 2465313 w 8244520"/>
              <a:gd name="connsiteY21" fmla="*/ 1980430 h 3487140"/>
              <a:gd name="connsiteX22" fmla="*/ 2135279 w 8244520"/>
              <a:gd name="connsiteY22" fmla="*/ 1589139 h 3487140"/>
              <a:gd name="connsiteX23" fmla="*/ 1946225 w 8244520"/>
              <a:gd name="connsiteY23" fmla="*/ 1660710 h 3487140"/>
              <a:gd name="connsiteX24" fmla="*/ 1837808 w 8244520"/>
              <a:gd name="connsiteY24" fmla="*/ 2116627 h 3487140"/>
              <a:gd name="connsiteX25" fmla="*/ 1614445 w 8244520"/>
              <a:gd name="connsiteY25" fmla="*/ 2374258 h 3487140"/>
              <a:gd name="connsiteX26" fmla="*/ 1559509 w 8244520"/>
              <a:gd name="connsiteY26" fmla="*/ 2276986 h 3487140"/>
              <a:gd name="connsiteX27" fmla="*/ 1938781 w 8244520"/>
              <a:gd name="connsiteY27" fmla="*/ 2021601 h 3487140"/>
              <a:gd name="connsiteX28" fmla="*/ 2198700 w 8244520"/>
              <a:gd name="connsiteY28" fmla="*/ 1234153 h 3487140"/>
              <a:gd name="connsiteX29" fmla="*/ 2428800 w 8244520"/>
              <a:gd name="connsiteY29" fmla="*/ 725296 h 3487140"/>
              <a:gd name="connsiteX30" fmla="*/ 2537383 w 8244520"/>
              <a:gd name="connsiteY30" fmla="*/ 539984 h 3487140"/>
              <a:gd name="connsiteX31" fmla="*/ 2506235 w 8244520"/>
              <a:gd name="connsiteY31" fmla="*/ 435851 h 3487140"/>
              <a:gd name="connsiteX32" fmla="*/ 2399897 w 8244520"/>
              <a:gd name="connsiteY32" fmla="*/ 350265 h 3487140"/>
              <a:gd name="connsiteX33" fmla="*/ 2354609 w 8244520"/>
              <a:gd name="connsiteY33" fmla="*/ 209327 h 3487140"/>
              <a:gd name="connsiteX34" fmla="*/ 2399439 w 8244520"/>
              <a:gd name="connsiteY34" fmla="*/ 82237 h 3487140"/>
              <a:gd name="connsiteX35" fmla="*/ 2579719 w 8244520"/>
              <a:gd name="connsiteY35" fmla="*/ 6716 h 3487140"/>
              <a:gd name="connsiteX36" fmla="*/ 2848412 w 8244520"/>
              <a:gd name="connsiteY36" fmla="*/ 10167 h 3487140"/>
              <a:gd name="connsiteX37" fmla="*/ 2932085 w 8244520"/>
              <a:gd name="connsiteY37" fmla="*/ 49800 h 3487140"/>
              <a:gd name="connsiteX38" fmla="*/ 2885050 w 8244520"/>
              <a:gd name="connsiteY38" fmla="*/ 86812 h 3487140"/>
              <a:gd name="connsiteX39" fmla="*/ 2649127 w 8244520"/>
              <a:gd name="connsiteY39" fmla="*/ 91886 h 3487140"/>
              <a:gd name="connsiteX40" fmla="*/ 2405594 w 8244520"/>
              <a:gd name="connsiteY40" fmla="*/ 75833 h 3487140"/>
              <a:gd name="connsiteX41" fmla="*/ 2297843 w 8244520"/>
              <a:gd name="connsiteY41" fmla="*/ 176931 h 3487140"/>
              <a:gd name="connsiteX42" fmla="*/ 2313105 w 8244520"/>
              <a:gd name="connsiteY42" fmla="*/ 370393 h 3487140"/>
              <a:gd name="connsiteX43" fmla="*/ 2257878 w 8244520"/>
              <a:gd name="connsiteY43" fmla="*/ 589348 h 3487140"/>
              <a:gd name="connsiteX44" fmla="*/ 2101344 w 8244520"/>
              <a:gd name="connsiteY44" fmla="*/ 903953 h 3487140"/>
              <a:gd name="connsiteX45" fmla="*/ 1890873 w 8244520"/>
              <a:gd name="connsiteY45" fmla="*/ 922501 h 3487140"/>
              <a:gd name="connsiteX46" fmla="*/ 1696454 w 8244520"/>
              <a:gd name="connsiteY46" fmla="*/ 866816 h 3487140"/>
              <a:gd name="connsiteX47" fmla="*/ 1637609 w 8244520"/>
              <a:gd name="connsiteY47" fmla="*/ 751038 h 3487140"/>
              <a:gd name="connsiteX48" fmla="*/ 1649545 w 8244520"/>
              <a:gd name="connsiteY48" fmla="*/ 369436 h 3487140"/>
              <a:gd name="connsiteX49" fmla="*/ 1711218 w 8244520"/>
              <a:gd name="connsiteY49" fmla="*/ 155805 h 3487140"/>
              <a:gd name="connsiteX50" fmla="*/ 1912582 w 8244520"/>
              <a:gd name="connsiteY50" fmla="*/ 156761 h 3487140"/>
              <a:gd name="connsiteX51" fmla="*/ 2165513 w 8244520"/>
              <a:gd name="connsiteY51" fmla="*/ 245175 h 3487140"/>
              <a:gd name="connsiteX52" fmla="*/ 2334605 w 8244520"/>
              <a:gd name="connsiteY52" fmla="*/ 357792 h 3487140"/>
              <a:gd name="connsiteX53" fmla="*/ 2439196 w 8244520"/>
              <a:gd name="connsiteY53" fmla="*/ 483301 h 3487140"/>
              <a:gd name="connsiteX54" fmla="*/ 2463400 w 8244520"/>
              <a:gd name="connsiteY54" fmla="*/ 600951 h 3487140"/>
              <a:gd name="connsiteX55" fmla="*/ 2435869 w 8244520"/>
              <a:gd name="connsiteY55" fmla="*/ 761726 h 3487140"/>
              <a:gd name="connsiteX56" fmla="*/ 2607790 w 8244520"/>
              <a:gd name="connsiteY56" fmla="*/ 1160004 h 3487140"/>
              <a:gd name="connsiteX57" fmla="*/ 3030770 w 8244520"/>
              <a:gd name="connsiteY57" fmla="*/ 1793622 h 3487140"/>
              <a:gd name="connsiteX58" fmla="*/ 3448261 w 8244520"/>
              <a:gd name="connsiteY58" fmla="*/ 2087475 h 3487140"/>
              <a:gd name="connsiteX59" fmla="*/ 3557884 w 8244520"/>
              <a:gd name="connsiteY59" fmla="*/ 2185620 h 3487140"/>
              <a:gd name="connsiteX60" fmla="*/ 3444935 w 8244520"/>
              <a:gd name="connsiteY60" fmla="*/ 2468120 h 3487140"/>
              <a:gd name="connsiteX61" fmla="*/ 3278836 w 8244520"/>
              <a:gd name="connsiteY61" fmla="*/ 2505548 h 3487140"/>
              <a:gd name="connsiteX62" fmla="*/ 2970386 w 8244520"/>
              <a:gd name="connsiteY62" fmla="*/ 2278109 h 3487140"/>
              <a:gd name="connsiteX63" fmla="*/ 2525697 w 8244520"/>
              <a:gd name="connsiteY63" fmla="*/ 1678800 h 3487140"/>
              <a:gd name="connsiteX64" fmla="*/ 2405844 w 8244520"/>
              <a:gd name="connsiteY64" fmla="*/ 1175432 h 3487140"/>
              <a:gd name="connsiteX65" fmla="*/ 2560298 w 8244520"/>
              <a:gd name="connsiteY65" fmla="*/ 1377420 h 3487140"/>
              <a:gd name="connsiteX66" fmla="*/ 2921938 w 8244520"/>
              <a:gd name="connsiteY66" fmla="*/ 2268710 h 3487140"/>
              <a:gd name="connsiteX67" fmla="*/ 3241740 w 8244520"/>
              <a:gd name="connsiteY67" fmla="*/ 2693105 h 3487140"/>
              <a:gd name="connsiteX68" fmla="*/ 3475168 w 8244520"/>
              <a:gd name="connsiteY68" fmla="*/ 2746586 h 3487140"/>
              <a:gd name="connsiteX69" fmla="*/ 3642389 w 8244520"/>
              <a:gd name="connsiteY69" fmla="*/ 2631432 h 3487140"/>
              <a:gd name="connsiteX70" fmla="*/ 3653576 w 8244520"/>
              <a:gd name="connsiteY70" fmla="*/ 2436680 h 3487140"/>
              <a:gd name="connsiteX71" fmla="*/ 3499746 w 8244520"/>
              <a:gd name="connsiteY71" fmla="*/ 2309258 h 3487140"/>
              <a:gd name="connsiteX72" fmla="*/ 3292560 w 8244520"/>
              <a:gd name="connsiteY72" fmla="*/ 2375007 h 3487140"/>
              <a:gd name="connsiteX73" fmla="*/ 3270061 w 8244520"/>
              <a:gd name="connsiteY73" fmla="*/ 2581402 h 3487140"/>
              <a:gd name="connsiteX74" fmla="*/ 3412746 w 8244520"/>
              <a:gd name="connsiteY74" fmla="*/ 2671064 h 3487140"/>
              <a:gd name="connsiteX75" fmla="*/ 3509311 w 8244520"/>
              <a:gd name="connsiteY75" fmla="*/ 2596831 h 3487140"/>
              <a:gd name="connsiteX76" fmla="*/ 3476125 w 8244520"/>
              <a:gd name="connsiteY76" fmla="*/ 2530750 h 3487140"/>
              <a:gd name="connsiteX77" fmla="*/ 3354067 w 8244520"/>
              <a:gd name="connsiteY77" fmla="*/ 2615379 h 3487140"/>
              <a:gd name="connsiteX78" fmla="*/ 3208388 w 8244520"/>
              <a:gd name="connsiteY78" fmla="*/ 2907028 h 3487140"/>
              <a:gd name="connsiteX79" fmla="*/ 3160563 w 8244520"/>
              <a:gd name="connsiteY79" fmla="*/ 3008333 h 3487140"/>
              <a:gd name="connsiteX80" fmla="*/ 3124715 w 8244520"/>
              <a:gd name="connsiteY80" fmla="*/ 3024053 h 3487140"/>
              <a:gd name="connsiteX81" fmla="*/ 3029689 w 8244520"/>
              <a:gd name="connsiteY81" fmla="*/ 3013989 h 3487140"/>
              <a:gd name="connsiteX82" fmla="*/ 3036592 w 8244520"/>
              <a:gd name="connsiteY82" fmla="*/ 2956724 h 3487140"/>
              <a:gd name="connsiteX83" fmla="*/ 3225355 w 8244520"/>
              <a:gd name="connsiteY83" fmla="*/ 2951068 h 3487140"/>
              <a:gd name="connsiteX84" fmla="*/ 3311565 w 8244520"/>
              <a:gd name="connsiteY84" fmla="*/ 2951068 h 3487140"/>
              <a:gd name="connsiteX85" fmla="*/ 3392743 w 8244520"/>
              <a:gd name="connsiteY85" fmla="*/ 2822066 h 3487140"/>
              <a:gd name="connsiteX86" fmla="*/ 3533057 w 8244520"/>
              <a:gd name="connsiteY86" fmla="*/ 2789337 h 3487140"/>
              <a:gd name="connsiteX87" fmla="*/ 3660770 w 8244520"/>
              <a:gd name="connsiteY87" fmla="*/ 2713815 h 3487140"/>
              <a:gd name="connsiteX88" fmla="*/ 3746980 w 8244520"/>
              <a:gd name="connsiteY88" fmla="*/ 2544556 h 3487140"/>
              <a:gd name="connsiteX89" fmla="*/ 3966559 w 8244520"/>
              <a:gd name="connsiteY89" fmla="*/ 2482883 h 3487140"/>
              <a:gd name="connsiteX90" fmla="*/ 4501533 w 8244520"/>
              <a:gd name="connsiteY90" fmla="*/ 2466831 h 3487140"/>
              <a:gd name="connsiteX91" fmla="*/ 4657275 w 8244520"/>
              <a:gd name="connsiteY91" fmla="*/ 2420918 h 3487140"/>
              <a:gd name="connsiteX92" fmla="*/ 4507188 w 8244520"/>
              <a:gd name="connsiteY92" fmla="*/ 2252907 h 3487140"/>
              <a:gd name="connsiteX93" fmla="*/ 4031809 w 8244520"/>
              <a:gd name="connsiteY93" fmla="*/ 1791709 h 3487140"/>
              <a:gd name="connsiteX94" fmla="*/ 3767690 w 8244520"/>
              <a:gd name="connsiteY94" fmla="*/ 1600118 h 3487140"/>
              <a:gd name="connsiteX95" fmla="*/ 3643720 w 8244520"/>
              <a:gd name="connsiteY95" fmla="*/ 1733529 h 3487140"/>
              <a:gd name="connsiteX96" fmla="*/ 3581422 w 8244520"/>
              <a:gd name="connsiteY96" fmla="*/ 1995900 h 3487140"/>
              <a:gd name="connsiteX97" fmla="*/ 3622302 w 8244520"/>
              <a:gd name="connsiteY97" fmla="*/ 2048133 h 3487140"/>
              <a:gd name="connsiteX98" fmla="*/ 3685223 w 8244520"/>
              <a:gd name="connsiteY98" fmla="*/ 1778817 h 3487140"/>
              <a:gd name="connsiteX99" fmla="*/ 3806990 w 8244520"/>
              <a:gd name="connsiteY99" fmla="*/ 1356918 h 3487140"/>
              <a:gd name="connsiteX100" fmla="*/ 3913327 w 8244520"/>
              <a:gd name="connsiteY100" fmla="*/ 986960 h 3487140"/>
              <a:gd name="connsiteX101" fmla="*/ 3884050 w 8244520"/>
              <a:gd name="connsiteY101" fmla="*/ 867107 h 3487140"/>
              <a:gd name="connsiteX102" fmla="*/ 3709136 w 8244520"/>
              <a:gd name="connsiteY102" fmla="*/ 840034 h 3487140"/>
              <a:gd name="connsiteX103" fmla="*/ 3565037 w 8244520"/>
              <a:gd name="connsiteY103" fmla="*/ 782769 h 3487140"/>
              <a:gd name="connsiteX104" fmla="*/ 3581381 w 8244520"/>
              <a:gd name="connsiteY104" fmla="*/ 714816 h 3487140"/>
              <a:gd name="connsiteX105" fmla="*/ 3755048 w 8244520"/>
              <a:gd name="connsiteY105" fmla="*/ 723008 h 3487140"/>
              <a:gd name="connsiteX106" fmla="*/ 3957659 w 8244520"/>
              <a:gd name="connsiteY106" fmla="*/ 729288 h 3487140"/>
              <a:gd name="connsiteX107" fmla="*/ 4124381 w 8244520"/>
              <a:gd name="connsiteY107" fmla="*/ 682087 h 3487140"/>
              <a:gd name="connsiteX108" fmla="*/ 4242030 w 8244520"/>
              <a:gd name="connsiteY108" fmla="*/ 703463 h 3487140"/>
              <a:gd name="connsiteX109" fmla="*/ 4264695 w 8244520"/>
              <a:gd name="connsiteY109" fmla="*/ 797199 h 3487140"/>
              <a:gd name="connsiteX110" fmla="*/ 4136982 w 8244520"/>
              <a:gd name="connsiteY110" fmla="*/ 890936 h 3487140"/>
              <a:gd name="connsiteX111" fmla="*/ 3967099 w 8244520"/>
              <a:gd name="connsiteY111" fmla="*/ 918009 h 3487140"/>
              <a:gd name="connsiteX112" fmla="*/ 3839386 w 8244520"/>
              <a:gd name="connsiteY112" fmla="*/ 1002306 h 3487140"/>
              <a:gd name="connsiteX113" fmla="*/ 3738496 w 8244520"/>
              <a:gd name="connsiteY113" fmla="*/ 1299902 h 3487140"/>
              <a:gd name="connsiteX114" fmla="*/ 3799546 w 8244520"/>
              <a:gd name="connsiteY114" fmla="*/ 1545930 h 3487140"/>
              <a:gd name="connsiteX115" fmla="*/ 4012221 w 8244520"/>
              <a:gd name="connsiteY115" fmla="*/ 1536490 h 3487140"/>
              <a:gd name="connsiteX116" fmla="*/ 4191752 w 8244520"/>
              <a:gd name="connsiteY116" fmla="*/ 1376048 h 3487140"/>
              <a:gd name="connsiteX117" fmla="*/ 4194913 w 8244520"/>
              <a:gd name="connsiteY117" fmla="*/ 1231949 h 3487140"/>
              <a:gd name="connsiteX118" fmla="*/ 3976872 w 8244520"/>
              <a:gd name="connsiteY118" fmla="*/ 1191693 h 3487140"/>
              <a:gd name="connsiteX119" fmla="*/ 3985356 w 8244520"/>
              <a:gd name="connsiteY119" fmla="*/ 1255238 h 3487140"/>
              <a:gd name="connsiteX120" fmla="*/ 4410374 w 8244520"/>
              <a:gd name="connsiteY120" fmla="*/ 1241722 h 3487140"/>
              <a:gd name="connsiteX121" fmla="*/ 4895194 w 8244520"/>
              <a:gd name="connsiteY121" fmla="*/ 1259646 h 3487140"/>
              <a:gd name="connsiteX122" fmla="*/ 5124546 w 8244520"/>
              <a:gd name="connsiteY122" fmla="*/ 1236981 h 3487140"/>
              <a:gd name="connsiteX123" fmla="*/ 5106290 w 8244520"/>
              <a:gd name="connsiteY123" fmla="*/ 1185995 h 3487140"/>
              <a:gd name="connsiteX124" fmla="*/ 4745772 w 8244520"/>
              <a:gd name="connsiteY124" fmla="*/ 1177512 h 3487140"/>
              <a:gd name="connsiteX125" fmla="*/ 4375192 w 8244520"/>
              <a:gd name="connsiteY125" fmla="*/ 1331342 h 3487140"/>
              <a:gd name="connsiteX126" fmla="*/ 4029438 w 8244520"/>
              <a:gd name="connsiteY126" fmla="*/ 1604110 h 3487140"/>
              <a:gd name="connsiteX127" fmla="*/ 3796635 w 8244520"/>
              <a:gd name="connsiteY127" fmla="*/ 1921252 h 3487140"/>
              <a:gd name="connsiteX128" fmla="*/ 3700985 w 8244520"/>
              <a:gd name="connsiteY128" fmla="*/ 2419255 h 3487140"/>
              <a:gd name="connsiteX129" fmla="*/ 3931293 w 8244520"/>
              <a:gd name="connsiteY129" fmla="*/ 3048465 h 3487140"/>
              <a:gd name="connsiteX130" fmla="*/ 4509518 w 8244520"/>
              <a:gd name="connsiteY130" fmla="*/ 3394510 h 3487140"/>
              <a:gd name="connsiteX131" fmla="*/ 5148167 w 8244520"/>
              <a:gd name="connsiteY131" fmla="*/ 3330632 h 3487140"/>
              <a:gd name="connsiteX132" fmla="*/ 5643342 w 8244520"/>
              <a:gd name="connsiteY132" fmla="*/ 2841404 h 3487140"/>
              <a:gd name="connsiteX133" fmla="*/ 5676695 w 8244520"/>
              <a:gd name="connsiteY133" fmla="*/ 2052999 h 3487140"/>
              <a:gd name="connsiteX134" fmla="*/ 5245688 w 8244520"/>
              <a:gd name="connsiteY134" fmla="*/ 1482011 h 3487140"/>
              <a:gd name="connsiteX135" fmla="*/ 4778834 w 8244520"/>
              <a:gd name="connsiteY135" fmla="*/ 1352717 h 3487140"/>
              <a:gd name="connsiteX136" fmla="*/ 4618392 w 8244520"/>
              <a:gd name="connsiteY136" fmla="*/ 1466624 h 3487140"/>
              <a:gd name="connsiteX137" fmla="*/ 4640433 w 8244520"/>
              <a:gd name="connsiteY137" fmla="*/ 2001140 h 3487140"/>
              <a:gd name="connsiteX138" fmla="*/ 4674409 w 8244520"/>
              <a:gd name="connsiteY138" fmla="*/ 2313208 h 3487140"/>
              <a:gd name="connsiteX139" fmla="*/ 4766109 w 8244520"/>
              <a:gd name="connsiteY139" fmla="*/ 2399085 h 3487140"/>
              <a:gd name="connsiteX140" fmla="*/ 4870575 w 8244520"/>
              <a:gd name="connsiteY140" fmla="*/ 2362905 h 3487140"/>
              <a:gd name="connsiteX141" fmla="*/ 4835184 w 8244520"/>
              <a:gd name="connsiteY141" fmla="*/ 2271372 h 3487140"/>
              <a:gd name="connsiteX142" fmla="*/ 4737580 w 8244520"/>
              <a:gd name="connsiteY142" fmla="*/ 2303394 h 3487140"/>
              <a:gd name="connsiteX143" fmla="*/ 4721194 w 8244520"/>
              <a:gd name="connsiteY143" fmla="*/ 2437262 h 3487140"/>
              <a:gd name="connsiteX144" fmla="*/ 4720113 w 8244520"/>
              <a:gd name="connsiteY144" fmla="*/ 2519521 h 3487140"/>
              <a:gd name="connsiteX145" fmla="*/ 4540999 w 8244520"/>
              <a:gd name="connsiteY145" fmla="*/ 2539400 h 3487140"/>
              <a:gd name="connsiteX146" fmla="*/ 4130744 w 8244520"/>
              <a:gd name="connsiteY146" fmla="*/ 2545679 h 3487140"/>
              <a:gd name="connsiteX147" fmla="*/ 3890372 w 8244520"/>
              <a:gd name="connsiteY147" fmla="*/ 2602944 h 3487140"/>
              <a:gd name="connsiteX148" fmla="*/ 3880765 w 8244520"/>
              <a:gd name="connsiteY148" fmla="*/ 2790460 h 3487140"/>
              <a:gd name="connsiteX149" fmla="*/ 4074102 w 8244520"/>
              <a:gd name="connsiteY149" fmla="*/ 3133385 h 3487140"/>
              <a:gd name="connsiteX150" fmla="*/ 4565992 w 8244520"/>
              <a:gd name="connsiteY150" fmla="*/ 3465290 h 3487140"/>
              <a:gd name="connsiteX151" fmla="*/ 5306738 w 8244520"/>
              <a:gd name="connsiteY151" fmla="*/ 3390434 h 3487140"/>
              <a:gd name="connsiteX152" fmla="*/ 5746561 w 8244520"/>
              <a:gd name="connsiteY152" fmla="*/ 3017940 h 3487140"/>
              <a:gd name="connsiteX153" fmla="*/ 6060542 w 8244520"/>
              <a:gd name="connsiteY153" fmla="*/ 2655510 h 3487140"/>
              <a:gd name="connsiteX154" fmla="*/ 6433036 w 8244520"/>
              <a:gd name="connsiteY154" fmla="*/ 3163577 h 3487140"/>
              <a:gd name="connsiteX155" fmla="*/ 6657023 w 8244520"/>
              <a:gd name="connsiteY155" fmla="*/ 3255443 h 3487140"/>
              <a:gd name="connsiteX156" fmla="*/ 6735040 w 8244520"/>
              <a:gd name="connsiteY156" fmla="*/ 2786675 h 3487140"/>
              <a:gd name="connsiteX157" fmla="*/ 7044613 w 8244520"/>
              <a:gd name="connsiteY157" fmla="*/ 2869724 h 3487140"/>
              <a:gd name="connsiteX158" fmla="*/ 7283405 w 8244520"/>
              <a:gd name="connsiteY158" fmla="*/ 3245046 h 3487140"/>
              <a:gd name="connsiteX159" fmla="*/ 7655898 w 8244520"/>
              <a:gd name="connsiteY159" fmla="*/ 3329676 h 3487140"/>
              <a:gd name="connsiteX160" fmla="*/ 8244520 w 8244520"/>
              <a:gd name="connsiteY160" fmla="*/ 3217682 h 3487140"/>
              <a:gd name="connsiteX0" fmla="*/ 0 w 7985267"/>
              <a:gd name="connsiteY0" fmla="*/ 2696848 h 3487140"/>
              <a:gd name="connsiteX1" fmla="*/ 274348 w 7985267"/>
              <a:gd name="connsiteY1" fmla="*/ 2954187 h 3487140"/>
              <a:gd name="connsiteX2" fmla="*/ 621682 w 7985267"/>
              <a:gd name="connsiteY2" fmla="*/ 3339906 h 3487140"/>
              <a:gd name="connsiteX3" fmla="*/ 1079804 w 7985267"/>
              <a:gd name="connsiteY3" fmla="*/ 3385485 h 3487140"/>
              <a:gd name="connsiteX4" fmla="*/ 1158486 w 7985267"/>
              <a:gd name="connsiteY4" fmla="*/ 3295741 h 3487140"/>
              <a:gd name="connsiteX5" fmla="*/ 907384 w 7985267"/>
              <a:gd name="connsiteY5" fmla="*/ 3112384 h 3487140"/>
              <a:gd name="connsiteX6" fmla="*/ 601221 w 7985267"/>
              <a:gd name="connsiteY6" fmla="*/ 2750287 h 3487140"/>
              <a:gd name="connsiteX7" fmla="*/ 509689 w 7985267"/>
              <a:gd name="connsiteY7" fmla="*/ 2305432 h 3487140"/>
              <a:gd name="connsiteX8" fmla="*/ 637277 w 7985267"/>
              <a:gd name="connsiteY8" fmla="*/ 1919713 h 3487140"/>
              <a:gd name="connsiteX9" fmla="*/ 961489 w 7985267"/>
              <a:gd name="connsiteY9" fmla="*/ 1637837 h 3487140"/>
              <a:gd name="connsiteX10" fmla="*/ 1454793 w 7985267"/>
              <a:gd name="connsiteY10" fmla="*/ 1545972 h 3487140"/>
              <a:gd name="connsiteX11" fmla="*/ 1689468 w 7985267"/>
              <a:gd name="connsiteY11" fmla="*/ 1517651 h 3487140"/>
              <a:gd name="connsiteX12" fmla="*/ 1674205 w 7985267"/>
              <a:gd name="connsiteY12" fmla="*/ 1460718 h 3487140"/>
              <a:gd name="connsiteX13" fmla="*/ 1398151 w 7985267"/>
              <a:gd name="connsiteY13" fmla="*/ 1416969 h 3487140"/>
              <a:gd name="connsiteX14" fmla="*/ 878731 w 7985267"/>
              <a:gd name="connsiteY14" fmla="*/ 1517318 h 3487140"/>
              <a:gd name="connsiteX15" fmla="*/ 469433 w 7985267"/>
              <a:gd name="connsiteY15" fmla="*/ 1960593 h 3487140"/>
              <a:gd name="connsiteX16" fmla="*/ 409963 w 7985267"/>
              <a:gd name="connsiteY16" fmla="*/ 2569342 h 3487140"/>
              <a:gd name="connsiteX17" fmla="*/ 823670 w 7985267"/>
              <a:gd name="connsiteY17" fmla="*/ 3165532 h 3487140"/>
              <a:gd name="connsiteX18" fmla="*/ 1613655 w 7985267"/>
              <a:gd name="connsiteY18" fmla="*/ 3283181 h 3487140"/>
              <a:gd name="connsiteX19" fmla="*/ 2216291 w 7985267"/>
              <a:gd name="connsiteY19" fmla="*/ 2757481 h 3487140"/>
              <a:gd name="connsiteX20" fmla="*/ 2206060 w 7985267"/>
              <a:gd name="connsiteY20" fmla="*/ 1980430 h 3487140"/>
              <a:gd name="connsiteX21" fmla="*/ 1876026 w 7985267"/>
              <a:gd name="connsiteY21" fmla="*/ 1589139 h 3487140"/>
              <a:gd name="connsiteX22" fmla="*/ 1686972 w 7985267"/>
              <a:gd name="connsiteY22" fmla="*/ 1660710 h 3487140"/>
              <a:gd name="connsiteX23" fmla="*/ 1578555 w 7985267"/>
              <a:gd name="connsiteY23" fmla="*/ 2116627 h 3487140"/>
              <a:gd name="connsiteX24" fmla="*/ 1355192 w 7985267"/>
              <a:gd name="connsiteY24" fmla="*/ 2374258 h 3487140"/>
              <a:gd name="connsiteX25" fmla="*/ 1300256 w 7985267"/>
              <a:gd name="connsiteY25" fmla="*/ 2276986 h 3487140"/>
              <a:gd name="connsiteX26" fmla="*/ 1679528 w 7985267"/>
              <a:gd name="connsiteY26" fmla="*/ 2021601 h 3487140"/>
              <a:gd name="connsiteX27" fmla="*/ 1939447 w 7985267"/>
              <a:gd name="connsiteY27" fmla="*/ 1234153 h 3487140"/>
              <a:gd name="connsiteX28" fmla="*/ 2169547 w 7985267"/>
              <a:gd name="connsiteY28" fmla="*/ 725296 h 3487140"/>
              <a:gd name="connsiteX29" fmla="*/ 2278130 w 7985267"/>
              <a:gd name="connsiteY29" fmla="*/ 539984 h 3487140"/>
              <a:gd name="connsiteX30" fmla="*/ 2246982 w 7985267"/>
              <a:gd name="connsiteY30" fmla="*/ 435851 h 3487140"/>
              <a:gd name="connsiteX31" fmla="*/ 2140644 w 7985267"/>
              <a:gd name="connsiteY31" fmla="*/ 350265 h 3487140"/>
              <a:gd name="connsiteX32" fmla="*/ 2095356 w 7985267"/>
              <a:gd name="connsiteY32" fmla="*/ 209327 h 3487140"/>
              <a:gd name="connsiteX33" fmla="*/ 2140186 w 7985267"/>
              <a:gd name="connsiteY33" fmla="*/ 82237 h 3487140"/>
              <a:gd name="connsiteX34" fmla="*/ 2320466 w 7985267"/>
              <a:gd name="connsiteY34" fmla="*/ 6716 h 3487140"/>
              <a:gd name="connsiteX35" fmla="*/ 2589159 w 7985267"/>
              <a:gd name="connsiteY35" fmla="*/ 10167 h 3487140"/>
              <a:gd name="connsiteX36" fmla="*/ 2672832 w 7985267"/>
              <a:gd name="connsiteY36" fmla="*/ 49800 h 3487140"/>
              <a:gd name="connsiteX37" fmla="*/ 2625797 w 7985267"/>
              <a:gd name="connsiteY37" fmla="*/ 86812 h 3487140"/>
              <a:gd name="connsiteX38" fmla="*/ 2389874 w 7985267"/>
              <a:gd name="connsiteY38" fmla="*/ 91886 h 3487140"/>
              <a:gd name="connsiteX39" fmla="*/ 2146341 w 7985267"/>
              <a:gd name="connsiteY39" fmla="*/ 75833 h 3487140"/>
              <a:gd name="connsiteX40" fmla="*/ 2038590 w 7985267"/>
              <a:gd name="connsiteY40" fmla="*/ 176931 h 3487140"/>
              <a:gd name="connsiteX41" fmla="*/ 2053852 w 7985267"/>
              <a:gd name="connsiteY41" fmla="*/ 370393 h 3487140"/>
              <a:gd name="connsiteX42" fmla="*/ 1998625 w 7985267"/>
              <a:gd name="connsiteY42" fmla="*/ 589348 h 3487140"/>
              <a:gd name="connsiteX43" fmla="*/ 1842091 w 7985267"/>
              <a:gd name="connsiteY43" fmla="*/ 903953 h 3487140"/>
              <a:gd name="connsiteX44" fmla="*/ 1631620 w 7985267"/>
              <a:gd name="connsiteY44" fmla="*/ 922501 h 3487140"/>
              <a:gd name="connsiteX45" fmla="*/ 1437201 w 7985267"/>
              <a:gd name="connsiteY45" fmla="*/ 866816 h 3487140"/>
              <a:gd name="connsiteX46" fmla="*/ 1378356 w 7985267"/>
              <a:gd name="connsiteY46" fmla="*/ 751038 h 3487140"/>
              <a:gd name="connsiteX47" fmla="*/ 1390292 w 7985267"/>
              <a:gd name="connsiteY47" fmla="*/ 369436 h 3487140"/>
              <a:gd name="connsiteX48" fmla="*/ 1451965 w 7985267"/>
              <a:gd name="connsiteY48" fmla="*/ 155805 h 3487140"/>
              <a:gd name="connsiteX49" fmla="*/ 1653329 w 7985267"/>
              <a:gd name="connsiteY49" fmla="*/ 156761 h 3487140"/>
              <a:gd name="connsiteX50" fmla="*/ 1906260 w 7985267"/>
              <a:gd name="connsiteY50" fmla="*/ 245175 h 3487140"/>
              <a:gd name="connsiteX51" fmla="*/ 2075352 w 7985267"/>
              <a:gd name="connsiteY51" fmla="*/ 357792 h 3487140"/>
              <a:gd name="connsiteX52" fmla="*/ 2179943 w 7985267"/>
              <a:gd name="connsiteY52" fmla="*/ 483301 h 3487140"/>
              <a:gd name="connsiteX53" fmla="*/ 2204147 w 7985267"/>
              <a:gd name="connsiteY53" fmla="*/ 600951 h 3487140"/>
              <a:gd name="connsiteX54" fmla="*/ 2176616 w 7985267"/>
              <a:gd name="connsiteY54" fmla="*/ 761726 h 3487140"/>
              <a:gd name="connsiteX55" fmla="*/ 2348537 w 7985267"/>
              <a:gd name="connsiteY55" fmla="*/ 1160004 h 3487140"/>
              <a:gd name="connsiteX56" fmla="*/ 2771517 w 7985267"/>
              <a:gd name="connsiteY56" fmla="*/ 1793622 h 3487140"/>
              <a:gd name="connsiteX57" fmla="*/ 3189008 w 7985267"/>
              <a:gd name="connsiteY57" fmla="*/ 2087475 h 3487140"/>
              <a:gd name="connsiteX58" fmla="*/ 3298631 w 7985267"/>
              <a:gd name="connsiteY58" fmla="*/ 2185620 h 3487140"/>
              <a:gd name="connsiteX59" fmla="*/ 3185682 w 7985267"/>
              <a:gd name="connsiteY59" fmla="*/ 2468120 h 3487140"/>
              <a:gd name="connsiteX60" fmla="*/ 3019583 w 7985267"/>
              <a:gd name="connsiteY60" fmla="*/ 2505548 h 3487140"/>
              <a:gd name="connsiteX61" fmla="*/ 2711133 w 7985267"/>
              <a:gd name="connsiteY61" fmla="*/ 2278109 h 3487140"/>
              <a:gd name="connsiteX62" fmla="*/ 2266444 w 7985267"/>
              <a:gd name="connsiteY62" fmla="*/ 1678800 h 3487140"/>
              <a:gd name="connsiteX63" fmla="*/ 2146591 w 7985267"/>
              <a:gd name="connsiteY63" fmla="*/ 1175432 h 3487140"/>
              <a:gd name="connsiteX64" fmla="*/ 2301045 w 7985267"/>
              <a:gd name="connsiteY64" fmla="*/ 1377420 h 3487140"/>
              <a:gd name="connsiteX65" fmla="*/ 2662685 w 7985267"/>
              <a:gd name="connsiteY65" fmla="*/ 2268710 h 3487140"/>
              <a:gd name="connsiteX66" fmla="*/ 2982487 w 7985267"/>
              <a:gd name="connsiteY66" fmla="*/ 2693105 h 3487140"/>
              <a:gd name="connsiteX67" fmla="*/ 3215915 w 7985267"/>
              <a:gd name="connsiteY67" fmla="*/ 2746586 h 3487140"/>
              <a:gd name="connsiteX68" fmla="*/ 3383136 w 7985267"/>
              <a:gd name="connsiteY68" fmla="*/ 2631432 h 3487140"/>
              <a:gd name="connsiteX69" fmla="*/ 3394323 w 7985267"/>
              <a:gd name="connsiteY69" fmla="*/ 2436680 h 3487140"/>
              <a:gd name="connsiteX70" fmla="*/ 3240493 w 7985267"/>
              <a:gd name="connsiteY70" fmla="*/ 2309258 h 3487140"/>
              <a:gd name="connsiteX71" fmla="*/ 3033307 w 7985267"/>
              <a:gd name="connsiteY71" fmla="*/ 2375007 h 3487140"/>
              <a:gd name="connsiteX72" fmla="*/ 3010808 w 7985267"/>
              <a:gd name="connsiteY72" fmla="*/ 2581402 h 3487140"/>
              <a:gd name="connsiteX73" fmla="*/ 3153493 w 7985267"/>
              <a:gd name="connsiteY73" fmla="*/ 2671064 h 3487140"/>
              <a:gd name="connsiteX74" fmla="*/ 3250058 w 7985267"/>
              <a:gd name="connsiteY74" fmla="*/ 2596831 h 3487140"/>
              <a:gd name="connsiteX75" fmla="*/ 3216872 w 7985267"/>
              <a:gd name="connsiteY75" fmla="*/ 2530750 h 3487140"/>
              <a:gd name="connsiteX76" fmla="*/ 3094814 w 7985267"/>
              <a:gd name="connsiteY76" fmla="*/ 2615379 h 3487140"/>
              <a:gd name="connsiteX77" fmla="*/ 2949135 w 7985267"/>
              <a:gd name="connsiteY77" fmla="*/ 2907028 h 3487140"/>
              <a:gd name="connsiteX78" fmla="*/ 2901310 w 7985267"/>
              <a:gd name="connsiteY78" fmla="*/ 3008333 h 3487140"/>
              <a:gd name="connsiteX79" fmla="*/ 2865462 w 7985267"/>
              <a:gd name="connsiteY79" fmla="*/ 3024053 h 3487140"/>
              <a:gd name="connsiteX80" fmla="*/ 2770436 w 7985267"/>
              <a:gd name="connsiteY80" fmla="*/ 3013989 h 3487140"/>
              <a:gd name="connsiteX81" fmla="*/ 2777339 w 7985267"/>
              <a:gd name="connsiteY81" fmla="*/ 2956724 h 3487140"/>
              <a:gd name="connsiteX82" fmla="*/ 2966102 w 7985267"/>
              <a:gd name="connsiteY82" fmla="*/ 2951068 h 3487140"/>
              <a:gd name="connsiteX83" fmla="*/ 3052312 w 7985267"/>
              <a:gd name="connsiteY83" fmla="*/ 2951068 h 3487140"/>
              <a:gd name="connsiteX84" fmla="*/ 3133490 w 7985267"/>
              <a:gd name="connsiteY84" fmla="*/ 2822066 h 3487140"/>
              <a:gd name="connsiteX85" fmla="*/ 3273804 w 7985267"/>
              <a:gd name="connsiteY85" fmla="*/ 2789337 h 3487140"/>
              <a:gd name="connsiteX86" fmla="*/ 3401517 w 7985267"/>
              <a:gd name="connsiteY86" fmla="*/ 2713815 h 3487140"/>
              <a:gd name="connsiteX87" fmla="*/ 3487727 w 7985267"/>
              <a:gd name="connsiteY87" fmla="*/ 2544556 h 3487140"/>
              <a:gd name="connsiteX88" fmla="*/ 3707306 w 7985267"/>
              <a:gd name="connsiteY88" fmla="*/ 2482883 h 3487140"/>
              <a:gd name="connsiteX89" fmla="*/ 4242280 w 7985267"/>
              <a:gd name="connsiteY89" fmla="*/ 2466831 h 3487140"/>
              <a:gd name="connsiteX90" fmla="*/ 4398022 w 7985267"/>
              <a:gd name="connsiteY90" fmla="*/ 2420918 h 3487140"/>
              <a:gd name="connsiteX91" fmla="*/ 4247935 w 7985267"/>
              <a:gd name="connsiteY91" fmla="*/ 2252907 h 3487140"/>
              <a:gd name="connsiteX92" fmla="*/ 3772556 w 7985267"/>
              <a:gd name="connsiteY92" fmla="*/ 1791709 h 3487140"/>
              <a:gd name="connsiteX93" fmla="*/ 3508437 w 7985267"/>
              <a:gd name="connsiteY93" fmla="*/ 1600118 h 3487140"/>
              <a:gd name="connsiteX94" fmla="*/ 3384467 w 7985267"/>
              <a:gd name="connsiteY94" fmla="*/ 1733529 h 3487140"/>
              <a:gd name="connsiteX95" fmla="*/ 3322169 w 7985267"/>
              <a:gd name="connsiteY95" fmla="*/ 1995900 h 3487140"/>
              <a:gd name="connsiteX96" fmla="*/ 3363049 w 7985267"/>
              <a:gd name="connsiteY96" fmla="*/ 2048133 h 3487140"/>
              <a:gd name="connsiteX97" fmla="*/ 3425970 w 7985267"/>
              <a:gd name="connsiteY97" fmla="*/ 1778817 h 3487140"/>
              <a:gd name="connsiteX98" fmla="*/ 3547737 w 7985267"/>
              <a:gd name="connsiteY98" fmla="*/ 1356918 h 3487140"/>
              <a:gd name="connsiteX99" fmla="*/ 3654074 w 7985267"/>
              <a:gd name="connsiteY99" fmla="*/ 986960 h 3487140"/>
              <a:gd name="connsiteX100" fmla="*/ 3624797 w 7985267"/>
              <a:gd name="connsiteY100" fmla="*/ 867107 h 3487140"/>
              <a:gd name="connsiteX101" fmla="*/ 3449883 w 7985267"/>
              <a:gd name="connsiteY101" fmla="*/ 840034 h 3487140"/>
              <a:gd name="connsiteX102" fmla="*/ 3305784 w 7985267"/>
              <a:gd name="connsiteY102" fmla="*/ 782769 h 3487140"/>
              <a:gd name="connsiteX103" fmla="*/ 3322128 w 7985267"/>
              <a:gd name="connsiteY103" fmla="*/ 714816 h 3487140"/>
              <a:gd name="connsiteX104" fmla="*/ 3495795 w 7985267"/>
              <a:gd name="connsiteY104" fmla="*/ 723008 h 3487140"/>
              <a:gd name="connsiteX105" fmla="*/ 3698406 w 7985267"/>
              <a:gd name="connsiteY105" fmla="*/ 729288 h 3487140"/>
              <a:gd name="connsiteX106" fmla="*/ 3865128 w 7985267"/>
              <a:gd name="connsiteY106" fmla="*/ 682087 h 3487140"/>
              <a:gd name="connsiteX107" fmla="*/ 3982777 w 7985267"/>
              <a:gd name="connsiteY107" fmla="*/ 703463 h 3487140"/>
              <a:gd name="connsiteX108" fmla="*/ 4005442 w 7985267"/>
              <a:gd name="connsiteY108" fmla="*/ 797199 h 3487140"/>
              <a:gd name="connsiteX109" fmla="*/ 3877729 w 7985267"/>
              <a:gd name="connsiteY109" fmla="*/ 890936 h 3487140"/>
              <a:gd name="connsiteX110" fmla="*/ 3707846 w 7985267"/>
              <a:gd name="connsiteY110" fmla="*/ 918009 h 3487140"/>
              <a:gd name="connsiteX111" fmla="*/ 3580133 w 7985267"/>
              <a:gd name="connsiteY111" fmla="*/ 1002306 h 3487140"/>
              <a:gd name="connsiteX112" fmla="*/ 3479243 w 7985267"/>
              <a:gd name="connsiteY112" fmla="*/ 1299902 h 3487140"/>
              <a:gd name="connsiteX113" fmla="*/ 3540293 w 7985267"/>
              <a:gd name="connsiteY113" fmla="*/ 1545930 h 3487140"/>
              <a:gd name="connsiteX114" fmla="*/ 3752968 w 7985267"/>
              <a:gd name="connsiteY114" fmla="*/ 1536490 h 3487140"/>
              <a:gd name="connsiteX115" fmla="*/ 3932499 w 7985267"/>
              <a:gd name="connsiteY115" fmla="*/ 1376048 h 3487140"/>
              <a:gd name="connsiteX116" fmla="*/ 3935660 w 7985267"/>
              <a:gd name="connsiteY116" fmla="*/ 1231949 h 3487140"/>
              <a:gd name="connsiteX117" fmla="*/ 3717619 w 7985267"/>
              <a:gd name="connsiteY117" fmla="*/ 1191693 h 3487140"/>
              <a:gd name="connsiteX118" fmla="*/ 3726103 w 7985267"/>
              <a:gd name="connsiteY118" fmla="*/ 1255238 h 3487140"/>
              <a:gd name="connsiteX119" fmla="*/ 4151121 w 7985267"/>
              <a:gd name="connsiteY119" fmla="*/ 1241722 h 3487140"/>
              <a:gd name="connsiteX120" fmla="*/ 4635941 w 7985267"/>
              <a:gd name="connsiteY120" fmla="*/ 1259646 h 3487140"/>
              <a:gd name="connsiteX121" fmla="*/ 4865293 w 7985267"/>
              <a:gd name="connsiteY121" fmla="*/ 1236981 h 3487140"/>
              <a:gd name="connsiteX122" fmla="*/ 4847037 w 7985267"/>
              <a:gd name="connsiteY122" fmla="*/ 1185995 h 3487140"/>
              <a:gd name="connsiteX123" fmla="*/ 4486519 w 7985267"/>
              <a:gd name="connsiteY123" fmla="*/ 1177512 h 3487140"/>
              <a:gd name="connsiteX124" fmla="*/ 4115939 w 7985267"/>
              <a:gd name="connsiteY124" fmla="*/ 1331342 h 3487140"/>
              <a:gd name="connsiteX125" fmla="*/ 3770185 w 7985267"/>
              <a:gd name="connsiteY125" fmla="*/ 1604110 h 3487140"/>
              <a:gd name="connsiteX126" fmla="*/ 3537382 w 7985267"/>
              <a:gd name="connsiteY126" fmla="*/ 1921252 h 3487140"/>
              <a:gd name="connsiteX127" fmla="*/ 3441732 w 7985267"/>
              <a:gd name="connsiteY127" fmla="*/ 2419255 h 3487140"/>
              <a:gd name="connsiteX128" fmla="*/ 3672040 w 7985267"/>
              <a:gd name="connsiteY128" fmla="*/ 3048465 h 3487140"/>
              <a:gd name="connsiteX129" fmla="*/ 4250265 w 7985267"/>
              <a:gd name="connsiteY129" fmla="*/ 3394510 h 3487140"/>
              <a:gd name="connsiteX130" fmla="*/ 4888914 w 7985267"/>
              <a:gd name="connsiteY130" fmla="*/ 3330632 h 3487140"/>
              <a:gd name="connsiteX131" fmla="*/ 5384089 w 7985267"/>
              <a:gd name="connsiteY131" fmla="*/ 2841404 h 3487140"/>
              <a:gd name="connsiteX132" fmla="*/ 5417442 w 7985267"/>
              <a:gd name="connsiteY132" fmla="*/ 2052999 h 3487140"/>
              <a:gd name="connsiteX133" fmla="*/ 4986435 w 7985267"/>
              <a:gd name="connsiteY133" fmla="*/ 1482011 h 3487140"/>
              <a:gd name="connsiteX134" fmla="*/ 4519581 w 7985267"/>
              <a:gd name="connsiteY134" fmla="*/ 1352717 h 3487140"/>
              <a:gd name="connsiteX135" fmla="*/ 4359139 w 7985267"/>
              <a:gd name="connsiteY135" fmla="*/ 1466624 h 3487140"/>
              <a:gd name="connsiteX136" fmla="*/ 4381180 w 7985267"/>
              <a:gd name="connsiteY136" fmla="*/ 2001140 h 3487140"/>
              <a:gd name="connsiteX137" fmla="*/ 4415156 w 7985267"/>
              <a:gd name="connsiteY137" fmla="*/ 2313208 h 3487140"/>
              <a:gd name="connsiteX138" fmla="*/ 4506856 w 7985267"/>
              <a:gd name="connsiteY138" fmla="*/ 2399085 h 3487140"/>
              <a:gd name="connsiteX139" fmla="*/ 4611322 w 7985267"/>
              <a:gd name="connsiteY139" fmla="*/ 2362905 h 3487140"/>
              <a:gd name="connsiteX140" fmla="*/ 4575931 w 7985267"/>
              <a:gd name="connsiteY140" fmla="*/ 2271372 h 3487140"/>
              <a:gd name="connsiteX141" fmla="*/ 4478327 w 7985267"/>
              <a:gd name="connsiteY141" fmla="*/ 2303394 h 3487140"/>
              <a:gd name="connsiteX142" fmla="*/ 4461941 w 7985267"/>
              <a:gd name="connsiteY142" fmla="*/ 2437262 h 3487140"/>
              <a:gd name="connsiteX143" fmla="*/ 4460860 w 7985267"/>
              <a:gd name="connsiteY143" fmla="*/ 2519521 h 3487140"/>
              <a:gd name="connsiteX144" fmla="*/ 4281746 w 7985267"/>
              <a:gd name="connsiteY144" fmla="*/ 2539400 h 3487140"/>
              <a:gd name="connsiteX145" fmla="*/ 3871491 w 7985267"/>
              <a:gd name="connsiteY145" fmla="*/ 2545679 h 3487140"/>
              <a:gd name="connsiteX146" fmla="*/ 3631119 w 7985267"/>
              <a:gd name="connsiteY146" fmla="*/ 2602944 h 3487140"/>
              <a:gd name="connsiteX147" fmla="*/ 3621512 w 7985267"/>
              <a:gd name="connsiteY147" fmla="*/ 2790460 h 3487140"/>
              <a:gd name="connsiteX148" fmla="*/ 3814849 w 7985267"/>
              <a:gd name="connsiteY148" fmla="*/ 3133385 h 3487140"/>
              <a:gd name="connsiteX149" fmla="*/ 4306739 w 7985267"/>
              <a:gd name="connsiteY149" fmla="*/ 3465290 h 3487140"/>
              <a:gd name="connsiteX150" fmla="*/ 5047485 w 7985267"/>
              <a:gd name="connsiteY150" fmla="*/ 3390434 h 3487140"/>
              <a:gd name="connsiteX151" fmla="*/ 5487308 w 7985267"/>
              <a:gd name="connsiteY151" fmla="*/ 3017940 h 3487140"/>
              <a:gd name="connsiteX152" fmla="*/ 5801289 w 7985267"/>
              <a:gd name="connsiteY152" fmla="*/ 2655510 h 3487140"/>
              <a:gd name="connsiteX153" fmla="*/ 6173783 w 7985267"/>
              <a:gd name="connsiteY153" fmla="*/ 3163577 h 3487140"/>
              <a:gd name="connsiteX154" fmla="*/ 6397770 w 7985267"/>
              <a:gd name="connsiteY154" fmla="*/ 3255443 h 3487140"/>
              <a:gd name="connsiteX155" fmla="*/ 6475787 w 7985267"/>
              <a:gd name="connsiteY155" fmla="*/ 2786675 h 3487140"/>
              <a:gd name="connsiteX156" fmla="*/ 6785360 w 7985267"/>
              <a:gd name="connsiteY156" fmla="*/ 2869724 h 3487140"/>
              <a:gd name="connsiteX157" fmla="*/ 7024152 w 7985267"/>
              <a:gd name="connsiteY157" fmla="*/ 3245046 h 3487140"/>
              <a:gd name="connsiteX158" fmla="*/ 7396645 w 7985267"/>
              <a:gd name="connsiteY158" fmla="*/ 3329676 h 3487140"/>
              <a:gd name="connsiteX159" fmla="*/ 7985267 w 7985267"/>
              <a:gd name="connsiteY159" fmla="*/ 3217682 h 3487140"/>
              <a:gd name="connsiteX0" fmla="*/ 0 w 7710919"/>
              <a:gd name="connsiteY0" fmla="*/ 2954187 h 3487140"/>
              <a:gd name="connsiteX1" fmla="*/ 347334 w 7710919"/>
              <a:gd name="connsiteY1" fmla="*/ 3339906 h 3487140"/>
              <a:gd name="connsiteX2" fmla="*/ 805456 w 7710919"/>
              <a:gd name="connsiteY2" fmla="*/ 3385485 h 3487140"/>
              <a:gd name="connsiteX3" fmla="*/ 884138 w 7710919"/>
              <a:gd name="connsiteY3" fmla="*/ 3295741 h 3487140"/>
              <a:gd name="connsiteX4" fmla="*/ 633036 w 7710919"/>
              <a:gd name="connsiteY4" fmla="*/ 3112384 h 3487140"/>
              <a:gd name="connsiteX5" fmla="*/ 326873 w 7710919"/>
              <a:gd name="connsiteY5" fmla="*/ 2750287 h 3487140"/>
              <a:gd name="connsiteX6" fmla="*/ 235341 w 7710919"/>
              <a:gd name="connsiteY6" fmla="*/ 2305432 h 3487140"/>
              <a:gd name="connsiteX7" fmla="*/ 362929 w 7710919"/>
              <a:gd name="connsiteY7" fmla="*/ 1919713 h 3487140"/>
              <a:gd name="connsiteX8" fmla="*/ 687141 w 7710919"/>
              <a:gd name="connsiteY8" fmla="*/ 1637837 h 3487140"/>
              <a:gd name="connsiteX9" fmla="*/ 1180445 w 7710919"/>
              <a:gd name="connsiteY9" fmla="*/ 1545972 h 3487140"/>
              <a:gd name="connsiteX10" fmla="*/ 1415120 w 7710919"/>
              <a:gd name="connsiteY10" fmla="*/ 1517651 h 3487140"/>
              <a:gd name="connsiteX11" fmla="*/ 1399857 w 7710919"/>
              <a:gd name="connsiteY11" fmla="*/ 1460718 h 3487140"/>
              <a:gd name="connsiteX12" fmla="*/ 1123803 w 7710919"/>
              <a:gd name="connsiteY12" fmla="*/ 1416969 h 3487140"/>
              <a:gd name="connsiteX13" fmla="*/ 604383 w 7710919"/>
              <a:gd name="connsiteY13" fmla="*/ 1517318 h 3487140"/>
              <a:gd name="connsiteX14" fmla="*/ 195085 w 7710919"/>
              <a:gd name="connsiteY14" fmla="*/ 1960593 h 3487140"/>
              <a:gd name="connsiteX15" fmla="*/ 135615 w 7710919"/>
              <a:gd name="connsiteY15" fmla="*/ 2569342 h 3487140"/>
              <a:gd name="connsiteX16" fmla="*/ 549322 w 7710919"/>
              <a:gd name="connsiteY16" fmla="*/ 3165532 h 3487140"/>
              <a:gd name="connsiteX17" fmla="*/ 1339307 w 7710919"/>
              <a:gd name="connsiteY17" fmla="*/ 3283181 h 3487140"/>
              <a:gd name="connsiteX18" fmla="*/ 1941943 w 7710919"/>
              <a:gd name="connsiteY18" fmla="*/ 2757481 h 3487140"/>
              <a:gd name="connsiteX19" fmla="*/ 1931712 w 7710919"/>
              <a:gd name="connsiteY19" fmla="*/ 1980430 h 3487140"/>
              <a:gd name="connsiteX20" fmla="*/ 1601678 w 7710919"/>
              <a:gd name="connsiteY20" fmla="*/ 1589139 h 3487140"/>
              <a:gd name="connsiteX21" fmla="*/ 1412624 w 7710919"/>
              <a:gd name="connsiteY21" fmla="*/ 1660710 h 3487140"/>
              <a:gd name="connsiteX22" fmla="*/ 1304207 w 7710919"/>
              <a:gd name="connsiteY22" fmla="*/ 2116627 h 3487140"/>
              <a:gd name="connsiteX23" fmla="*/ 1080844 w 7710919"/>
              <a:gd name="connsiteY23" fmla="*/ 2374258 h 3487140"/>
              <a:gd name="connsiteX24" fmla="*/ 1025908 w 7710919"/>
              <a:gd name="connsiteY24" fmla="*/ 2276986 h 3487140"/>
              <a:gd name="connsiteX25" fmla="*/ 1405180 w 7710919"/>
              <a:gd name="connsiteY25" fmla="*/ 2021601 h 3487140"/>
              <a:gd name="connsiteX26" fmla="*/ 1665099 w 7710919"/>
              <a:gd name="connsiteY26" fmla="*/ 1234153 h 3487140"/>
              <a:gd name="connsiteX27" fmla="*/ 1895199 w 7710919"/>
              <a:gd name="connsiteY27" fmla="*/ 725296 h 3487140"/>
              <a:gd name="connsiteX28" fmla="*/ 2003782 w 7710919"/>
              <a:gd name="connsiteY28" fmla="*/ 539984 h 3487140"/>
              <a:gd name="connsiteX29" fmla="*/ 1972634 w 7710919"/>
              <a:gd name="connsiteY29" fmla="*/ 435851 h 3487140"/>
              <a:gd name="connsiteX30" fmla="*/ 1866296 w 7710919"/>
              <a:gd name="connsiteY30" fmla="*/ 350265 h 3487140"/>
              <a:gd name="connsiteX31" fmla="*/ 1821008 w 7710919"/>
              <a:gd name="connsiteY31" fmla="*/ 209327 h 3487140"/>
              <a:gd name="connsiteX32" fmla="*/ 1865838 w 7710919"/>
              <a:gd name="connsiteY32" fmla="*/ 82237 h 3487140"/>
              <a:gd name="connsiteX33" fmla="*/ 2046118 w 7710919"/>
              <a:gd name="connsiteY33" fmla="*/ 6716 h 3487140"/>
              <a:gd name="connsiteX34" fmla="*/ 2314811 w 7710919"/>
              <a:gd name="connsiteY34" fmla="*/ 10167 h 3487140"/>
              <a:gd name="connsiteX35" fmla="*/ 2398484 w 7710919"/>
              <a:gd name="connsiteY35" fmla="*/ 49800 h 3487140"/>
              <a:gd name="connsiteX36" fmla="*/ 2351449 w 7710919"/>
              <a:gd name="connsiteY36" fmla="*/ 86812 h 3487140"/>
              <a:gd name="connsiteX37" fmla="*/ 2115526 w 7710919"/>
              <a:gd name="connsiteY37" fmla="*/ 91886 h 3487140"/>
              <a:gd name="connsiteX38" fmla="*/ 1871993 w 7710919"/>
              <a:gd name="connsiteY38" fmla="*/ 75833 h 3487140"/>
              <a:gd name="connsiteX39" fmla="*/ 1764242 w 7710919"/>
              <a:gd name="connsiteY39" fmla="*/ 176931 h 3487140"/>
              <a:gd name="connsiteX40" fmla="*/ 1779504 w 7710919"/>
              <a:gd name="connsiteY40" fmla="*/ 370393 h 3487140"/>
              <a:gd name="connsiteX41" fmla="*/ 1724277 w 7710919"/>
              <a:gd name="connsiteY41" fmla="*/ 589348 h 3487140"/>
              <a:gd name="connsiteX42" fmla="*/ 1567743 w 7710919"/>
              <a:gd name="connsiteY42" fmla="*/ 903953 h 3487140"/>
              <a:gd name="connsiteX43" fmla="*/ 1357272 w 7710919"/>
              <a:gd name="connsiteY43" fmla="*/ 922501 h 3487140"/>
              <a:gd name="connsiteX44" fmla="*/ 1162853 w 7710919"/>
              <a:gd name="connsiteY44" fmla="*/ 866816 h 3487140"/>
              <a:gd name="connsiteX45" fmla="*/ 1104008 w 7710919"/>
              <a:gd name="connsiteY45" fmla="*/ 751038 h 3487140"/>
              <a:gd name="connsiteX46" fmla="*/ 1115944 w 7710919"/>
              <a:gd name="connsiteY46" fmla="*/ 369436 h 3487140"/>
              <a:gd name="connsiteX47" fmla="*/ 1177617 w 7710919"/>
              <a:gd name="connsiteY47" fmla="*/ 155805 h 3487140"/>
              <a:gd name="connsiteX48" fmla="*/ 1378981 w 7710919"/>
              <a:gd name="connsiteY48" fmla="*/ 156761 h 3487140"/>
              <a:gd name="connsiteX49" fmla="*/ 1631912 w 7710919"/>
              <a:gd name="connsiteY49" fmla="*/ 245175 h 3487140"/>
              <a:gd name="connsiteX50" fmla="*/ 1801004 w 7710919"/>
              <a:gd name="connsiteY50" fmla="*/ 357792 h 3487140"/>
              <a:gd name="connsiteX51" fmla="*/ 1905595 w 7710919"/>
              <a:gd name="connsiteY51" fmla="*/ 483301 h 3487140"/>
              <a:gd name="connsiteX52" fmla="*/ 1929799 w 7710919"/>
              <a:gd name="connsiteY52" fmla="*/ 600951 h 3487140"/>
              <a:gd name="connsiteX53" fmla="*/ 1902268 w 7710919"/>
              <a:gd name="connsiteY53" fmla="*/ 761726 h 3487140"/>
              <a:gd name="connsiteX54" fmla="*/ 2074189 w 7710919"/>
              <a:gd name="connsiteY54" fmla="*/ 1160004 h 3487140"/>
              <a:gd name="connsiteX55" fmla="*/ 2497169 w 7710919"/>
              <a:gd name="connsiteY55" fmla="*/ 1793622 h 3487140"/>
              <a:gd name="connsiteX56" fmla="*/ 2914660 w 7710919"/>
              <a:gd name="connsiteY56" fmla="*/ 2087475 h 3487140"/>
              <a:gd name="connsiteX57" fmla="*/ 3024283 w 7710919"/>
              <a:gd name="connsiteY57" fmla="*/ 2185620 h 3487140"/>
              <a:gd name="connsiteX58" fmla="*/ 2911334 w 7710919"/>
              <a:gd name="connsiteY58" fmla="*/ 2468120 h 3487140"/>
              <a:gd name="connsiteX59" fmla="*/ 2745235 w 7710919"/>
              <a:gd name="connsiteY59" fmla="*/ 2505548 h 3487140"/>
              <a:gd name="connsiteX60" fmla="*/ 2436785 w 7710919"/>
              <a:gd name="connsiteY60" fmla="*/ 2278109 h 3487140"/>
              <a:gd name="connsiteX61" fmla="*/ 1992096 w 7710919"/>
              <a:gd name="connsiteY61" fmla="*/ 1678800 h 3487140"/>
              <a:gd name="connsiteX62" fmla="*/ 1872243 w 7710919"/>
              <a:gd name="connsiteY62" fmla="*/ 1175432 h 3487140"/>
              <a:gd name="connsiteX63" fmla="*/ 2026697 w 7710919"/>
              <a:gd name="connsiteY63" fmla="*/ 1377420 h 3487140"/>
              <a:gd name="connsiteX64" fmla="*/ 2388337 w 7710919"/>
              <a:gd name="connsiteY64" fmla="*/ 2268710 h 3487140"/>
              <a:gd name="connsiteX65" fmla="*/ 2708139 w 7710919"/>
              <a:gd name="connsiteY65" fmla="*/ 2693105 h 3487140"/>
              <a:gd name="connsiteX66" fmla="*/ 2941567 w 7710919"/>
              <a:gd name="connsiteY66" fmla="*/ 2746586 h 3487140"/>
              <a:gd name="connsiteX67" fmla="*/ 3108788 w 7710919"/>
              <a:gd name="connsiteY67" fmla="*/ 2631432 h 3487140"/>
              <a:gd name="connsiteX68" fmla="*/ 3119975 w 7710919"/>
              <a:gd name="connsiteY68" fmla="*/ 2436680 h 3487140"/>
              <a:gd name="connsiteX69" fmla="*/ 2966145 w 7710919"/>
              <a:gd name="connsiteY69" fmla="*/ 2309258 h 3487140"/>
              <a:gd name="connsiteX70" fmla="*/ 2758959 w 7710919"/>
              <a:gd name="connsiteY70" fmla="*/ 2375007 h 3487140"/>
              <a:gd name="connsiteX71" fmla="*/ 2736460 w 7710919"/>
              <a:gd name="connsiteY71" fmla="*/ 2581402 h 3487140"/>
              <a:gd name="connsiteX72" fmla="*/ 2879145 w 7710919"/>
              <a:gd name="connsiteY72" fmla="*/ 2671064 h 3487140"/>
              <a:gd name="connsiteX73" fmla="*/ 2975710 w 7710919"/>
              <a:gd name="connsiteY73" fmla="*/ 2596831 h 3487140"/>
              <a:gd name="connsiteX74" fmla="*/ 2942524 w 7710919"/>
              <a:gd name="connsiteY74" fmla="*/ 2530750 h 3487140"/>
              <a:gd name="connsiteX75" fmla="*/ 2820466 w 7710919"/>
              <a:gd name="connsiteY75" fmla="*/ 2615379 h 3487140"/>
              <a:gd name="connsiteX76" fmla="*/ 2674787 w 7710919"/>
              <a:gd name="connsiteY76" fmla="*/ 2907028 h 3487140"/>
              <a:gd name="connsiteX77" fmla="*/ 2626962 w 7710919"/>
              <a:gd name="connsiteY77" fmla="*/ 3008333 h 3487140"/>
              <a:gd name="connsiteX78" fmla="*/ 2591114 w 7710919"/>
              <a:gd name="connsiteY78" fmla="*/ 3024053 h 3487140"/>
              <a:gd name="connsiteX79" fmla="*/ 2496088 w 7710919"/>
              <a:gd name="connsiteY79" fmla="*/ 3013989 h 3487140"/>
              <a:gd name="connsiteX80" fmla="*/ 2502991 w 7710919"/>
              <a:gd name="connsiteY80" fmla="*/ 2956724 h 3487140"/>
              <a:gd name="connsiteX81" fmla="*/ 2691754 w 7710919"/>
              <a:gd name="connsiteY81" fmla="*/ 2951068 h 3487140"/>
              <a:gd name="connsiteX82" fmla="*/ 2777964 w 7710919"/>
              <a:gd name="connsiteY82" fmla="*/ 2951068 h 3487140"/>
              <a:gd name="connsiteX83" fmla="*/ 2859142 w 7710919"/>
              <a:gd name="connsiteY83" fmla="*/ 2822066 h 3487140"/>
              <a:gd name="connsiteX84" fmla="*/ 2999456 w 7710919"/>
              <a:gd name="connsiteY84" fmla="*/ 2789337 h 3487140"/>
              <a:gd name="connsiteX85" fmla="*/ 3127169 w 7710919"/>
              <a:gd name="connsiteY85" fmla="*/ 2713815 h 3487140"/>
              <a:gd name="connsiteX86" fmla="*/ 3213379 w 7710919"/>
              <a:gd name="connsiteY86" fmla="*/ 2544556 h 3487140"/>
              <a:gd name="connsiteX87" fmla="*/ 3432958 w 7710919"/>
              <a:gd name="connsiteY87" fmla="*/ 2482883 h 3487140"/>
              <a:gd name="connsiteX88" fmla="*/ 3967932 w 7710919"/>
              <a:gd name="connsiteY88" fmla="*/ 2466831 h 3487140"/>
              <a:gd name="connsiteX89" fmla="*/ 4123674 w 7710919"/>
              <a:gd name="connsiteY89" fmla="*/ 2420918 h 3487140"/>
              <a:gd name="connsiteX90" fmla="*/ 3973587 w 7710919"/>
              <a:gd name="connsiteY90" fmla="*/ 2252907 h 3487140"/>
              <a:gd name="connsiteX91" fmla="*/ 3498208 w 7710919"/>
              <a:gd name="connsiteY91" fmla="*/ 1791709 h 3487140"/>
              <a:gd name="connsiteX92" fmla="*/ 3234089 w 7710919"/>
              <a:gd name="connsiteY92" fmla="*/ 1600118 h 3487140"/>
              <a:gd name="connsiteX93" fmla="*/ 3110119 w 7710919"/>
              <a:gd name="connsiteY93" fmla="*/ 1733529 h 3487140"/>
              <a:gd name="connsiteX94" fmla="*/ 3047821 w 7710919"/>
              <a:gd name="connsiteY94" fmla="*/ 1995900 h 3487140"/>
              <a:gd name="connsiteX95" fmla="*/ 3088701 w 7710919"/>
              <a:gd name="connsiteY95" fmla="*/ 2048133 h 3487140"/>
              <a:gd name="connsiteX96" fmla="*/ 3151622 w 7710919"/>
              <a:gd name="connsiteY96" fmla="*/ 1778817 h 3487140"/>
              <a:gd name="connsiteX97" fmla="*/ 3273389 w 7710919"/>
              <a:gd name="connsiteY97" fmla="*/ 1356918 h 3487140"/>
              <a:gd name="connsiteX98" fmla="*/ 3379726 w 7710919"/>
              <a:gd name="connsiteY98" fmla="*/ 986960 h 3487140"/>
              <a:gd name="connsiteX99" fmla="*/ 3350449 w 7710919"/>
              <a:gd name="connsiteY99" fmla="*/ 867107 h 3487140"/>
              <a:gd name="connsiteX100" fmla="*/ 3175535 w 7710919"/>
              <a:gd name="connsiteY100" fmla="*/ 840034 h 3487140"/>
              <a:gd name="connsiteX101" fmla="*/ 3031436 w 7710919"/>
              <a:gd name="connsiteY101" fmla="*/ 782769 h 3487140"/>
              <a:gd name="connsiteX102" fmla="*/ 3047780 w 7710919"/>
              <a:gd name="connsiteY102" fmla="*/ 714816 h 3487140"/>
              <a:gd name="connsiteX103" fmla="*/ 3221447 w 7710919"/>
              <a:gd name="connsiteY103" fmla="*/ 723008 h 3487140"/>
              <a:gd name="connsiteX104" fmla="*/ 3424058 w 7710919"/>
              <a:gd name="connsiteY104" fmla="*/ 729288 h 3487140"/>
              <a:gd name="connsiteX105" fmla="*/ 3590780 w 7710919"/>
              <a:gd name="connsiteY105" fmla="*/ 682087 h 3487140"/>
              <a:gd name="connsiteX106" fmla="*/ 3708429 w 7710919"/>
              <a:gd name="connsiteY106" fmla="*/ 703463 h 3487140"/>
              <a:gd name="connsiteX107" fmla="*/ 3731094 w 7710919"/>
              <a:gd name="connsiteY107" fmla="*/ 797199 h 3487140"/>
              <a:gd name="connsiteX108" fmla="*/ 3603381 w 7710919"/>
              <a:gd name="connsiteY108" fmla="*/ 890936 h 3487140"/>
              <a:gd name="connsiteX109" fmla="*/ 3433498 w 7710919"/>
              <a:gd name="connsiteY109" fmla="*/ 918009 h 3487140"/>
              <a:gd name="connsiteX110" fmla="*/ 3305785 w 7710919"/>
              <a:gd name="connsiteY110" fmla="*/ 1002306 h 3487140"/>
              <a:gd name="connsiteX111" fmla="*/ 3204895 w 7710919"/>
              <a:gd name="connsiteY111" fmla="*/ 1299902 h 3487140"/>
              <a:gd name="connsiteX112" fmla="*/ 3265945 w 7710919"/>
              <a:gd name="connsiteY112" fmla="*/ 1545930 h 3487140"/>
              <a:gd name="connsiteX113" fmla="*/ 3478620 w 7710919"/>
              <a:gd name="connsiteY113" fmla="*/ 1536490 h 3487140"/>
              <a:gd name="connsiteX114" fmla="*/ 3658151 w 7710919"/>
              <a:gd name="connsiteY114" fmla="*/ 1376048 h 3487140"/>
              <a:gd name="connsiteX115" fmla="*/ 3661312 w 7710919"/>
              <a:gd name="connsiteY115" fmla="*/ 1231949 h 3487140"/>
              <a:gd name="connsiteX116" fmla="*/ 3443271 w 7710919"/>
              <a:gd name="connsiteY116" fmla="*/ 1191693 h 3487140"/>
              <a:gd name="connsiteX117" fmla="*/ 3451755 w 7710919"/>
              <a:gd name="connsiteY117" fmla="*/ 1255238 h 3487140"/>
              <a:gd name="connsiteX118" fmla="*/ 3876773 w 7710919"/>
              <a:gd name="connsiteY118" fmla="*/ 1241722 h 3487140"/>
              <a:gd name="connsiteX119" fmla="*/ 4361593 w 7710919"/>
              <a:gd name="connsiteY119" fmla="*/ 1259646 h 3487140"/>
              <a:gd name="connsiteX120" fmla="*/ 4590945 w 7710919"/>
              <a:gd name="connsiteY120" fmla="*/ 1236981 h 3487140"/>
              <a:gd name="connsiteX121" fmla="*/ 4572689 w 7710919"/>
              <a:gd name="connsiteY121" fmla="*/ 1185995 h 3487140"/>
              <a:gd name="connsiteX122" fmla="*/ 4212171 w 7710919"/>
              <a:gd name="connsiteY122" fmla="*/ 1177512 h 3487140"/>
              <a:gd name="connsiteX123" fmla="*/ 3841591 w 7710919"/>
              <a:gd name="connsiteY123" fmla="*/ 1331342 h 3487140"/>
              <a:gd name="connsiteX124" fmla="*/ 3495837 w 7710919"/>
              <a:gd name="connsiteY124" fmla="*/ 1604110 h 3487140"/>
              <a:gd name="connsiteX125" fmla="*/ 3263034 w 7710919"/>
              <a:gd name="connsiteY125" fmla="*/ 1921252 h 3487140"/>
              <a:gd name="connsiteX126" fmla="*/ 3167384 w 7710919"/>
              <a:gd name="connsiteY126" fmla="*/ 2419255 h 3487140"/>
              <a:gd name="connsiteX127" fmla="*/ 3397692 w 7710919"/>
              <a:gd name="connsiteY127" fmla="*/ 3048465 h 3487140"/>
              <a:gd name="connsiteX128" fmla="*/ 3975917 w 7710919"/>
              <a:gd name="connsiteY128" fmla="*/ 3394510 h 3487140"/>
              <a:gd name="connsiteX129" fmla="*/ 4614566 w 7710919"/>
              <a:gd name="connsiteY129" fmla="*/ 3330632 h 3487140"/>
              <a:gd name="connsiteX130" fmla="*/ 5109741 w 7710919"/>
              <a:gd name="connsiteY130" fmla="*/ 2841404 h 3487140"/>
              <a:gd name="connsiteX131" fmla="*/ 5143094 w 7710919"/>
              <a:gd name="connsiteY131" fmla="*/ 2052999 h 3487140"/>
              <a:gd name="connsiteX132" fmla="*/ 4712087 w 7710919"/>
              <a:gd name="connsiteY132" fmla="*/ 1482011 h 3487140"/>
              <a:gd name="connsiteX133" fmla="*/ 4245233 w 7710919"/>
              <a:gd name="connsiteY133" fmla="*/ 1352717 h 3487140"/>
              <a:gd name="connsiteX134" fmla="*/ 4084791 w 7710919"/>
              <a:gd name="connsiteY134" fmla="*/ 1466624 h 3487140"/>
              <a:gd name="connsiteX135" fmla="*/ 4106832 w 7710919"/>
              <a:gd name="connsiteY135" fmla="*/ 2001140 h 3487140"/>
              <a:gd name="connsiteX136" fmla="*/ 4140808 w 7710919"/>
              <a:gd name="connsiteY136" fmla="*/ 2313208 h 3487140"/>
              <a:gd name="connsiteX137" fmla="*/ 4232508 w 7710919"/>
              <a:gd name="connsiteY137" fmla="*/ 2399085 h 3487140"/>
              <a:gd name="connsiteX138" fmla="*/ 4336974 w 7710919"/>
              <a:gd name="connsiteY138" fmla="*/ 2362905 h 3487140"/>
              <a:gd name="connsiteX139" fmla="*/ 4301583 w 7710919"/>
              <a:gd name="connsiteY139" fmla="*/ 2271372 h 3487140"/>
              <a:gd name="connsiteX140" fmla="*/ 4203979 w 7710919"/>
              <a:gd name="connsiteY140" fmla="*/ 2303394 h 3487140"/>
              <a:gd name="connsiteX141" fmla="*/ 4187593 w 7710919"/>
              <a:gd name="connsiteY141" fmla="*/ 2437262 h 3487140"/>
              <a:gd name="connsiteX142" fmla="*/ 4186512 w 7710919"/>
              <a:gd name="connsiteY142" fmla="*/ 2519521 h 3487140"/>
              <a:gd name="connsiteX143" fmla="*/ 4007398 w 7710919"/>
              <a:gd name="connsiteY143" fmla="*/ 2539400 h 3487140"/>
              <a:gd name="connsiteX144" fmla="*/ 3597143 w 7710919"/>
              <a:gd name="connsiteY144" fmla="*/ 2545679 h 3487140"/>
              <a:gd name="connsiteX145" fmla="*/ 3356771 w 7710919"/>
              <a:gd name="connsiteY145" fmla="*/ 2602944 h 3487140"/>
              <a:gd name="connsiteX146" fmla="*/ 3347164 w 7710919"/>
              <a:gd name="connsiteY146" fmla="*/ 2790460 h 3487140"/>
              <a:gd name="connsiteX147" fmla="*/ 3540501 w 7710919"/>
              <a:gd name="connsiteY147" fmla="*/ 3133385 h 3487140"/>
              <a:gd name="connsiteX148" fmla="*/ 4032391 w 7710919"/>
              <a:gd name="connsiteY148" fmla="*/ 3465290 h 3487140"/>
              <a:gd name="connsiteX149" fmla="*/ 4773137 w 7710919"/>
              <a:gd name="connsiteY149" fmla="*/ 3390434 h 3487140"/>
              <a:gd name="connsiteX150" fmla="*/ 5212960 w 7710919"/>
              <a:gd name="connsiteY150" fmla="*/ 3017940 h 3487140"/>
              <a:gd name="connsiteX151" fmla="*/ 5526941 w 7710919"/>
              <a:gd name="connsiteY151" fmla="*/ 2655510 h 3487140"/>
              <a:gd name="connsiteX152" fmla="*/ 5899435 w 7710919"/>
              <a:gd name="connsiteY152" fmla="*/ 3163577 h 3487140"/>
              <a:gd name="connsiteX153" fmla="*/ 6123422 w 7710919"/>
              <a:gd name="connsiteY153" fmla="*/ 3255443 h 3487140"/>
              <a:gd name="connsiteX154" fmla="*/ 6201439 w 7710919"/>
              <a:gd name="connsiteY154" fmla="*/ 2786675 h 3487140"/>
              <a:gd name="connsiteX155" fmla="*/ 6511012 w 7710919"/>
              <a:gd name="connsiteY155" fmla="*/ 2869724 h 3487140"/>
              <a:gd name="connsiteX156" fmla="*/ 6749804 w 7710919"/>
              <a:gd name="connsiteY156" fmla="*/ 3245046 h 3487140"/>
              <a:gd name="connsiteX157" fmla="*/ 7122297 w 7710919"/>
              <a:gd name="connsiteY157" fmla="*/ 3329676 h 3487140"/>
              <a:gd name="connsiteX158" fmla="*/ 7710919 w 7710919"/>
              <a:gd name="connsiteY158" fmla="*/ 3217682 h 3487140"/>
              <a:gd name="connsiteX0" fmla="*/ 240411 w 7603996"/>
              <a:gd name="connsiteY0" fmla="*/ 3339906 h 3487140"/>
              <a:gd name="connsiteX1" fmla="*/ 698533 w 7603996"/>
              <a:gd name="connsiteY1" fmla="*/ 3385485 h 3487140"/>
              <a:gd name="connsiteX2" fmla="*/ 777215 w 7603996"/>
              <a:gd name="connsiteY2" fmla="*/ 3295741 h 3487140"/>
              <a:gd name="connsiteX3" fmla="*/ 526113 w 7603996"/>
              <a:gd name="connsiteY3" fmla="*/ 3112384 h 3487140"/>
              <a:gd name="connsiteX4" fmla="*/ 219950 w 7603996"/>
              <a:gd name="connsiteY4" fmla="*/ 2750287 h 3487140"/>
              <a:gd name="connsiteX5" fmla="*/ 128418 w 7603996"/>
              <a:gd name="connsiteY5" fmla="*/ 2305432 h 3487140"/>
              <a:gd name="connsiteX6" fmla="*/ 256006 w 7603996"/>
              <a:gd name="connsiteY6" fmla="*/ 1919713 h 3487140"/>
              <a:gd name="connsiteX7" fmla="*/ 580218 w 7603996"/>
              <a:gd name="connsiteY7" fmla="*/ 1637837 h 3487140"/>
              <a:gd name="connsiteX8" fmla="*/ 1073522 w 7603996"/>
              <a:gd name="connsiteY8" fmla="*/ 1545972 h 3487140"/>
              <a:gd name="connsiteX9" fmla="*/ 1308197 w 7603996"/>
              <a:gd name="connsiteY9" fmla="*/ 1517651 h 3487140"/>
              <a:gd name="connsiteX10" fmla="*/ 1292934 w 7603996"/>
              <a:gd name="connsiteY10" fmla="*/ 1460718 h 3487140"/>
              <a:gd name="connsiteX11" fmla="*/ 1016880 w 7603996"/>
              <a:gd name="connsiteY11" fmla="*/ 1416969 h 3487140"/>
              <a:gd name="connsiteX12" fmla="*/ 497460 w 7603996"/>
              <a:gd name="connsiteY12" fmla="*/ 1517318 h 3487140"/>
              <a:gd name="connsiteX13" fmla="*/ 88162 w 7603996"/>
              <a:gd name="connsiteY13" fmla="*/ 1960593 h 3487140"/>
              <a:gd name="connsiteX14" fmla="*/ 28692 w 7603996"/>
              <a:gd name="connsiteY14" fmla="*/ 2569342 h 3487140"/>
              <a:gd name="connsiteX15" fmla="*/ 442399 w 7603996"/>
              <a:gd name="connsiteY15" fmla="*/ 3165532 h 3487140"/>
              <a:gd name="connsiteX16" fmla="*/ 1232384 w 7603996"/>
              <a:gd name="connsiteY16" fmla="*/ 3283181 h 3487140"/>
              <a:gd name="connsiteX17" fmla="*/ 1835020 w 7603996"/>
              <a:gd name="connsiteY17" fmla="*/ 2757481 h 3487140"/>
              <a:gd name="connsiteX18" fmla="*/ 1824789 w 7603996"/>
              <a:gd name="connsiteY18" fmla="*/ 1980430 h 3487140"/>
              <a:gd name="connsiteX19" fmla="*/ 1494755 w 7603996"/>
              <a:gd name="connsiteY19" fmla="*/ 1589139 h 3487140"/>
              <a:gd name="connsiteX20" fmla="*/ 1305701 w 7603996"/>
              <a:gd name="connsiteY20" fmla="*/ 1660710 h 3487140"/>
              <a:gd name="connsiteX21" fmla="*/ 1197284 w 7603996"/>
              <a:gd name="connsiteY21" fmla="*/ 2116627 h 3487140"/>
              <a:gd name="connsiteX22" fmla="*/ 973921 w 7603996"/>
              <a:gd name="connsiteY22" fmla="*/ 2374258 h 3487140"/>
              <a:gd name="connsiteX23" fmla="*/ 918985 w 7603996"/>
              <a:gd name="connsiteY23" fmla="*/ 2276986 h 3487140"/>
              <a:gd name="connsiteX24" fmla="*/ 1298257 w 7603996"/>
              <a:gd name="connsiteY24" fmla="*/ 2021601 h 3487140"/>
              <a:gd name="connsiteX25" fmla="*/ 1558176 w 7603996"/>
              <a:gd name="connsiteY25" fmla="*/ 1234153 h 3487140"/>
              <a:gd name="connsiteX26" fmla="*/ 1788276 w 7603996"/>
              <a:gd name="connsiteY26" fmla="*/ 725296 h 3487140"/>
              <a:gd name="connsiteX27" fmla="*/ 1896859 w 7603996"/>
              <a:gd name="connsiteY27" fmla="*/ 539984 h 3487140"/>
              <a:gd name="connsiteX28" fmla="*/ 1865711 w 7603996"/>
              <a:gd name="connsiteY28" fmla="*/ 435851 h 3487140"/>
              <a:gd name="connsiteX29" fmla="*/ 1759373 w 7603996"/>
              <a:gd name="connsiteY29" fmla="*/ 350265 h 3487140"/>
              <a:gd name="connsiteX30" fmla="*/ 1714085 w 7603996"/>
              <a:gd name="connsiteY30" fmla="*/ 209327 h 3487140"/>
              <a:gd name="connsiteX31" fmla="*/ 1758915 w 7603996"/>
              <a:gd name="connsiteY31" fmla="*/ 82237 h 3487140"/>
              <a:gd name="connsiteX32" fmla="*/ 1939195 w 7603996"/>
              <a:gd name="connsiteY32" fmla="*/ 6716 h 3487140"/>
              <a:gd name="connsiteX33" fmla="*/ 2207888 w 7603996"/>
              <a:gd name="connsiteY33" fmla="*/ 10167 h 3487140"/>
              <a:gd name="connsiteX34" fmla="*/ 2291561 w 7603996"/>
              <a:gd name="connsiteY34" fmla="*/ 49800 h 3487140"/>
              <a:gd name="connsiteX35" fmla="*/ 2244526 w 7603996"/>
              <a:gd name="connsiteY35" fmla="*/ 86812 h 3487140"/>
              <a:gd name="connsiteX36" fmla="*/ 2008603 w 7603996"/>
              <a:gd name="connsiteY36" fmla="*/ 91886 h 3487140"/>
              <a:gd name="connsiteX37" fmla="*/ 1765070 w 7603996"/>
              <a:gd name="connsiteY37" fmla="*/ 75833 h 3487140"/>
              <a:gd name="connsiteX38" fmla="*/ 1657319 w 7603996"/>
              <a:gd name="connsiteY38" fmla="*/ 176931 h 3487140"/>
              <a:gd name="connsiteX39" fmla="*/ 1672581 w 7603996"/>
              <a:gd name="connsiteY39" fmla="*/ 370393 h 3487140"/>
              <a:gd name="connsiteX40" fmla="*/ 1617354 w 7603996"/>
              <a:gd name="connsiteY40" fmla="*/ 589348 h 3487140"/>
              <a:gd name="connsiteX41" fmla="*/ 1460820 w 7603996"/>
              <a:gd name="connsiteY41" fmla="*/ 903953 h 3487140"/>
              <a:gd name="connsiteX42" fmla="*/ 1250349 w 7603996"/>
              <a:gd name="connsiteY42" fmla="*/ 922501 h 3487140"/>
              <a:gd name="connsiteX43" fmla="*/ 1055930 w 7603996"/>
              <a:gd name="connsiteY43" fmla="*/ 866816 h 3487140"/>
              <a:gd name="connsiteX44" fmla="*/ 997085 w 7603996"/>
              <a:gd name="connsiteY44" fmla="*/ 751038 h 3487140"/>
              <a:gd name="connsiteX45" fmla="*/ 1009021 w 7603996"/>
              <a:gd name="connsiteY45" fmla="*/ 369436 h 3487140"/>
              <a:gd name="connsiteX46" fmla="*/ 1070694 w 7603996"/>
              <a:gd name="connsiteY46" fmla="*/ 155805 h 3487140"/>
              <a:gd name="connsiteX47" fmla="*/ 1272058 w 7603996"/>
              <a:gd name="connsiteY47" fmla="*/ 156761 h 3487140"/>
              <a:gd name="connsiteX48" fmla="*/ 1524989 w 7603996"/>
              <a:gd name="connsiteY48" fmla="*/ 245175 h 3487140"/>
              <a:gd name="connsiteX49" fmla="*/ 1694081 w 7603996"/>
              <a:gd name="connsiteY49" fmla="*/ 357792 h 3487140"/>
              <a:gd name="connsiteX50" fmla="*/ 1798672 w 7603996"/>
              <a:gd name="connsiteY50" fmla="*/ 483301 h 3487140"/>
              <a:gd name="connsiteX51" fmla="*/ 1822876 w 7603996"/>
              <a:gd name="connsiteY51" fmla="*/ 600951 h 3487140"/>
              <a:gd name="connsiteX52" fmla="*/ 1795345 w 7603996"/>
              <a:gd name="connsiteY52" fmla="*/ 761726 h 3487140"/>
              <a:gd name="connsiteX53" fmla="*/ 1967266 w 7603996"/>
              <a:gd name="connsiteY53" fmla="*/ 1160004 h 3487140"/>
              <a:gd name="connsiteX54" fmla="*/ 2390246 w 7603996"/>
              <a:gd name="connsiteY54" fmla="*/ 1793622 h 3487140"/>
              <a:gd name="connsiteX55" fmla="*/ 2807737 w 7603996"/>
              <a:gd name="connsiteY55" fmla="*/ 2087475 h 3487140"/>
              <a:gd name="connsiteX56" fmla="*/ 2917360 w 7603996"/>
              <a:gd name="connsiteY56" fmla="*/ 2185620 h 3487140"/>
              <a:gd name="connsiteX57" fmla="*/ 2804411 w 7603996"/>
              <a:gd name="connsiteY57" fmla="*/ 2468120 h 3487140"/>
              <a:gd name="connsiteX58" fmla="*/ 2638312 w 7603996"/>
              <a:gd name="connsiteY58" fmla="*/ 2505548 h 3487140"/>
              <a:gd name="connsiteX59" fmla="*/ 2329862 w 7603996"/>
              <a:gd name="connsiteY59" fmla="*/ 2278109 h 3487140"/>
              <a:gd name="connsiteX60" fmla="*/ 1885173 w 7603996"/>
              <a:gd name="connsiteY60" fmla="*/ 1678800 h 3487140"/>
              <a:gd name="connsiteX61" fmla="*/ 1765320 w 7603996"/>
              <a:gd name="connsiteY61" fmla="*/ 1175432 h 3487140"/>
              <a:gd name="connsiteX62" fmla="*/ 1919774 w 7603996"/>
              <a:gd name="connsiteY62" fmla="*/ 1377420 h 3487140"/>
              <a:gd name="connsiteX63" fmla="*/ 2281414 w 7603996"/>
              <a:gd name="connsiteY63" fmla="*/ 2268710 h 3487140"/>
              <a:gd name="connsiteX64" fmla="*/ 2601216 w 7603996"/>
              <a:gd name="connsiteY64" fmla="*/ 2693105 h 3487140"/>
              <a:gd name="connsiteX65" fmla="*/ 2834644 w 7603996"/>
              <a:gd name="connsiteY65" fmla="*/ 2746586 h 3487140"/>
              <a:gd name="connsiteX66" fmla="*/ 3001865 w 7603996"/>
              <a:gd name="connsiteY66" fmla="*/ 2631432 h 3487140"/>
              <a:gd name="connsiteX67" fmla="*/ 3013052 w 7603996"/>
              <a:gd name="connsiteY67" fmla="*/ 2436680 h 3487140"/>
              <a:gd name="connsiteX68" fmla="*/ 2859222 w 7603996"/>
              <a:gd name="connsiteY68" fmla="*/ 2309258 h 3487140"/>
              <a:gd name="connsiteX69" fmla="*/ 2652036 w 7603996"/>
              <a:gd name="connsiteY69" fmla="*/ 2375007 h 3487140"/>
              <a:gd name="connsiteX70" fmla="*/ 2629537 w 7603996"/>
              <a:gd name="connsiteY70" fmla="*/ 2581402 h 3487140"/>
              <a:gd name="connsiteX71" fmla="*/ 2772222 w 7603996"/>
              <a:gd name="connsiteY71" fmla="*/ 2671064 h 3487140"/>
              <a:gd name="connsiteX72" fmla="*/ 2868787 w 7603996"/>
              <a:gd name="connsiteY72" fmla="*/ 2596831 h 3487140"/>
              <a:gd name="connsiteX73" fmla="*/ 2835601 w 7603996"/>
              <a:gd name="connsiteY73" fmla="*/ 2530750 h 3487140"/>
              <a:gd name="connsiteX74" fmla="*/ 2713543 w 7603996"/>
              <a:gd name="connsiteY74" fmla="*/ 2615379 h 3487140"/>
              <a:gd name="connsiteX75" fmla="*/ 2567864 w 7603996"/>
              <a:gd name="connsiteY75" fmla="*/ 2907028 h 3487140"/>
              <a:gd name="connsiteX76" fmla="*/ 2520039 w 7603996"/>
              <a:gd name="connsiteY76" fmla="*/ 3008333 h 3487140"/>
              <a:gd name="connsiteX77" fmla="*/ 2484191 w 7603996"/>
              <a:gd name="connsiteY77" fmla="*/ 3024053 h 3487140"/>
              <a:gd name="connsiteX78" fmla="*/ 2389165 w 7603996"/>
              <a:gd name="connsiteY78" fmla="*/ 3013989 h 3487140"/>
              <a:gd name="connsiteX79" fmla="*/ 2396068 w 7603996"/>
              <a:gd name="connsiteY79" fmla="*/ 2956724 h 3487140"/>
              <a:gd name="connsiteX80" fmla="*/ 2584831 w 7603996"/>
              <a:gd name="connsiteY80" fmla="*/ 2951068 h 3487140"/>
              <a:gd name="connsiteX81" fmla="*/ 2671041 w 7603996"/>
              <a:gd name="connsiteY81" fmla="*/ 2951068 h 3487140"/>
              <a:gd name="connsiteX82" fmla="*/ 2752219 w 7603996"/>
              <a:gd name="connsiteY82" fmla="*/ 2822066 h 3487140"/>
              <a:gd name="connsiteX83" fmla="*/ 2892533 w 7603996"/>
              <a:gd name="connsiteY83" fmla="*/ 2789337 h 3487140"/>
              <a:gd name="connsiteX84" fmla="*/ 3020246 w 7603996"/>
              <a:gd name="connsiteY84" fmla="*/ 2713815 h 3487140"/>
              <a:gd name="connsiteX85" fmla="*/ 3106456 w 7603996"/>
              <a:gd name="connsiteY85" fmla="*/ 2544556 h 3487140"/>
              <a:gd name="connsiteX86" fmla="*/ 3326035 w 7603996"/>
              <a:gd name="connsiteY86" fmla="*/ 2482883 h 3487140"/>
              <a:gd name="connsiteX87" fmla="*/ 3861009 w 7603996"/>
              <a:gd name="connsiteY87" fmla="*/ 2466831 h 3487140"/>
              <a:gd name="connsiteX88" fmla="*/ 4016751 w 7603996"/>
              <a:gd name="connsiteY88" fmla="*/ 2420918 h 3487140"/>
              <a:gd name="connsiteX89" fmla="*/ 3866664 w 7603996"/>
              <a:gd name="connsiteY89" fmla="*/ 2252907 h 3487140"/>
              <a:gd name="connsiteX90" fmla="*/ 3391285 w 7603996"/>
              <a:gd name="connsiteY90" fmla="*/ 1791709 h 3487140"/>
              <a:gd name="connsiteX91" fmla="*/ 3127166 w 7603996"/>
              <a:gd name="connsiteY91" fmla="*/ 1600118 h 3487140"/>
              <a:gd name="connsiteX92" fmla="*/ 3003196 w 7603996"/>
              <a:gd name="connsiteY92" fmla="*/ 1733529 h 3487140"/>
              <a:gd name="connsiteX93" fmla="*/ 2940898 w 7603996"/>
              <a:gd name="connsiteY93" fmla="*/ 1995900 h 3487140"/>
              <a:gd name="connsiteX94" fmla="*/ 2981778 w 7603996"/>
              <a:gd name="connsiteY94" fmla="*/ 2048133 h 3487140"/>
              <a:gd name="connsiteX95" fmla="*/ 3044699 w 7603996"/>
              <a:gd name="connsiteY95" fmla="*/ 1778817 h 3487140"/>
              <a:gd name="connsiteX96" fmla="*/ 3166466 w 7603996"/>
              <a:gd name="connsiteY96" fmla="*/ 1356918 h 3487140"/>
              <a:gd name="connsiteX97" fmla="*/ 3272803 w 7603996"/>
              <a:gd name="connsiteY97" fmla="*/ 986960 h 3487140"/>
              <a:gd name="connsiteX98" fmla="*/ 3243526 w 7603996"/>
              <a:gd name="connsiteY98" fmla="*/ 867107 h 3487140"/>
              <a:gd name="connsiteX99" fmla="*/ 3068612 w 7603996"/>
              <a:gd name="connsiteY99" fmla="*/ 840034 h 3487140"/>
              <a:gd name="connsiteX100" fmla="*/ 2924513 w 7603996"/>
              <a:gd name="connsiteY100" fmla="*/ 782769 h 3487140"/>
              <a:gd name="connsiteX101" fmla="*/ 2940857 w 7603996"/>
              <a:gd name="connsiteY101" fmla="*/ 714816 h 3487140"/>
              <a:gd name="connsiteX102" fmla="*/ 3114524 w 7603996"/>
              <a:gd name="connsiteY102" fmla="*/ 723008 h 3487140"/>
              <a:gd name="connsiteX103" fmla="*/ 3317135 w 7603996"/>
              <a:gd name="connsiteY103" fmla="*/ 729288 h 3487140"/>
              <a:gd name="connsiteX104" fmla="*/ 3483857 w 7603996"/>
              <a:gd name="connsiteY104" fmla="*/ 682087 h 3487140"/>
              <a:gd name="connsiteX105" fmla="*/ 3601506 w 7603996"/>
              <a:gd name="connsiteY105" fmla="*/ 703463 h 3487140"/>
              <a:gd name="connsiteX106" fmla="*/ 3624171 w 7603996"/>
              <a:gd name="connsiteY106" fmla="*/ 797199 h 3487140"/>
              <a:gd name="connsiteX107" fmla="*/ 3496458 w 7603996"/>
              <a:gd name="connsiteY107" fmla="*/ 890936 h 3487140"/>
              <a:gd name="connsiteX108" fmla="*/ 3326575 w 7603996"/>
              <a:gd name="connsiteY108" fmla="*/ 918009 h 3487140"/>
              <a:gd name="connsiteX109" fmla="*/ 3198862 w 7603996"/>
              <a:gd name="connsiteY109" fmla="*/ 1002306 h 3487140"/>
              <a:gd name="connsiteX110" fmla="*/ 3097972 w 7603996"/>
              <a:gd name="connsiteY110" fmla="*/ 1299902 h 3487140"/>
              <a:gd name="connsiteX111" fmla="*/ 3159022 w 7603996"/>
              <a:gd name="connsiteY111" fmla="*/ 1545930 h 3487140"/>
              <a:gd name="connsiteX112" fmla="*/ 3371697 w 7603996"/>
              <a:gd name="connsiteY112" fmla="*/ 1536490 h 3487140"/>
              <a:gd name="connsiteX113" fmla="*/ 3551228 w 7603996"/>
              <a:gd name="connsiteY113" fmla="*/ 1376048 h 3487140"/>
              <a:gd name="connsiteX114" fmla="*/ 3554389 w 7603996"/>
              <a:gd name="connsiteY114" fmla="*/ 1231949 h 3487140"/>
              <a:gd name="connsiteX115" fmla="*/ 3336348 w 7603996"/>
              <a:gd name="connsiteY115" fmla="*/ 1191693 h 3487140"/>
              <a:gd name="connsiteX116" fmla="*/ 3344832 w 7603996"/>
              <a:gd name="connsiteY116" fmla="*/ 1255238 h 3487140"/>
              <a:gd name="connsiteX117" fmla="*/ 3769850 w 7603996"/>
              <a:gd name="connsiteY117" fmla="*/ 1241722 h 3487140"/>
              <a:gd name="connsiteX118" fmla="*/ 4254670 w 7603996"/>
              <a:gd name="connsiteY118" fmla="*/ 1259646 h 3487140"/>
              <a:gd name="connsiteX119" fmla="*/ 4484022 w 7603996"/>
              <a:gd name="connsiteY119" fmla="*/ 1236981 h 3487140"/>
              <a:gd name="connsiteX120" fmla="*/ 4465766 w 7603996"/>
              <a:gd name="connsiteY120" fmla="*/ 1185995 h 3487140"/>
              <a:gd name="connsiteX121" fmla="*/ 4105248 w 7603996"/>
              <a:gd name="connsiteY121" fmla="*/ 1177512 h 3487140"/>
              <a:gd name="connsiteX122" fmla="*/ 3734668 w 7603996"/>
              <a:gd name="connsiteY122" fmla="*/ 1331342 h 3487140"/>
              <a:gd name="connsiteX123" fmla="*/ 3388914 w 7603996"/>
              <a:gd name="connsiteY123" fmla="*/ 1604110 h 3487140"/>
              <a:gd name="connsiteX124" fmla="*/ 3156111 w 7603996"/>
              <a:gd name="connsiteY124" fmla="*/ 1921252 h 3487140"/>
              <a:gd name="connsiteX125" fmla="*/ 3060461 w 7603996"/>
              <a:gd name="connsiteY125" fmla="*/ 2419255 h 3487140"/>
              <a:gd name="connsiteX126" fmla="*/ 3290769 w 7603996"/>
              <a:gd name="connsiteY126" fmla="*/ 3048465 h 3487140"/>
              <a:gd name="connsiteX127" fmla="*/ 3868994 w 7603996"/>
              <a:gd name="connsiteY127" fmla="*/ 3394510 h 3487140"/>
              <a:gd name="connsiteX128" fmla="*/ 4507643 w 7603996"/>
              <a:gd name="connsiteY128" fmla="*/ 3330632 h 3487140"/>
              <a:gd name="connsiteX129" fmla="*/ 5002818 w 7603996"/>
              <a:gd name="connsiteY129" fmla="*/ 2841404 h 3487140"/>
              <a:gd name="connsiteX130" fmla="*/ 5036171 w 7603996"/>
              <a:gd name="connsiteY130" fmla="*/ 2052999 h 3487140"/>
              <a:gd name="connsiteX131" fmla="*/ 4605164 w 7603996"/>
              <a:gd name="connsiteY131" fmla="*/ 1482011 h 3487140"/>
              <a:gd name="connsiteX132" fmla="*/ 4138310 w 7603996"/>
              <a:gd name="connsiteY132" fmla="*/ 1352717 h 3487140"/>
              <a:gd name="connsiteX133" fmla="*/ 3977868 w 7603996"/>
              <a:gd name="connsiteY133" fmla="*/ 1466624 h 3487140"/>
              <a:gd name="connsiteX134" fmla="*/ 3999909 w 7603996"/>
              <a:gd name="connsiteY134" fmla="*/ 2001140 h 3487140"/>
              <a:gd name="connsiteX135" fmla="*/ 4033885 w 7603996"/>
              <a:gd name="connsiteY135" fmla="*/ 2313208 h 3487140"/>
              <a:gd name="connsiteX136" fmla="*/ 4125585 w 7603996"/>
              <a:gd name="connsiteY136" fmla="*/ 2399085 h 3487140"/>
              <a:gd name="connsiteX137" fmla="*/ 4230051 w 7603996"/>
              <a:gd name="connsiteY137" fmla="*/ 2362905 h 3487140"/>
              <a:gd name="connsiteX138" fmla="*/ 4194660 w 7603996"/>
              <a:gd name="connsiteY138" fmla="*/ 2271372 h 3487140"/>
              <a:gd name="connsiteX139" fmla="*/ 4097056 w 7603996"/>
              <a:gd name="connsiteY139" fmla="*/ 2303394 h 3487140"/>
              <a:gd name="connsiteX140" fmla="*/ 4080670 w 7603996"/>
              <a:gd name="connsiteY140" fmla="*/ 2437262 h 3487140"/>
              <a:gd name="connsiteX141" fmla="*/ 4079589 w 7603996"/>
              <a:gd name="connsiteY141" fmla="*/ 2519521 h 3487140"/>
              <a:gd name="connsiteX142" fmla="*/ 3900475 w 7603996"/>
              <a:gd name="connsiteY142" fmla="*/ 2539400 h 3487140"/>
              <a:gd name="connsiteX143" fmla="*/ 3490220 w 7603996"/>
              <a:gd name="connsiteY143" fmla="*/ 2545679 h 3487140"/>
              <a:gd name="connsiteX144" fmla="*/ 3249848 w 7603996"/>
              <a:gd name="connsiteY144" fmla="*/ 2602944 h 3487140"/>
              <a:gd name="connsiteX145" fmla="*/ 3240241 w 7603996"/>
              <a:gd name="connsiteY145" fmla="*/ 2790460 h 3487140"/>
              <a:gd name="connsiteX146" fmla="*/ 3433578 w 7603996"/>
              <a:gd name="connsiteY146" fmla="*/ 3133385 h 3487140"/>
              <a:gd name="connsiteX147" fmla="*/ 3925468 w 7603996"/>
              <a:gd name="connsiteY147" fmla="*/ 3465290 h 3487140"/>
              <a:gd name="connsiteX148" fmla="*/ 4666214 w 7603996"/>
              <a:gd name="connsiteY148" fmla="*/ 3390434 h 3487140"/>
              <a:gd name="connsiteX149" fmla="*/ 5106037 w 7603996"/>
              <a:gd name="connsiteY149" fmla="*/ 3017940 h 3487140"/>
              <a:gd name="connsiteX150" fmla="*/ 5420018 w 7603996"/>
              <a:gd name="connsiteY150" fmla="*/ 2655510 h 3487140"/>
              <a:gd name="connsiteX151" fmla="*/ 5792512 w 7603996"/>
              <a:gd name="connsiteY151" fmla="*/ 3163577 h 3487140"/>
              <a:gd name="connsiteX152" fmla="*/ 6016499 w 7603996"/>
              <a:gd name="connsiteY152" fmla="*/ 3255443 h 3487140"/>
              <a:gd name="connsiteX153" fmla="*/ 6094516 w 7603996"/>
              <a:gd name="connsiteY153" fmla="*/ 2786675 h 3487140"/>
              <a:gd name="connsiteX154" fmla="*/ 6404089 w 7603996"/>
              <a:gd name="connsiteY154" fmla="*/ 2869724 h 3487140"/>
              <a:gd name="connsiteX155" fmla="*/ 6642881 w 7603996"/>
              <a:gd name="connsiteY155" fmla="*/ 3245046 h 3487140"/>
              <a:gd name="connsiteX156" fmla="*/ 7015374 w 7603996"/>
              <a:gd name="connsiteY156" fmla="*/ 3329676 h 3487140"/>
              <a:gd name="connsiteX157" fmla="*/ 7603996 w 7603996"/>
              <a:gd name="connsiteY157" fmla="*/ 3217682 h 3487140"/>
              <a:gd name="connsiteX0" fmla="*/ 698533 w 7603996"/>
              <a:gd name="connsiteY0" fmla="*/ 3385485 h 3487140"/>
              <a:gd name="connsiteX1" fmla="*/ 777215 w 7603996"/>
              <a:gd name="connsiteY1" fmla="*/ 3295741 h 3487140"/>
              <a:gd name="connsiteX2" fmla="*/ 526113 w 7603996"/>
              <a:gd name="connsiteY2" fmla="*/ 3112384 h 3487140"/>
              <a:gd name="connsiteX3" fmla="*/ 219950 w 7603996"/>
              <a:gd name="connsiteY3" fmla="*/ 2750287 h 3487140"/>
              <a:gd name="connsiteX4" fmla="*/ 128418 w 7603996"/>
              <a:gd name="connsiteY4" fmla="*/ 2305432 h 3487140"/>
              <a:gd name="connsiteX5" fmla="*/ 256006 w 7603996"/>
              <a:gd name="connsiteY5" fmla="*/ 1919713 h 3487140"/>
              <a:gd name="connsiteX6" fmla="*/ 580218 w 7603996"/>
              <a:gd name="connsiteY6" fmla="*/ 1637837 h 3487140"/>
              <a:gd name="connsiteX7" fmla="*/ 1073522 w 7603996"/>
              <a:gd name="connsiteY7" fmla="*/ 1545972 h 3487140"/>
              <a:gd name="connsiteX8" fmla="*/ 1308197 w 7603996"/>
              <a:gd name="connsiteY8" fmla="*/ 1517651 h 3487140"/>
              <a:gd name="connsiteX9" fmla="*/ 1292934 w 7603996"/>
              <a:gd name="connsiteY9" fmla="*/ 1460718 h 3487140"/>
              <a:gd name="connsiteX10" fmla="*/ 1016880 w 7603996"/>
              <a:gd name="connsiteY10" fmla="*/ 1416969 h 3487140"/>
              <a:gd name="connsiteX11" fmla="*/ 497460 w 7603996"/>
              <a:gd name="connsiteY11" fmla="*/ 1517318 h 3487140"/>
              <a:gd name="connsiteX12" fmla="*/ 88162 w 7603996"/>
              <a:gd name="connsiteY12" fmla="*/ 1960593 h 3487140"/>
              <a:gd name="connsiteX13" fmla="*/ 28692 w 7603996"/>
              <a:gd name="connsiteY13" fmla="*/ 2569342 h 3487140"/>
              <a:gd name="connsiteX14" fmla="*/ 442399 w 7603996"/>
              <a:gd name="connsiteY14" fmla="*/ 3165532 h 3487140"/>
              <a:gd name="connsiteX15" fmla="*/ 1232384 w 7603996"/>
              <a:gd name="connsiteY15" fmla="*/ 3283181 h 3487140"/>
              <a:gd name="connsiteX16" fmla="*/ 1835020 w 7603996"/>
              <a:gd name="connsiteY16" fmla="*/ 2757481 h 3487140"/>
              <a:gd name="connsiteX17" fmla="*/ 1824789 w 7603996"/>
              <a:gd name="connsiteY17" fmla="*/ 1980430 h 3487140"/>
              <a:gd name="connsiteX18" fmla="*/ 1494755 w 7603996"/>
              <a:gd name="connsiteY18" fmla="*/ 1589139 h 3487140"/>
              <a:gd name="connsiteX19" fmla="*/ 1305701 w 7603996"/>
              <a:gd name="connsiteY19" fmla="*/ 1660710 h 3487140"/>
              <a:gd name="connsiteX20" fmla="*/ 1197284 w 7603996"/>
              <a:gd name="connsiteY20" fmla="*/ 2116627 h 3487140"/>
              <a:gd name="connsiteX21" fmla="*/ 973921 w 7603996"/>
              <a:gd name="connsiteY21" fmla="*/ 2374258 h 3487140"/>
              <a:gd name="connsiteX22" fmla="*/ 918985 w 7603996"/>
              <a:gd name="connsiteY22" fmla="*/ 2276986 h 3487140"/>
              <a:gd name="connsiteX23" fmla="*/ 1298257 w 7603996"/>
              <a:gd name="connsiteY23" fmla="*/ 2021601 h 3487140"/>
              <a:gd name="connsiteX24" fmla="*/ 1558176 w 7603996"/>
              <a:gd name="connsiteY24" fmla="*/ 1234153 h 3487140"/>
              <a:gd name="connsiteX25" fmla="*/ 1788276 w 7603996"/>
              <a:gd name="connsiteY25" fmla="*/ 725296 h 3487140"/>
              <a:gd name="connsiteX26" fmla="*/ 1896859 w 7603996"/>
              <a:gd name="connsiteY26" fmla="*/ 539984 h 3487140"/>
              <a:gd name="connsiteX27" fmla="*/ 1865711 w 7603996"/>
              <a:gd name="connsiteY27" fmla="*/ 435851 h 3487140"/>
              <a:gd name="connsiteX28" fmla="*/ 1759373 w 7603996"/>
              <a:gd name="connsiteY28" fmla="*/ 350265 h 3487140"/>
              <a:gd name="connsiteX29" fmla="*/ 1714085 w 7603996"/>
              <a:gd name="connsiteY29" fmla="*/ 209327 h 3487140"/>
              <a:gd name="connsiteX30" fmla="*/ 1758915 w 7603996"/>
              <a:gd name="connsiteY30" fmla="*/ 82237 h 3487140"/>
              <a:gd name="connsiteX31" fmla="*/ 1939195 w 7603996"/>
              <a:gd name="connsiteY31" fmla="*/ 6716 h 3487140"/>
              <a:gd name="connsiteX32" fmla="*/ 2207888 w 7603996"/>
              <a:gd name="connsiteY32" fmla="*/ 10167 h 3487140"/>
              <a:gd name="connsiteX33" fmla="*/ 2291561 w 7603996"/>
              <a:gd name="connsiteY33" fmla="*/ 49800 h 3487140"/>
              <a:gd name="connsiteX34" fmla="*/ 2244526 w 7603996"/>
              <a:gd name="connsiteY34" fmla="*/ 86812 h 3487140"/>
              <a:gd name="connsiteX35" fmla="*/ 2008603 w 7603996"/>
              <a:gd name="connsiteY35" fmla="*/ 91886 h 3487140"/>
              <a:gd name="connsiteX36" fmla="*/ 1765070 w 7603996"/>
              <a:gd name="connsiteY36" fmla="*/ 75833 h 3487140"/>
              <a:gd name="connsiteX37" fmla="*/ 1657319 w 7603996"/>
              <a:gd name="connsiteY37" fmla="*/ 176931 h 3487140"/>
              <a:gd name="connsiteX38" fmla="*/ 1672581 w 7603996"/>
              <a:gd name="connsiteY38" fmla="*/ 370393 h 3487140"/>
              <a:gd name="connsiteX39" fmla="*/ 1617354 w 7603996"/>
              <a:gd name="connsiteY39" fmla="*/ 589348 h 3487140"/>
              <a:gd name="connsiteX40" fmla="*/ 1460820 w 7603996"/>
              <a:gd name="connsiteY40" fmla="*/ 903953 h 3487140"/>
              <a:gd name="connsiteX41" fmla="*/ 1250349 w 7603996"/>
              <a:gd name="connsiteY41" fmla="*/ 922501 h 3487140"/>
              <a:gd name="connsiteX42" fmla="*/ 1055930 w 7603996"/>
              <a:gd name="connsiteY42" fmla="*/ 866816 h 3487140"/>
              <a:gd name="connsiteX43" fmla="*/ 997085 w 7603996"/>
              <a:gd name="connsiteY43" fmla="*/ 751038 h 3487140"/>
              <a:gd name="connsiteX44" fmla="*/ 1009021 w 7603996"/>
              <a:gd name="connsiteY44" fmla="*/ 369436 h 3487140"/>
              <a:gd name="connsiteX45" fmla="*/ 1070694 w 7603996"/>
              <a:gd name="connsiteY45" fmla="*/ 155805 h 3487140"/>
              <a:gd name="connsiteX46" fmla="*/ 1272058 w 7603996"/>
              <a:gd name="connsiteY46" fmla="*/ 156761 h 3487140"/>
              <a:gd name="connsiteX47" fmla="*/ 1524989 w 7603996"/>
              <a:gd name="connsiteY47" fmla="*/ 245175 h 3487140"/>
              <a:gd name="connsiteX48" fmla="*/ 1694081 w 7603996"/>
              <a:gd name="connsiteY48" fmla="*/ 357792 h 3487140"/>
              <a:gd name="connsiteX49" fmla="*/ 1798672 w 7603996"/>
              <a:gd name="connsiteY49" fmla="*/ 483301 h 3487140"/>
              <a:gd name="connsiteX50" fmla="*/ 1822876 w 7603996"/>
              <a:gd name="connsiteY50" fmla="*/ 600951 h 3487140"/>
              <a:gd name="connsiteX51" fmla="*/ 1795345 w 7603996"/>
              <a:gd name="connsiteY51" fmla="*/ 761726 h 3487140"/>
              <a:gd name="connsiteX52" fmla="*/ 1967266 w 7603996"/>
              <a:gd name="connsiteY52" fmla="*/ 1160004 h 3487140"/>
              <a:gd name="connsiteX53" fmla="*/ 2390246 w 7603996"/>
              <a:gd name="connsiteY53" fmla="*/ 1793622 h 3487140"/>
              <a:gd name="connsiteX54" fmla="*/ 2807737 w 7603996"/>
              <a:gd name="connsiteY54" fmla="*/ 2087475 h 3487140"/>
              <a:gd name="connsiteX55" fmla="*/ 2917360 w 7603996"/>
              <a:gd name="connsiteY55" fmla="*/ 2185620 h 3487140"/>
              <a:gd name="connsiteX56" fmla="*/ 2804411 w 7603996"/>
              <a:gd name="connsiteY56" fmla="*/ 2468120 h 3487140"/>
              <a:gd name="connsiteX57" fmla="*/ 2638312 w 7603996"/>
              <a:gd name="connsiteY57" fmla="*/ 2505548 h 3487140"/>
              <a:gd name="connsiteX58" fmla="*/ 2329862 w 7603996"/>
              <a:gd name="connsiteY58" fmla="*/ 2278109 h 3487140"/>
              <a:gd name="connsiteX59" fmla="*/ 1885173 w 7603996"/>
              <a:gd name="connsiteY59" fmla="*/ 1678800 h 3487140"/>
              <a:gd name="connsiteX60" fmla="*/ 1765320 w 7603996"/>
              <a:gd name="connsiteY60" fmla="*/ 1175432 h 3487140"/>
              <a:gd name="connsiteX61" fmla="*/ 1919774 w 7603996"/>
              <a:gd name="connsiteY61" fmla="*/ 1377420 h 3487140"/>
              <a:gd name="connsiteX62" fmla="*/ 2281414 w 7603996"/>
              <a:gd name="connsiteY62" fmla="*/ 2268710 h 3487140"/>
              <a:gd name="connsiteX63" fmla="*/ 2601216 w 7603996"/>
              <a:gd name="connsiteY63" fmla="*/ 2693105 h 3487140"/>
              <a:gd name="connsiteX64" fmla="*/ 2834644 w 7603996"/>
              <a:gd name="connsiteY64" fmla="*/ 2746586 h 3487140"/>
              <a:gd name="connsiteX65" fmla="*/ 3001865 w 7603996"/>
              <a:gd name="connsiteY65" fmla="*/ 2631432 h 3487140"/>
              <a:gd name="connsiteX66" fmla="*/ 3013052 w 7603996"/>
              <a:gd name="connsiteY66" fmla="*/ 2436680 h 3487140"/>
              <a:gd name="connsiteX67" fmla="*/ 2859222 w 7603996"/>
              <a:gd name="connsiteY67" fmla="*/ 2309258 h 3487140"/>
              <a:gd name="connsiteX68" fmla="*/ 2652036 w 7603996"/>
              <a:gd name="connsiteY68" fmla="*/ 2375007 h 3487140"/>
              <a:gd name="connsiteX69" fmla="*/ 2629537 w 7603996"/>
              <a:gd name="connsiteY69" fmla="*/ 2581402 h 3487140"/>
              <a:gd name="connsiteX70" fmla="*/ 2772222 w 7603996"/>
              <a:gd name="connsiteY70" fmla="*/ 2671064 h 3487140"/>
              <a:gd name="connsiteX71" fmla="*/ 2868787 w 7603996"/>
              <a:gd name="connsiteY71" fmla="*/ 2596831 h 3487140"/>
              <a:gd name="connsiteX72" fmla="*/ 2835601 w 7603996"/>
              <a:gd name="connsiteY72" fmla="*/ 2530750 h 3487140"/>
              <a:gd name="connsiteX73" fmla="*/ 2713543 w 7603996"/>
              <a:gd name="connsiteY73" fmla="*/ 2615379 h 3487140"/>
              <a:gd name="connsiteX74" fmla="*/ 2567864 w 7603996"/>
              <a:gd name="connsiteY74" fmla="*/ 2907028 h 3487140"/>
              <a:gd name="connsiteX75" fmla="*/ 2520039 w 7603996"/>
              <a:gd name="connsiteY75" fmla="*/ 3008333 h 3487140"/>
              <a:gd name="connsiteX76" fmla="*/ 2484191 w 7603996"/>
              <a:gd name="connsiteY76" fmla="*/ 3024053 h 3487140"/>
              <a:gd name="connsiteX77" fmla="*/ 2389165 w 7603996"/>
              <a:gd name="connsiteY77" fmla="*/ 3013989 h 3487140"/>
              <a:gd name="connsiteX78" fmla="*/ 2396068 w 7603996"/>
              <a:gd name="connsiteY78" fmla="*/ 2956724 h 3487140"/>
              <a:gd name="connsiteX79" fmla="*/ 2584831 w 7603996"/>
              <a:gd name="connsiteY79" fmla="*/ 2951068 h 3487140"/>
              <a:gd name="connsiteX80" fmla="*/ 2671041 w 7603996"/>
              <a:gd name="connsiteY80" fmla="*/ 2951068 h 3487140"/>
              <a:gd name="connsiteX81" fmla="*/ 2752219 w 7603996"/>
              <a:gd name="connsiteY81" fmla="*/ 2822066 h 3487140"/>
              <a:gd name="connsiteX82" fmla="*/ 2892533 w 7603996"/>
              <a:gd name="connsiteY82" fmla="*/ 2789337 h 3487140"/>
              <a:gd name="connsiteX83" fmla="*/ 3020246 w 7603996"/>
              <a:gd name="connsiteY83" fmla="*/ 2713815 h 3487140"/>
              <a:gd name="connsiteX84" fmla="*/ 3106456 w 7603996"/>
              <a:gd name="connsiteY84" fmla="*/ 2544556 h 3487140"/>
              <a:gd name="connsiteX85" fmla="*/ 3326035 w 7603996"/>
              <a:gd name="connsiteY85" fmla="*/ 2482883 h 3487140"/>
              <a:gd name="connsiteX86" fmla="*/ 3861009 w 7603996"/>
              <a:gd name="connsiteY86" fmla="*/ 2466831 h 3487140"/>
              <a:gd name="connsiteX87" fmla="*/ 4016751 w 7603996"/>
              <a:gd name="connsiteY87" fmla="*/ 2420918 h 3487140"/>
              <a:gd name="connsiteX88" fmla="*/ 3866664 w 7603996"/>
              <a:gd name="connsiteY88" fmla="*/ 2252907 h 3487140"/>
              <a:gd name="connsiteX89" fmla="*/ 3391285 w 7603996"/>
              <a:gd name="connsiteY89" fmla="*/ 1791709 h 3487140"/>
              <a:gd name="connsiteX90" fmla="*/ 3127166 w 7603996"/>
              <a:gd name="connsiteY90" fmla="*/ 1600118 h 3487140"/>
              <a:gd name="connsiteX91" fmla="*/ 3003196 w 7603996"/>
              <a:gd name="connsiteY91" fmla="*/ 1733529 h 3487140"/>
              <a:gd name="connsiteX92" fmla="*/ 2940898 w 7603996"/>
              <a:gd name="connsiteY92" fmla="*/ 1995900 h 3487140"/>
              <a:gd name="connsiteX93" fmla="*/ 2981778 w 7603996"/>
              <a:gd name="connsiteY93" fmla="*/ 2048133 h 3487140"/>
              <a:gd name="connsiteX94" fmla="*/ 3044699 w 7603996"/>
              <a:gd name="connsiteY94" fmla="*/ 1778817 h 3487140"/>
              <a:gd name="connsiteX95" fmla="*/ 3166466 w 7603996"/>
              <a:gd name="connsiteY95" fmla="*/ 1356918 h 3487140"/>
              <a:gd name="connsiteX96" fmla="*/ 3272803 w 7603996"/>
              <a:gd name="connsiteY96" fmla="*/ 986960 h 3487140"/>
              <a:gd name="connsiteX97" fmla="*/ 3243526 w 7603996"/>
              <a:gd name="connsiteY97" fmla="*/ 867107 h 3487140"/>
              <a:gd name="connsiteX98" fmla="*/ 3068612 w 7603996"/>
              <a:gd name="connsiteY98" fmla="*/ 840034 h 3487140"/>
              <a:gd name="connsiteX99" fmla="*/ 2924513 w 7603996"/>
              <a:gd name="connsiteY99" fmla="*/ 782769 h 3487140"/>
              <a:gd name="connsiteX100" fmla="*/ 2940857 w 7603996"/>
              <a:gd name="connsiteY100" fmla="*/ 714816 h 3487140"/>
              <a:gd name="connsiteX101" fmla="*/ 3114524 w 7603996"/>
              <a:gd name="connsiteY101" fmla="*/ 723008 h 3487140"/>
              <a:gd name="connsiteX102" fmla="*/ 3317135 w 7603996"/>
              <a:gd name="connsiteY102" fmla="*/ 729288 h 3487140"/>
              <a:gd name="connsiteX103" fmla="*/ 3483857 w 7603996"/>
              <a:gd name="connsiteY103" fmla="*/ 682087 h 3487140"/>
              <a:gd name="connsiteX104" fmla="*/ 3601506 w 7603996"/>
              <a:gd name="connsiteY104" fmla="*/ 703463 h 3487140"/>
              <a:gd name="connsiteX105" fmla="*/ 3624171 w 7603996"/>
              <a:gd name="connsiteY105" fmla="*/ 797199 h 3487140"/>
              <a:gd name="connsiteX106" fmla="*/ 3496458 w 7603996"/>
              <a:gd name="connsiteY106" fmla="*/ 890936 h 3487140"/>
              <a:gd name="connsiteX107" fmla="*/ 3326575 w 7603996"/>
              <a:gd name="connsiteY107" fmla="*/ 918009 h 3487140"/>
              <a:gd name="connsiteX108" fmla="*/ 3198862 w 7603996"/>
              <a:gd name="connsiteY108" fmla="*/ 1002306 h 3487140"/>
              <a:gd name="connsiteX109" fmla="*/ 3097972 w 7603996"/>
              <a:gd name="connsiteY109" fmla="*/ 1299902 h 3487140"/>
              <a:gd name="connsiteX110" fmla="*/ 3159022 w 7603996"/>
              <a:gd name="connsiteY110" fmla="*/ 1545930 h 3487140"/>
              <a:gd name="connsiteX111" fmla="*/ 3371697 w 7603996"/>
              <a:gd name="connsiteY111" fmla="*/ 1536490 h 3487140"/>
              <a:gd name="connsiteX112" fmla="*/ 3551228 w 7603996"/>
              <a:gd name="connsiteY112" fmla="*/ 1376048 h 3487140"/>
              <a:gd name="connsiteX113" fmla="*/ 3554389 w 7603996"/>
              <a:gd name="connsiteY113" fmla="*/ 1231949 h 3487140"/>
              <a:gd name="connsiteX114" fmla="*/ 3336348 w 7603996"/>
              <a:gd name="connsiteY114" fmla="*/ 1191693 h 3487140"/>
              <a:gd name="connsiteX115" fmla="*/ 3344832 w 7603996"/>
              <a:gd name="connsiteY115" fmla="*/ 1255238 h 3487140"/>
              <a:gd name="connsiteX116" fmla="*/ 3769850 w 7603996"/>
              <a:gd name="connsiteY116" fmla="*/ 1241722 h 3487140"/>
              <a:gd name="connsiteX117" fmla="*/ 4254670 w 7603996"/>
              <a:gd name="connsiteY117" fmla="*/ 1259646 h 3487140"/>
              <a:gd name="connsiteX118" fmla="*/ 4484022 w 7603996"/>
              <a:gd name="connsiteY118" fmla="*/ 1236981 h 3487140"/>
              <a:gd name="connsiteX119" fmla="*/ 4465766 w 7603996"/>
              <a:gd name="connsiteY119" fmla="*/ 1185995 h 3487140"/>
              <a:gd name="connsiteX120" fmla="*/ 4105248 w 7603996"/>
              <a:gd name="connsiteY120" fmla="*/ 1177512 h 3487140"/>
              <a:gd name="connsiteX121" fmla="*/ 3734668 w 7603996"/>
              <a:gd name="connsiteY121" fmla="*/ 1331342 h 3487140"/>
              <a:gd name="connsiteX122" fmla="*/ 3388914 w 7603996"/>
              <a:gd name="connsiteY122" fmla="*/ 1604110 h 3487140"/>
              <a:gd name="connsiteX123" fmla="*/ 3156111 w 7603996"/>
              <a:gd name="connsiteY123" fmla="*/ 1921252 h 3487140"/>
              <a:gd name="connsiteX124" fmla="*/ 3060461 w 7603996"/>
              <a:gd name="connsiteY124" fmla="*/ 2419255 h 3487140"/>
              <a:gd name="connsiteX125" fmla="*/ 3290769 w 7603996"/>
              <a:gd name="connsiteY125" fmla="*/ 3048465 h 3487140"/>
              <a:gd name="connsiteX126" fmla="*/ 3868994 w 7603996"/>
              <a:gd name="connsiteY126" fmla="*/ 3394510 h 3487140"/>
              <a:gd name="connsiteX127" fmla="*/ 4507643 w 7603996"/>
              <a:gd name="connsiteY127" fmla="*/ 3330632 h 3487140"/>
              <a:gd name="connsiteX128" fmla="*/ 5002818 w 7603996"/>
              <a:gd name="connsiteY128" fmla="*/ 2841404 h 3487140"/>
              <a:gd name="connsiteX129" fmla="*/ 5036171 w 7603996"/>
              <a:gd name="connsiteY129" fmla="*/ 2052999 h 3487140"/>
              <a:gd name="connsiteX130" fmla="*/ 4605164 w 7603996"/>
              <a:gd name="connsiteY130" fmla="*/ 1482011 h 3487140"/>
              <a:gd name="connsiteX131" fmla="*/ 4138310 w 7603996"/>
              <a:gd name="connsiteY131" fmla="*/ 1352717 h 3487140"/>
              <a:gd name="connsiteX132" fmla="*/ 3977868 w 7603996"/>
              <a:gd name="connsiteY132" fmla="*/ 1466624 h 3487140"/>
              <a:gd name="connsiteX133" fmla="*/ 3999909 w 7603996"/>
              <a:gd name="connsiteY133" fmla="*/ 2001140 h 3487140"/>
              <a:gd name="connsiteX134" fmla="*/ 4033885 w 7603996"/>
              <a:gd name="connsiteY134" fmla="*/ 2313208 h 3487140"/>
              <a:gd name="connsiteX135" fmla="*/ 4125585 w 7603996"/>
              <a:gd name="connsiteY135" fmla="*/ 2399085 h 3487140"/>
              <a:gd name="connsiteX136" fmla="*/ 4230051 w 7603996"/>
              <a:gd name="connsiteY136" fmla="*/ 2362905 h 3487140"/>
              <a:gd name="connsiteX137" fmla="*/ 4194660 w 7603996"/>
              <a:gd name="connsiteY137" fmla="*/ 2271372 h 3487140"/>
              <a:gd name="connsiteX138" fmla="*/ 4097056 w 7603996"/>
              <a:gd name="connsiteY138" fmla="*/ 2303394 h 3487140"/>
              <a:gd name="connsiteX139" fmla="*/ 4080670 w 7603996"/>
              <a:gd name="connsiteY139" fmla="*/ 2437262 h 3487140"/>
              <a:gd name="connsiteX140" fmla="*/ 4079589 w 7603996"/>
              <a:gd name="connsiteY140" fmla="*/ 2519521 h 3487140"/>
              <a:gd name="connsiteX141" fmla="*/ 3900475 w 7603996"/>
              <a:gd name="connsiteY141" fmla="*/ 2539400 h 3487140"/>
              <a:gd name="connsiteX142" fmla="*/ 3490220 w 7603996"/>
              <a:gd name="connsiteY142" fmla="*/ 2545679 h 3487140"/>
              <a:gd name="connsiteX143" fmla="*/ 3249848 w 7603996"/>
              <a:gd name="connsiteY143" fmla="*/ 2602944 h 3487140"/>
              <a:gd name="connsiteX144" fmla="*/ 3240241 w 7603996"/>
              <a:gd name="connsiteY144" fmla="*/ 2790460 h 3487140"/>
              <a:gd name="connsiteX145" fmla="*/ 3433578 w 7603996"/>
              <a:gd name="connsiteY145" fmla="*/ 3133385 h 3487140"/>
              <a:gd name="connsiteX146" fmla="*/ 3925468 w 7603996"/>
              <a:gd name="connsiteY146" fmla="*/ 3465290 h 3487140"/>
              <a:gd name="connsiteX147" fmla="*/ 4666214 w 7603996"/>
              <a:gd name="connsiteY147" fmla="*/ 3390434 h 3487140"/>
              <a:gd name="connsiteX148" fmla="*/ 5106037 w 7603996"/>
              <a:gd name="connsiteY148" fmla="*/ 3017940 h 3487140"/>
              <a:gd name="connsiteX149" fmla="*/ 5420018 w 7603996"/>
              <a:gd name="connsiteY149" fmla="*/ 2655510 h 3487140"/>
              <a:gd name="connsiteX150" fmla="*/ 5792512 w 7603996"/>
              <a:gd name="connsiteY150" fmla="*/ 3163577 h 3487140"/>
              <a:gd name="connsiteX151" fmla="*/ 6016499 w 7603996"/>
              <a:gd name="connsiteY151" fmla="*/ 3255443 h 3487140"/>
              <a:gd name="connsiteX152" fmla="*/ 6094516 w 7603996"/>
              <a:gd name="connsiteY152" fmla="*/ 2786675 h 3487140"/>
              <a:gd name="connsiteX153" fmla="*/ 6404089 w 7603996"/>
              <a:gd name="connsiteY153" fmla="*/ 2869724 h 3487140"/>
              <a:gd name="connsiteX154" fmla="*/ 6642881 w 7603996"/>
              <a:gd name="connsiteY154" fmla="*/ 3245046 h 3487140"/>
              <a:gd name="connsiteX155" fmla="*/ 7015374 w 7603996"/>
              <a:gd name="connsiteY155" fmla="*/ 3329676 h 3487140"/>
              <a:gd name="connsiteX156" fmla="*/ 7603996 w 7603996"/>
              <a:gd name="connsiteY156" fmla="*/ 3217682 h 3487140"/>
              <a:gd name="connsiteX0" fmla="*/ 777215 w 7603996"/>
              <a:gd name="connsiteY0" fmla="*/ 3295741 h 3487140"/>
              <a:gd name="connsiteX1" fmla="*/ 526113 w 7603996"/>
              <a:gd name="connsiteY1" fmla="*/ 3112384 h 3487140"/>
              <a:gd name="connsiteX2" fmla="*/ 219950 w 7603996"/>
              <a:gd name="connsiteY2" fmla="*/ 2750287 h 3487140"/>
              <a:gd name="connsiteX3" fmla="*/ 128418 w 7603996"/>
              <a:gd name="connsiteY3" fmla="*/ 2305432 h 3487140"/>
              <a:gd name="connsiteX4" fmla="*/ 256006 w 7603996"/>
              <a:gd name="connsiteY4" fmla="*/ 1919713 h 3487140"/>
              <a:gd name="connsiteX5" fmla="*/ 580218 w 7603996"/>
              <a:gd name="connsiteY5" fmla="*/ 1637837 h 3487140"/>
              <a:gd name="connsiteX6" fmla="*/ 1073522 w 7603996"/>
              <a:gd name="connsiteY6" fmla="*/ 1545972 h 3487140"/>
              <a:gd name="connsiteX7" fmla="*/ 1308197 w 7603996"/>
              <a:gd name="connsiteY7" fmla="*/ 1517651 h 3487140"/>
              <a:gd name="connsiteX8" fmla="*/ 1292934 w 7603996"/>
              <a:gd name="connsiteY8" fmla="*/ 1460718 h 3487140"/>
              <a:gd name="connsiteX9" fmla="*/ 1016880 w 7603996"/>
              <a:gd name="connsiteY9" fmla="*/ 1416969 h 3487140"/>
              <a:gd name="connsiteX10" fmla="*/ 497460 w 7603996"/>
              <a:gd name="connsiteY10" fmla="*/ 1517318 h 3487140"/>
              <a:gd name="connsiteX11" fmla="*/ 88162 w 7603996"/>
              <a:gd name="connsiteY11" fmla="*/ 1960593 h 3487140"/>
              <a:gd name="connsiteX12" fmla="*/ 28692 w 7603996"/>
              <a:gd name="connsiteY12" fmla="*/ 2569342 h 3487140"/>
              <a:gd name="connsiteX13" fmla="*/ 442399 w 7603996"/>
              <a:gd name="connsiteY13" fmla="*/ 3165532 h 3487140"/>
              <a:gd name="connsiteX14" fmla="*/ 1232384 w 7603996"/>
              <a:gd name="connsiteY14" fmla="*/ 3283181 h 3487140"/>
              <a:gd name="connsiteX15" fmla="*/ 1835020 w 7603996"/>
              <a:gd name="connsiteY15" fmla="*/ 2757481 h 3487140"/>
              <a:gd name="connsiteX16" fmla="*/ 1824789 w 7603996"/>
              <a:gd name="connsiteY16" fmla="*/ 1980430 h 3487140"/>
              <a:gd name="connsiteX17" fmla="*/ 1494755 w 7603996"/>
              <a:gd name="connsiteY17" fmla="*/ 1589139 h 3487140"/>
              <a:gd name="connsiteX18" fmla="*/ 1305701 w 7603996"/>
              <a:gd name="connsiteY18" fmla="*/ 1660710 h 3487140"/>
              <a:gd name="connsiteX19" fmla="*/ 1197284 w 7603996"/>
              <a:gd name="connsiteY19" fmla="*/ 2116627 h 3487140"/>
              <a:gd name="connsiteX20" fmla="*/ 973921 w 7603996"/>
              <a:gd name="connsiteY20" fmla="*/ 2374258 h 3487140"/>
              <a:gd name="connsiteX21" fmla="*/ 918985 w 7603996"/>
              <a:gd name="connsiteY21" fmla="*/ 2276986 h 3487140"/>
              <a:gd name="connsiteX22" fmla="*/ 1298257 w 7603996"/>
              <a:gd name="connsiteY22" fmla="*/ 2021601 h 3487140"/>
              <a:gd name="connsiteX23" fmla="*/ 1558176 w 7603996"/>
              <a:gd name="connsiteY23" fmla="*/ 1234153 h 3487140"/>
              <a:gd name="connsiteX24" fmla="*/ 1788276 w 7603996"/>
              <a:gd name="connsiteY24" fmla="*/ 725296 h 3487140"/>
              <a:gd name="connsiteX25" fmla="*/ 1896859 w 7603996"/>
              <a:gd name="connsiteY25" fmla="*/ 539984 h 3487140"/>
              <a:gd name="connsiteX26" fmla="*/ 1865711 w 7603996"/>
              <a:gd name="connsiteY26" fmla="*/ 435851 h 3487140"/>
              <a:gd name="connsiteX27" fmla="*/ 1759373 w 7603996"/>
              <a:gd name="connsiteY27" fmla="*/ 350265 h 3487140"/>
              <a:gd name="connsiteX28" fmla="*/ 1714085 w 7603996"/>
              <a:gd name="connsiteY28" fmla="*/ 209327 h 3487140"/>
              <a:gd name="connsiteX29" fmla="*/ 1758915 w 7603996"/>
              <a:gd name="connsiteY29" fmla="*/ 82237 h 3487140"/>
              <a:gd name="connsiteX30" fmla="*/ 1939195 w 7603996"/>
              <a:gd name="connsiteY30" fmla="*/ 6716 h 3487140"/>
              <a:gd name="connsiteX31" fmla="*/ 2207888 w 7603996"/>
              <a:gd name="connsiteY31" fmla="*/ 10167 h 3487140"/>
              <a:gd name="connsiteX32" fmla="*/ 2291561 w 7603996"/>
              <a:gd name="connsiteY32" fmla="*/ 49800 h 3487140"/>
              <a:gd name="connsiteX33" fmla="*/ 2244526 w 7603996"/>
              <a:gd name="connsiteY33" fmla="*/ 86812 h 3487140"/>
              <a:gd name="connsiteX34" fmla="*/ 2008603 w 7603996"/>
              <a:gd name="connsiteY34" fmla="*/ 91886 h 3487140"/>
              <a:gd name="connsiteX35" fmla="*/ 1765070 w 7603996"/>
              <a:gd name="connsiteY35" fmla="*/ 75833 h 3487140"/>
              <a:gd name="connsiteX36" fmla="*/ 1657319 w 7603996"/>
              <a:gd name="connsiteY36" fmla="*/ 176931 h 3487140"/>
              <a:gd name="connsiteX37" fmla="*/ 1672581 w 7603996"/>
              <a:gd name="connsiteY37" fmla="*/ 370393 h 3487140"/>
              <a:gd name="connsiteX38" fmla="*/ 1617354 w 7603996"/>
              <a:gd name="connsiteY38" fmla="*/ 589348 h 3487140"/>
              <a:gd name="connsiteX39" fmla="*/ 1460820 w 7603996"/>
              <a:gd name="connsiteY39" fmla="*/ 903953 h 3487140"/>
              <a:gd name="connsiteX40" fmla="*/ 1250349 w 7603996"/>
              <a:gd name="connsiteY40" fmla="*/ 922501 h 3487140"/>
              <a:gd name="connsiteX41" fmla="*/ 1055930 w 7603996"/>
              <a:gd name="connsiteY41" fmla="*/ 866816 h 3487140"/>
              <a:gd name="connsiteX42" fmla="*/ 997085 w 7603996"/>
              <a:gd name="connsiteY42" fmla="*/ 751038 h 3487140"/>
              <a:gd name="connsiteX43" fmla="*/ 1009021 w 7603996"/>
              <a:gd name="connsiteY43" fmla="*/ 369436 h 3487140"/>
              <a:gd name="connsiteX44" fmla="*/ 1070694 w 7603996"/>
              <a:gd name="connsiteY44" fmla="*/ 155805 h 3487140"/>
              <a:gd name="connsiteX45" fmla="*/ 1272058 w 7603996"/>
              <a:gd name="connsiteY45" fmla="*/ 156761 h 3487140"/>
              <a:gd name="connsiteX46" fmla="*/ 1524989 w 7603996"/>
              <a:gd name="connsiteY46" fmla="*/ 245175 h 3487140"/>
              <a:gd name="connsiteX47" fmla="*/ 1694081 w 7603996"/>
              <a:gd name="connsiteY47" fmla="*/ 357792 h 3487140"/>
              <a:gd name="connsiteX48" fmla="*/ 1798672 w 7603996"/>
              <a:gd name="connsiteY48" fmla="*/ 483301 h 3487140"/>
              <a:gd name="connsiteX49" fmla="*/ 1822876 w 7603996"/>
              <a:gd name="connsiteY49" fmla="*/ 600951 h 3487140"/>
              <a:gd name="connsiteX50" fmla="*/ 1795345 w 7603996"/>
              <a:gd name="connsiteY50" fmla="*/ 761726 h 3487140"/>
              <a:gd name="connsiteX51" fmla="*/ 1967266 w 7603996"/>
              <a:gd name="connsiteY51" fmla="*/ 1160004 h 3487140"/>
              <a:gd name="connsiteX52" fmla="*/ 2390246 w 7603996"/>
              <a:gd name="connsiteY52" fmla="*/ 1793622 h 3487140"/>
              <a:gd name="connsiteX53" fmla="*/ 2807737 w 7603996"/>
              <a:gd name="connsiteY53" fmla="*/ 2087475 h 3487140"/>
              <a:gd name="connsiteX54" fmla="*/ 2917360 w 7603996"/>
              <a:gd name="connsiteY54" fmla="*/ 2185620 h 3487140"/>
              <a:gd name="connsiteX55" fmla="*/ 2804411 w 7603996"/>
              <a:gd name="connsiteY55" fmla="*/ 2468120 h 3487140"/>
              <a:gd name="connsiteX56" fmla="*/ 2638312 w 7603996"/>
              <a:gd name="connsiteY56" fmla="*/ 2505548 h 3487140"/>
              <a:gd name="connsiteX57" fmla="*/ 2329862 w 7603996"/>
              <a:gd name="connsiteY57" fmla="*/ 2278109 h 3487140"/>
              <a:gd name="connsiteX58" fmla="*/ 1885173 w 7603996"/>
              <a:gd name="connsiteY58" fmla="*/ 1678800 h 3487140"/>
              <a:gd name="connsiteX59" fmla="*/ 1765320 w 7603996"/>
              <a:gd name="connsiteY59" fmla="*/ 1175432 h 3487140"/>
              <a:gd name="connsiteX60" fmla="*/ 1919774 w 7603996"/>
              <a:gd name="connsiteY60" fmla="*/ 1377420 h 3487140"/>
              <a:gd name="connsiteX61" fmla="*/ 2281414 w 7603996"/>
              <a:gd name="connsiteY61" fmla="*/ 2268710 h 3487140"/>
              <a:gd name="connsiteX62" fmla="*/ 2601216 w 7603996"/>
              <a:gd name="connsiteY62" fmla="*/ 2693105 h 3487140"/>
              <a:gd name="connsiteX63" fmla="*/ 2834644 w 7603996"/>
              <a:gd name="connsiteY63" fmla="*/ 2746586 h 3487140"/>
              <a:gd name="connsiteX64" fmla="*/ 3001865 w 7603996"/>
              <a:gd name="connsiteY64" fmla="*/ 2631432 h 3487140"/>
              <a:gd name="connsiteX65" fmla="*/ 3013052 w 7603996"/>
              <a:gd name="connsiteY65" fmla="*/ 2436680 h 3487140"/>
              <a:gd name="connsiteX66" fmla="*/ 2859222 w 7603996"/>
              <a:gd name="connsiteY66" fmla="*/ 2309258 h 3487140"/>
              <a:gd name="connsiteX67" fmla="*/ 2652036 w 7603996"/>
              <a:gd name="connsiteY67" fmla="*/ 2375007 h 3487140"/>
              <a:gd name="connsiteX68" fmla="*/ 2629537 w 7603996"/>
              <a:gd name="connsiteY68" fmla="*/ 2581402 h 3487140"/>
              <a:gd name="connsiteX69" fmla="*/ 2772222 w 7603996"/>
              <a:gd name="connsiteY69" fmla="*/ 2671064 h 3487140"/>
              <a:gd name="connsiteX70" fmla="*/ 2868787 w 7603996"/>
              <a:gd name="connsiteY70" fmla="*/ 2596831 h 3487140"/>
              <a:gd name="connsiteX71" fmla="*/ 2835601 w 7603996"/>
              <a:gd name="connsiteY71" fmla="*/ 2530750 h 3487140"/>
              <a:gd name="connsiteX72" fmla="*/ 2713543 w 7603996"/>
              <a:gd name="connsiteY72" fmla="*/ 2615379 h 3487140"/>
              <a:gd name="connsiteX73" fmla="*/ 2567864 w 7603996"/>
              <a:gd name="connsiteY73" fmla="*/ 2907028 h 3487140"/>
              <a:gd name="connsiteX74" fmla="*/ 2520039 w 7603996"/>
              <a:gd name="connsiteY74" fmla="*/ 3008333 h 3487140"/>
              <a:gd name="connsiteX75" fmla="*/ 2484191 w 7603996"/>
              <a:gd name="connsiteY75" fmla="*/ 3024053 h 3487140"/>
              <a:gd name="connsiteX76" fmla="*/ 2389165 w 7603996"/>
              <a:gd name="connsiteY76" fmla="*/ 3013989 h 3487140"/>
              <a:gd name="connsiteX77" fmla="*/ 2396068 w 7603996"/>
              <a:gd name="connsiteY77" fmla="*/ 2956724 h 3487140"/>
              <a:gd name="connsiteX78" fmla="*/ 2584831 w 7603996"/>
              <a:gd name="connsiteY78" fmla="*/ 2951068 h 3487140"/>
              <a:gd name="connsiteX79" fmla="*/ 2671041 w 7603996"/>
              <a:gd name="connsiteY79" fmla="*/ 2951068 h 3487140"/>
              <a:gd name="connsiteX80" fmla="*/ 2752219 w 7603996"/>
              <a:gd name="connsiteY80" fmla="*/ 2822066 h 3487140"/>
              <a:gd name="connsiteX81" fmla="*/ 2892533 w 7603996"/>
              <a:gd name="connsiteY81" fmla="*/ 2789337 h 3487140"/>
              <a:gd name="connsiteX82" fmla="*/ 3020246 w 7603996"/>
              <a:gd name="connsiteY82" fmla="*/ 2713815 h 3487140"/>
              <a:gd name="connsiteX83" fmla="*/ 3106456 w 7603996"/>
              <a:gd name="connsiteY83" fmla="*/ 2544556 h 3487140"/>
              <a:gd name="connsiteX84" fmla="*/ 3326035 w 7603996"/>
              <a:gd name="connsiteY84" fmla="*/ 2482883 h 3487140"/>
              <a:gd name="connsiteX85" fmla="*/ 3861009 w 7603996"/>
              <a:gd name="connsiteY85" fmla="*/ 2466831 h 3487140"/>
              <a:gd name="connsiteX86" fmla="*/ 4016751 w 7603996"/>
              <a:gd name="connsiteY86" fmla="*/ 2420918 h 3487140"/>
              <a:gd name="connsiteX87" fmla="*/ 3866664 w 7603996"/>
              <a:gd name="connsiteY87" fmla="*/ 2252907 h 3487140"/>
              <a:gd name="connsiteX88" fmla="*/ 3391285 w 7603996"/>
              <a:gd name="connsiteY88" fmla="*/ 1791709 h 3487140"/>
              <a:gd name="connsiteX89" fmla="*/ 3127166 w 7603996"/>
              <a:gd name="connsiteY89" fmla="*/ 1600118 h 3487140"/>
              <a:gd name="connsiteX90" fmla="*/ 3003196 w 7603996"/>
              <a:gd name="connsiteY90" fmla="*/ 1733529 h 3487140"/>
              <a:gd name="connsiteX91" fmla="*/ 2940898 w 7603996"/>
              <a:gd name="connsiteY91" fmla="*/ 1995900 h 3487140"/>
              <a:gd name="connsiteX92" fmla="*/ 2981778 w 7603996"/>
              <a:gd name="connsiteY92" fmla="*/ 2048133 h 3487140"/>
              <a:gd name="connsiteX93" fmla="*/ 3044699 w 7603996"/>
              <a:gd name="connsiteY93" fmla="*/ 1778817 h 3487140"/>
              <a:gd name="connsiteX94" fmla="*/ 3166466 w 7603996"/>
              <a:gd name="connsiteY94" fmla="*/ 1356918 h 3487140"/>
              <a:gd name="connsiteX95" fmla="*/ 3272803 w 7603996"/>
              <a:gd name="connsiteY95" fmla="*/ 986960 h 3487140"/>
              <a:gd name="connsiteX96" fmla="*/ 3243526 w 7603996"/>
              <a:gd name="connsiteY96" fmla="*/ 867107 h 3487140"/>
              <a:gd name="connsiteX97" fmla="*/ 3068612 w 7603996"/>
              <a:gd name="connsiteY97" fmla="*/ 840034 h 3487140"/>
              <a:gd name="connsiteX98" fmla="*/ 2924513 w 7603996"/>
              <a:gd name="connsiteY98" fmla="*/ 782769 h 3487140"/>
              <a:gd name="connsiteX99" fmla="*/ 2940857 w 7603996"/>
              <a:gd name="connsiteY99" fmla="*/ 714816 h 3487140"/>
              <a:gd name="connsiteX100" fmla="*/ 3114524 w 7603996"/>
              <a:gd name="connsiteY100" fmla="*/ 723008 h 3487140"/>
              <a:gd name="connsiteX101" fmla="*/ 3317135 w 7603996"/>
              <a:gd name="connsiteY101" fmla="*/ 729288 h 3487140"/>
              <a:gd name="connsiteX102" fmla="*/ 3483857 w 7603996"/>
              <a:gd name="connsiteY102" fmla="*/ 682087 h 3487140"/>
              <a:gd name="connsiteX103" fmla="*/ 3601506 w 7603996"/>
              <a:gd name="connsiteY103" fmla="*/ 703463 h 3487140"/>
              <a:gd name="connsiteX104" fmla="*/ 3624171 w 7603996"/>
              <a:gd name="connsiteY104" fmla="*/ 797199 h 3487140"/>
              <a:gd name="connsiteX105" fmla="*/ 3496458 w 7603996"/>
              <a:gd name="connsiteY105" fmla="*/ 890936 h 3487140"/>
              <a:gd name="connsiteX106" fmla="*/ 3326575 w 7603996"/>
              <a:gd name="connsiteY106" fmla="*/ 918009 h 3487140"/>
              <a:gd name="connsiteX107" fmla="*/ 3198862 w 7603996"/>
              <a:gd name="connsiteY107" fmla="*/ 1002306 h 3487140"/>
              <a:gd name="connsiteX108" fmla="*/ 3097972 w 7603996"/>
              <a:gd name="connsiteY108" fmla="*/ 1299902 h 3487140"/>
              <a:gd name="connsiteX109" fmla="*/ 3159022 w 7603996"/>
              <a:gd name="connsiteY109" fmla="*/ 1545930 h 3487140"/>
              <a:gd name="connsiteX110" fmla="*/ 3371697 w 7603996"/>
              <a:gd name="connsiteY110" fmla="*/ 1536490 h 3487140"/>
              <a:gd name="connsiteX111" fmla="*/ 3551228 w 7603996"/>
              <a:gd name="connsiteY111" fmla="*/ 1376048 h 3487140"/>
              <a:gd name="connsiteX112" fmla="*/ 3554389 w 7603996"/>
              <a:gd name="connsiteY112" fmla="*/ 1231949 h 3487140"/>
              <a:gd name="connsiteX113" fmla="*/ 3336348 w 7603996"/>
              <a:gd name="connsiteY113" fmla="*/ 1191693 h 3487140"/>
              <a:gd name="connsiteX114" fmla="*/ 3344832 w 7603996"/>
              <a:gd name="connsiteY114" fmla="*/ 1255238 h 3487140"/>
              <a:gd name="connsiteX115" fmla="*/ 3769850 w 7603996"/>
              <a:gd name="connsiteY115" fmla="*/ 1241722 h 3487140"/>
              <a:gd name="connsiteX116" fmla="*/ 4254670 w 7603996"/>
              <a:gd name="connsiteY116" fmla="*/ 1259646 h 3487140"/>
              <a:gd name="connsiteX117" fmla="*/ 4484022 w 7603996"/>
              <a:gd name="connsiteY117" fmla="*/ 1236981 h 3487140"/>
              <a:gd name="connsiteX118" fmla="*/ 4465766 w 7603996"/>
              <a:gd name="connsiteY118" fmla="*/ 1185995 h 3487140"/>
              <a:gd name="connsiteX119" fmla="*/ 4105248 w 7603996"/>
              <a:gd name="connsiteY119" fmla="*/ 1177512 h 3487140"/>
              <a:gd name="connsiteX120" fmla="*/ 3734668 w 7603996"/>
              <a:gd name="connsiteY120" fmla="*/ 1331342 h 3487140"/>
              <a:gd name="connsiteX121" fmla="*/ 3388914 w 7603996"/>
              <a:gd name="connsiteY121" fmla="*/ 1604110 h 3487140"/>
              <a:gd name="connsiteX122" fmla="*/ 3156111 w 7603996"/>
              <a:gd name="connsiteY122" fmla="*/ 1921252 h 3487140"/>
              <a:gd name="connsiteX123" fmla="*/ 3060461 w 7603996"/>
              <a:gd name="connsiteY123" fmla="*/ 2419255 h 3487140"/>
              <a:gd name="connsiteX124" fmla="*/ 3290769 w 7603996"/>
              <a:gd name="connsiteY124" fmla="*/ 3048465 h 3487140"/>
              <a:gd name="connsiteX125" fmla="*/ 3868994 w 7603996"/>
              <a:gd name="connsiteY125" fmla="*/ 3394510 h 3487140"/>
              <a:gd name="connsiteX126" fmla="*/ 4507643 w 7603996"/>
              <a:gd name="connsiteY126" fmla="*/ 3330632 h 3487140"/>
              <a:gd name="connsiteX127" fmla="*/ 5002818 w 7603996"/>
              <a:gd name="connsiteY127" fmla="*/ 2841404 h 3487140"/>
              <a:gd name="connsiteX128" fmla="*/ 5036171 w 7603996"/>
              <a:gd name="connsiteY128" fmla="*/ 2052999 h 3487140"/>
              <a:gd name="connsiteX129" fmla="*/ 4605164 w 7603996"/>
              <a:gd name="connsiteY129" fmla="*/ 1482011 h 3487140"/>
              <a:gd name="connsiteX130" fmla="*/ 4138310 w 7603996"/>
              <a:gd name="connsiteY130" fmla="*/ 1352717 h 3487140"/>
              <a:gd name="connsiteX131" fmla="*/ 3977868 w 7603996"/>
              <a:gd name="connsiteY131" fmla="*/ 1466624 h 3487140"/>
              <a:gd name="connsiteX132" fmla="*/ 3999909 w 7603996"/>
              <a:gd name="connsiteY132" fmla="*/ 2001140 h 3487140"/>
              <a:gd name="connsiteX133" fmla="*/ 4033885 w 7603996"/>
              <a:gd name="connsiteY133" fmla="*/ 2313208 h 3487140"/>
              <a:gd name="connsiteX134" fmla="*/ 4125585 w 7603996"/>
              <a:gd name="connsiteY134" fmla="*/ 2399085 h 3487140"/>
              <a:gd name="connsiteX135" fmla="*/ 4230051 w 7603996"/>
              <a:gd name="connsiteY135" fmla="*/ 2362905 h 3487140"/>
              <a:gd name="connsiteX136" fmla="*/ 4194660 w 7603996"/>
              <a:gd name="connsiteY136" fmla="*/ 2271372 h 3487140"/>
              <a:gd name="connsiteX137" fmla="*/ 4097056 w 7603996"/>
              <a:gd name="connsiteY137" fmla="*/ 2303394 h 3487140"/>
              <a:gd name="connsiteX138" fmla="*/ 4080670 w 7603996"/>
              <a:gd name="connsiteY138" fmla="*/ 2437262 h 3487140"/>
              <a:gd name="connsiteX139" fmla="*/ 4079589 w 7603996"/>
              <a:gd name="connsiteY139" fmla="*/ 2519521 h 3487140"/>
              <a:gd name="connsiteX140" fmla="*/ 3900475 w 7603996"/>
              <a:gd name="connsiteY140" fmla="*/ 2539400 h 3487140"/>
              <a:gd name="connsiteX141" fmla="*/ 3490220 w 7603996"/>
              <a:gd name="connsiteY141" fmla="*/ 2545679 h 3487140"/>
              <a:gd name="connsiteX142" fmla="*/ 3249848 w 7603996"/>
              <a:gd name="connsiteY142" fmla="*/ 2602944 h 3487140"/>
              <a:gd name="connsiteX143" fmla="*/ 3240241 w 7603996"/>
              <a:gd name="connsiteY143" fmla="*/ 2790460 h 3487140"/>
              <a:gd name="connsiteX144" fmla="*/ 3433578 w 7603996"/>
              <a:gd name="connsiteY144" fmla="*/ 3133385 h 3487140"/>
              <a:gd name="connsiteX145" fmla="*/ 3925468 w 7603996"/>
              <a:gd name="connsiteY145" fmla="*/ 3465290 h 3487140"/>
              <a:gd name="connsiteX146" fmla="*/ 4666214 w 7603996"/>
              <a:gd name="connsiteY146" fmla="*/ 3390434 h 3487140"/>
              <a:gd name="connsiteX147" fmla="*/ 5106037 w 7603996"/>
              <a:gd name="connsiteY147" fmla="*/ 3017940 h 3487140"/>
              <a:gd name="connsiteX148" fmla="*/ 5420018 w 7603996"/>
              <a:gd name="connsiteY148" fmla="*/ 2655510 h 3487140"/>
              <a:gd name="connsiteX149" fmla="*/ 5792512 w 7603996"/>
              <a:gd name="connsiteY149" fmla="*/ 3163577 h 3487140"/>
              <a:gd name="connsiteX150" fmla="*/ 6016499 w 7603996"/>
              <a:gd name="connsiteY150" fmla="*/ 3255443 h 3487140"/>
              <a:gd name="connsiteX151" fmla="*/ 6094516 w 7603996"/>
              <a:gd name="connsiteY151" fmla="*/ 2786675 h 3487140"/>
              <a:gd name="connsiteX152" fmla="*/ 6404089 w 7603996"/>
              <a:gd name="connsiteY152" fmla="*/ 2869724 h 3487140"/>
              <a:gd name="connsiteX153" fmla="*/ 6642881 w 7603996"/>
              <a:gd name="connsiteY153" fmla="*/ 3245046 h 3487140"/>
              <a:gd name="connsiteX154" fmla="*/ 7015374 w 7603996"/>
              <a:gd name="connsiteY154" fmla="*/ 3329676 h 3487140"/>
              <a:gd name="connsiteX155" fmla="*/ 7603996 w 7603996"/>
              <a:gd name="connsiteY155" fmla="*/ 3217682 h 3487140"/>
              <a:gd name="connsiteX0" fmla="*/ 777215 w 7015374"/>
              <a:gd name="connsiteY0" fmla="*/ 3295741 h 3487140"/>
              <a:gd name="connsiteX1" fmla="*/ 526113 w 7015374"/>
              <a:gd name="connsiteY1" fmla="*/ 3112384 h 3487140"/>
              <a:gd name="connsiteX2" fmla="*/ 219950 w 7015374"/>
              <a:gd name="connsiteY2" fmla="*/ 2750287 h 3487140"/>
              <a:gd name="connsiteX3" fmla="*/ 128418 w 7015374"/>
              <a:gd name="connsiteY3" fmla="*/ 2305432 h 3487140"/>
              <a:gd name="connsiteX4" fmla="*/ 256006 w 7015374"/>
              <a:gd name="connsiteY4" fmla="*/ 1919713 h 3487140"/>
              <a:gd name="connsiteX5" fmla="*/ 580218 w 7015374"/>
              <a:gd name="connsiteY5" fmla="*/ 1637837 h 3487140"/>
              <a:gd name="connsiteX6" fmla="*/ 1073522 w 7015374"/>
              <a:gd name="connsiteY6" fmla="*/ 1545972 h 3487140"/>
              <a:gd name="connsiteX7" fmla="*/ 1308197 w 7015374"/>
              <a:gd name="connsiteY7" fmla="*/ 1517651 h 3487140"/>
              <a:gd name="connsiteX8" fmla="*/ 1292934 w 7015374"/>
              <a:gd name="connsiteY8" fmla="*/ 1460718 h 3487140"/>
              <a:gd name="connsiteX9" fmla="*/ 1016880 w 7015374"/>
              <a:gd name="connsiteY9" fmla="*/ 1416969 h 3487140"/>
              <a:gd name="connsiteX10" fmla="*/ 497460 w 7015374"/>
              <a:gd name="connsiteY10" fmla="*/ 1517318 h 3487140"/>
              <a:gd name="connsiteX11" fmla="*/ 88162 w 7015374"/>
              <a:gd name="connsiteY11" fmla="*/ 1960593 h 3487140"/>
              <a:gd name="connsiteX12" fmla="*/ 28692 w 7015374"/>
              <a:gd name="connsiteY12" fmla="*/ 2569342 h 3487140"/>
              <a:gd name="connsiteX13" fmla="*/ 442399 w 7015374"/>
              <a:gd name="connsiteY13" fmla="*/ 3165532 h 3487140"/>
              <a:gd name="connsiteX14" fmla="*/ 1232384 w 7015374"/>
              <a:gd name="connsiteY14" fmla="*/ 3283181 h 3487140"/>
              <a:gd name="connsiteX15" fmla="*/ 1835020 w 7015374"/>
              <a:gd name="connsiteY15" fmla="*/ 2757481 h 3487140"/>
              <a:gd name="connsiteX16" fmla="*/ 1824789 w 7015374"/>
              <a:gd name="connsiteY16" fmla="*/ 1980430 h 3487140"/>
              <a:gd name="connsiteX17" fmla="*/ 1494755 w 7015374"/>
              <a:gd name="connsiteY17" fmla="*/ 1589139 h 3487140"/>
              <a:gd name="connsiteX18" fmla="*/ 1305701 w 7015374"/>
              <a:gd name="connsiteY18" fmla="*/ 1660710 h 3487140"/>
              <a:gd name="connsiteX19" fmla="*/ 1197284 w 7015374"/>
              <a:gd name="connsiteY19" fmla="*/ 2116627 h 3487140"/>
              <a:gd name="connsiteX20" fmla="*/ 973921 w 7015374"/>
              <a:gd name="connsiteY20" fmla="*/ 2374258 h 3487140"/>
              <a:gd name="connsiteX21" fmla="*/ 918985 w 7015374"/>
              <a:gd name="connsiteY21" fmla="*/ 2276986 h 3487140"/>
              <a:gd name="connsiteX22" fmla="*/ 1298257 w 7015374"/>
              <a:gd name="connsiteY22" fmla="*/ 2021601 h 3487140"/>
              <a:gd name="connsiteX23" fmla="*/ 1558176 w 7015374"/>
              <a:gd name="connsiteY23" fmla="*/ 1234153 h 3487140"/>
              <a:gd name="connsiteX24" fmla="*/ 1788276 w 7015374"/>
              <a:gd name="connsiteY24" fmla="*/ 725296 h 3487140"/>
              <a:gd name="connsiteX25" fmla="*/ 1896859 w 7015374"/>
              <a:gd name="connsiteY25" fmla="*/ 539984 h 3487140"/>
              <a:gd name="connsiteX26" fmla="*/ 1865711 w 7015374"/>
              <a:gd name="connsiteY26" fmla="*/ 435851 h 3487140"/>
              <a:gd name="connsiteX27" fmla="*/ 1759373 w 7015374"/>
              <a:gd name="connsiteY27" fmla="*/ 350265 h 3487140"/>
              <a:gd name="connsiteX28" fmla="*/ 1714085 w 7015374"/>
              <a:gd name="connsiteY28" fmla="*/ 209327 h 3487140"/>
              <a:gd name="connsiteX29" fmla="*/ 1758915 w 7015374"/>
              <a:gd name="connsiteY29" fmla="*/ 82237 h 3487140"/>
              <a:gd name="connsiteX30" fmla="*/ 1939195 w 7015374"/>
              <a:gd name="connsiteY30" fmla="*/ 6716 h 3487140"/>
              <a:gd name="connsiteX31" fmla="*/ 2207888 w 7015374"/>
              <a:gd name="connsiteY31" fmla="*/ 10167 h 3487140"/>
              <a:gd name="connsiteX32" fmla="*/ 2291561 w 7015374"/>
              <a:gd name="connsiteY32" fmla="*/ 49800 h 3487140"/>
              <a:gd name="connsiteX33" fmla="*/ 2244526 w 7015374"/>
              <a:gd name="connsiteY33" fmla="*/ 86812 h 3487140"/>
              <a:gd name="connsiteX34" fmla="*/ 2008603 w 7015374"/>
              <a:gd name="connsiteY34" fmla="*/ 91886 h 3487140"/>
              <a:gd name="connsiteX35" fmla="*/ 1765070 w 7015374"/>
              <a:gd name="connsiteY35" fmla="*/ 75833 h 3487140"/>
              <a:gd name="connsiteX36" fmla="*/ 1657319 w 7015374"/>
              <a:gd name="connsiteY36" fmla="*/ 176931 h 3487140"/>
              <a:gd name="connsiteX37" fmla="*/ 1672581 w 7015374"/>
              <a:gd name="connsiteY37" fmla="*/ 370393 h 3487140"/>
              <a:gd name="connsiteX38" fmla="*/ 1617354 w 7015374"/>
              <a:gd name="connsiteY38" fmla="*/ 589348 h 3487140"/>
              <a:gd name="connsiteX39" fmla="*/ 1460820 w 7015374"/>
              <a:gd name="connsiteY39" fmla="*/ 903953 h 3487140"/>
              <a:gd name="connsiteX40" fmla="*/ 1250349 w 7015374"/>
              <a:gd name="connsiteY40" fmla="*/ 922501 h 3487140"/>
              <a:gd name="connsiteX41" fmla="*/ 1055930 w 7015374"/>
              <a:gd name="connsiteY41" fmla="*/ 866816 h 3487140"/>
              <a:gd name="connsiteX42" fmla="*/ 997085 w 7015374"/>
              <a:gd name="connsiteY42" fmla="*/ 751038 h 3487140"/>
              <a:gd name="connsiteX43" fmla="*/ 1009021 w 7015374"/>
              <a:gd name="connsiteY43" fmla="*/ 369436 h 3487140"/>
              <a:gd name="connsiteX44" fmla="*/ 1070694 w 7015374"/>
              <a:gd name="connsiteY44" fmla="*/ 155805 h 3487140"/>
              <a:gd name="connsiteX45" fmla="*/ 1272058 w 7015374"/>
              <a:gd name="connsiteY45" fmla="*/ 156761 h 3487140"/>
              <a:gd name="connsiteX46" fmla="*/ 1524989 w 7015374"/>
              <a:gd name="connsiteY46" fmla="*/ 245175 h 3487140"/>
              <a:gd name="connsiteX47" fmla="*/ 1694081 w 7015374"/>
              <a:gd name="connsiteY47" fmla="*/ 357792 h 3487140"/>
              <a:gd name="connsiteX48" fmla="*/ 1798672 w 7015374"/>
              <a:gd name="connsiteY48" fmla="*/ 483301 h 3487140"/>
              <a:gd name="connsiteX49" fmla="*/ 1822876 w 7015374"/>
              <a:gd name="connsiteY49" fmla="*/ 600951 h 3487140"/>
              <a:gd name="connsiteX50" fmla="*/ 1795345 w 7015374"/>
              <a:gd name="connsiteY50" fmla="*/ 761726 h 3487140"/>
              <a:gd name="connsiteX51" fmla="*/ 1967266 w 7015374"/>
              <a:gd name="connsiteY51" fmla="*/ 1160004 h 3487140"/>
              <a:gd name="connsiteX52" fmla="*/ 2390246 w 7015374"/>
              <a:gd name="connsiteY52" fmla="*/ 1793622 h 3487140"/>
              <a:gd name="connsiteX53" fmla="*/ 2807737 w 7015374"/>
              <a:gd name="connsiteY53" fmla="*/ 2087475 h 3487140"/>
              <a:gd name="connsiteX54" fmla="*/ 2917360 w 7015374"/>
              <a:gd name="connsiteY54" fmla="*/ 2185620 h 3487140"/>
              <a:gd name="connsiteX55" fmla="*/ 2804411 w 7015374"/>
              <a:gd name="connsiteY55" fmla="*/ 2468120 h 3487140"/>
              <a:gd name="connsiteX56" fmla="*/ 2638312 w 7015374"/>
              <a:gd name="connsiteY56" fmla="*/ 2505548 h 3487140"/>
              <a:gd name="connsiteX57" fmla="*/ 2329862 w 7015374"/>
              <a:gd name="connsiteY57" fmla="*/ 2278109 h 3487140"/>
              <a:gd name="connsiteX58" fmla="*/ 1885173 w 7015374"/>
              <a:gd name="connsiteY58" fmla="*/ 1678800 h 3487140"/>
              <a:gd name="connsiteX59" fmla="*/ 1765320 w 7015374"/>
              <a:gd name="connsiteY59" fmla="*/ 1175432 h 3487140"/>
              <a:gd name="connsiteX60" fmla="*/ 1919774 w 7015374"/>
              <a:gd name="connsiteY60" fmla="*/ 1377420 h 3487140"/>
              <a:gd name="connsiteX61" fmla="*/ 2281414 w 7015374"/>
              <a:gd name="connsiteY61" fmla="*/ 2268710 h 3487140"/>
              <a:gd name="connsiteX62" fmla="*/ 2601216 w 7015374"/>
              <a:gd name="connsiteY62" fmla="*/ 2693105 h 3487140"/>
              <a:gd name="connsiteX63" fmla="*/ 2834644 w 7015374"/>
              <a:gd name="connsiteY63" fmla="*/ 2746586 h 3487140"/>
              <a:gd name="connsiteX64" fmla="*/ 3001865 w 7015374"/>
              <a:gd name="connsiteY64" fmla="*/ 2631432 h 3487140"/>
              <a:gd name="connsiteX65" fmla="*/ 3013052 w 7015374"/>
              <a:gd name="connsiteY65" fmla="*/ 2436680 h 3487140"/>
              <a:gd name="connsiteX66" fmla="*/ 2859222 w 7015374"/>
              <a:gd name="connsiteY66" fmla="*/ 2309258 h 3487140"/>
              <a:gd name="connsiteX67" fmla="*/ 2652036 w 7015374"/>
              <a:gd name="connsiteY67" fmla="*/ 2375007 h 3487140"/>
              <a:gd name="connsiteX68" fmla="*/ 2629537 w 7015374"/>
              <a:gd name="connsiteY68" fmla="*/ 2581402 h 3487140"/>
              <a:gd name="connsiteX69" fmla="*/ 2772222 w 7015374"/>
              <a:gd name="connsiteY69" fmla="*/ 2671064 h 3487140"/>
              <a:gd name="connsiteX70" fmla="*/ 2868787 w 7015374"/>
              <a:gd name="connsiteY70" fmla="*/ 2596831 h 3487140"/>
              <a:gd name="connsiteX71" fmla="*/ 2835601 w 7015374"/>
              <a:gd name="connsiteY71" fmla="*/ 2530750 h 3487140"/>
              <a:gd name="connsiteX72" fmla="*/ 2713543 w 7015374"/>
              <a:gd name="connsiteY72" fmla="*/ 2615379 h 3487140"/>
              <a:gd name="connsiteX73" fmla="*/ 2567864 w 7015374"/>
              <a:gd name="connsiteY73" fmla="*/ 2907028 h 3487140"/>
              <a:gd name="connsiteX74" fmla="*/ 2520039 w 7015374"/>
              <a:gd name="connsiteY74" fmla="*/ 3008333 h 3487140"/>
              <a:gd name="connsiteX75" fmla="*/ 2484191 w 7015374"/>
              <a:gd name="connsiteY75" fmla="*/ 3024053 h 3487140"/>
              <a:gd name="connsiteX76" fmla="*/ 2389165 w 7015374"/>
              <a:gd name="connsiteY76" fmla="*/ 3013989 h 3487140"/>
              <a:gd name="connsiteX77" fmla="*/ 2396068 w 7015374"/>
              <a:gd name="connsiteY77" fmla="*/ 2956724 h 3487140"/>
              <a:gd name="connsiteX78" fmla="*/ 2584831 w 7015374"/>
              <a:gd name="connsiteY78" fmla="*/ 2951068 h 3487140"/>
              <a:gd name="connsiteX79" fmla="*/ 2671041 w 7015374"/>
              <a:gd name="connsiteY79" fmla="*/ 2951068 h 3487140"/>
              <a:gd name="connsiteX80" fmla="*/ 2752219 w 7015374"/>
              <a:gd name="connsiteY80" fmla="*/ 2822066 h 3487140"/>
              <a:gd name="connsiteX81" fmla="*/ 2892533 w 7015374"/>
              <a:gd name="connsiteY81" fmla="*/ 2789337 h 3487140"/>
              <a:gd name="connsiteX82" fmla="*/ 3020246 w 7015374"/>
              <a:gd name="connsiteY82" fmla="*/ 2713815 h 3487140"/>
              <a:gd name="connsiteX83" fmla="*/ 3106456 w 7015374"/>
              <a:gd name="connsiteY83" fmla="*/ 2544556 h 3487140"/>
              <a:gd name="connsiteX84" fmla="*/ 3326035 w 7015374"/>
              <a:gd name="connsiteY84" fmla="*/ 2482883 h 3487140"/>
              <a:gd name="connsiteX85" fmla="*/ 3861009 w 7015374"/>
              <a:gd name="connsiteY85" fmla="*/ 2466831 h 3487140"/>
              <a:gd name="connsiteX86" fmla="*/ 4016751 w 7015374"/>
              <a:gd name="connsiteY86" fmla="*/ 2420918 h 3487140"/>
              <a:gd name="connsiteX87" fmla="*/ 3866664 w 7015374"/>
              <a:gd name="connsiteY87" fmla="*/ 2252907 h 3487140"/>
              <a:gd name="connsiteX88" fmla="*/ 3391285 w 7015374"/>
              <a:gd name="connsiteY88" fmla="*/ 1791709 h 3487140"/>
              <a:gd name="connsiteX89" fmla="*/ 3127166 w 7015374"/>
              <a:gd name="connsiteY89" fmla="*/ 1600118 h 3487140"/>
              <a:gd name="connsiteX90" fmla="*/ 3003196 w 7015374"/>
              <a:gd name="connsiteY90" fmla="*/ 1733529 h 3487140"/>
              <a:gd name="connsiteX91" fmla="*/ 2940898 w 7015374"/>
              <a:gd name="connsiteY91" fmla="*/ 1995900 h 3487140"/>
              <a:gd name="connsiteX92" fmla="*/ 2981778 w 7015374"/>
              <a:gd name="connsiteY92" fmla="*/ 2048133 h 3487140"/>
              <a:gd name="connsiteX93" fmla="*/ 3044699 w 7015374"/>
              <a:gd name="connsiteY93" fmla="*/ 1778817 h 3487140"/>
              <a:gd name="connsiteX94" fmla="*/ 3166466 w 7015374"/>
              <a:gd name="connsiteY94" fmla="*/ 1356918 h 3487140"/>
              <a:gd name="connsiteX95" fmla="*/ 3272803 w 7015374"/>
              <a:gd name="connsiteY95" fmla="*/ 986960 h 3487140"/>
              <a:gd name="connsiteX96" fmla="*/ 3243526 w 7015374"/>
              <a:gd name="connsiteY96" fmla="*/ 867107 h 3487140"/>
              <a:gd name="connsiteX97" fmla="*/ 3068612 w 7015374"/>
              <a:gd name="connsiteY97" fmla="*/ 840034 h 3487140"/>
              <a:gd name="connsiteX98" fmla="*/ 2924513 w 7015374"/>
              <a:gd name="connsiteY98" fmla="*/ 782769 h 3487140"/>
              <a:gd name="connsiteX99" fmla="*/ 2940857 w 7015374"/>
              <a:gd name="connsiteY99" fmla="*/ 714816 h 3487140"/>
              <a:gd name="connsiteX100" fmla="*/ 3114524 w 7015374"/>
              <a:gd name="connsiteY100" fmla="*/ 723008 h 3487140"/>
              <a:gd name="connsiteX101" fmla="*/ 3317135 w 7015374"/>
              <a:gd name="connsiteY101" fmla="*/ 729288 h 3487140"/>
              <a:gd name="connsiteX102" fmla="*/ 3483857 w 7015374"/>
              <a:gd name="connsiteY102" fmla="*/ 682087 h 3487140"/>
              <a:gd name="connsiteX103" fmla="*/ 3601506 w 7015374"/>
              <a:gd name="connsiteY103" fmla="*/ 703463 h 3487140"/>
              <a:gd name="connsiteX104" fmla="*/ 3624171 w 7015374"/>
              <a:gd name="connsiteY104" fmla="*/ 797199 h 3487140"/>
              <a:gd name="connsiteX105" fmla="*/ 3496458 w 7015374"/>
              <a:gd name="connsiteY105" fmla="*/ 890936 h 3487140"/>
              <a:gd name="connsiteX106" fmla="*/ 3326575 w 7015374"/>
              <a:gd name="connsiteY106" fmla="*/ 918009 h 3487140"/>
              <a:gd name="connsiteX107" fmla="*/ 3198862 w 7015374"/>
              <a:gd name="connsiteY107" fmla="*/ 1002306 h 3487140"/>
              <a:gd name="connsiteX108" fmla="*/ 3097972 w 7015374"/>
              <a:gd name="connsiteY108" fmla="*/ 1299902 h 3487140"/>
              <a:gd name="connsiteX109" fmla="*/ 3159022 w 7015374"/>
              <a:gd name="connsiteY109" fmla="*/ 1545930 h 3487140"/>
              <a:gd name="connsiteX110" fmla="*/ 3371697 w 7015374"/>
              <a:gd name="connsiteY110" fmla="*/ 1536490 h 3487140"/>
              <a:gd name="connsiteX111" fmla="*/ 3551228 w 7015374"/>
              <a:gd name="connsiteY111" fmla="*/ 1376048 h 3487140"/>
              <a:gd name="connsiteX112" fmla="*/ 3554389 w 7015374"/>
              <a:gd name="connsiteY112" fmla="*/ 1231949 h 3487140"/>
              <a:gd name="connsiteX113" fmla="*/ 3336348 w 7015374"/>
              <a:gd name="connsiteY113" fmla="*/ 1191693 h 3487140"/>
              <a:gd name="connsiteX114" fmla="*/ 3344832 w 7015374"/>
              <a:gd name="connsiteY114" fmla="*/ 1255238 h 3487140"/>
              <a:gd name="connsiteX115" fmla="*/ 3769850 w 7015374"/>
              <a:gd name="connsiteY115" fmla="*/ 1241722 h 3487140"/>
              <a:gd name="connsiteX116" fmla="*/ 4254670 w 7015374"/>
              <a:gd name="connsiteY116" fmla="*/ 1259646 h 3487140"/>
              <a:gd name="connsiteX117" fmla="*/ 4484022 w 7015374"/>
              <a:gd name="connsiteY117" fmla="*/ 1236981 h 3487140"/>
              <a:gd name="connsiteX118" fmla="*/ 4465766 w 7015374"/>
              <a:gd name="connsiteY118" fmla="*/ 1185995 h 3487140"/>
              <a:gd name="connsiteX119" fmla="*/ 4105248 w 7015374"/>
              <a:gd name="connsiteY119" fmla="*/ 1177512 h 3487140"/>
              <a:gd name="connsiteX120" fmla="*/ 3734668 w 7015374"/>
              <a:gd name="connsiteY120" fmla="*/ 1331342 h 3487140"/>
              <a:gd name="connsiteX121" fmla="*/ 3388914 w 7015374"/>
              <a:gd name="connsiteY121" fmla="*/ 1604110 h 3487140"/>
              <a:gd name="connsiteX122" fmla="*/ 3156111 w 7015374"/>
              <a:gd name="connsiteY122" fmla="*/ 1921252 h 3487140"/>
              <a:gd name="connsiteX123" fmla="*/ 3060461 w 7015374"/>
              <a:gd name="connsiteY123" fmla="*/ 2419255 h 3487140"/>
              <a:gd name="connsiteX124" fmla="*/ 3290769 w 7015374"/>
              <a:gd name="connsiteY124" fmla="*/ 3048465 h 3487140"/>
              <a:gd name="connsiteX125" fmla="*/ 3868994 w 7015374"/>
              <a:gd name="connsiteY125" fmla="*/ 3394510 h 3487140"/>
              <a:gd name="connsiteX126" fmla="*/ 4507643 w 7015374"/>
              <a:gd name="connsiteY126" fmla="*/ 3330632 h 3487140"/>
              <a:gd name="connsiteX127" fmla="*/ 5002818 w 7015374"/>
              <a:gd name="connsiteY127" fmla="*/ 2841404 h 3487140"/>
              <a:gd name="connsiteX128" fmla="*/ 5036171 w 7015374"/>
              <a:gd name="connsiteY128" fmla="*/ 2052999 h 3487140"/>
              <a:gd name="connsiteX129" fmla="*/ 4605164 w 7015374"/>
              <a:gd name="connsiteY129" fmla="*/ 1482011 h 3487140"/>
              <a:gd name="connsiteX130" fmla="*/ 4138310 w 7015374"/>
              <a:gd name="connsiteY130" fmla="*/ 1352717 h 3487140"/>
              <a:gd name="connsiteX131" fmla="*/ 3977868 w 7015374"/>
              <a:gd name="connsiteY131" fmla="*/ 1466624 h 3487140"/>
              <a:gd name="connsiteX132" fmla="*/ 3999909 w 7015374"/>
              <a:gd name="connsiteY132" fmla="*/ 2001140 h 3487140"/>
              <a:gd name="connsiteX133" fmla="*/ 4033885 w 7015374"/>
              <a:gd name="connsiteY133" fmla="*/ 2313208 h 3487140"/>
              <a:gd name="connsiteX134" fmla="*/ 4125585 w 7015374"/>
              <a:gd name="connsiteY134" fmla="*/ 2399085 h 3487140"/>
              <a:gd name="connsiteX135" fmla="*/ 4230051 w 7015374"/>
              <a:gd name="connsiteY135" fmla="*/ 2362905 h 3487140"/>
              <a:gd name="connsiteX136" fmla="*/ 4194660 w 7015374"/>
              <a:gd name="connsiteY136" fmla="*/ 2271372 h 3487140"/>
              <a:gd name="connsiteX137" fmla="*/ 4097056 w 7015374"/>
              <a:gd name="connsiteY137" fmla="*/ 2303394 h 3487140"/>
              <a:gd name="connsiteX138" fmla="*/ 4080670 w 7015374"/>
              <a:gd name="connsiteY138" fmla="*/ 2437262 h 3487140"/>
              <a:gd name="connsiteX139" fmla="*/ 4079589 w 7015374"/>
              <a:gd name="connsiteY139" fmla="*/ 2519521 h 3487140"/>
              <a:gd name="connsiteX140" fmla="*/ 3900475 w 7015374"/>
              <a:gd name="connsiteY140" fmla="*/ 2539400 h 3487140"/>
              <a:gd name="connsiteX141" fmla="*/ 3490220 w 7015374"/>
              <a:gd name="connsiteY141" fmla="*/ 2545679 h 3487140"/>
              <a:gd name="connsiteX142" fmla="*/ 3249848 w 7015374"/>
              <a:gd name="connsiteY142" fmla="*/ 2602944 h 3487140"/>
              <a:gd name="connsiteX143" fmla="*/ 3240241 w 7015374"/>
              <a:gd name="connsiteY143" fmla="*/ 2790460 h 3487140"/>
              <a:gd name="connsiteX144" fmla="*/ 3433578 w 7015374"/>
              <a:gd name="connsiteY144" fmla="*/ 3133385 h 3487140"/>
              <a:gd name="connsiteX145" fmla="*/ 3925468 w 7015374"/>
              <a:gd name="connsiteY145" fmla="*/ 3465290 h 3487140"/>
              <a:gd name="connsiteX146" fmla="*/ 4666214 w 7015374"/>
              <a:gd name="connsiteY146" fmla="*/ 3390434 h 3487140"/>
              <a:gd name="connsiteX147" fmla="*/ 5106037 w 7015374"/>
              <a:gd name="connsiteY147" fmla="*/ 3017940 h 3487140"/>
              <a:gd name="connsiteX148" fmla="*/ 5420018 w 7015374"/>
              <a:gd name="connsiteY148" fmla="*/ 2655510 h 3487140"/>
              <a:gd name="connsiteX149" fmla="*/ 5792512 w 7015374"/>
              <a:gd name="connsiteY149" fmla="*/ 3163577 h 3487140"/>
              <a:gd name="connsiteX150" fmla="*/ 6016499 w 7015374"/>
              <a:gd name="connsiteY150" fmla="*/ 3255443 h 3487140"/>
              <a:gd name="connsiteX151" fmla="*/ 6094516 w 7015374"/>
              <a:gd name="connsiteY151" fmla="*/ 2786675 h 3487140"/>
              <a:gd name="connsiteX152" fmla="*/ 6404089 w 7015374"/>
              <a:gd name="connsiteY152" fmla="*/ 2869724 h 3487140"/>
              <a:gd name="connsiteX153" fmla="*/ 6642881 w 7015374"/>
              <a:gd name="connsiteY153" fmla="*/ 3245046 h 3487140"/>
              <a:gd name="connsiteX154" fmla="*/ 7015374 w 7015374"/>
              <a:gd name="connsiteY154" fmla="*/ 3329676 h 3487140"/>
              <a:gd name="connsiteX0" fmla="*/ 777215 w 6642881"/>
              <a:gd name="connsiteY0" fmla="*/ 3295741 h 3487140"/>
              <a:gd name="connsiteX1" fmla="*/ 526113 w 6642881"/>
              <a:gd name="connsiteY1" fmla="*/ 3112384 h 3487140"/>
              <a:gd name="connsiteX2" fmla="*/ 219950 w 6642881"/>
              <a:gd name="connsiteY2" fmla="*/ 2750287 h 3487140"/>
              <a:gd name="connsiteX3" fmla="*/ 128418 w 6642881"/>
              <a:gd name="connsiteY3" fmla="*/ 2305432 h 3487140"/>
              <a:gd name="connsiteX4" fmla="*/ 256006 w 6642881"/>
              <a:gd name="connsiteY4" fmla="*/ 1919713 h 3487140"/>
              <a:gd name="connsiteX5" fmla="*/ 580218 w 6642881"/>
              <a:gd name="connsiteY5" fmla="*/ 1637837 h 3487140"/>
              <a:gd name="connsiteX6" fmla="*/ 1073522 w 6642881"/>
              <a:gd name="connsiteY6" fmla="*/ 1545972 h 3487140"/>
              <a:gd name="connsiteX7" fmla="*/ 1308197 w 6642881"/>
              <a:gd name="connsiteY7" fmla="*/ 1517651 h 3487140"/>
              <a:gd name="connsiteX8" fmla="*/ 1292934 w 6642881"/>
              <a:gd name="connsiteY8" fmla="*/ 1460718 h 3487140"/>
              <a:gd name="connsiteX9" fmla="*/ 1016880 w 6642881"/>
              <a:gd name="connsiteY9" fmla="*/ 1416969 h 3487140"/>
              <a:gd name="connsiteX10" fmla="*/ 497460 w 6642881"/>
              <a:gd name="connsiteY10" fmla="*/ 1517318 h 3487140"/>
              <a:gd name="connsiteX11" fmla="*/ 88162 w 6642881"/>
              <a:gd name="connsiteY11" fmla="*/ 1960593 h 3487140"/>
              <a:gd name="connsiteX12" fmla="*/ 28692 w 6642881"/>
              <a:gd name="connsiteY12" fmla="*/ 2569342 h 3487140"/>
              <a:gd name="connsiteX13" fmla="*/ 442399 w 6642881"/>
              <a:gd name="connsiteY13" fmla="*/ 3165532 h 3487140"/>
              <a:gd name="connsiteX14" fmla="*/ 1232384 w 6642881"/>
              <a:gd name="connsiteY14" fmla="*/ 3283181 h 3487140"/>
              <a:gd name="connsiteX15" fmla="*/ 1835020 w 6642881"/>
              <a:gd name="connsiteY15" fmla="*/ 2757481 h 3487140"/>
              <a:gd name="connsiteX16" fmla="*/ 1824789 w 6642881"/>
              <a:gd name="connsiteY16" fmla="*/ 1980430 h 3487140"/>
              <a:gd name="connsiteX17" fmla="*/ 1494755 w 6642881"/>
              <a:gd name="connsiteY17" fmla="*/ 1589139 h 3487140"/>
              <a:gd name="connsiteX18" fmla="*/ 1305701 w 6642881"/>
              <a:gd name="connsiteY18" fmla="*/ 1660710 h 3487140"/>
              <a:gd name="connsiteX19" fmla="*/ 1197284 w 6642881"/>
              <a:gd name="connsiteY19" fmla="*/ 2116627 h 3487140"/>
              <a:gd name="connsiteX20" fmla="*/ 973921 w 6642881"/>
              <a:gd name="connsiteY20" fmla="*/ 2374258 h 3487140"/>
              <a:gd name="connsiteX21" fmla="*/ 918985 w 6642881"/>
              <a:gd name="connsiteY21" fmla="*/ 2276986 h 3487140"/>
              <a:gd name="connsiteX22" fmla="*/ 1298257 w 6642881"/>
              <a:gd name="connsiteY22" fmla="*/ 2021601 h 3487140"/>
              <a:gd name="connsiteX23" fmla="*/ 1558176 w 6642881"/>
              <a:gd name="connsiteY23" fmla="*/ 1234153 h 3487140"/>
              <a:gd name="connsiteX24" fmla="*/ 1788276 w 6642881"/>
              <a:gd name="connsiteY24" fmla="*/ 725296 h 3487140"/>
              <a:gd name="connsiteX25" fmla="*/ 1896859 w 6642881"/>
              <a:gd name="connsiteY25" fmla="*/ 539984 h 3487140"/>
              <a:gd name="connsiteX26" fmla="*/ 1865711 w 6642881"/>
              <a:gd name="connsiteY26" fmla="*/ 435851 h 3487140"/>
              <a:gd name="connsiteX27" fmla="*/ 1759373 w 6642881"/>
              <a:gd name="connsiteY27" fmla="*/ 350265 h 3487140"/>
              <a:gd name="connsiteX28" fmla="*/ 1714085 w 6642881"/>
              <a:gd name="connsiteY28" fmla="*/ 209327 h 3487140"/>
              <a:gd name="connsiteX29" fmla="*/ 1758915 w 6642881"/>
              <a:gd name="connsiteY29" fmla="*/ 82237 h 3487140"/>
              <a:gd name="connsiteX30" fmla="*/ 1939195 w 6642881"/>
              <a:gd name="connsiteY30" fmla="*/ 6716 h 3487140"/>
              <a:gd name="connsiteX31" fmla="*/ 2207888 w 6642881"/>
              <a:gd name="connsiteY31" fmla="*/ 10167 h 3487140"/>
              <a:gd name="connsiteX32" fmla="*/ 2291561 w 6642881"/>
              <a:gd name="connsiteY32" fmla="*/ 49800 h 3487140"/>
              <a:gd name="connsiteX33" fmla="*/ 2244526 w 6642881"/>
              <a:gd name="connsiteY33" fmla="*/ 86812 h 3487140"/>
              <a:gd name="connsiteX34" fmla="*/ 2008603 w 6642881"/>
              <a:gd name="connsiteY34" fmla="*/ 91886 h 3487140"/>
              <a:gd name="connsiteX35" fmla="*/ 1765070 w 6642881"/>
              <a:gd name="connsiteY35" fmla="*/ 75833 h 3487140"/>
              <a:gd name="connsiteX36" fmla="*/ 1657319 w 6642881"/>
              <a:gd name="connsiteY36" fmla="*/ 176931 h 3487140"/>
              <a:gd name="connsiteX37" fmla="*/ 1672581 w 6642881"/>
              <a:gd name="connsiteY37" fmla="*/ 370393 h 3487140"/>
              <a:gd name="connsiteX38" fmla="*/ 1617354 w 6642881"/>
              <a:gd name="connsiteY38" fmla="*/ 589348 h 3487140"/>
              <a:gd name="connsiteX39" fmla="*/ 1460820 w 6642881"/>
              <a:gd name="connsiteY39" fmla="*/ 903953 h 3487140"/>
              <a:gd name="connsiteX40" fmla="*/ 1250349 w 6642881"/>
              <a:gd name="connsiteY40" fmla="*/ 922501 h 3487140"/>
              <a:gd name="connsiteX41" fmla="*/ 1055930 w 6642881"/>
              <a:gd name="connsiteY41" fmla="*/ 866816 h 3487140"/>
              <a:gd name="connsiteX42" fmla="*/ 997085 w 6642881"/>
              <a:gd name="connsiteY42" fmla="*/ 751038 h 3487140"/>
              <a:gd name="connsiteX43" fmla="*/ 1009021 w 6642881"/>
              <a:gd name="connsiteY43" fmla="*/ 369436 h 3487140"/>
              <a:gd name="connsiteX44" fmla="*/ 1070694 w 6642881"/>
              <a:gd name="connsiteY44" fmla="*/ 155805 h 3487140"/>
              <a:gd name="connsiteX45" fmla="*/ 1272058 w 6642881"/>
              <a:gd name="connsiteY45" fmla="*/ 156761 h 3487140"/>
              <a:gd name="connsiteX46" fmla="*/ 1524989 w 6642881"/>
              <a:gd name="connsiteY46" fmla="*/ 245175 h 3487140"/>
              <a:gd name="connsiteX47" fmla="*/ 1694081 w 6642881"/>
              <a:gd name="connsiteY47" fmla="*/ 357792 h 3487140"/>
              <a:gd name="connsiteX48" fmla="*/ 1798672 w 6642881"/>
              <a:gd name="connsiteY48" fmla="*/ 483301 h 3487140"/>
              <a:gd name="connsiteX49" fmla="*/ 1822876 w 6642881"/>
              <a:gd name="connsiteY49" fmla="*/ 600951 h 3487140"/>
              <a:gd name="connsiteX50" fmla="*/ 1795345 w 6642881"/>
              <a:gd name="connsiteY50" fmla="*/ 761726 h 3487140"/>
              <a:gd name="connsiteX51" fmla="*/ 1967266 w 6642881"/>
              <a:gd name="connsiteY51" fmla="*/ 1160004 h 3487140"/>
              <a:gd name="connsiteX52" fmla="*/ 2390246 w 6642881"/>
              <a:gd name="connsiteY52" fmla="*/ 1793622 h 3487140"/>
              <a:gd name="connsiteX53" fmla="*/ 2807737 w 6642881"/>
              <a:gd name="connsiteY53" fmla="*/ 2087475 h 3487140"/>
              <a:gd name="connsiteX54" fmla="*/ 2917360 w 6642881"/>
              <a:gd name="connsiteY54" fmla="*/ 2185620 h 3487140"/>
              <a:gd name="connsiteX55" fmla="*/ 2804411 w 6642881"/>
              <a:gd name="connsiteY55" fmla="*/ 2468120 h 3487140"/>
              <a:gd name="connsiteX56" fmla="*/ 2638312 w 6642881"/>
              <a:gd name="connsiteY56" fmla="*/ 2505548 h 3487140"/>
              <a:gd name="connsiteX57" fmla="*/ 2329862 w 6642881"/>
              <a:gd name="connsiteY57" fmla="*/ 2278109 h 3487140"/>
              <a:gd name="connsiteX58" fmla="*/ 1885173 w 6642881"/>
              <a:gd name="connsiteY58" fmla="*/ 1678800 h 3487140"/>
              <a:gd name="connsiteX59" fmla="*/ 1765320 w 6642881"/>
              <a:gd name="connsiteY59" fmla="*/ 1175432 h 3487140"/>
              <a:gd name="connsiteX60" fmla="*/ 1919774 w 6642881"/>
              <a:gd name="connsiteY60" fmla="*/ 1377420 h 3487140"/>
              <a:gd name="connsiteX61" fmla="*/ 2281414 w 6642881"/>
              <a:gd name="connsiteY61" fmla="*/ 2268710 h 3487140"/>
              <a:gd name="connsiteX62" fmla="*/ 2601216 w 6642881"/>
              <a:gd name="connsiteY62" fmla="*/ 2693105 h 3487140"/>
              <a:gd name="connsiteX63" fmla="*/ 2834644 w 6642881"/>
              <a:gd name="connsiteY63" fmla="*/ 2746586 h 3487140"/>
              <a:gd name="connsiteX64" fmla="*/ 3001865 w 6642881"/>
              <a:gd name="connsiteY64" fmla="*/ 2631432 h 3487140"/>
              <a:gd name="connsiteX65" fmla="*/ 3013052 w 6642881"/>
              <a:gd name="connsiteY65" fmla="*/ 2436680 h 3487140"/>
              <a:gd name="connsiteX66" fmla="*/ 2859222 w 6642881"/>
              <a:gd name="connsiteY66" fmla="*/ 2309258 h 3487140"/>
              <a:gd name="connsiteX67" fmla="*/ 2652036 w 6642881"/>
              <a:gd name="connsiteY67" fmla="*/ 2375007 h 3487140"/>
              <a:gd name="connsiteX68" fmla="*/ 2629537 w 6642881"/>
              <a:gd name="connsiteY68" fmla="*/ 2581402 h 3487140"/>
              <a:gd name="connsiteX69" fmla="*/ 2772222 w 6642881"/>
              <a:gd name="connsiteY69" fmla="*/ 2671064 h 3487140"/>
              <a:gd name="connsiteX70" fmla="*/ 2868787 w 6642881"/>
              <a:gd name="connsiteY70" fmla="*/ 2596831 h 3487140"/>
              <a:gd name="connsiteX71" fmla="*/ 2835601 w 6642881"/>
              <a:gd name="connsiteY71" fmla="*/ 2530750 h 3487140"/>
              <a:gd name="connsiteX72" fmla="*/ 2713543 w 6642881"/>
              <a:gd name="connsiteY72" fmla="*/ 2615379 h 3487140"/>
              <a:gd name="connsiteX73" fmla="*/ 2567864 w 6642881"/>
              <a:gd name="connsiteY73" fmla="*/ 2907028 h 3487140"/>
              <a:gd name="connsiteX74" fmla="*/ 2520039 w 6642881"/>
              <a:gd name="connsiteY74" fmla="*/ 3008333 h 3487140"/>
              <a:gd name="connsiteX75" fmla="*/ 2484191 w 6642881"/>
              <a:gd name="connsiteY75" fmla="*/ 3024053 h 3487140"/>
              <a:gd name="connsiteX76" fmla="*/ 2389165 w 6642881"/>
              <a:gd name="connsiteY76" fmla="*/ 3013989 h 3487140"/>
              <a:gd name="connsiteX77" fmla="*/ 2396068 w 6642881"/>
              <a:gd name="connsiteY77" fmla="*/ 2956724 h 3487140"/>
              <a:gd name="connsiteX78" fmla="*/ 2584831 w 6642881"/>
              <a:gd name="connsiteY78" fmla="*/ 2951068 h 3487140"/>
              <a:gd name="connsiteX79" fmla="*/ 2671041 w 6642881"/>
              <a:gd name="connsiteY79" fmla="*/ 2951068 h 3487140"/>
              <a:gd name="connsiteX80" fmla="*/ 2752219 w 6642881"/>
              <a:gd name="connsiteY80" fmla="*/ 2822066 h 3487140"/>
              <a:gd name="connsiteX81" fmla="*/ 2892533 w 6642881"/>
              <a:gd name="connsiteY81" fmla="*/ 2789337 h 3487140"/>
              <a:gd name="connsiteX82" fmla="*/ 3020246 w 6642881"/>
              <a:gd name="connsiteY82" fmla="*/ 2713815 h 3487140"/>
              <a:gd name="connsiteX83" fmla="*/ 3106456 w 6642881"/>
              <a:gd name="connsiteY83" fmla="*/ 2544556 h 3487140"/>
              <a:gd name="connsiteX84" fmla="*/ 3326035 w 6642881"/>
              <a:gd name="connsiteY84" fmla="*/ 2482883 h 3487140"/>
              <a:gd name="connsiteX85" fmla="*/ 3861009 w 6642881"/>
              <a:gd name="connsiteY85" fmla="*/ 2466831 h 3487140"/>
              <a:gd name="connsiteX86" fmla="*/ 4016751 w 6642881"/>
              <a:gd name="connsiteY86" fmla="*/ 2420918 h 3487140"/>
              <a:gd name="connsiteX87" fmla="*/ 3866664 w 6642881"/>
              <a:gd name="connsiteY87" fmla="*/ 2252907 h 3487140"/>
              <a:gd name="connsiteX88" fmla="*/ 3391285 w 6642881"/>
              <a:gd name="connsiteY88" fmla="*/ 1791709 h 3487140"/>
              <a:gd name="connsiteX89" fmla="*/ 3127166 w 6642881"/>
              <a:gd name="connsiteY89" fmla="*/ 1600118 h 3487140"/>
              <a:gd name="connsiteX90" fmla="*/ 3003196 w 6642881"/>
              <a:gd name="connsiteY90" fmla="*/ 1733529 h 3487140"/>
              <a:gd name="connsiteX91" fmla="*/ 2940898 w 6642881"/>
              <a:gd name="connsiteY91" fmla="*/ 1995900 h 3487140"/>
              <a:gd name="connsiteX92" fmla="*/ 2981778 w 6642881"/>
              <a:gd name="connsiteY92" fmla="*/ 2048133 h 3487140"/>
              <a:gd name="connsiteX93" fmla="*/ 3044699 w 6642881"/>
              <a:gd name="connsiteY93" fmla="*/ 1778817 h 3487140"/>
              <a:gd name="connsiteX94" fmla="*/ 3166466 w 6642881"/>
              <a:gd name="connsiteY94" fmla="*/ 1356918 h 3487140"/>
              <a:gd name="connsiteX95" fmla="*/ 3272803 w 6642881"/>
              <a:gd name="connsiteY95" fmla="*/ 986960 h 3487140"/>
              <a:gd name="connsiteX96" fmla="*/ 3243526 w 6642881"/>
              <a:gd name="connsiteY96" fmla="*/ 867107 h 3487140"/>
              <a:gd name="connsiteX97" fmla="*/ 3068612 w 6642881"/>
              <a:gd name="connsiteY97" fmla="*/ 840034 h 3487140"/>
              <a:gd name="connsiteX98" fmla="*/ 2924513 w 6642881"/>
              <a:gd name="connsiteY98" fmla="*/ 782769 h 3487140"/>
              <a:gd name="connsiteX99" fmla="*/ 2940857 w 6642881"/>
              <a:gd name="connsiteY99" fmla="*/ 714816 h 3487140"/>
              <a:gd name="connsiteX100" fmla="*/ 3114524 w 6642881"/>
              <a:gd name="connsiteY100" fmla="*/ 723008 h 3487140"/>
              <a:gd name="connsiteX101" fmla="*/ 3317135 w 6642881"/>
              <a:gd name="connsiteY101" fmla="*/ 729288 h 3487140"/>
              <a:gd name="connsiteX102" fmla="*/ 3483857 w 6642881"/>
              <a:gd name="connsiteY102" fmla="*/ 682087 h 3487140"/>
              <a:gd name="connsiteX103" fmla="*/ 3601506 w 6642881"/>
              <a:gd name="connsiteY103" fmla="*/ 703463 h 3487140"/>
              <a:gd name="connsiteX104" fmla="*/ 3624171 w 6642881"/>
              <a:gd name="connsiteY104" fmla="*/ 797199 h 3487140"/>
              <a:gd name="connsiteX105" fmla="*/ 3496458 w 6642881"/>
              <a:gd name="connsiteY105" fmla="*/ 890936 h 3487140"/>
              <a:gd name="connsiteX106" fmla="*/ 3326575 w 6642881"/>
              <a:gd name="connsiteY106" fmla="*/ 918009 h 3487140"/>
              <a:gd name="connsiteX107" fmla="*/ 3198862 w 6642881"/>
              <a:gd name="connsiteY107" fmla="*/ 1002306 h 3487140"/>
              <a:gd name="connsiteX108" fmla="*/ 3097972 w 6642881"/>
              <a:gd name="connsiteY108" fmla="*/ 1299902 h 3487140"/>
              <a:gd name="connsiteX109" fmla="*/ 3159022 w 6642881"/>
              <a:gd name="connsiteY109" fmla="*/ 1545930 h 3487140"/>
              <a:gd name="connsiteX110" fmla="*/ 3371697 w 6642881"/>
              <a:gd name="connsiteY110" fmla="*/ 1536490 h 3487140"/>
              <a:gd name="connsiteX111" fmla="*/ 3551228 w 6642881"/>
              <a:gd name="connsiteY111" fmla="*/ 1376048 h 3487140"/>
              <a:gd name="connsiteX112" fmla="*/ 3554389 w 6642881"/>
              <a:gd name="connsiteY112" fmla="*/ 1231949 h 3487140"/>
              <a:gd name="connsiteX113" fmla="*/ 3336348 w 6642881"/>
              <a:gd name="connsiteY113" fmla="*/ 1191693 h 3487140"/>
              <a:gd name="connsiteX114" fmla="*/ 3344832 w 6642881"/>
              <a:gd name="connsiteY114" fmla="*/ 1255238 h 3487140"/>
              <a:gd name="connsiteX115" fmla="*/ 3769850 w 6642881"/>
              <a:gd name="connsiteY115" fmla="*/ 1241722 h 3487140"/>
              <a:gd name="connsiteX116" fmla="*/ 4254670 w 6642881"/>
              <a:gd name="connsiteY116" fmla="*/ 1259646 h 3487140"/>
              <a:gd name="connsiteX117" fmla="*/ 4484022 w 6642881"/>
              <a:gd name="connsiteY117" fmla="*/ 1236981 h 3487140"/>
              <a:gd name="connsiteX118" fmla="*/ 4465766 w 6642881"/>
              <a:gd name="connsiteY118" fmla="*/ 1185995 h 3487140"/>
              <a:gd name="connsiteX119" fmla="*/ 4105248 w 6642881"/>
              <a:gd name="connsiteY119" fmla="*/ 1177512 h 3487140"/>
              <a:gd name="connsiteX120" fmla="*/ 3734668 w 6642881"/>
              <a:gd name="connsiteY120" fmla="*/ 1331342 h 3487140"/>
              <a:gd name="connsiteX121" fmla="*/ 3388914 w 6642881"/>
              <a:gd name="connsiteY121" fmla="*/ 1604110 h 3487140"/>
              <a:gd name="connsiteX122" fmla="*/ 3156111 w 6642881"/>
              <a:gd name="connsiteY122" fmla="*/ 1921252 h 3487140"/>
              <a:gd name="connsiteX123" fmla="*/ 3060461 w 6642881"/>
              <a:gd name="connsiteY123" fmla="*/ 2419255 h 3487140"/>
              <a:gd name="connsiteX124" fmla="*/ 3290769 w 6642881"/>
              <a:gd name="connsiteY124" fmla="*/ 3048465 h 3487140"/>
              <a:gd name="connsiteX125" fmla="*/ 3868994 w 6642881"/>
              <a:gd name="connsiteY125" fmla="*/ 3394510 h 3487140"/>
              <a:gd name="connsiteX126" fmla="*/ 4507643 w 6642881"/>
              <a:gd name="connsiteY126" fmla="*/ 3330632 h 3487140"/>
              <a:gd name="connsiteX127" fmla="*/ 5002818 w 6642881"/>
              <a:gd name="connsiteY127" fmla="*/ 2841404 h 3487140"/>
              <a:gd name="connsiteX128" fmla="*/ 5036171 w 6642881"/>
              <a:gd name="connsiteY128" fmla="*/ 2052999 h 3487140"/>
              <a:gd name="connsiteX129" fmla="*/ 4605164 w 6642881"/>
              <a:gd name="connsiteY129" fmla="*/ 1482011 h 3487140"/>
              <a:gd name="connsiteX130" fmla="*/ 4138310 w 6642881"/>
              <a:gd name="connsiteY130" fmla="*/ 1352717 h 3487140"/>
              <a:gd name="connsiteX131" fmla="*/ 3977868 w 6642881"/>
              <a:gd name="connsiteY131" fmla="*/ 1466624 h 3487140"/>
              <a:gd name="connsiteX132" fmla="*/ 3999909 w 6642881"/>
              <a:gd name="connsiteY132" fmla="*/ 2001140 h 3487140"/>
              <a:gd name="connsiteX133" fmla="*/ 4033885 w 6642881"/>
              <a:gd name="connsiteY133" fmla="*/ 2313208 h 3487140"/>
              <a:gd name="connsiteX134" fmla="*/ 4125585 w 6642881"/>
              <a:gd name="connsiteY134" fmla="*/ 2399085 h 3487140"/>
              <a:gd name="connsiteX135" fmla="*/ 4230051 w 6642881"/>
              <a:gd name="connsiteY135" fmla="*/ 2362905 h 3487140"/>
              <a:gd name="connsiteX136" fmla="*/ 4194660 w 6642881"/>
              <a:gd name="connsiteY136" fmla="*/ 2271372 h 3487140"/>
              <a:gd name="connsiteX137" fmla="*/ 4097056 w 6642881"/>
              <a:gd name="connsiteY137" fmla="*/ 2303394 h 3487140"/>
              <a:gd name="connsiteX138" fmla="*/ 4080670 w 6642881"/>
              <a:gd name="connsiteY138" fmla="*/ 2437262 h 3487140"/>
              <a:gd name="connsiteX139" fmla="*/ 4079589 w 6642881"/>
              <a:gd name="connsiteY139" fmla="*/ 2519521 h 3487140"/>
              <a:gd name="connsiteX140" fmla="*/ 3900475 w 6642881"/>
              <a:gd name="connsiteY140" fmla="*/ 2539400 h 3487140"/>
              <a:gd name="connsiteX141" fmla="*/ 3490220 w 6642881"/>
              <a:gd name="connsiteY141" fmla="*/ 2545679 h 3487140"/>
              <a:gd name="connsiteX142" fmla="*/ 3249848 w 6642881"/>
              <a:gd name="connsiteY142" fmla="*/ 2602944 h 3487140"/>
              <a:gd name="connsiteX143" fmla="*/ 3240241 w 6642881"/>
              <a:gd name="connsiteY143" fmla="*/ 2790460 h 3487140"/>
              <a:gd name="connsiteX144" fmla="*/ 3433578 w 6642881"/>
              <a:gd name="connsiteY144" fmla="*/ 3133385 h 3487140"/>
              <a:gd name="connsiteX145" fmla="*/ 3925468 w 6642881"/>
              <a:gd name="connsiteY145" fmla="*/ 3465290 h 3487140"/>
              <a:gd name="connsiteX146" fmla="*/ 4666214 w 6642881"/>
              <a:gd name="connsiteY146" fmla="*/ 3390434 h 3487140"/>
              <a:gd name="connsiteX147" fmla="*/ 5106037 w 6642881"/>
              <a:gd name="connsiteY147" fmla="*/ 3017940 h 3487140"/>
              <a:gd name="connsiteX148" fmla="*/ 5420018 w 6642881"/>
              <a:gd name="connsiteY148" fmla="*/ 2655510 h 3487140"/>
              <a:gd name="connsiteX149" fmla="*/ 5792512 w 6642881"/>
              <a:gd name="connsiteY149" fmla="*/ 3163577 h 3487140"/>
              <a:gd name="connsiteX150" fmla="*/ 6016499 w 6642881"/>
              <a:gd name="connsiteY150" fmla="*/ 3255443 h 3487140"/>
              <a:gd name="connsiteX151" fmla="*/ 6094516 w 6642881"/>
              <a:gd name="connsiteY151" fmla="*/ 2786675 h 3487140"/>
              <a:gd name="connsiteX152" fmla="*/ 6404089 w 6642881"/>
              <a:gd name="connsiteY152" fmla="*/ 2869724 h 3487140"/>
              <a:gd name="connsiteX153" fmla="*/ 6642881 w 6642881"/>
              <a:gd name="connsiteY153" fmla="*/ 3245046 h 3487140"/>
              <a:gd name="connsiteX0" fmla="*/ 777215 w 6404089"/>
              <a:gd name="connsiteY0" fmla="*/ 3295741 h 3487140"/>
              <a:gd name="connsiteX1" fmla="*/ 526113 w 6404089"/>
              <a:gd name="connsiteY1" fmla="*/ 3112384 h 3487140"/>
              <a:gd name="connsiteX2" fmla="*/ 219950 w 6404089"/>
              <a:gd name="connsiteY2" fmla="*/ 2750287 h 3487140"/>
              <a:gd name="connsiteX3" fmla="*/ 128418 w 6404089"/>
              <a:gd name="connsiteY3" fmla="*/ 2305432 h 3487140"/>
              <a:gd name="connsiteX4" fmla="*/ 256006 w 6404089"/>
              <a:gd name="connsiteY4" fmla="*/ 1919713 h 3487140"/>
              <a:gd name="connsiteX5" fmla="*/ 580218 w 6404089"/>
              <a:gd name="connsiteY5" fmla="*/ 1637837 h 3487140"/>
              <a:gd name="connsiteX6" fmla="*/ 1073522 w 6404089"/>
              <a:gd name="connsiteY6" fmla="*/ 1545972 h 3487140"/>
              <a:gd name="connsiteX7" fmla="*/ 1308197 w 6404089"/>
              <a:gd name="connsiteY7" fmla="*/ 1517651 h 3487140"/>
              <a:gd name="connsiteX8" fmla="*/ 1292934 w 6404089"/>
              <a:gd name="connsiteY8" fmla="*/ 1460718 h 3487140"/>
              <a:gd name="connsiteX9" fmla="*/ 1016880 w 6404089"/>
              <a:gd name="connsiteY9" fmla="*/ 1416969 h 3487140"/>
              <a:gd name="connsiteX10" fmla="*/ 497460 w 6404089"/>
              <a:gd name="connsiteY10" fmla="*/ 1517318 h 3487140"/>
              <a:gd name="connsiteX11" fmla="*/ 88162 w 6404089"/>
              <a:gd name="connsiteY11" fmla="*/ 1960593 h 3487140"/>
              <a:gd name="connsiteX12" fmla="*/ 28692 w 6404089"/>
              <a:gd name="connsiteY12" fmla="*/ 2569342 h 3487140"/>
              <a:gd name="connsiteX13" fmla="*/ 442399 w 6404089"/>
              <a:gd name="connsiteY13" fmla="*/ 3165532 h 3487140"/>
              <a:gd name="connsiteX14" fmla="*/ 1232384 w 6404089"/>
              <a:gd name="connsiteY14" fmla="*/ 3283181 h 3487140"/>
              <a:gd name="connsiteX15" fmla="*/ 1835020 w 6404089"/>
              <a:gd name="connsiteY15" fmla="*/ 2757481 h 3487140"/>
              <a:gd name="connsiteX16" fmla="*/ 1824789 w 6404089"/>
              <a:gd name="connsiteY16" fmla="*/ 1980430 h 3487140"/>
              <a:gd name="connsiteX17" fmla="*/ 1494755 w 6404089"/>
              <a:gd name="connsiteY17" fmla="*/ 1589139 h 3487140"/>
              <a:gd name="connsiteX18" fmla="*/ 1305701 w 6404089"/>
              <a:gd name="connsiteY18" fmla="*/ 1660710 h 3487140"/>
              <a:gd name="connsiteX19" fmla="*/ 1197284 w 6404089"/>
              <a:gd name="connsiteY19" fmla="*/ 2116627 h 3487140"/>
              <a:gd name="connsiteX20" fmla="*/ 973921 w 6404089"/>
              <a:gd name="connsiteY20" fmla="*/ 2374258 h 3487140"/>
              <a:gd name="connsiteX21" fmla="*/ 918985 w 6404089"/>
              <a:gd name="connsiteY21" fmla="*/ 2276986 h 3487140"/>
              <a:gd name="connsiteX22" fmla="*/ 1298257 w 6404089"/>
              <a:gd name="connsiteY22" fmla="*/ 2021601 h 3487140"/>
              <a:gd name="connsiteX23" fmla="*/ 1558176 w 6404089"/>
              <a:gd name="connsiteY23" fmla="*/ 1234153 h 3487140"/>
              <a:gd name="connsiteX24" fmla="*/ 1788276 w 6404089"/>
              <a:gd name="connsiteY24" fmla="*/ 725296 h 3487140"/>
              <a:gd name="connsiteX25" fmla="*/ 1896859 w 6404089"/>
              <a:gd name="connsiteY25" fmla="*/ 539984 h 3487140"/>
              <a:gd name="connsiteX26" fmla="*/ 1865711 w 6404089"/>
              <a:gd name="connsiteY26" fmla="*/ 435851 h 3487140"/>
              <a:gd name="connsiteX27" fmla="*/ 1759373 w 6404089"/>
              <a:gd name="connsiteY27" fmla="*/ 350265 h 3487140"/>
              <a:gd name="connsiteX28" fmla="*/ 1714085 w 6404089"/>
              <a:gd name="connsiteY28" fmla="*/ 209327 h 3487140"/>
              <a:gd name="connsiteX29" fmla="*/ 1758915 w 6404089"/>
              <a:gd name="connsiteY29" fmla="*/ 82237 h 3487140"/>
              <a:gd name="connsiteX30" fmla="*/ 1939195 w 6404089"/>
              <a:gd name="connsiteY30" fmla="*/ 6716 h 3487140"/>
              <a:gd name="connsiteX31" fmla="*/ 2207888 w 6404089"/>
              <a:gd name="connsiteY31" fmla="*/ 10167 h 3487140"/>
              <a:gd name="connsiteX32" fmla="*/ 2291561 w 6404089"/>
              <a:gd name="connsiteY32" fmla="*/ 49800 h 3487140"/>
              <a:gd name="connsiteX33" fmla="*/ 2244526 w 6404089"/>
              <a:gd name="connsiteY33" fmla="*/ 86812 h 3487140"/>
              <a:gd name="connsiteX34" fmla="*/ 2008603 w 6404089"/>
              <a:gd name="connsiteY34" fmla="*/ 91886 h 3487140"/>
              <a:gd name="connsiteX35" fmla="*/ 1765070 w 6404089"/>
              <a:gd name="connsiteY35" fmla="*/ 75833 h 3487140"/>
              <a:gd name="connsiteX36" fmla="*/ 1657319 w 6404089"/>
              <a:gd name="connsiteY36" fmla="*/ 176931 h 3487140"/>
              <a:gd name="connsiteX37" fmla="*/ 1672581 w 6404089"/>
              <a:gd name="connsiteY37" fmla="*/ 370393 h 3487140"/>
              <a:gd name="connsiteX38" fmla="*/ 1617354 w 6404089"/>
              <a:gd name="connsiteY38" fmla="*/ 589348 h 3487140"/>
              <a:gd name="connsiteX39" fmla="*/ 1460820 w 6404089"/>
              <a:gd name="connsiteY39" fmla="*/ 903953 h 3487140"/>
              <a:gd name="connsiteX40" fmla="*/ 1250349 w 6404089"/>
              <a:gd name="connsiteY40" fmla="*/ 922501 h 3487140"/>
              <a:gd name="connsiteX41" fmla="*/ 1055930 w 6404089"/>
              <a:gd name="connsiteY41" fmla="*/ 866816 h 3487140"/>
              <a:gd name="connsiteX42" fmla="*/ 997085 w 6404089"/>
              <a:gd name="connsiteY42" fmla="*/ 751038 h 3487140"/>
              <a:gd name="connsiteX43" fmla="*/ 1009021 w 6404089"/>
              <a:gd name="connsiteY43" fmla="*/ 369436 h 3487140"/>
              <a:gd name="connsiteX44" fmla="*/ 1070694 w 6404089"/>
              <a:gd name="connsiteY44" fmla="*/ 155805 h 3487140"/>
              <a:gd name="connsiteX45" fmla="*/ 1272058 w 6404089"/>
              <a:gd name="connsiteY45" fmla="*/ 156761 h 3487140"/>
              <a:gd name="connsiteX46" fmla="*/ 1524989 w 6404089"/>
              <a:gd name="connsiteY46" fmla="*/ 245175 h 3487140"/>
              <a:gd name="connsiteX47" fmla="*/ 1694081 w 6404089"/>
              <a:gd name="connsiteY47" fmla="*/ 357792 h 3487140"/>
              <a:gd name="connsiteX48" fmla="*/ 1798672 w 6404089"/>
              <a:gd name="connsiteY48" fmla="*/ 483301 h 3487140"/>
              <a:gd name="connsiteX49" fmla="*/ 1822876 w 6404089"/>
              <a:gd name="connsiteY49" fmla="*/ 600951 h 3487140"/>
              <a:gd name="connsiteX50" fmla="*/ 1795345 w 6404089"/>
              <a:gd name="connsiteY50" fmla="*/ 761726 h 3487140"/>
              <a:gd name="connsiteX51" fmla="*/ 1967266 w 6404089"/>
              <a:gd name="connsiteY51" fmla="*/ 1160004 h 3487140"/>
              <a:gd name="connsiteX52" fmla="*/ 2390246 w 6404089"/>
              <a:gd name="connsiteY52" fmla="*/ 1793622 h 3487140"/>
              <a:gd name="connsiteX53" fmla="*/ 2807737 w 6404089"/>
              <a:gd name="connsiteY53" fmla="*/ 2087475 h 3487140"/>
              <a:gd name="connsiteX54" fmla="*/ 2917360 w 6404089"/>
              <a:gd name="connsiteY54" fmla="*/ 2185620 h 3487140"/>
              <a:gd name="connsiteX55" fmla="*/ 2804411 w 6404089"/>
              <a:gd name="connsiteY55" fmla="*/ 2468120 h 3487140"/>
              <a:gd name="connsiteX56" fmla="*/ 2638312 w 6404089"/>
              <a:gd name="connsiteY56" fmla="*/ 2505548 h 3487140"/>
              <a:gd name="connsiteX57" fmla="*/ 2329862 w 6404089"/>
              <a:gd name="connsiteY57" fmla="*/ 2278109 h 3487140"/>
              <a:gd name="connsiteX58" fmla="*/ 1885173 w 6404089"/>
              <a:gd name="connsiteY58" fmla="*/ 1678800 h 3487140"/>
              <a:gd name="connsiteX59" fmla="*/ 1765320 w 6404089"/>
              <a:gd name="connsiteY59" fmla="*/ 1175432 h 3487140"/>
              <a:gd name="connsiteX60" fmla="*/ 1919774 w 6404089"/>
              <a:gd name="connsiteY60" fmla="*/ 1377420 h 3487140"/>
              <a:gd name="connsiteX61" fmla="*/ 2281414 w 6404089"/>
              <a:gd name="connsiteY61" fmla="*/ 2268710 h 3487140"/>
              <a:gd name="connsiteX62" fmla="*/ 2601216 w 6404089"/>
              <a:gd name="connsiteY62" fmla="*/ 2693105 h 3487140"/>
              <a:gd name="connsiteX63" fmla="*/ 2834644 w 6404089"/>
              <a:gd name="connsiteY63" fmla="*/ 2746586 h 3487140"/>
              <a:gd name="connsiteX64" fmla="*/ 3001865 w 6404089"/>
              <a:gd name="connsiteY64" fmla="*/ 2631432 h 3487140"/>
              <a:gd name="connsiteX65" fmla="*/ 3013052 w 6404089"/>
              <a:gd name="connsiteY65" fmla="*/ 2436680 h 3487140"/>
              <a:gd name="connsiteX66" fmla="*/ 2859222 w 6404089"/>
              <a:gd name="connsiteY66" fmla="*/ 2309258 h 3487140"/>
              <a:gd name="connsiteX67" fmla="*/ 2652036 w 6404089"/>
              <a:gd name="connsiteY67" fmla="*/ 2375007 h 3487140"/>
              <a:gd name="connsiteX68" fmla="*/ 2629537 w 6404089"/>
              <a:gd name="connsiteY68" fmla="*/ 2581402 h 3487140"/>
              <a:gd name="connsiteX69" fmla="*/ 2772222 w 6404089"/>
              <a:gd name="connsiteY69" fmla="*/ 2671064 h 3487140"/>
              <a:gd name="connsiteX70" fmla="*/ 2868787 w 6404089"/>
              <a:gd name="connsiteY70" fmla="*/ 2596831 h 3487140"/>
              <a:gd name="connsiteX71" fmla="*/ 2835601 w 6404089"/>
              <a:gd name="connsiteY71" fmla="*/ 2530750 h 3487140"/>
              <a:gd name="connsiteX72" fmla="*/ 2713543 w 6404089"/>
              <a:gd name="connsiteY72" fmla="*/ 2615379 h 3487140"/>
              <a:gd name="connsiteX73" fmla="*/ 2567864 w 6404089"/>
              <a:gd name="connsiteY73" fmla="*/ 2907028 h 3487140"/>
              <a:gd name="connsiteX74" fmla="*/ 2520039 w 6404089"/>
              <a:gd name="connsiteY74" fmla="*/ 3008333 h 3487140"/>
              <a:gd name="connsiteX75" fmla="*/ 2484191 w 6404089"/>
              <a:gd name="connsiteY75" fmla="*/ 3024053 h 3487140"/>
              <a:gd name="connsiteX76" fmla="*/ 2389165 w 6404089"/>
              <a:gd name="connsiteY76" fmla="*/ 3013989 h 3487140"/>
              <a:gd name="connsiteX77" fmla="*/ 2396068 w 6404089"/>
              <a:gd name="connsiteY77" fmla="*/ 2956724 h 3487140"/>
              <a:gd name="connsiteX78" fmla="*/ 2584831 w 6404089"/>
              <a:gd name="connsiteY78" fmla="*/ 2951068 h 3487140"/>
              <a:gd name="connsiteX79" fmla="*/ 2671041 w 6404089"/>
              <a:gd name="connsiteY79" fmla="*/ 2951068 h 3487140"/>
              <a:gd name="connsiteX80" fmla="*/ 2752219 w 6404089"/>
              <a:gd name="connsiteY80" fmla="*/ 2822066 h 3487140"/>
              <a:gd name="connsiteX81" fmla="*/ 2892533 w 6404089"/>
              <a:gd name="connsiteY81" fmla="*/ 2789337 h 3487140"/>
              <a:gd name="connsiteX82" fmla="*/ 3020246 w 6404089"/>
              <a:gd name="connsiteY82" fmla="*/ 2713815 h 3487140"/>
              <a:gd name="connsiteX83" fmla="*/ 3106456 w 6404089"/>
              <a:gd name="connsiteY83" fmla="*/ 2544556 h 3487140"/>
              <a:gd name="connsiteX84" fmla="*/ 3326035 w 6404089"/>
              <a:gd name="connsiteY84" fmla="*/ 2482883 h 3487140"/>
              <a:gd name="connsiteX85" fmla="*/ 3861009 w 6404089"/>
              <a:gd name="connsiteY85" fmla="*/ 2466831 h 3487140"/>
              <a:gd name="connsiteX86" fmla="*/ 4016751 w 6404089"/>
              <a:gd name="connsiteY86" fmla="*/ 2420918 h 3487140"/>
              <a:gd name="connsiteX87" fmla="*/ 3866664 w 6404089"/>
              <a:gd name="connsiteY87" fmla="*/ 2252907 h 3487140"/>
              <a:gd name="connsiteX88" fmla="*/ 3391285 w 6404089"/>
              <a:gd name="connsiteY88" fmla="*/ 1791709 h 3487140"/>
              <a:gd name="connsiteX89" fmla="*/ 3127166 w 6404089"/>
              <a:gd name="connsiteY89" fmla="*/ 1600118 h 3487140"/>
              <a:gd name="connsiteX90" fmla="*/ 3003196 w 6404089"/>
              <a:gd name="connsiteY90" fmla="*/ 1733529 h 3487140"/>
              <a:gd name="connsiteX91" fmla="*/ 2940898 w 6404089"/>
              <a:gd name="connsiteY91" fmla="*/ 1995900 h 3487140"/>
              <a:gd name="connsiteX92" fmla="*/ 2981778 w 6404089"/>
              <a:gd name="connsiteY92" fmla="*/ 2048133 h 3487140"/>
              <a:gd name="connsiteX93" fmla="*/ 3044699 w 6404089"/>
              <a:gd name="connsiteY93" fmla="*/ 1778817 h 3487140"/>
              <a:gd name="connsiteX94" fmla="*/ 3166466 w 6404089"/>
              <a:gd name="connsiteY94" fmla="*/ 1356918 h 3487140"/>
              <a:gd name="connsiteX95" fmla="*/ 3272803 w 6404089"/>
              <a:gd name="connsiteY95" fmla="*/ 986960 h 3487140"/>
              <a:gd name="connsiteX96" fmla="*/ 3243526 w 6404089"/>
              <a:gd name="connsiteY96" fmla="*/ 867107 h 3487140"/>
              <a:gd name="connsiteX97" fmla="*/ 3068612 w 6404089"/>
              <a:gd name="connsiteY97" fmla="*/ 840034 h 3487140"/>
              <a:gd name="connsiteX98" fmla="*/ 2924513 w 6404089"/>
              <a:gd name="connsiteY98" fmla="*/ 782769 h 3487140"/>
              <a:gd name="connsiteX99" fmla="*/ 2940857 w 6404089"/>
              <a:gd name="connsiteY99" fmla="*/ 714816 h 3487140"/>
              <a:gd name="connsiteX100" fmla="*/ 3114524 w 6404089"/>
              <a:gd name="connsiteY100" fmla="*/ 723008 h 3487140"/>
              <a:gd name="connsiteX101" fmla="*/ 3317135 w 6404089"/>
              <a:gd name="connsiteY101" fmla="*/ 729288 h 3487140"/>
              <a:gd name="connsiteX102" fmla="*/ 3483857 w 6404089"/>
              <a:gd name="connsiteY102" fmla="*/ 682087 h 3487140"/>
              <a:gd name="connsiteX103" fmla="*/ 3601506 w 6404089"/>
              <a:gd name="connsiteY103" fmla="*/ 703463 h 3487140"/>
              <a:gd name="connsiteX104" fmla="*/ 3624171 w 6404089"/>
              <a:gd name="connsiteY104" fmla="*/ 797199 h 3487140"/>
              <a:gd name="connsiteX105" fmla="*/ 3496458 w 6404089"/>
              <a:gd name="connsiteY105" fmla="*/ 890936 h 3487140"/>
              <a:gd name="connsiteX106" fmla="*/ 3326575 w 6404089"/>
              <a:gd name="connsiteY106" fmla="*/ 918009 h 3487140"/>
              <a:gd name="connsiteX107" fmla="*/ 3198862 w 6404089"/>
              <a:gd name="connsiteY107" fmla="*/ 1002306 h 3487140"/>
              <a:gd name="connsiteX108" fmla="*/ 3097972 w 6404089"/>
              <a:gd name="connsiteY108" fmla="*/ 1299902 h 3487140"/>
              <a:gd name="connsiteX109" fmla="*/ 3159022 w 6404089"/>
              <a:gd name="connsiteY109" fmla="*/ 1545930 h 3487140"/>
              <a:gd name="connsiteX110" fmla="*/ 3371697 w 6404089"/>
              <a:gd name="connsiteY110" fmla="*/ 1536490 h 3487140"/>
              <a:gd name="connsiteX111" fmla="*/ 3551228 w 6404089"/>
              <a:gd name="connsiteY111" fmla="*/ 1376048 h 3487140"/>
              <a:gd name="connsiteX112" fmla="*/ 3554389 w 6404089"/>
              <a:gd name="connsiteY112" fmla="*/ 1231949 h 3487140"/>
              <a:gd name="connsiteX113" fmla="*/ 3336348 w 6404089"/>
              <a:gd name="connsiteY113" fmla="*/ 1191693 h 3487140"/>
              <a:gd name="connsiteX114" fmla="*/ 3344832 w 6404089"/>
              <a:gd name="connsiteY114" fmla="*/ 1255238 h 3487140"/>
              <a:gd name="connsiteX115" fmla="*/ 3769850 w 6404089"/>
              <a:gd name="connsiteY115" fmla="*/ 1241722 h 3487140"/>
              <a:gd name="connsiteX116" fmla="*/ 4254670 w 6404089"/>
              <a:gd name="connsiteY116" fmla="*/ 1259646 h 3487140"/>
              <a:gd name="connsiteX117" fmla="*/ 4484022 w 6404089"/>
              <a:gd name="connsiteY117" fmla="*/ 1236981 h 3487140"/>
              <a:gd name="connsiteX118" fmla="*/ 4465766 w 6404089"/>
              <a:gd name="connsiteY118" fmla="*/ 1185995 h 3487140"/>
              <a:gd name="connsiteX119" fmla="*/ 4105248 w 6404089"/>
              <a:gd name="connsiteY119" fmla="*/ 1177512 h 3487140"/>
              <a:gd name="connsiteX120" fmla="*/ 3734668 w 6404089"/>
              <a:gd name="connsiteY120" fmla="*/ 1331342 h 3487140"/>
              <a:gd name="connsiteX121" fmla="*/ 3388914 w 6404089"/>
              <a:gd name="connsiteY121" fmla="*/ 1604110 h 3487140"/>
              <a:gd name="connsiteX122" fmla="*/ 3156111 w 6404089"/>
              <a:gd name="connsiteY122" fmla="*/ 1921252 h 3487140"/>
              <a:gd name="connsiteX123" fmla="*/ 3060461 w 6404089"/>
              <a:gd name="connsiteY123" fmla="*/ 2419255 h 3487140"/>
              <a:gd name="connsiteX124" fmla="*/ 3290769 w 6404089"/>
              <a:gd name="connsiteY124" fmla="*/ 3048465 h 3487140"/>
              <a:gd name="connsiteX125" fmla="*/ 3868994 w 6404089"/>
              <a:gd name="connsiteY125" fmla="*/ 3394510 h 3487140"/>
              <a:gd name="connsiteX126" fmla="*/ 4507643 w 6404089"/>
              <a:gd name="connsiteY126" fmla="*/ 3330632 h 3487140"/>
              <a:gd name="connsiteX127" fmla="*/ 5002818 w 6404089"/>
              <a:gd name="connsiteY127" fmla="*/ 2841404 h 3487140"/>
              <a:gd name="connsiteX128" fmla="*/ 5036171 w 6404089"/>
              <a:gd name="connsiteY128" fmla="*/ 2052999 h 3487140"/>
              <a:gd name="connsiteX129" fmla="*/ 4605164 w 6404089"/>
              <a:gd name="connsiteY129" fmla="*/ 1482011 h 3487140"/>
              <a:gd name="connsiteX130" fmla="*/ 4138310 w 6404089"/>
              <a:gd name="connsiteY130" fmla="*/ 1352717 h 3487140"/>
              <a:gd name="connsiteX131" fmla="*/ 3977868 w 6404089"/>
              <a:gd name="connsiteY131" fmla="*/ 1466624 h 3487140"/>
              <a:gd name="connsiteX132" fmla="*/ 3999909 w 6404089"/>
              <a:gd name="connsiteY132" fmla="*/ 2001140 h 3487140"/>
              <a:gd name="connsiteX133" fmla="*/ 4033885 w 6404089"/>
              <a:gd name="connsiteY133" fmla="*/ 2313208 h 3487140"/>
              <a:gd name="connsiteX134" fmla="*/ 4125585 w 6404089"/>
              <a:gd name="connsiteY134" fmla="*/ 2399085 h 3487140"/>
              <a:gd name="connsiteX135" fmla="*/ 4230051 w 6404089"/>
              <a:gd name="connsiteY135" fmla="*/ 2362905 h 3487140"/>
              <a:gd name="connsiteX136" fmla="*/ 4194660 w 6404089"/>
              <a:gd name="connsiteY136" fmla="*/ 2271372 h 3487140"/>
              <a:gd name="connsiteX137" fmla="*/ 4097056 w 6404089"/>
              <a:gd name="connsiteY137" fmla="*/ 2303394 h 3487140"/>
              <a:gd name="connsiteX138" fmla="*/ 4080670 w 6404089"/>
              <a:gd name="connsiteY138" fmla="*/ 2437262 h 3487140"/>
              <a:gd name="connsiteX139" fmla="*/ 4079589 w 6404089"/>
              <a:gd name="connsiteY139" fmla="*/ 2519521 h 3487140"/>
              <a:gd name="connsiteX140" fmla="*/ 3900475 w 6404089"/>
              <a:gd name="connsiteY140" fmla="*/ 2539400 h 3487140"/>
              <a:gd name="connsiteX141" fmla="*/ 3490220 w 6404089"/>
              <a:gd name="connsiteY141" fmla="*/ 2545679 h 3487140"/>
              <a:gd name="connsiteX142" fmla="*/ 3249848 w 6404089"/>
              <a:gd name="connsiteY142" fmla="*/ 2602944 h 3487140"/>
              <a:gd name="connsiteX143" fmla="*/ 3240241 w 6404089"/>
              <a:gd name="connsiteY143" fmla="*/ 2790460 h 3487140"/>
              <a:gd name="connsiteX144" fmla="*/ 3433578 w 6404089"/>
              <a:gd name="connsiteY144" fmla="*/ 3133385 h 3487140"/>
              <a:gd name="connsiteX145" fmla="*/ 3925468 w 6404089"/>
              <a:gd name="connsiteY145" fmla="*/ 3465290 h 3487140"/>
              <a:gd name="connsiteX146" fmla="*/ 4666214 w 6404089"/>
              <a:gd name="connsiteY146" fmla="*/ 3390434 h 3487140"/>
              <a:gd name="connsiteX147" fmla="*/ 5106037 w 6404089"/>
              <a:gd name="connsiteY147" fmla="*/ 3017940 h 3487140"/>
              <a:gd name="connsiteX148" fmla="*/ 5420018 w 6404089"/>
              <a:gd name="connsiteY148" fmla="*/ 2655510 h 3487140"/>
              <a:gd name="connsiteX149" fmla="*/ 5792512 w 6404089"/>
              <a:gd name="connsiteY149" fmla="*/ 3163577 h 3487140"/>
              <a:gd name="connsiteX150" fmla="*/ 6016499 w 6404089"/>
              <a:gd name="connsiteY150" fmla="*/ 3255443 h 3487140"/>
              <a:gd name="connsiteX151" fmla="*/ 6094516 w 6404089"/>
              <a:gd name="connsiteY151" fmla="*/ 2786675 h 3487140"/>
              <a:gd name="connsiteX152" fmla="*/ 6404089 w 6404089"/>
              <a:gd name="connsiteY152" fmla="*/ 2869724 h 3487140"/>
              <a:gd name="connsiteX0" fmla="*/ 777215 w 6094516"/>
              <a:gd name="connsiteY0" fmla="*/ 3295741 h 3487140"/>
              <a:gd name="connsiteX1" fmla="*/ 526113 w 6094516"/>
              <a:gd name="connsiteY1" fmla="*/ 3112384 h 3487140"/>
              <a:gd name="connsiteX2" fmla="*/ 219950 w 6094516"/>
              <a:gd name="connsiteY2" fmla="*/ 2750287 h 3487140"/>
              <a:gd name="connsiteX3" fmla="*/ 128418 w 6094516"/>
              <a:gd name="connsiteY3" fmla="*/ 2305432 h 3487140"/>
              <a:gd name="connsiteX4" fmla="*/ 256006 w 6094516"/>
              <a:gd name="connsiteY4" fmla="*/ 1919713 h 3487140"/>
              <a:gd name="connsiteX5" fmla="*/ 580218 w 6094516"/>
              <a:gd name="connsiteY5" fmla="*/ 1637837 h 3487140"/>
              <a:gd name="connsiteX6" fmla="*/ 1073522 w 6094516"/>
              <a:gd name="connsiteY6" fmla="*/ 1545972 h 3487140"/>
              <a:gd name="connsiteX7" fmla="*/ 1308197 w 6094516"/>
              <a:gd name="connsiteY7" fmla="*/ 1517651 h 3487140"/>
              <a:gd name="connsiteX8" fmla="*/ 1292934 w 6094516"/>
              <a:gd name="connsiteY8" fmla="*/ 1460718 h 3487140"/>
              <a:gd name="connsiteX9" fmla="*/ 1016880 w 6094516"/>
              <a:gd name="connsiteY9" fmla="*/ 1416969 h 3487140"/>
              <a:gd name="connsiteX10" fmla="*/ 497460 w 6094516"/>
              <a:gd name="connsiteY10" fmla="*/ 1517318 h 3487140"/>
              <a:gd name="connsiteX11" fmla="*/ 88162 w 6094516"/>
              <a:gd name="connsiteY11" fmla="*/ 1960593 h 3487140"/>
              <a:gd name="connsiteX12" fmla="*/ 28692 w 6094516"/>
              <a:gd name="connsiteY12" fmla="*/ 2569342 h 3487140"/>
              <a:gd name="connsiteX13" fmla="*/ 442399 w 6094516"/>
              <a:gd name="connsiteY13" fmla="*/ 3165532 h 3487140"/>
              <a:gd name="connsiteX14" fmla="*/ 1232384 w 6094516"/>
              <a:gd name="connsiteY14" fmla="*/ 3283181 h 3487140"/>
              <a:gd name="connsiteX15" fmla="*/ 1835020 w 6094516"/>
              <a:gd name="connsiteY15" fmla="*/ 2757481 h 3487140"/>
              <a:gd name="connsiteX16" fmla="*/ 1824789 w 6094516"/>
              <a:gd name="connsiteY16" fmla="*/ 1980430 h 3487140"/>
              <a:gd name="connsiteX17" fmla="*/ 1494755 w 6094516"/>
              <a:gd name="connsiteY17" fmla="*/ 1589139 h 3487140"/>
              <a:gd name="connsiteX18" fmla="*/ 1305701 w 6094516"/>
              <a:gd name="connsiteY18" fmla="*/ 1660710 h 3487140"/>
              <a:gd name="connsiteX19" fmla="*/ 1197284 w 6094516"/>
              <a:gd name="connsiteY19" fmla="*/ 2116627 h 3487140"/>
              <a:gd name="connsiteX20" fmla="*/ 973921 w 6094516"/>
              <a:gd name="connsiteY20" fmla="*/ 2374258 h 3487140"/>
              <a:gd name="connsiteX21" fmla="*/ 918985 w 6094516"/>
              <a:gd name="connsiteY21" fmla="*/ 2276986 h 3487140"/>
              <a:gd name="connsiteX22" fmla="*/ 1298257 w 6094516"/>
              <a:gd name="connsiteY22" fmla="*/ 2021601 h 3487140"/>
              <a:gd name="connsiteX23" fmla="*/ 1558176 w 6094516"/>
              <a:gd name="connsiteY23" fmla="*/ 1234153 h 3487140"/>
              <a:gd name="connsiteX24" fmla="*/ 1788276 w 6094516"/>
              <a:gd name="connsiteY24" fmla="*/ 725296 h 3487140"/>
              <a:gd name="connsiteX25" fmla="*/ 1896859 w 6094516"/>
              <a:gd name="connsiteY25" fmla="*/ 539984 h 3487140"/>
              <a:gd name="connsiteX26" fmla="*/ 1865711 w 6094516"/>
              <a:gd name="connsiteY26" fmla="*/ 435851 h 3487140"/>
              <a:gd name="connsiteX27" fmla="*/ 1759373 w 6094516"/>
              <a:gd name="connsiteY27" fmla="*/ 350265 h 3487140"/>
              <a:gd name="connsiteX28" fmla="*/ 1714085 w 6094516"/>
              <a:gd name="connsiteY28" fmla="*/ 209327 h 3487140"/>
              <a:gd name="connsiteX29" fmla="*/ 1758915 w 6094516"/>
              <a:gd name="connsiteY29" fmla="*/ 82237 h 3487140"/>
              <a:gd name="connsiteX30" fmla="*/ 1939195 w 6094516"/>
              <a:gd name="connsiteY30" fmla="*/ 6716 h 3487140"/>
              <a:gd name="connsiteX31" fmla="*/ 2207888 w 6094516"/>
              <a:gd name="connsiteY31" fmla="*/ 10167 h 3487140"/>
              <a:gd name="connsiteX32" fmla="*/ 2291561 w 6094516"/>
              <a:gd name="connsiteY32" fmla="*/ 49800 h 3487140"/>
              <a:gd name="connsiteX33" fmla="*/ 2244526 w 6094516"/>
              <a:gd name="connsiteY33" fmla="*/ 86812 h 3487140"/>
              <a:gd name="connsiteX34" fmla="*/ 2008603 w 6094516"/>
              <a:gd name="connsiteY34" fmla="*/ 91886 h 3487140"/>
              <a:gd name="connsiteX35" fmla="*/ 1765070 w 6094516"/>
              <a:gd name="connsiteY35" fmla="*/ 75833 h 3487140"/>
              <a:gd name="connsiteX36" fmla="*/ 1657319 w 6094516"/>
              <a:gd name="connsiteY36" fmla="*/ 176931 h 3487140"/>
              <a:gd name="connsiteX37" fmla="*/ 1672581 w 6094516"/>
              <a:gd name="connsiteY37" fmla="*/ 370393 h 3487140"/>
              <a:gd name="connsiteX38" fmla="*/ 1617354 w 6094516"/>
              <a:gd name="connsiteY38" fmla="*/ 589348 h 3487140"/>
              <a:gd name="connsiteX39" fmla="*/ 1460820 w 6094516"/>
              <a:gd name="connsiteY39" fmla="*/ 903953 h 3487140"/>
              <a:gd name="connsiteX40" fmla="*/ 1250349 w 6094516"/>
              <a:gd name="connsiteY40" fmla="*/ 922501 h 3487140"/>
              <a:gd name="connsiteX41" fmla="*/ 1055930 w 6094516"/>
              <a:gd name="connsiteY41" fmla="*/ 866816 h 3487140"/>
              <a:gd name="connsiteX42" fmla="*/ 997085 w 6094516"/>
              <a:gd name="connsiteY42" fmla="*/ 751038 h 3487140"/>
              <a:gd name="connsiteX43" fmla="*/ 1009021 w 6094516"/>
              <a:gd name="connsiteY43" fmla="*/ 369436 h 3487140"/>
              <a:gd name="connsiteX44" fmla="*/ 1070694 w 6094516"/>
              <a:gd name="connsiteY44" fmla="*/ 155805 h 3487140"/>
              <a:gd name="connsiteX45" fmla="*/ 1272058 w 6094516"/>
              <a:gd name="connsiteY45" fmla="*/ 156761 h 3487140"/>
              <a:gd name="connsiteX46" fmla="*/ 1524989 w 6094516"/>
              <a:gd name="connsiteY46" fmla="*/ 245175 h 3487140"/>
              <a:gd name="connsiteX47" fmla="*/ 1694081 w 6094516"/>
              <a:gd name="connsiteY47" fmla="*/ 357792 h 3487140"/>
              <a:gd name="connsiteX48" fmla="*/ 1798672 w 6094516"/>
              <a:gd name="connsiteY48" fmla="*/ 483301 h 3487140"/>
              <a:gd name="connsiteX49" fmla="*/ 1822876 w 6094516"/>
              <a:gd name="connsiteY49" fmla="*/ 600951 h 3487140"/>
              <a:gd name="connsiteX50" fmla="*/ 1795345 w 6094516"/>
              <a:gd name="connsiteY50" fmla="*/ 761726 h 3487140"/>
              <a:gd name="connsiteX51" fmla="*/ 1967266 w 6094516"/>
              <a:gd name="connsiteY51" fmla="*/ 1160004 h 3487140"/>
              <a:gd name="connsiteX52" fmla="*/ 2390246 w 6094516"/>
              <a:gd name="connsiteY52" fmla="*/ 1793622 h 3487140"/>
              <a:gd name="connsiteX53" fmla="*/ 2807737 w 6094516"/>
              <a:gd name="connsiteY53" fmla="*/ 2087475 h 3487140"/>
              <a:gd name="connsiteX54" fmla="*/ 2917360 w 6094516"/>
              <a:gd name="connsiteY54" fmla="*/ 2185620 h 3487140"/>
              <a:gd name="connsiteX55" fmla="*/ 2804411 w 6094516"/>
              <a:gd name="connsiteY55" fmla="*/ 2468120 h 3487140"/>
              <a:gd name="connsiteX56" fmla="*/ 2638312 w 6094516"/>
              <a:gd name="connsiteY56" fmla="*/ 2505548 h 3487140"/>
              <a:gd name="connsiteX57" fmla="*/ 2329862 w 6094516"/>
              <a:gd name="connsiteY57" fmla="*/ 2278109 h 3487140"/>
              <a:gd name="connsiteX58" fmla="*/ 1885173 w 6094516"/>
              <a:gd name="connsiteY58" fmla="*/ 1678800 h 3487140"/>
              <a:gd name="connsiteX59" fmla="*/ 1765320 w 6094516"/>
              <a:gd name="connsiteY59" fmla="*/ 1175432 h 3487140"/>
              <a:gd name="connsiteX60" fmla="*/ 1919774 w 6094516"/>
              <a:gd name="connsiteY60" fmla="*/ 1377420 h 3487140"/>
              <a:gd name="connsiteX61" fmla="*/ 2281414 w 6094516"/>
              <a:gd name="connsiteY61" fmla="*/ 2268710 h 3487140"/>
              <a:gd name="connsiteX62" fmla="*/ 2601216 w 6094516"/>
              <a:gd name="connsiteY62" fmla="*/ 2693105 h 3487140"/>
              <a:gd name="connsiteX63" fmla="*/ 2834644 w 6094516"/>
              <a:gd name="connsiteY63" fmla="*/ 2746586 h 3487140"/>
              <a:gd name="connsiteX64" fmla="*/ 3001865 w 6094516"/>
              <a:gd name="connsiteY64" fmla="*/ 2631432 h 3487140"/>
              <a:gd name="connsiteX65" fmla="*/ 3013052 w 6094516"/>
              <a:gd name="connsiteY65" fmla="*/ 2436680 h 3487140"/>
              <a:gd name="connsiteX66" fmla="*/ 2859222 w 6094516"/>
              <a:gd name="connsiteY66" fmla="*/ 2309258 h 3487140"/>
              <a:gd name="connsiteX67" fmla="*/ 2652036 w 6094516"/>
              <a:gd name="connsiteY67" fmla="*/ 2375007 h 3487140"/>
              <a:gd name="connsiteX68" fmla="*/ 2629537 w 6094516"/>
              <a:gd name="connsiteY68" fmla="*/ 2581402 h 3487140"/>
              <a:gd name="connsiteX69" fmla="*/ 2772222 w 6094516"/>
              <a:gd name="connsiteY69" fmla="*/ 2671064 h 3487140"/>
              <a:gd name="connsiteX70" fmla="*/ 2868787 w 6094516"/>
              <a:gd name="connsiteY70" fmla="*/ 2596831 h 3487140"/>
              <a:gd name="connsiteX71" fmla="*/ 2835601 w 6094516"/>
              <a:gd name="connsiteY71" fmla="*/ 2530750 h 3487140"/>
              <a:gd name="connsiteX72" fmla="*/ 2713543 w 6094516"/>
              <a:gd name="connsiteY72" fmla="*/ 2615379 h 3487140"/>
              <a:gd name="connsiteX73" fmla="*/ 2567864 w 6094516"/>
              <a:gd name="connsiteY73" fmla="*/ 2907028 h 3487140"/>
              <a:gd name="connsiteX74" fmla="*/ 2520039 w 6094516"/>
              <a:gd name="connsiteY74" fmla="*/ 3008333 h 3487140"/>
              <a:gd name="connsiteX75" fmla="*/ 2484191 w 6094516"/>
              <a:gd name="connsiteY75" fmla="*/ 3024053 h 3487140"/>
              <a:gd name="connsiteX76" fmla="*/ 2389165 w 6094516"/>
              <a:gd name="connsiteY76" fmla="*/ 3013989 h 3487140"/>
              <a:gd name="connsiteX77" fmla="*/ 2396068 w 6094516"/>
              <a:gd name="connsiteY77" fmla="*/ 2956724 h 3487140"/>
              <a:gd name="connsiteX78" fmla="*/ 2584831 w 6094516"/>
              <a:gd name="connsiteY78" fmla="*/ 2951068 h 3487140"/>
              <a:gd name="connsiteX79" fmla="*/ 2671041 w 6094516"/>
              <a:gd name="connsiteY79" fmla="*/ 2951068 h 3487140"/>
              <a:gd name="connsiteX80" fmla="*/ 2752219 w 6094516"/>
              <a:gd name="connsiteY80" fmla="*/ 2822066 h 3487140"/>
              <a:gd name="connsiteX81" fmla="*/ 2892533 w 6094516"/>
              <a:gd name="connsiteY81" fmla="*/ 2789337 h 3487140"/>
              <a:gd name="connsiteX82" fmla="*/ 3020246 w 6094516"/>
              <a:gd name="connsiteY82" fmla="*/ 2713815 h 3487140"/>
              <a:gd name="connsiteX83" fmla="*/ 3106456 w 6094516"/>
              <a:gd name="connsiteY83" fmla="*/ 2544556 h 3487140"/>
              <a:gd name="connsiteX84" fmla="*/ 3326035 w 6094516"/>
              <a:gd name="connsiteY84" fmla="*/ 2482883 h 3487140"/>
              <a:gd name="connsiteX85" fmla="*/ 3861009 w 6094516"/>
              <a:gd name="connsiteY85" fmla="*/ 2466831 h 3487140"/>
              <a:gd name="connsiteX86" fmla="*/ 4016751 w 6094516"/>
              <a:gd name="connsiteY86" fmla="*/ 2420918 h 3487140"/>
              <a:gd name="connsiteX87" fmla="*/ 3866664 w 6094516"/>
              <a:gd name="connsiteY87" fmla="*/ 2252907 h 3487140"/>
              <a:gd name="connsiteX88" fmla="*/ 3391285 w 6094516"/>
              <a:gd name="connsiteY88" fmla="*/ 1791709 h 3487140"/>
              <a:gd name="connsiteX89" fmla="*/ 3127166 w 6094516"/>
              <a:gd name="connsiteY89" fmla="*/ 1600118 h 3487140"/>
              <a:gd name="connsiteX90" fmla="*/ 3003196 w 6094516"/>
              <a:gd name="connsiteY90" fmla="*/ 1733529 h 3487140"/>
              <a:gd name="connsiteX91" fmla="*/ 2940898 w 6094516"/>
              <a:gd name="connsiteY91" fmla="*/ 1995900 h 3487140"/>
              <a:gd name="connsiteX92" fmla="*/ 2981778 w 6094516"/>
              <a:gd name="connsiteY92" fmla="*/ 2048133 h 3487140"/>
              <a:gd name="connsiteX93" fmla="*/ 3044699 w 6094516"/>
              <a:gd name="connsiteY93" fmla="*/ 1778817 h 3487140"/>
              <a:gd name="connsiteX94" fmla="*/ 3166466 w 6094516"/>
              <a:gd name="connsiteY94" fmla="*/ 1356918 h 3487140"/>
              <a:gd name="connsiteX95" fmla="*/ 3272803 w 6094516"/>
              <a:gd name="connsiteY95" fmla="*/ 986960 h 3487140"/>
              <a:gd name="connsiteX96" fmla="*/ 3243526 w 6094516"/>
              <a:gd name="connsiteY96" fmla="*/ 867107 h 3487140"/>
              <a:gd name="connsiteX97" fmla="*/ 3068612 w 6094516"/>
              <a:gd name="connsiteY97" fmla="*/ 840034 h 3487140"/>
              <a:gd name="connsiteX98" fmla="*/ 2924513 w 6094516"/>
              <a:gd name="connsiteY98" fmla="*/ 782769 h 3487140"/>
              <a:gd name="connsiteX99" fmla="*/ 2940857 w 6094516"/>
              <a:gd name="connsiteY99" fmla="*/ 714816 h 3487140"/>
              <a:gd name="connsiteX100" fmla="*/ 3114524 w 6094516"/>
              <a:gd name="connsiteY100" fmla="*/ 723008 h 3487140"/>
              <a:gd name="connsiteX101" fmla="*/ 3317135 w 6094516"/>
              <a:gd name="connsiteY101" fmla="*/ 729288 h 3487140"/>
              <a:gd name="connsiteX102" fmla="*/ 3483857 w 6094516"/>
              <a:gd name="connsiteY102" fmla="*/ 682087 h 3487140"/>
              <a:gd name="connsiteX103" fmla="*/ 3601506 w 6094516"/>
              <a:gd name="connsiteY103" fmla="*/ 703463 h 3487140"/>
              <a:gd name="connsiteX104" fmla="*/ 3624171 w 6094516"/>
              <a:gd name="connsiteY104" fmla="*/ 797199 h 3487140"/>
              <a:gd name="connsiteX105" fmla="*/ 3496458 w 6094516"/>
              <a:gd name="connsiteY105" fmla="*/ 890936 h 3487140"/>
              <a:gd name="connsiteX106" fmla="*/ 3326575 w 6094516"/>
              <a:gd name="connsiteY106" fmla="*/ 918009 h 3487140"/>
              <a:gd name="connsiteX107" fmla="*/ 3198862 w 6094516"/>
              <a:gd name="connsiteY107" fmla="*/ 1002306 h 3487140"/>
              <a:gd name="connsiteX108" fmla="*/ 3097972 w 6094516"/>
              <a:gd name="connsiteY108" fmla="*/ 1299902 h 3487140"/>
              <a:gd name="connsiteX109" fmla="*/ 3159022 w 6094516"/>
              <a:gd name="connsiteY109" fmla="*/ 1545930 h 3487140"/>
              <a:gd name="connsiteX110" fmla="*/ 3371697 w 6094516"/>
              <a:gd name="connsiteY110" fmla="*/ 1536490 h 3487140"/>
              <a:gd name="connsiteX111" fmla="*/ 3551228 w 6094516"/>
              <a:gd name="connsiteY111" fmla="*/ 1376048 h 3487140"/>
              <a:gd name="connsiteX112" fmla="*/ 3554389 w 6094516"/>
              <a:gd name="connsiteY112" fmla="*/ 1231949 h 3487140"/>
              <a:gd name="connsiteX113" fmla="*/ 3336348 w 6094516"/>
              <a:gd name="connsiteY113" fmla="*/ 1191693 h 3487140"/>
              <a:gd name="connsiteX114" fmla="*/ 3344832 w 6094516"/>
              <a:gd name="connsiteY114" fmla="*/ 1255238 h 3487140"/>
              <a:gd name="connsiteX115" fmla="*/ 3769850 w 6094516"/>
              <a:gd name="connsiteY115" fmla="*/ 1241722 h 3487140"/>
              <a:gd name="connsiteX116" fmla="*/ 4254670 w 6094516"/>
              <a:gd name="connsiteY116" fmla="*/ 1259646 h 3487140"/>
              <a:gd name="connsiteX117" fmla="*/ 4484022 w 6094516"/>
              <a:gd name="connsiteY117" fmla="*/ 1236981 h 3487140"/>
              <a:gd name="connsiteX118" fmla="*/ 4465766 w 6094516"/>
              <a:gd name="connsiteY118" fmla="*/ 1185995 h 3487140"/>
              <a:gd name="connsiteX119" fmla="*/ 4105248 w 6094516"/>
              <a:gd name="connsiteY119" fmla="*/ 1177512 h 3487140"/>
              <a:gd name="connsiteX120" fmla="*/ 3734668 w 6094516"/>
              <a:gd name="connsiteY120" fmla="*/ 1331342 h 3487140"/>
              <a:gd name="connsiteX121" fmla="*/ 3388914 w 6094516"/>
              <a:gd name="connsiteY121" fmla="*/ 1604110 h 3487140"/>
              <a:gd name="connsiteX122" fmla="*/ 3156111 w 6094516"/>
              <a:gd name="connsiteY122" fmla="*/ 1921252 h 3487140"/>
              <a:gd name="connsiteX123" fmla="*/ 3060461 w 6094516"/>
              <a:gd name="connsiteY123" fmla="*/ 2419255 h 3487140"/>
              <a:gd name="connsiteX124" fmla="*/ 3290769 w 6094516"/>
              <a:gd name="connsiteY124" fmla="*/ 3048465 h 3487140"/>
              <a:gd name="connsiteX125" fmla="*/ 3868994 w 6094516"/>
              <a:gd name="connsiteY125" fmla="*/ 3394510 h 3487140"/>
              <a:gd name="connsiteX126" fmla="*/ 4507643 w 6094516"/>
              <a:gd name="connsiteY126" fmla="*/ 3330632 h 3487140"/>
              <a:gd name="connsiteX127" fmla="*/ 5002818 w 6094516"/>
              <a:gd name="connsiteY127" fmla="*/ 2841404 h 3487140"/>
              <a:gd name="connsiteX128" fmla="*/ 5036171 w 6094516"/>
              <a:gd name="connsiteY128" fmla="*/ 2052999 h 3487140"/>
              <a:gd name="connsiteX129" fmla="*/ 4605164 w 6094516"/>
              <a:gd name="connsiteY129" fmla="*/ 1482011 h 3487140"/>
              <a:gd name="connsiteX130" fmla="*/ 4138310 w 6094516"/>
              <a:gd name="connsiteY130" fmla="*/ 1352717 h 3487140"/>
              <a:gd name="connsiteX131" fmla="*/ 3977868 w 6094516"/>
              <a:gd name="connsiteY131" fmla="*/ 1466624 h 3487140"/>
              <a:gd name="connsiteX132" fmla="*/ 3999909 w 6094516"/>
              <a:gd name="connsiteY132" fmla="*/ 2001140 h 3487140"/>
              <a:gd name="connsiteX133" fmla="*/ 4033885 w 6094516"/>
              <a:gd name="connsiteY133" fmla="*/ 2313208 h 3487140"/>
              <a:gd name="connsiteX134" fmla="*/ 4125585 w 6094516"/>
              <a:gd name="connsiteY134" fmla="*/ 2399085 h 3487140"/>
              <a:gd name="connsiteX135" fmla="*/ 4230051 w 6094516"/>
              <a:gd name="connsiteY135" fmla="*/ 2362905 h 3487140"/>
              <a:gd name="connsiteX136" fmla="*/ 4194660 w 6094516"/>
              <a:gd name="connsiteY136" fmla="*/ 2271372 h 3487140"/>
              <a:gd name="connsiteX137" fmla="*/ 4097056 w 6094516"/>
              <a:gd name="connsiteY137" fmla="*/ 2303394 h 3487140"/>
              <a:gd name="connsiteX138" fmla="*/ 4080670 w 6094516"/>
              <a:gd name="connsiteY138" fmla="*/ 2437262 h 3487140"/>
              <a:gd name="connsiteX139" fmla="*/ 4079589 w 6094516"/>
              <a:gd name="connsiteY139" fmla="*/ 2519521 h 3487140"/>
              <a:gd name="connsiteX140" fmla="*/ 3900475 w 6094516"/>
              <a:gd name="connsiteY140" fmla="*/ 2539400 h 3487140"/>
              <a:gd name="connsiteX141" fmla="*/ 3490220 w 6094516"/>
              <a:gd name="connsiteY141" fmla="*/ 2545679 h 3487140"/>
              <a:gd name="connsiteX142" fmla="*/ 3249848 w 6094516"/>
              <a:gd name="connsiteY142" fmla="*/ 2602944 h 3487140"/>
              <a:gd name="connsiteX143" fmla="*/ 3240241 w 6094516"/>
              <a:gd name="connsiteY143" fmla="*/ 2790460 h 3487140"/>
              <a:gd name="connsiteX144" fmla="*/ 3433578 w 6094516"/>
              <a:gd name="connsiteY144" fmla="*/ 3133385 h 3487140"/>
              <a:gd name="connsiteX145" fmla="*/ 3925468 w 6094516"/>
              <a:gd name="connsiteY145" fmla="*/ 3465290 h 3487140"/>
              <a:gd name="connsiteX146" fmla="*/ 4666214 w 6094516"/>
              <a:gd name="connsiteY146" fmla="*/ 3390434 h 3487140"/>
              <a:gd name="connsiteX147" fmla="*/ 5106037 w 6094516"/>
              <a:gd name="connsiteY147" fmla="*/ 3017940 h 3487140"/>
              <a:gd name="connsiteX148" fmla="*/ 5420018 w 6094516"/>
              <a:gd name="connsiteY148" fmla="*/ 2655510 h 3487140"/>
              <a:gd name="connsiteX149" fmla="*/ 5792512 w 6094516"/>
              <a:gd name="connsiteY149" fmla="*/ 3163577 h 3487140"/>
              <a:gd name="connsiteX150" fmla="*/ 6016499 w 6094516"/>
              <a:gd name="connsiteY150" fmla="*/ 3255443 h 3487140"/>
              <a:gd name="connsiteX151" fmla="*/ 6094516 w 6094516"/>
              <a:gd name="connsiteY151" fmla="*/ 2786675 h 3487140"/>
              <a:gd name="connsiteX0" fmla="*/ 777215 w 6016499"/>
              <a:gd name="connsiteY0" fmla="*/ 3295741 h 3487140"/>
              <a:gd name="connsiteX1" fmla="*/ 526113 w 6016499"/>
              <a:gd name="connsiteY1" fmla="*/ 3112384 h 3487140"/>
              <a:gd name="connsiteX2" fmla="*/ 219950 w 6016499"/>
              <a:gd name="connsiteY2" fmla="*/ 2750287 h 3487140"/>
              <a:gd name="connsiteX3" fmla="*/ 128418 w 6016499"/>
              <a:gd name="connsiteY3" fmla="*/ 2305432 h 3487140"/>
              <a:gd name="connsiteX4" fmla="*/ 256006 w 6016499"/>
              <a:gd name="connsiteY4" fmla="*/ 1919713 h 3487140"/>
              <a:gd name="connsiteX5" fmla="*/ 580218 w 6016499"/>
              <a:gd name="connsiteY5" fmla="*/ 1637837 h 3487140"/>
              <a:gd name="connsiteX6" fmla="*/ 1073522 w 6016499"/>
              <a:gd name="connsiteY6" fmla="*/ 1545972 h 3487140"/>
              <a:gd name="connsiteX7" fmla="*/ 1308197 w 6016499"/>
              <a:gd name="connsiteY7" fmla="*/ 1517651 h 3487140"/>
              <a:gd name="connsiteX8" fmla="*/ 1292934 w 6016499"/>
              <a:gd name="connsiteY8" fmla="*/ 1460718 h 3487140"/>
              <a:gd name="connsiteX9" fmla="*/ 1016880 w 6016499"/>
              <a:gd name="connsiteY9" fmla="*/ 1416969 h 3487140"/>
              <a:gd name="connsiteX10" fmla="*/ 497460 w 6016499"/>
              <a:gd name="connsiteY10" fmla="*/ 1517318 h 3487140"/>
              <a:gd name="connsiteX11" fmla="*/ 88162 w 6016499"/>
              <a:gd name="connsiteY11" fmla="*/ 1960593 h 3487140"/>
              <a:gd name="connsiteX12" fmla="*/ 28692 w 6016499"/>
              <a:gd name="connsiteY12" fmla="*/ 2569342 h 3487140"/>
              <a:gd name="connsiteX13" fmla="*/ 442399 w 6016499"/>
              <a:gd name="connsiteY13" fmla="*/ 3165532 h 3487140"/>
              <a:gd name="connsiteX14" fmla="*/ 1232384 w 6016499"/>
              <a:gd name="connsiteY14" fmla="*/ 3283181 h 3487140"/>
              <a:gd name="connsiteX15" fmla="*/ 1835020 w 6016499"/>
              <a:gd name="connsiteY15" fmla="*/ 2757481 h 3487140"/>
              <a:gd name="connsiteX16" fmla="*/ 1824789 w 6016499"/>
              <a:gd name="connsiteY16" fmla="*/ 1980430 h 3487140"/>
              <a:gd name="connsiteX17" fmla="*/ 1494755 w 6016499"/>
              <a:gd name="connsiteY17" fmla="*/ 1589139 h 3487140"/>
              <a:gd name="connsiteX18" fmla="*/ 1305701 w 6016499"/>
              <a:gd name="connsiteY18" fmla="*/ 1660710 h 3487140"/>
              <a:gd name="connsiteX19" fmla="*/ 1197284 w 6016499"/>
              <a:gd name="connsiteY19" fmla="*/ 2116627 h 3487140"/>
              <a:gd name="connsiteX20" fmla="*/ 973921 w 6016499"/>
              <a:gd name="connsiteY20" fmla="*/ 2374258 h 3487140"/>
              <a:gd name="connsiteX21" fmla="*/ 918985 w 6016499"/>
              <a:gd name="connsiteY21" fmla="*/ 2276986 h 3487140"/>
              <a:gd name="connsiteX22" fmla="*/ 1298257 w 6016499"/>
              <a:gd name="connsiteY22" fmla="*/ 2021601 h 3487140"/>
              <a:gd name="connsiteX23" fmla="*/ 1558176 w 6016499"/>
              <a:gd name="connsiteY23" fmla="*/ 1234153 h 3487140"/>
              <a:gd name="connsiteX24" fmla="*/ 1788276 w 6016499"/>
              <a:gd name="connsiteY24" fmla="*/ 725296 h 3487140"/>
              <a:gd name="connsiteX25" fmla="*/ 1896859 w 6016499"/>
              <a:gd name="connsiteY25" fmla="*/ 539984 h 3487140"/>
              <a:gd name="connsiteX26" fmla="*/ 1865711 w 6016499"/>
              <a:gd name="connsiteY26" fmla="*/ 435851 h 3487140"/>
              <a:gd name="connsiteX27" fmla="*/ 1759373 w 6016499"/>
              <a:gd name="connsiteY27" fmla="*/ 350265 h 3487140"/>
              <a:gd name="connsiteX28" fmla="*/ 1714085 w 6016499"/>
              <a:gd name="connsiteY28" fmla="*/ 209327 h 3487140"/>
              <a:gd name="connsiteX29" fmla="*/ 1758915 w 6016499"/>
              <a:gd name="connsiteY29" fmla="*/ 82237 h 3487140"/>
              <a:gd name="connsiteX30" fmla="*/ 1939195 w 6016499"/>
              <a:gd name="connsiteY30" fmla="*/ 6716 h 3487140"/>
              <a:gd name="connsiteX31" fmla="*/ 2207888 w 6016499"/>
              <a:gd name="connsiteY31" fmla="*/ 10167 h 3487140"/>
              <a:gd name="connsiteX32" fmla="*/ 2291561 w 6016499"/>
              <a:gd name="connsiteY32" fmla="*/ 49800 h 3487140"/>
              <a:gd name="connsiteX33" fmla="*/ 2244526 w 6016499"/>
              <a:gd name="connsiteY33" fmla="*/ 86812 h 3487140"/>
              <a:gd name="connsiteX34" fmla="*/ 2008603 w 6016499"/>
              <a:gd name="connsiteY34" fmla="*/ 91886 h 3487140"/>
              <a:gd name="connsiteX35" fmla="*/ 1765070 w 6016499"/>
              <a:gd name="connsiteY35" fmla="*/ 75833 h 3487140"/>
              <a:gd name="connsiteX36" fmla="*/ 1657319 w 6016499"/>
              <a:gd name="connsiteY36" fmla="*/ 176931 h 3487140"/>
              <a:gd name="connsiteX37" fmla="*/ 1672581 w 6016499"/>
              <a:gd name="connsiteY37" fmla="*/ 370393 h 3487140"/>
              <a:gd name="connsiteX38" fmla="*/ 1617354 w 6016499"/>
              <a:gd name="connsiteY38" fmla="*/ 589348 h 3487140"/>
              <a:gd name="connsiteX39" fmla="*/ 1460820 w 6016499"/>
              <a:gd name="connsiteY39" fmla="*/ 903953 h 3487140"/>
              <a:gd name="connsiteX40" fmla="*/ 1250349 w 6016499"/>
              <a:gd name="connsiteY40" fmla="*/ 922501 h 3487140"/>
              <a:gd name="connsiteX41" fmla="*/ 1055930 w 6016499"/>
              <a:gd name="connsiteY41" fmla="*/ 866816 h 3487140"/>
              <a:gd name="connsiteX42" fmla="*/ 997085 w 6016499"/>
              <a:gd name="connsiteY42" fmla="*/ 751038 h 3487140"/>
              <a:gd name="connsiteX43" fmla="*/ 1009021 w 6016499"/>
              <a:gd name="connsiteY43" fmla="*/ 369436 h 3487140"/>
              <a:gd name="connsiteX44" fmla="*/ 1070694 w 6016499"/>
              <a:gd name="connsiteY44" fmla="*/ 155805 h 3487140"/>
              <a:gd name="connsiteX45" fmla="*/ 1272058 w 6016499"/>
              <a:gd name="connsiteY45" fmla="*/ 156761 h 3487140"/>
              <a:gd name="connsiteX46" fmla="*/ 1524989 w 6016499"/>
              <a:gd name="connsiteY46" fmla="*/ 245175 h 3487140"/>
              <a:gd name="connsiteX47" fmla="*/ 1694081 w 6016499"/>
              <a:gd name="connsiteY47" fmla="*/ 357792 h 3487140"/>
              <a:gd name="connsiteX48" fmla="*/ 1798672 w 6016499"/>
              <a:gd name="connsiteY48" fmla="*/ 483301 h 3487140"/>
              <a:gd name="connsiteX49" fmla="*/ 1822876 w 6016499"/>
              <a:gd name="connsiteY49" fmla="*/ 600951 h 3487140"/>
              <a:gd name="connsiteX50" fmla="*/ 1795345 w 6016499"/>
              <a:gd name="connsiteY50" fmla="*/ 761726 h 3487140"/>
              <a:gd name="connsiteX51" fmla="*/ 1967266 w 6016499"/>
              <a:gd name="connsiteY51" fmla="*/ 1160004 h 3487140"/>
              <a:gd name="connsiteX52" fmla="*/ 2390246 w 6016499"/>
              <a:gd name="connsiteY52" fmla="*/ 1793622 h 3487140"/>
              <a:gd name="connsiteX53" fmla="*/ 2807737 w 6016499"/>
              <a:gd name="connsiteY53" fmla="*/ 2087475 h 3487140"/>
              <a:gd name="connsiteX54" fmla="*/ 2917360 w 6016499"/>
              <a:gd name="connsiteY54" fmla="*/ 2185620 h 3487140"/>
              <a:gd name="connsiteX55" fmla="*/ 2804411 w 6016499"/>
              <a:gd name="connsiteY55" fmla="*/ 2468120 h 3487140"/>
              <a:gd name="connsiteX56" fmla="*/ 2638312 w 6016499"/>
              <a:gd name="connsiteY56" fmla="*/ 2505548 h 3487140"/>
              <a:gd name="connsiteX57" fmla="*/ 2329862 w 6016499"/>
              <a:gd name="connsiteY57" fmla="*/ 2278109 h 3487140"/>
              <a:gd name="connsiteX58" fmla="*/ 1885173 w 6016499"/>
              <a:gd name="connsiteY58" fmla="*/ 1678800 h 3487140"/>
              <a:gd name="connsiteX59" fmla="*/ 1765320 w 6016499"/>
              <a:gd name="connsiteY59" fmla="*/ 1175432 h 3487140"/>
              <a:gd name="connsiteX60" fmla="*/ 1919774 w 6016499"/>
              <a:gd name="connsiteY60" fmla="*/ 1377420 h 3487140"/>
              <a:gd name="connsiteX61" fmla="*/ 2281414 w 6016499"/>
              <a:gd name="connsiteY61" fmla="*/ 2268710 h 3487140"/>
              <a:gd name="connsiteX62" fmla="*/ 2601216 w 6016499"/>
              <a:gd name="connsiteY62" fmla="*/ 2693105 h 3487140"/>
              <a:gd name="connsiteX63" fmla="*/ 2834644 w 6016499"/>
              <a:gd name="connsiteY63" fmla="*/ 2746586 h 3487140"/>
              <a:gd name="connsiteX64" fmla="*/ 3001865 w 6016499"/>
              <a:gd name="connsiteY64" fmla="*/ 2631432 h 3487140"/>
              <a:gd name="connsiteX65" fmla="*/ 3013052 w 6016499"/>
              <a:gd name="connsiteY65" fmla="*/ 2436680 h 3487140"/>
              <a:gd name="connsiteX66" fmla="*/ 2859222 w 6016499"/>
              <a:gd name="connsiteY66" fmla="*/ 2309258 h 3487140"/>
              <a:gd name="connsiteX67" fmla="*/ 2652036 w 6016499"/>
              <a:gd name="connsiteY67" fmla="*/ 2375007 h 3487140"/>
              <a:gd name="connsiteX68" fmla="*/ 2629537 w 6016499"/>
              <a:gd name="connsiteY68" fmla="*/ 2581402 h 3487140"/>
              <a:gd name="connsiteX69" fmla="*/ 2772222 w 6016499"/>
              <a:gd name="connsiteY69" fmla="*/ 2671064 h 3487140"/>
              <a:gd name="connsiteX70" fmla="*/ 2868787 w 6016499"/>
              <a:gd name="connsiteY70" fmla="*/ 2596831 h 3487140"/>
              <a:gd name="connsiteX71" fmla="*/ 2835601 w 6016499"/>
              <a:gd name="connsiteY71" fmla="*/ 2530750 h 3487140"/>
              <a:gd name="connsiteX72" fmla="*/ 2713543 w 6016499"/>
              <a:gd name="connsiteY72" fmla="*/ 2615379 h 3487140"/>
              <a:gd name="connsiteX73" fmla="*/ 2567864 w 6016499"/>
              <a:gd name="connsiteY73" fmla="*/ 2907028 h 3487140"/>
              <a:gd name="connsiteX74" fmla="*/ 2520039 w 6016499"/>
              <a:gd name="connsiteY74" fmla="*/ 3008333 h 3487140"/>
              <a:gd name="connsiteX75" fmla="*/ 2484191 w 6016499"/>
              <a:gd name="connsiteY75" fmla="*/ 3024053 h 3487140"/>
              <a:gd name="connsiteX76" fmla="*/ 2389165 w 6016499"/>
              <a:gd name="connsiteY76" fmla="*/ 3013989 h 3487140"/>
              <a:gd name="connsiteX77" fmla="*/ 2396068 w 6016499"/>
              <a:gd name="connsiteY77" fmla="*/ 2956724 h 3487140"/>
              <a:gd name="connsiteX78" fmla="*/ 2584831 w 6016499"/>
              <a:gd name="connsiteY78" fmla="*/ 2951068 h 3487140"/>
              <a:gd name="connsiteX79" fmla="*/ 2671041 w 6016499"/>
              <a:gd name="connsiteY79" fmla="*/ 2951068 h 3487140"/>
              <a:gd name="connsiteX80" fmla="*/ 2752219 w 6016499"/>
              <a:gd name="connsiteY80" fmla="*/ 2822066 h 3487140"/>
              <a:gd name="connsiteX81" fmla="*/ 2892533 w 6016499"/>
              <a:gd name="connsiteY81" fmla="*/ 2789337 h 3487140"/>
              <a:gd name="connsiteX82" fmla="*/ 3020246 w 6016499"/>
              <a:gd name="connsiteY82" fmla="*/ 2713815 h 3487140"/>
              <a:gd name="connsiteX83" fmla="*/ 3106456 w 6016499"/>
              <a:gd name="connsiteY83" fmla="*/ 2544556 h 3487140"/>
              <a:gd name="connsiteX84" fmla="*/ 3326035 w 6016499"/>
              <a:gd name="connsiteY84" fmla="*/ 2482883 h 3487140"/>
              <a:gd name="connsiteX85" fmla="*/ 3861009 w 6016499"/>
              <a:gd name="connsiteY85" fmla="*/ 2466831 h 3487140"/>
              <a:gd name="connsiteX86" fmla="*/ 4016751 w 6016499"/>
              <a:gd name="connsiteY86" fmla="*/ 2420918 h 3487140"/>
              <a:gd name="connsiteX87" fmla="*/ 3866664 w 6016499"/>
              <a:gd name="connsiteY87" fmla="*/ 2252907 h 3487140"/>
              <a:gd name="connsiteX88" fmla="*/ 3391285 w 6016499"/>
              <a:gd name="connsiteY88" fmla="*/ 1791709 h 3487140"/>
              <a:gd name="connsiteX89" fmla="*/ 3127166 w 6016499"/>
              <a:gd name="connsiteY89" fmla="*/ 1600118 h 3487140"/>
              <a:gd name="connsiteX90" fmla="*/ 3003196 w 6016499"/>
              <a:gd name="connsiteY90" fmla="*/ 1733529 h 3487140"/>
              <a:gd name="connsiteX91" fmla="*/ 2940898 w 6016499"/>
              <a:gd name="connsiteY91" fmla="*/ 1995900 h 3487140"/>
              <a:gd name="connsiteX92" fmla="*/ 2981778 w 6016499"/>
              <a:gd name="connsiteY92" fmla="*/ 2048133 h 3487140"/>
              <a:gd name="connsiteX93" fmla="*/ 3044699 w 6016499"/>
              <a:gd name="connsiteY93" fmla="*/ 1778817 h 3487140"/>
              <a:gd name="connsiteX94" fmla="*/ 3166466 w 6016499"/>
              <a:gd name="connsiteY94" fmla="*/ 1356918 h 3487140"/>
              <a:gd name="connsiteX95" fmla="*/ 3272803 w 6016499"/>
              <a:gd name="connsiteY95" fmla="*/ 986960 h 3487140"/>
              <a:gd name="connsiteX96" fmla="*/ 3243526 w 6016499"/>
              <a:gd name="connsiteY96" fmla="*/ 867107 h 3487140"/>
              <a:gd name="connsiteX97" fmla="*/ 3068612 w 6016499"/>
              <a:gd name="connsiteY97" fmla="*/ 840034 h 3487140"/>
              <a:gd name="connsiteX98" fmla="*/ 2924513 w 6016499"/>
              <a:gd name="connsiteY98" fmla="*/ 782769 h 3487140"/>
              <a:gd name="connsiteX99" fmla="*/ 2940857 w 6016499"/>
              <a:gd name="connsiteY99" fmla="*/ 714816 h 3487140"/>
              <a:gd name="connsiteX100" fmla="*/ 3114524 w 6016499"/>
              <a:gd name="connsiteY100" fmla="*/ 723008 h 3487140"/>
              <a:gd name="connsiteX101" fmla="*/ 3317135 w 6016499"/>
              <a:gd name="connsiteY101" fmla="*/ 729288 h 3487140"/>
              <a:gd name="connsiteX102" fmla="*/ 3483857 w 6016499"/>
              <a:gd name="connsiteY102" fmla="*/ 682087 h 3487140"/>
              <a:gd name="connsiteX103" fmla="*/ 3601506 w 6016499"/>
              <a:gd name="connsiteY103" fmla="*/ 703463 h 3487140"/>
              <a:gd name="connsiteX104" fmla="*/ 3624171 w 6016499"/>
              <a:gd name="connsiteY104" fmla="*/ 797199 h 3487140"/>
              <a:gd name="connsiteX105" fmla="*/ 3496458 w 6016499"/>
              <a:gd name="connsiteY105" fmla="*/ 890936 h 3487140"/>
              <a:gd name="connsiteX106" fmla="*/ 3326575 w 6016499"/>
              <a:gd name="connsiteY106" fmla="*/ 918009 h 3487140"/>
              <a:gd name="connsiteX107" fmla="*/ 3198862 w 6016499"/>
              <a:gd name="connsiteY107" fmla="*/ 1002306 h 3487140"/>
              <a:gd name="connsiteX108" fmla="*/ 3097972 w 6016499"/>
              <a:gd name="connsiteY108" fmla="*/ 1299902 h 3487140"/>
              <a:gd name="connsiteX109" fmla="*/ 3159022 w 6016499"/>
              <a:gd name="connsiteY109" fmla="*/ 1545930 h 3487140"/>
              <a:gd name="connsiteX110" fmla="*/ 3371697 w 6016499"/>
              <a:gd name="connsiteY110" fmla="*/ 1536490 h 3487140"/>
              <a:gd name="connsiteX111" fmla="*/ 3551228 w 6016499"/>
              <a:gd name="connsiteY111" fmla="*/ 1376048 h 3487140"/>
              <a:gd name="connsiteX112" fmla="*/ 3554389 w 6016499"/>
              <a:gd name="connsiteY112" fmla="*/ 1231949 h 3487140"/>
              <a:gd name="connsiteX113" fmla="*/ 3336348 w 6016499"/>
              <a:gd name="connsiteY113" fmla="*/ 1191693 h 3487140"/>
              <a:gd name="connsiteX114" fmla="*/ 3344832 w 6016499"/>
              <a:gd name="connsiteY114" fmla="*/ 1255238 h 3487140"/>
              <a:gd name="connsiteX115" fmla="*/ 3769850 w 6016499"/>
              <a:gd name="connsiteY115" fmla="*/ 1241722 h 3487140"/>
              <a:gd name="connsiteX116" fmla="*/ 4254670 w 6016499"/>
              <a:gd name="connsiteY116" fmla="*/ 1259646 h 3487140"/>
              <a:gd name="connsiteX117" fmla="*/ 4484022 w 6016499"/>
              <a:gd name="connsiteY117" fmla="*/ 1236981 h 3487140"/>
              <a:gd name="connsiteX118" fmla="*/ 4465766 w 6016499"/>
              <a:gd name="connsiteY118" fmla="*/ 1185995 h 3487140"/>
              <a:gd name="connsiteX119" fmla="*/ 4105248 w 6016499"/>
              <a:gd name="connsiteY119" fmla="*/ 1177512 h 3487140"/>
              <a:gd name="connsiteX120" fmla="*/ 3734668 w 6016499"/>
              <a:gd name="connsiteY120" fmla="*/ 1331342 h 3487140"/>
              <a:gd name="connsiteX121" fmla="*/ 3388914 w 6016499"/>
              <a:gd name="connsiteY121" fmla="*/ 1604110 h 3487140"/>
              <a:gd name="connsiteX122" fmla="*/ 3156111 w 6016499"/>
              <a:gd name="connsiteY122" fmla="*/ 1921252 h 3487140"/>
              <a:gd name="connsiteX123" fmla="*/ 3060461 w 6016499"/>
              <a:gd name="connsiteY123" fmla="*/ 2419255 h 3487140"/>
              <a:gd name="connsiteX124" fmla="*/ 3290769 w 6016499"/>
              <a:gd name="connsiteY124" fmla="*/ 3048465 h 3487140"/>
              <a:gd name="connsiteX125" fmla="*/ 3868994 w 6016499"/>
              <a:gd name="connsiteY125" fmla="*/ 3394510 h 3487140"/>
              <a:gd name="connsiteX126" fmla="*/ 4507643 w 6016499"/>
              <a:gd name="connsiteY126" fmla="*/ 3330632 h 3487140"/>
              <a:gd name="connsiteX127" fmla="*/ 5002818 w 6016499"/>
              <a:gd name="connsiteY127" fmla="*/ 2841404 h 3487140"/>
              <a:gd name="connsiteX128" fmla="*/ 5036171 w 6016499"/>
              <a:gd name="connsiteY128" fmla="*/ 2052999 h 3487140"/>
              <a:gd name="connsiteX129" fmla="*/ 4605164 w 6016499"/>
              <a:gd name="connsiteY129" fmla="*/ 1482011 h 3487140"/>
              <a:gd name="connsiteX130" fmla="*/ 4138310 w 6016499"/>
              <a:gd name="connsiteY130" fmla="*/ 1352717 h 3487140"/>
              <a:gd name="connsiteX131" fmla="*/ 3977868 w 6016499"/>
              <a:gd name="connsiteY131" fmla="*/ 1466624 h 3487140"/>
              <a:gd name="connsiteX132" fmla="*/ 3999909 w 6016499"/>
              <a:gd name="connsiteY132" fmla="*/ 2001140 h 3487140"/>
              <a:gd name="connsiteX133" fmla="*/ 4033885 w 6016499"/>
              <a:gd name="connsiteY133" fmla="*/ 2313208 h 3487140"/>
              <a:gd name="connsiteX134" fmla="*/ 4125585 w 6016499"/>
              <a:gd name="connsiteY134" fmla="*/ 2399085 h 3487140"/>
              <a:gd name="connsiteX135" fmla="*/ 4230051 w 6016499"/>
              <a:gd name="connsiteY135" fmla="*/ 2362905 h 3487140"/>
              <a:gd name="connsiteX136" fmla="*/ 4194660 w 6016499"/>
              <a:gd name="connsiteY136" fmla="*/ 2271372 h 3487140"/>
              <a:gd name="connsiteX137" fmla="*/ 4097056 w 6016499"/>
              <a:gd name="connsiteY137" fmla="*/ 2303394 h 3487140"/>
              <a:gd name="connsiteX138" fmla="*/ 4080670 w 6016499"/>
              <a:gd name="connsiteY138" fmla="*/ 2437262 h 3487140"/>
              <a:gd name="connsiteX139" fmla="*/ 4079589 w 6016499"/>
              <a:gd name="connsiteY139" fmla="*/ 2519521 h 3487140"/>
              <a:gd name="connsiteX140" fmla="*/ 3900475 w 6016499"/>
              <a:gd name="connsiteY140" fmla="*/ 2539400 h 3487140"/>
              <a:gd name="connsiteX141" fmla="*/ 3490220 w 6016499"/>
              <a:gd name="connsiteY141" fmla="*/ 2545679 h 3487140"/>
              <a:gd name="connsiteX142" fmla="*/ 3249848 w 6016499"/>
              <a:gd name="connsiteY142" fmla="*/ 2602944 h 3487140"/>
              <a:gd name="connsiteX143" fmla="*/ 3240241 w 6016499"/>
              <a:gd name="connsiteY143" fmla="*/ 2790460 h 3487140"/>
              <a:gd name="connsiteX144" fmla="*/ 3433578 w 6016499"/>
              <a:gd name="connsiteY144" fmla="*/ 3133385 h 3487140"/>
              <a:gd name="connsiteX145" fmla="*/ 3925468 w 6016499"/>
              <a:gd name="connsiteY145" fmla="*/ 3465290 h 3487140"/>
              <a:gd name="connsiteX146" fmla="*/ 4666214 w 6016499"/>
              <a:gd name="connsiteY146" fmla="*/ 3390434 h 3487140"/>
              <a:gd name="connsiteX147" fmla="*/ 5106037 w 6016499"/>
              <a:gd name="connsiteY147" fmla="*/ 3017940 h 3487140"/>
              <a:gd name="connsiteX148" fmla="*/ 5420018 w 6016499"/>
              <a:gd name="connsiteY148" fmla="*/ 2655510 h 3487140"/>
              <a:gd name="connsiteX149" fmla="*/ 5792512 w 6016499"/>
              <a:gd name="connsiteY149" fmla="*/ 3163577 h 3487140"/>
              <a:gd name="connsiteX150" fmla="*/ 6016499 w 6016499"/>
              <a:gd name="connsiteY150" fmla="*/ 3255443 h 3487140"/>
              <a:gd name="connsiteX0" fmla="*/ 777215 w 5792512"/>
              <a:gd name="connsiteY0" fmla="*/ 3295741 h 3487140"/>
              <a:gd name="connsiteX1" fmla="*/ 526113 w 5792512"/>
              <a:gd name="connsiteY1" fmla="*/ 3112384 h 3487140"/>
              <a:gd name="connsiteX2" fmla="*/ 219950 w 5792512"/>
              <a:gd name="connsiteY2" fmla="*/ 2750287 h 3487140"/>
              <a:gd name="connsiteX3" fmla="*/ 128418 w 5792512"/>
              <a:gd name="connsiteY3" fmla="*/ 2305432 h 3487140"/>
              <a:gd name="connsiteX4" fmla="*/ 256006 w 5792512"/>
              <a:gd name="connsiteY4" fmla="*/ 1919713 h 3487140"/>
              <a:gd name="connsiteX5" fmla="*/ 580218 w 5792512"/>
              <a:gd name="connsiteY5" fmla="*/ 1637837 h 3487140"/>
              <a:gd name="connsiteX6" fmla="*/ 1073522 w 5792512"/>
              <a:gd name="connsiteY6" fmla="*/ 1545972 h 3487140"/>
              <a:gd name="connsiteX7" fmla="*/ 1308197 w 5792512"/>
              <a:gd name="connsiteY7" fmla="*/ 1517651 h 3487140"/>
              <a:gd name="connsiteX8" fmla="*/ 1292934 w 5792512"/>
              <a:gd name="connsiteY8" fmla="*/ 1460718 h 3487140"/>
              <a:gd name="connsiteX9" fmla="*/ 1016880 w 5792512"/>
              <a:gd name="connsiteY9" fmla="*/ 1416969 h 3487140"/>
              <a:gd name="connsiteX10" fmla="*/ 497460 w 5792512"/>
              <a:gd name="connsiteY10" fmla="*/ 1517318 h 3487140"/>
              <a:gd name="connsiteX11" fmla="*/ 88162 w 5792512"/>
              <a:gd name="connsiteY11" fmla="*/ 1960593 h 3487140"/>
              <a:gd name="connsiteX12" fmla="*/ 28692 w 5792512"/>
              <a:gd name="connsiteY12" fmla="*/ 2569342 h 3487140"/>
              <a:gd name="connsiteX13" fmla="*/ 442399 w 5792512"/>
              <a:gd name="connsiteY13" fmla="*/ 3165532 h 3487140"/>
              <a:gd name="connsiteX14" fmla="*/ 1232384 w 5792512"/>
              <a:gd name="connsiteY14" fmla="*/ 3283181 h 3487140"/>
              <a:gd name="connsiteX15" fmla="*/ 1835020 w 5792512"/>
              <a:gd name="connsiteY15" fmla="*/ 2757481 h 3487140"/>
              <a:gd name="connsiteX16" fmla="*/ 1824789 w 5792512"/>
              <a:gd name="connsiteY16" fmla="*/ 1980430 h 3487140"/>
              <a:gd name="connsiteX17" fmla="*/ 1494755 w 5792512"/>
              <a:gd name="connsiteY17" fmla="*/ 1589139 h 3487140"/>
              <a:gd name="connsiteX18" fmla="*/ 1305701 w 5792512"/>
              <a:gd name="connsiteY18" fmla="*/ 1660710 h 3487140"/>
              <a:gd name="connsiteX19" fmla="*/ 1197284 w 5792512"/>
              <a:gd name="connsiteY19" fmla="*/ 2116627 h 3487140"/>
              <a:gd name="connsiteX20" fmla="*/ 973921 w 5792512"/>
              <a:gd name="connsiteY20" fmla="*/ 2374258 h 3487140"/>
              <a:gd name="connsiteX21" fmla="*/ 918985 w 5792512"/>
              <a:gd name="connsiteY21" fmla="*/ 2276986 h 3487140"/>
              <a:gd name="connsiteX22" fmla="*/ 1298257 w 5792512"/>
              <a:gd name="connsiteY22" fmla="*/ 2021601 h 3487140"/>
              <a:gd name="connsiteX23" fmla="*/ 1558176 w 5792512"/>
              <a:gd name="connsiteY23" fmla="*/ 1234153 h 3487140"/>
              <a:gd name="connsiteX24" fmla="*/ 1788276 w 5792512"/>
              <a:gd name="connsiteY24" fmla="*/ 725296 h 3487140"/>
              <a:gd name="connsiteX25" fmla="*/ 1896859 w 5792512"/>
              <a:gd name="connsiteY25" fmla="*/ 539984 h 3487140"/>
              <a:gd name="connsiteX26" fmla="*/ 1865711 w 5792512"/>
              <a:gd name="connsiteY26" fmla="*/ 435851 h 3487140"/>
              <a:gd name="connsiteX27" fmla="*/ 1759373 w 5792512"/>
              <a:gd name="connsiteY27" fmla="*/ 350265 h 3487140"/>
              <a:gd name="connsiteX28" fmla="*/ 1714085 w 5792512"/>
              <a:gd name="connsiteY28" fmla="*/ 209327 h 3487140"/>
              <a:gd name="connsiteX29" fmla="*/ 1758915 w 5792512"/>
              <a:gd name="connsiteY29" fmla="*/ 82237 h 3487140"/>
              <a:gd name="connsiteX30" fmla="*/ 1939195 w 5792512"/>
              <a:gd name="connsiteY30" fmla="*/ 6716 h 3487140"/>
              <a:gd name="connsiteX31" fmla="*/ 2207888 w 5792512"/>
              <a:gd name="connsiteY31" fmla="*/ 10167 h 3487140"/>
              <a:gd name="connsiteX32" fmla="*/ 2291561 w 5792512"/>
              <a:gd name="connsiteY32" fmla="*/ 49800 h 3487140"/>
              <a:gd name="connsiteX33" fmla="*/ 2244526 w 5792512"/>
              <a:gd name="connsiteY33" fmla="*/ 86812 h 3487140"/>
              <a:gd name="connsiteX34" fmla="*/ 2008603 w 5792512"/>
              <a:gd name="connsiteY34" fmla="*/ 91886 h 3487140"/>
              <a:gd name="connsiteX35" fmla="*/ 1765070 w 5792512"/>
              <a:gd name="connsiteY35" fmla="*/ 75833 h 3487140"/>
              <a:gd name="connsiteX36" fmla="*/ 1657319 w 5792512"/>
              <a:gd name="connsiteY36" fmla="*/ 176931 h 3487140"/>
              <a:gd name="connsiteX37" fmla="*/ 1672581 w 5792512"/>
              <a:gd name="connsiteY37" fmla="*/ 370393 h 3487140"/>
              <a:gd name="connsiteX38" fmla="*/ 1617354 w 5792512"/>
              <a:gd name="connsiteY38" fmla="*/ 589348 h 3487140"/>
              <a:gd name="connsiteX39" fmla="*/ 1460820 w 5792512"/>
              <a:gd name="connsiteY39" fmla="*/ 903953 h 3487140"/>
              <a:gd name="connsiteX40" fmla="*/ 1250349 w 5792512"/>
              <a:gd name="connsiteY40" fmla="*/ 922501 h 3487140"/>
              <a:gd name="connsiteX41" fmla="*/ 1055930 w 5792512"/>
              <a:gd name="connsiteY41" fmla="*/ 866816 h 3487140"/>
              <a:gd name="connsiteX42" fmla="*/ 997085 w 5792512"/>
              <a:gd name="connsiteY42" fmla="*/ 751038 h 3487140"/>
              <a:gd name="connsiteX43" fmla="*/ 1009021 w 5792512"/>
              <a:gd name="connsiteY43" fmla="*/ 369436 h 3487140"/>
              <a:gd name="connsiteX44" fmla="*/ 1070694 w 5792512"/>
              <a:gd name="connsiteY44" fmla="*/ 155805 h 3487140"/>
              <a:gd name="connsiteX45" fmla="*/ 1272058 w 5792512"/>
              <a:gd name="connsiteY45" fmla="*/ 156761 h 3487140"/>
              <a:gd name="connsiteX46" fmla="*/ 1524989 w 5792512"/>
              <a:gd name="connsiteY46" fmla="*/ 245175 h 3487140"/>
              <a:gd name="connsiteX47" fmla="*/ 1694081 w 5792512"/>
              <a:gd name="connsiteY47" fmla="*/ 357792 h 3487140"/>
              <a:gd name="connsiteX48" fmla="*/ 1798672 w 5792512"/>
              <a:gd name="connsiteY48" fmla="*/ 483301 h 3487140"/>
              <a:gd name="connsiteX49" fmla="*/ 1822876 w 5792512"/>
              <a:gd name="connsiteY49" fmla="*/ 600951 h 3487140"/>
              <a:gd name="connsiteX50" fmla="*/ 1795345 w 5792512"/>
              <a:gd name="connsiteY50" fmla="*/ 761726 h 3487140"/>
              <a:gd name="connsiteX51" fmla="*/ 1967266 w 5792512"/>
              <a:gd name="connsiteY51" fmla="*/ 1160004 h 3487140"/>
              <a:gd name="connsiteX52" fmla="*/ 2390246 w 5792512"/>
              <a:gd name="connsiteY52" fmla="*/ 1793622 h 3487140"/>
              <a:gd name="connsiteX53" fmla="*/ 2807737 w 5792512"/>
              <a:gd name="connsiteY53" fmla="*/ 2087475 h 3487140"/>
              <a:gd name="connsiteX54" fmla="*/ 2917360 w 5792512"/>
              <a:gd name="connsiteY54" fmla="*/ 2185620 h 3487140"/>
              <a:gd name="connsiteX55" fmla="*/ 2804411 w 5792512"/>
              <a:gd name="connsiteY55" fmla="*/ 2468120 h 3487140"/>
              <a:gd name="connsiteX56" fmla="*/ 2638312 w 5792512"/>
              <a:gd name="connsiteY56" fmla="*/ 2505548 h 3487140"/>
              <a:gd name="connsiteX57" fmla="*/ 2329862 w 5792512"/>
              <a:gd name="connsiteY57" fmla="*/ 2278109 h 3487140"/>
              <a:gd name="connsiteX58" fmla="*/ 1885173 w 5792512"/>
              <a:gd name="connsiteY58" fmla="*/ 1678800 h 3487140"/>
              <a:gd name="connsiteX59" fmla="*/ 1765320 w 5792512"/>
              <a:gd name="connsiteY59" fmla="*/ 1175432 h 3487140"/>
              <a:gd name="connsiteX60" fmla="*/ 1919774 w 5792512"/>
              <a:gd name="connsiteY60" fmla="*/ 1377420 h 3487140"/>
              <a:gd name="connsiteX61" fmla="*/ 2281414 w 5792512"/>
              <a:gd name="connsiteY61" fmla="*/ 2268710 h 3487140"/>
              <a:gd name="connsiteX62" fmla="*/ 2601216 w 5792512"/>
              <a:gd name="connsiteY62" fmla="*/ 2693105 h 3487140"/>
              <a:gd name="connsiteX63" fmla="*/ 2834644 w 5792512"/>
              <a:gd name="connsiteY63" fmla="*/ 2746586 h 3487140"/>
              <a:gd name="connsiteX64" fmla="*/ 3001865 w 5792512"/>
              <a:gd name="connsiteY64" fmla="*/ 2631432 h 3487140"/>
              <a:gd name="connsiteX65" fmla="*/ 3013052 w 5792512"/>
              <a:gd name="connsiteY65" fmla="*/ 2436680 h 3487140"/>
              <a:gd name="connsiteX66" fmla="*/ 2859222 w 5792512"/>
              <a:gd name="connsiteY66" fmla="*/ 2309258 h 3487140"/>
              <a:gd name="connsiteX67" fmla="*/ 2652036 w 5792512"/>
              <a:gd name="connsiteY67" fmla="*/ 2375007 h 3487140"/>
              <a:gd name="connsiteX68" fmla="*/ 2629537 w 5792512"/>
              <a:gd name="connsiteY68" fmla="*/ 2581402 h 3487140"/>
              <a:gd name="connsiteX69" fmla="*/ 2772222 w 5792512"/>
              <a:gd name="connsiteY69" fmla="*/ 2671064 h 3487140"/>
              <a:gd name="connsiteX70" fmla="*/ 2868787 w 5792512"/>
              <a:gd name="connsiteY70" fmla="*/ 2596831 h 3487140"/>
              <a:gd name="connsiteX71" fmla="*/ 2835601 w 5792512"/>
              <a:gd name="connsiteY71" fmla="*/ 2530750 h 3487140"/>
              <a:gd name="connsiteX72" fmla="*/ 2713543 w 5792512"/>
              <a:gd name="connsiteY72" fmla="*/ 2615379 h 3487140"/>
              <a:gd name="connsiteX73" fmla="*/ 2567864 w 5792512"/>
              <a:gd name="connsiteY73" fmla="*/ 2907028 h 3487140"/>
              <a:gd name="connsiteX74" fmla="*/ 2520039 w 5792512"/>
              <a:gd name="connsiteY74" fmla="*/ 3008333 h 3487140"/>
              <a:gd name="connsiteX75" fmla="*/ 2484191 w 5792512"/>
              <a:gd name="connsiteY75" fmla="*/ 3024053 h 3487140"/>
              <a:gd name="connsiteX76" fmla="*/ 2389165 w 5792512"/>
              <a:gd name="connsiteY76" fmla="*/ 3013989 h 3487140"/>
              <a:gd name="connsiteX77" fmla="*/ 2396068 w 5792512"/>
              <a:gd name="connsiteY77" fmla="*/ 2956724 h 3487140"/>
              <a:gd name="connsiteX78" fmla="*/ 2584831 w 5792512"/>
              <a:gd name="connsiteY78" fmla="*/ 2951068 h 3487140"/>
              <a:gd name="connsiteX79" fmla="*/ 2671041 w 5792512"/>
              <a:gd name="connsiteY79" fmla="*/ 2951068 h 3487140"/>
              <a:gd name="connsiteX80" fmla="*/ 2752219 w 5792512"/>
              <a:gd name="connsiteY80" fmla="*/ 2822066 h 3487140"/>
              <a:gd name="connsiteX81" fmla="*/ 2892533 w 5792512"/>
              <a:gd name="connsiteY81" fmla="*/ 2789337 h 3487140"/>
              <a:gd name="connsiteX82" fmla="*/ 3020246 w 5792512"/>
              <a:gd name="connsiteY82" fmla="*/ 2713815 h 3487140"/>
              <a:gd name="connsiteX83" fmla="*/ 3106456 w 5792512"/>
              <a:gd name="connsiteY83" fmla="*/ 2544556 h 3487140"/>
              <a:gd name="connsiteX84" fmla="*/ 3326035 w 5792512"/>
              <a:gd name="connsiteY84" fmla="*/ 2482883 h 3487140"/>
              <a:gd name="connsiteX85" fmla="*/ 3861009 w 5792512"/>
              <a:gd name="connsiteY85" fmla="*/ 2466831 h 3487140"/>
              <a:gd name="connsiteX86" fmla="*/ 4016751 w 5792512"/>
              <a:gd name="connsiteY86" fmla="*/ 2420918 h 3487140"/>
              <a:gd name="connsiteX87" fmla="*/ 3866664 w 5792512"/>
              <a:gd name="connsiteY87" fmla="*/ 2252907 h 3487140"/>
              <a:gd name="connsiteX88" fmla="*/ 3391285 w 5792512"/>
              <a:gd name="connsiteY88" fmla="*/ 1791709 h 3487140"/>
              <a:gd name="connsiteX89" fmla="*/ 3127166 w 5792512"/>
              <a:gd name="connsiteY89" fmla="*/ 1600118 h 3487140"/>
              <a:gd name="connsiteX90" fmla="*/ 3003196 w 5792512"/>
              <a:gd name="connsiteY90" fmla="*/ 1733529 h 3487140"/>
              <a:gd name="connsiteX91" fmla="*/ 2940898 w 5792512"/>
              <a:gd name="connsiteY91" fmla="*/ 1995900 h 3487140"/>
              <a:gd name="connsiteX92" fmla="*/ 2981778 w 5792512"/>
              <a:gd name="connsiteY92" fmla="*/ 2048133 h 3487140"/>
              <a:gd name="connsiteX93" fmla="*/ 3044699 w 5792512"/>
              <a:gd name="connsiteY93" fmla="*/ 1778817 h 3487140"/>
              <a:gd name="connsiteX94" fmla="*/ 3166466 w 5792512"/>
              <a:gd name="connsiteY94" fmla="*/ 1356918 h 3487140"/>
              <a:gd name="connsiteX95" fmla="*/ 3272803 w 5792512"/>
              <a:gd name="connsiteY95" fmla="*/ 986960 h 3487140"/>
              <a:gd name="connsiteX96" fmla="*/ 3243526 w 5792512"/>
              <a:gd name="connsiteY96" fmla="*/ 867107 h 3487140"/>
              <a:gd name="connsiteX97" fmla="*/ 3068612 w 5792512"/>
              <a:gd name="connsiteY97" fmla="*/ 840034 h 3487140"/>
              <a:gd name="connsiteX98" fmla="*/ 2924513 w 5792512"/>
              <a:gd name="connsiteY98" fmla="*/ 782769 h 3487140"/>
              <a:gd name="connsiteX99" fmla="*/ 2940857 w 5792512"/>
              <a:gd name="connsiteY99" fmla="*/ 714816 h 3487140"/>
              <a:gd name="connsiteX100" fmla="*/ 3114524 w 5792512"/>
              <a:gd name="connsiteY100" fmla="*/ 723008 h 3487140"/>
              <a:gd name="connsiteX101" fmla="*/ 3317135 w 5792512"/>
              <a:gd name="connsiteY101" fmla="*/ 729288 h 3487140"/>
              <a:gd name="connsiteX102" fmla="*/ 3483857 w 5792512"/>
              <a:gd name="connsiteY102" fmla="*/ 682087 h 3487140"/>
              <a:gd name="connsiteX103" fmla="*/ 3601506 w 5792512"/>
              <a:gd name="connsiteY103" fmla="*/ 703463 h 3487140"/>
              <a:gd name="connsiteX104" fmla="*/ 3624171 w 5792512"/>
              <a:gd name="connsiteY104" fmla="*/ 797199 h 3487140"/>
              <a:gd name="connsiteX105" fmla="*/ 3496458 w 5792512"/>
              <a:gd name="connsiteY105" fmla="*/ 890936 h 3487140"/>
              <a:gd name="connsiteX106" fmla="*/ 3326575 w 5792512"/>
              <a:gd name="connsiteY106" fmla="*/ 918009 h 3487140"/>
              <a:gd name="connsiteX107" fmla="*/ 3198862 w 5792512"/>
              <a:gd name="connsiteY107" fmla="*/ 1002306 h 3487140"/>
              <a:gd name="connsiteX108" fmla="*/ 3097972 w 5792512"/>
              <a:gd name="connsiteY108" fmla="*/ 1299902 h 3487140"/>
              <a:gd name="connsiteX109" fmla="*/ 3159022 w 5792512"/>
              <a:gd name="connsiteY109" fmla="*/ 1545930 h 3487140"/>
              <a:gd name="connsiteX110" fmla="*/ 3371697 w 5792512"/>
              <a:gd name="connsiteY110" fmla="*/ 1536490 h 3487140"/>
              <a:gd name="connsiteX111" fmla="*/ 3551228 w 5792512"/>
              <a:gd name="connsiteY111" fmla="*/ 1376048 h 3487140"/>
              <a:gd name="connsiteX112" fmla="*/ 3554389 w 5792512"/>
              <a:gd name="connsiteY112" fmla="*/ 1231949 h 3487140"/>
              <a:gd name="connsiteX113" fmla="*/ 3336348 w 5792512"/>
              <a:gd name="connsiteY113" fmla="*/ 1191693 h 3487140"/>
              <a:gd name="connsiteX114" fmla="*/ 3344832 w 5792512"/>
              <a:gd name="connsiteY114" fmla="*/ 1255238 h 3487140"/>
              <a:gd name="connsiteX115" fmla="*/ 3769850 w 5792512"/>
              <a:gd name="connsiteY115" fmla="*/ 1241722 h 3487140"/>
              <a:gd name="connsiteX116" fmla="*/ 4254670 w 5792512"/>
              <a:gd name="connsiteY116" fmla="*/ 1259646 h 3487140"/>
              <a:gd name="connsiteX117" fmla="*/ 4484022 w 5792512"/>
              <a:gd name="connsiteY117" fmla="*/ 1236981 h 3487140"/>
              <a:gd name="connsiteX118" fmla="*/ 4465766 w 5792512"/>
              <a:gd name="connsiteY118" fmla="*/ 1185995 h 3487140"/>
              <a:gd name="connsiteX119" fmla="*/ 4105248 w 5792512"/>
              <a:gd name="connsiteY119" fmla="*/ 1177512 h 3487140"/>
              <a:gd name="connsiteX120" fmla="*/ 3734668 w 5792512"/>
              <a:gd name="connsiteY120" fmla="*/ 1331342 h 3487140"/>
              <a:gd name="connsiteX121" fmla="*/ 3388914 w 5792512"/>
              <a:gd name="connsiteY121" fmla="*/ 1604110 h 3487140"/>
              <a:gd name="connsiteX122" fmla="*/ 3156111 w 5792512"/>
              <a:gd name="connsiteY122" fmla="*/ 1921252 h 3487140"/>
              <a:gd name="connsiteX123" fmla="*/ 3060461 w 5792512"/>
              <a:gd name="connsiteY123" fmla="*/ 2419255 h 3487140"/>
              <a:gd name="connsiteX124" fmla="*/ 3290769 w 5792512"/>
              <a:gd name="connsiteY124" fmla="*/ 3048465 h 3487140"/>
              <a:gd name="connsiteX125" fmla="*/ 3868994 w 5792512"/>
              <a:gd name="connsiteY125" fmla="*/ 3394510 h 3487140"/>
              <a:gd name="connsiteX126" fmla="*/ 4507643 w 5792512"/>
              <a:gd name="connsiteY126" fmla="*/ 3330632 h 3487140"/>
              <a:gd name="connsiteX127" fmla="*/ 5002818 w 5792512"/>
              <a:gd name="connsiteY127" fmla="*/ 2841404 h 3487140"/>
              <a:gd name="connsiteX128" fmla="*/ 5036171 w 5792512"/>
              <a:gd name="connsiteY128" fmla="*/ 2052999 h 3487140"/>
              <a:gd name="connsiteX129" fmla="*/ 4605164 w 5792512"/>
              <a:gd name="connsiteY129" fmla="*/ 1482011 h 3487140"/>
              <a:gd name="connsiteX130" fmla="*/ 4138310 w 5792512"/>
              <a:gd name="connsiteY130" fmla="*/ 1352717 h 3487140"/>
              <a:gd name="connsiteX131" fmla="*/ 3977868 w 5792512"/>
              <a:gd name="connsiteY131" fmla="*/ 1466624 h 3487140"/>
              <a:gd name="connsiteX132" fmla="*/ 3999909 w 5792512"/>
              <a:gd name="connsiteY132" fmla="*/ 2001140 h 3487140"/>
              <a:gd name="connsiteX133" fmla="*/ 4033885 w 5792512"/>
              <a:gd name="connsiteY133" fmla="*/ 2313208 h 3487140"/>
              <a:gd name="connsiteX134" fmla="*/ 4125585 w 5792512"/>
              <a:gd name="connsiteY134" fmla="*/ 2399085 h 3487140"/>
              <a:gd name="connsiteX135" fmla="*/ 4230051 w 5792512"/>
              <a:gd name="connsiteY135" fmla="*/ 2362905 h 3487140"/>
              <a:gd name="connsiteX136" fmla="*/ 4194660 w 5792512"/>
              <a:gd name="connsiteY136" fmla="*/ 2271372 h 3487140"/>
              <a:gd name="connsiteX137" fmla="*/ 4097056 w 5792512"/>
              <a:gd name="connsiteY137" fmla="*/ 2303394 h 3487140"/>
              <a:gd name="connsiteX138" fmla="*/ 4080670 w 5792512"/>
              <a:gd name="connsiteY138" fmla="*/ 2437262 h 3487140"/>
              <a:gd name="connsiteX139" fmla="*/ 4079589 w 5792512"/>
              <a:gd name="connsiteY139" fmla="*/ 2519521 h 3487140"/>
              <a:gd name="connsiteX140" fmla="*/ 3900475 w 5792512"/>
              <a:gd name="connsiteY140" fmla="*/ 2539400 h 3487140"/>
              <a:gd name="connsiteX141" fmla="*/ 3490220 w 5792512"/>
              <a:gd name="connsiteY141" fmla="*/ 2545679 h 3487140"/>
              <a:gd name="connsiteX142" fmla="*/ 3249848 w 5792512"/>
              <a:gd name="connsiteY142" fmla="*/ 2602944 h 3487140"/>
              <a:gd name="connsiteX143" fmla="*/ 3240241 w 5792512"/>
              <a:gd name="connsiteY143" fmla="*/ 2790460 h 3487140"/>
              <a:gd name="connsiteX144" fmla="*/ 3433578 w 5792512"/>
              <a:gd name="connsiteY144" fmla="*/ 3133385 h 3487140"/>
              <a:gd name="connsiteX145" fmla="*/ 3925468 w 5792512"/>
              <a:gd name="connsiteY145" fmla="*/ 3465290 h 3487140"/>
              <a:gd name="connsiteX146" fmla="*/ 4666214 w 5792512"/>
              <a:gd name="connsiteY146" fmla="*/ 3390434 h 3487140"/>
              <a:gd name="connsiteX147" fmla="*/ 5106037 w 5792512"/>
              <a:gd name="connsiteY147" fmla="*/ 3017940 h 3487140"/>
              <a:gd name="connsiteX148" fmla="*/ 5420018 w 5792512"/>
              <a:gd name="connsiteY148" fmla="*/ 2655510 h 3487140"/>
              <a:gd name="connsiteX149" fmla="*/ 5792512 w 5792512"/>
              <a:gd name="connsiteY149" fmla="*/ 3163577 h 3487140"/>
              <a:gd name="connsiteX0" fmla="*/ 777215 w 5420018"/>
              <a:gd name="connsiteY0" fmla="*/ 3295741 h 3487140"/>
              <a:gd name="connsiteX1" fmla="*/ 526113 w 5420018"/>
              <a:gd name="connsiteY1" fmla="*/ 3112384 h 3487140"/>
              <a:gd name="connsiteX2" fmla="*/ 219950 w 5420018"/>
              <a:gd name="connsiteY2" fmla="*/ 2750287 h 3487140"/>
              <a:gd name="connsiteX3" fmla="*/ 128418 w 5420018"/>
              <a:gd name="connsiteY3" fmla="*/ 2305432 h 3487140"/>
              <a:gd name="connsiteX4" fmla="*/ 256006 w 5420018"/>
              <a:gd name="connsiteY4" fmla="*/ 1919713 h 3487140"/>
              <a:gd name="connsiteX5" fmla="*/ 580218 w 5420018"/>
              <a:gd name="connsiteY5" fmla="*/ 1637837 h 3487140"/>
              <a:gd name="connsiteX6" fmla="*/ 1073522 w 5420018"/>
              <a:gd name="connsiteY6" fmla="*/ 1545972 h 3487140"/>
              <a:gd name="connsiteX7" fmla="*/ 1308197 w 5420018"/>
              <a:gd name="connsiteY7" fmla="*/ 1517651 h 3487140"/>
              <a:gd name="connsiteX8" fmla="*/ 1292934 w 5420018"/>
              <a:gd name="connsiteY8" fmla="*/ 1460718 h 3487140"/>
              <a:gd name="connsiteX9" fmla="*/ 1016880 w 5420018"/>
              <a:gd name="connsiteY9" fmla="*/ 1416969 h 3487140"/>
              <a:gd name="connsiteX10" fmla="*/ 497460 w 5420018"/>
              <a:gd name="connsiteY10" fmla="*/ 1517318 h 3487140"/>
              <a:gd name="connsiteX11" fmla="*/ 88162 w 5420018"/>
              <a:gd name="connsiteY11" fmla="*/ 1960593 h 3487140"/>
              <a:gd name="connsiteX12" fmla="*/ 28692 w 5420018"/>
              <a:gd name="connsiteY12" fmla="*/ 2569342 h 3487140"/>
              <a:gd name="connsiteX13" fmla="*/ 442399 w 5420018"/>
              <a:gd name="connsiteY13" fmla="*/ 3165532 h 3487140"/>
              <a:gd name="connsiteX14" fmla="*/ 1232384 w 5420018"/>
              <a:gd name="connsiteY14" fmla="*/ 3283181 h 3487140"/>
              <a:gd name="connsiteX15" fmla="*/ 1835020 w 5420018"/>
              <a:gd name="connsiteY15" fmla="*/ 2757481 h 3487140"/>
              <a:gd name="connsiteX16" fmla="*/ 1824789 w 5420018"/>
              <a:gd name="connsiteY16" fmla="*/ 1980430 h 3487140"/>
              <a:gd name="connsiteX17" fmla="*/ 1494755 w 5420018"/>
              <a:gd name="connsiteY17" fmla="*/ 1589139 h 3487140"/>
              <a:gd name="connsiteX18" fmla="*/ 1305701 w 5420018"/>
              <a:gd name="connsiteY18" fmla="*/ 1660710 h 3487140"/>
              <a:gd name="connsiteX19" fmla="*/ 1197284 w 5420018"/>
              <a:gd name="connsiteY19" fmla="*/ 2116627 h 3487140"/>
              <a:gd name="connsiteX20" fmla="*/ 973921 w 5420018"/>
              <a:gd name="connsiteY20" fmla="*/ 2374258 h 3487140"/>
              <a:gd name="connsiteX21" fmla="*/ 918985 w 5420018"/>
              <a:gd name="connsiteY21" fmla="*/ 2276986 h 3487140"/>
              <a:gd name="connsiteX22" fmla="*/ 1298257 w 5420018"/>
              <a:gd name="connsiteY22" fmla="*/ 2021601 h 3487140"/>
              <a:gd name="connsiteX23" fmla="*/ 1558176 w 5420018"/>
              <a:gd name="connsiteY23" fmla="*/ 1234153 h 3487140"/>
              <a:gd name="connsiteX24" fmla="*/ 1788276 w 5420018"/>
              <a:gd name="connsiteY24" fmla="*/ 725296 h 3487140"/>
              <a:gd name="connsiteX25" fmla="*/ 1896859 w 5420018"/>
              <a:gd name="connsiteY25" fmla="*/ 539984 h 3487140"/>
              <a:gd name="connsiteX26" fmla="*/ 1865711 w 5420018"/>
              <a:gd name="connsiteY26" fmla="*/ 435851 h 3487140"/>
              <a:gd name="connsiteX27" fmla="*/ 1759373 w 5420018"/>
              <a:gd name="connsiteY27" fmla="*/ 350265 h 3487140"/>
              <a:gd name="connsiteX28" fmla="*/ 1714085 w 5420018"/>
              <a:gd name="connsiteY28" fmla="*/ 209327 h 3487140"/>
              <a:gd name="connsiteX29" fmla="*/ 1758915 w 5420018"/>
              <a:gd name="connsiteY29" fmla="*/ 82237 h 3487140"/>
              <a:gd name="connsiteX30" fmla="*/ 1939195 w 5420018"/>
              <a:gd name="connsiteY30" fmla="*/ 6716 h 3487140"/>
              <a:gd name="connsiteX31" fmla="*/ 2207888 w 5420018"/>
              <a:gd name="connsiteY31" fmla="*/ 10167 h 3487140"/>
              <a:gd name="connsiteX32" fmla="*/ 2291561 w 5420018"/>
              <a:gd name="connsiteY32" fmla="*/ 49800 h 3487140"/>
              <a:gd name="connsiteX33" fmla="*/ 2244526 w 5420018"/>
              <a:gd name="connsiteY33" fmla="*/ 86812 h 3487140"/>
              <a:gd name="connsiteX34" fmla="*/ 2008603 w 5420018"/>
              <a:gd name="connsiteY34" fmla="*/ 91886 h 3487140"/>
              <a:gd name="connsiteX35" fmla="*/ 1765070 w 5420018"/>
              <a:gd name="connsiteY35" fmla="*/ 75833 h 3487140"/>
              <a:gd name="connsiteX36" fmla="*/ 1657319 w 5420018"/>
              <a:gd name="connsiteY36" fmla="*/ 176931 h 3487140"/>
              <a:gd name="connsiteX37" fmla="*/ 1672581 w 5420018"/>
              <a:gd name="connsiteY37" fmla="*/ 370393 h 3487140"/>
              <a:gd name="connsiteX38" fmla="*/ 1617354 w 5420018"/>
              <a:gd name="connsiteY38" fmla="*/ 589348 h 3487140"/>
              <a:gd name="connsiteX39" fmla="*/ 1460820 w 5420018"/>
              <a:gd name="connsiteY39" fmla="*/ 903953 h 3487140"/>
              <a:gd name="connsiteX40" fmla="*/ 1250349 w 5420018"/>
              <a:gd name="connsiteY40" fmla="*/ 922501 h 3487140"/>
              <a:gd name="connsiteX41" fmla="*/ 1055930 w 5420018"/>
              <a:gd name="connsiteY41" fmla="*/ 866816 h 3487140"/>
              <a:gd name="connsiteX42" fmla="*/ 997085 w 5420018"/>
              <a:gd name="connsiteY42" fmla="*/ 751038 h 3487140"/>
              <a:gd name="connsiteX43" fmla="*/ 1009021 w 5420018"/>
              <a:gd name="connsiteY43" fmla="*/ 369436 h 3487140"/>
              <a:gd name="connsiteX44" fmla="*/ 1070694 w 5420018"/>
              <a:gd name="connsiteY44" fmla="*/ 155805 h 3487140"/>
              <a:gd name="connsiteX45" fmla="*/ 1272058 w 5420018"/>
              <a:gd name="connsiteY45" fmla="*/ 156761 h 3487140"/>
              <a:gd name="connsiteX46" fmla="*/ 1524989 w 5420018"/>
              <a:gd name="connsiteY46" fmla="*/ 245175 h 3487140"/>
              <a:gd name="connsiteX47" fmla="*/ 1694081 w 5420018"/>
              <a:gd name="connsiteY47" fmla="*/ 357792 h 3487140"/>
              <a:gd name="connsiteX48" fmla="*/ 1798672 w 5420018"/>
              <a:gd name="connsiteY48" fmla="*/ 483301 h 3487140"/>
              <a:gd name="connsiteX49" fmla="*/ 1822876 w 5420018"/>
              <a:gd name="connsiteY49" fmla="*/ 600951 h 3487140"/>
              <a:gd name="connsiteX50" fmla="*/ 1795345 w 5420018"/>
              <a:gd name="connsiteY50" fmla="*/ 761726 h 3487140"/>
              <a:gd name="connsiteX51" fmla="*/ 1967266 w 5420018"/>
              <a:gd name="connsiteY51" fmla="*/ 1160004 h 3487140"/>
              <a:gd name="connsiteX52" fmla="*/ 2390246 w 5420018"/>
              <a:gd name="connsiteY52" fmla="*/ 1793622 h 3487140"/>
              <a:gd name="connsiteX53" fmla="*/ 2807737 w 5420018"/>
              <a:gd name="connsiteY53" fmla="*/ 2087475 h 3487140"/>
              <a:gd name="connsiteX54" fmla="*/ 2917360 w 5420018"/>
              <a:gd name="connsiteY54" fmla="*/ 2185620 h 3487140"/>
              <a:gd name="connsiteX55" fmla="*/ 2804411 w 5420018"/>
              <a:gd name="connsiteY55" fmla="*/ 2468120 h 3487140"/>
              <a:gd name="connsiteX56" fmla="*/ 2638312 w 5420018"/>
              <a:gd name="connsiteY56" fmla="*/ 2505548 h 3487140"/>
              <a:gd name="connsiteX57" fmla="*/ 2329862 w 5420018"/>
              <a:gd name="connsiteY57" fmla="*/ 2278109 h 3487140"/>
              <a:gd name="connsiteX58" fmla="*/ 1885173 w 5420018"/>
              <a:gd name="connsiteY58" fmla="*/ 1678800 h 3487140"/>
              <a:gd name="connsiteX59" fmla="*/ 1765320 w 5420018"/>
              <a:gd name="connsiteY59" fmla="*/ 1175432 h 3487140"/>
              <a:gd name="connsiteX60" fmla="*/ 1919774 w 5420018"/>
              <a:gd name="connsiteY60" fmla="*/ 1377420 h 3487140"/>
              <a:gd name="connsiteX61" fmla="*/ 2281414 w 5420018"/>
              <a:gd name="connsiteY61" fmla="*/ 2268710 h 3487140"/>
              <a:gd name="connsiteX62" fmla="*/ 2601216 w 5420018"/>
              <a:gd name="connsiteY62" fmla="*/ 2693105 h 3487140"/>
              <a:gd name="connsiteX63" fmla="*/ 2834644 w 5420018"/>
              <a:gd name="connsiteY63" fmla="*/ 2746586 h 3487140"/>
              <a:gd name="connsiteX64" fmla="*/ 3001865 w 5420018"/>
              <a:gd name="connsiteY64" fmla="*/ 2631432 h 3487140"/>
              <a:gd name="connsiteX65" fmla="*/ 3013052 w 5420018"/>
              <a:gd name="connsiteY65" fmla="*/ 2436680 h 3487140"/>
              <a:gd name="connsiteX66" fmla="*/ 2859222 w 5420018"/>
              <a:gd name="connsiteY66" fmla="*/ 2309258 h 3487140"/>
              <a:gd name="connsiteX67" fmla="*/ 2652036 w 5420018"/>
              <a:gd name="connsiteY67" fmla="*/ 2375007 h 3487140"/>
              <a:gd name="connsiteX68" fmla="*/ 2629537 w 5420018"/>
              <a:gd name="connsiteY68" fmla="*/ 2581402 h 3487140"/>
              <a:gd name="connsiteX69" fmla="*/ 2772222 w 5420018"/>
              <a:gd name="connsiteY69" fmla="*/ 2671064 h 3487140"/>
              <a:gd name="connsiteX70" fmla="*/ 2868787 w 5420018"/>
              <a:gd name="connsiteY70" fmla="*/ 2596831 h 3487140"/>
              <a:gd name="connsiteX71" fmla="*/ 2835601 w 5420018"/>
              <a:gd name="connsiteY71" fmla="*/ 2530750 h 3487140"/>
              <a:gd name="connsiteX72" fmla="*/ 2713543 w 5420018"/>
              <a:gd name="connsiteY72" fmla="*/ 2615379 h 3487140"/>
              <a:gd name="connsiteX73" fmla="*/ 2567864 w 5420018"/>
              <a:gd name="connsiteY73" fmla="*/ 2907028 h 3487140"/>
              <a:gd name="connsiteX74" fmla="*/ 2520039 w 5420018"/>
              <a:gd name="connsiteY74" fmla="*/ 3008333 h 3487140"/>
              <a:gd name="connsiteX75" fmla="*/ 2484191 w 5420018"/>
              <a:gd name="connsiteY75" fmla="*/ 3024053 h 3487140"/>
              <a:gd name="connsiteX76" fmla="*/ 2389165 w 5420018"/>
              <a:gd name="connsiteY76" fmla="*/ 3013989 h 3487140"/>
              <a:gd name="connsiteX77" fmla="*/ 2396068 w 5420018"/>
              <a:gd name="connsiteY77" fmla="*/ 2956724 h 3487140"/>
              <a:gd name="connsiteX78" fmla="*/ 2584831 w 5420018"/>
              <a:gd name="connsiteY78" fmla="*/ 2951068 h 3487140"/>
              <a:gd name="connsiteX79" fmla="*/ 2671041 w 5420018"/>
              <a:gd name="connsiteY79" fmla="*/ 2951068 h 3487140"/>
              <a:gd name="connsiteX80" fmla="*/ 2752219 w 5420018"/>
              <a:gd name="connsiteY80" fmla="*/ 2822066 h 3487140"/>
              <a:gd name="connsiteX81" fmla="*/ 2892533 w 5420018"/>
              <a:gd name="connsiteY81" fmla="*/ 2789337 h 3487140"/>
              <a:gd name="connsiteX82" fmla="*/ 3020246 w 5420018"/>
              <a:gd name="connsiteY82" fmla="*/ 2713815 h 3487140"/>
              <a:gd name="connsiteX83" fmla="*/ 3106456 w 5420018"/>
              <a:gd name="connsiteY83" fmla="*/ 2544556 h 3487140"/>
              <a:gd name="connsiteX84" fmla="*/ 3326035 w 5420018"/>
              <a:gd name="connsiteY84" fmla="*/ 2482883 h 3487140"/>
              <a:gd name="connsiteX85" fmla="*/ 3861009 w 5420018"/>
              <a:gd name="connsiteY85" fmla="*/ 2466831 h 3487140"/>
              <a:gd name="connsiteX86" fmla="*/ 4016751 w 5420018"/>
              <a:gd name="connsiteY86" fmla="*/ 2420918 h 3487140"/>
              <a:gd name="connsiteX87" fmla="*/ 3866664 w 5420018"/>
              <a:gd name="connsiteY87" fmla="*/ 2252907 h 3487140"/>
              <a:gd name="connsiteX88" fmla="*/ 3391285 w 5420018"/>
              <a:gd name="connsiteY88" fmla="*/ 1791709 h 3487140"/>
              <a:gd name="connsiteX89" fmla="*/ 3127166 w 5420018"/>
              <a:gd name="connsiteY89" fmla="*/ 1600118 h 3487140"/>
              <a:gd name="connsiteX90" fmla="*/ 3003196 w 5420018"/>
              <a:gd name="connsiteY90" fmla="*/ 1733529 h 3487140"/>
              <a:gd name="connsiteX91" fmla="*/ 2940898 w 5420018"/>
              <a:gd name="connsiteY91" fmla="*/ 1995900 h 3487140"/>
              <a:gd name="connsiteX92" fmla="*/ 2981778 w 5420018"/>
              <a:gd name="connsiteY92" fmla="*/ 2048133 h 3487140"/>
              <a:gd name="connsiteX93" fmla="*/ 3044699 w 5420018"/>
              <a:gd name="connsiteY93" fmla="*/ 1778817 h 3487140"/>
              <a:gd name="connsiteX94" fmla="*/ 3166466 w 5420018"/>
              <a:gd name="connsiteY94" fmla="*/ 1356918 h 3487140"/>
              <a:gd name="connsiteX95" fmla="*/ 3272803 w 5420018"/>
              <a:gd name="connsiteY95" fmla="*/ 986960 h 3487140"/>
              <a:gd name="connsiteX96" fmla="*/ 3243526 w 5420018"/>
              <a:gd name="connsiteY96" fmla="*/ 867107 h 3487140"/>
              <a:gd name="connsiteX97" fmla="*/ 3068612 w 5420018"/>
              <a:gd name="connsiteY97" fmla="*/ 840034 h 3487140"/>
              <a:gd name="connsiteX98" fmla="*/ 2924513 w 5420018"/>
              <a:gd name="connsiteY98" fmla="*/ 782769 h 3487140"/>
              <a:gd name="connsiteX99" fmla="*/ 2940857 w 5420018"/>
              <a:gd name="connsiteY99" fmla="*/ 714816 h 3487140"/>
              <a:gd name="connsiteX100" fmla="*/ 3114524 w 5420018"/>
              <a:gd name="connsiteY100" fmla="*/ 723008 h 3487140"/>
              <a:gd name="connsiteX101" fmla="*/ 3317135 w 5420018"/>
              <a:gd name="connsiteY101" fmla="*/ 729288 h 3487140"/>
              <a:gd name="connsiteX102" fmla="*/ 3483857 w 5420018"/>
              <a:gd name="connsiteY102" fmla="*/ 682087 h 3487140"/>
              <a:gd name="connsiteX103" fmla="*/ 3601506 w 5420018"/>
              <a:gd name="connsiteY103" fmla="*/ 703463 h 3487140"/>
              <a:gd name="connsiteX104" fmla="*/ 3624171 w 5420018"/>
              <a:gd name="connsiteY104" fmla="*/ 797199 h 3487140"/>
              <a:gd name="connsiteX105" fmla="*/ 3496458 w 5420018"/>
              <a:gd name="connsiteY105" fmla="*/ 890936 h 3487140"/>
              <a:gd name="connsiteX106" fmla="*/ 3326575 w 5420018"/>
              <a:gd name="connsiteY106" fmla="*/ 918009 h 3487140"/>
              <a:gd name="connsiteX107" fmla="*/ 3198862 w 5420018"/>
              <a:gd name="connsiteY107" fmla="*/ 1002306 h 3487140"/>
              <a:gd name="connsiteX108" fmla="*/ 3097972 w 5420018"/>
              <a:gd name="connsiteY108" fmla="*/ 1299902 h 3487140"/>
              <a:gd name="connsiteX109" fmla="*/ 3159022 w 5420018"/>
              <a:gd name="connsiteY109" fmla="*/ 1545930 h 3487140"/>
              <a:gd name="connsiteX110" fmla="*/ 3371697 w 5420018"/>
              <a:gd name="connsiteY110" fmla="*/ 1536490 h 3487140"/>
              <a:gd name="connsiteX111" fmla="*/ 3551228 w 5420018"/>
              <a:gd name="connsiteY111" fmla="*/ 1376048 h 3487140"/>
              <a:gd name="connsiteX112" fmla="*/ 3554389 w 5420018"/>
              <a:gd name="connsiteY112" fmla="*/ 1231949 h 3487140"/>
              <a:gd name="connsiteX113" fmla="*/ 3336348 w 5420018"/>
              <a:gd name="connsiteY113" fmla="*/ 1191693 h 3487140"/>
              <a:gd name="connsiteX114" fmla="*/ 3344832 w 5420018"/>
              <a:gd name="connsiteY114" fmla="*/ 1255238 h 3487140"/>
              <a:gd name="connsiteX115" fmla="*/ 3769850 w 5420018"/>
              <a:gd name="connsiteY115" fmla="*/ 1241722 h 3487140"/>
              <a:gd name="connsiteX116" fmla="*/ 4254670 w 5420018"/>
              <a:gd name="connsiteY116" fmla="*/ 1259646 h 3487140"/>
              <a:gd name="connsiteX117" fmla="*/ 4484022 w 5420018"/>
              <a:gd name="connsiteY117" fmla="*/ 1236981 h 3487140"/>
              <a:gd name="connsiteX118" fmla="*/ 4465766 w 5420018"/>
              <a:gd name="connsiteY118" fmla="*/ 1185995 h 3487140"/>
              <a:gd name="connsiteX119" fmla="*/ 4105248 w 5420018"/>
              <a:gd name="connsiteY119" fmla="*/ 1177512 h 3487140"/>
              <a:gd name="connsiteX120" fmla="*/ 3734668 w 5420018"/>
              <a:gd name="connsiteY120" fmla="*/ 1331342 h 3487140"/>
              <a:gd name="connsiteX121" fmla="*/ 3388914 w 5420018"/>
              <a:gd name="connsiteY121" fmla="*/ 1604110 h 3487140"/>
              <a:gd name="connsiteX122" fmla="*/ 3156111 w 5420018"/>
              <a:gd name="connsiteY122" fmla="*/ 1921252 h 3487140"/>
              <a:gd name="connsiteX123" fmla="*/ 3060461 w 5420018"/>
              <a:gd name="connsiteY123" fmla="*/ 2419255 h 3487140"/>
              <a:gd name="connsiteX124" fmla="*/ 3290769 w 5420018"/>
              <a:gd name="connsiteY124" fmla="*/ 3048465 h 3487140"/>
              <a:gd name="connsiteX125" fmla="*/ 3868994 w 5420018"/>
              <a:gd name="connsiteY125" fmla="*/ 3394510 h 3487140"/>
              <a:gd name="connsiteX126" fmla="*/ 4507643 w 5420018"/>
              <a:gd name="connsiteY126" fmla="*/ 3330632 h 3487140"/>
              <a:gd name="connsiteX127" fmla="*/ 5002818 w 5420018"/>
              <a:gd name="connsiteY127" fmla="*/ 2841404 h 3487140"/>
              <a:gd name="connsiteX128" fmla="*/ 5036171 w 5420018"/>
              <a:gd name="connsiteY128" fmla="*/ 2052999 h 3487140"/>
              <a:gd name="connsiteX129" fmla="*/ 4605164 w 5420018"/>
              <a:gd name="connsiteY129" fmla="*/ 1482011 h 3487140"/>
              <a:gd name="connsiteX130" fmla="*/ 4138310 w 5420018"/>
              <a:gd name="connsiteY130" fmla="*/ 1352717 h 3487140"/>
              <a:gd name="connsiteX131" fmla="*/ 3977868 w 5420018"/>
              <a:gd name="connsiteY131" fmla="*/ 1466624 h 3487140"/>
              <a:gd name="connsiteX132" fmla="*/ 3999909 w 5420018"/>
              <a:gd name="connsiteY132" fmla="*/ 2001140 h 3487140"/>
              <a:gd name="connsiteX133" fmla="*/ 4033885 w 5420018"/>
              <a:gd name="connsiteY133" fmla="*/ 2313208 h 3487140"/>
              <a:gd name="connsiteX134" fmla="*/ 4125585 w 5420018"/>
              <a:gd name="connsiteY134" fmla="*/ 2399085 h 3487140"/>
              <a:gd name="connsiteX135" fmla="*/ 4230051 w 5420018"/>
              <a:gd name="connsiteY135" fmla="*/ 2362905 h 3487140"/>
              <a:gd name="connsiteX136" fmla="*/ 4194660 w 5420018"/>
              <a:gd name="connsiteY136" fmla="*/ 2271372 h 3487140"/>
              <a:gd name="connsiteX137" fmla="*/ 4097056 w 5420018"/>
              <a:gd name="connsiteY137" fmla="*/ 2303394 h 3487140"/>
              <a:gd name="connsiteX138" fmla="*/ 4080670 w 5420018"/>
              <a:gd name="connsiteY138" fmla="*/ 2437262 h 3487140"/>
              <a:gd name="connsiteX139" fmla="*/ 4079589 w 5420018"/>
              <a:gd name="connsiteY139" fmla="*/ 2519521 h 3487140"/>
              <a:gd name="connsiteX140" fmla="*/ 3900475 w 5420018"/>
              <a:gd name="connsiteY140" fmla="*/ 2539400 h 3487140"/>
              <a:gd name="connsiteX141" fmla="*/ 3490220 w 5420018"/>
              <a:gd name="connsiteY141" fmla="*/ 2545679 h 3487140"/>
              <a:gd name="connsiteX142" fmla="*/ 3249848 w 5420018"/>
              <a:gd name="connsiteY142" fmla="*/ 2602944 h 3487140"/>
              <a:gd name="connsiteX143" fmla="*/ 3240241 w 5420018"/>
              <a:gd name="connsiteY143" fmla="*/ 2790460 h 3487140"/>
              <a:gd name="connsiteX144" fmla="*/ 3433578 w 5420018"/>
              <a:gd name="connsiteY144" fmla="*/ 3133385 h 3487140"/>
              <a:gd name="connsiteX145" fmla="*/ 3925468 w 5420018"/>
              <a:gd name="connsiteY145" fmla="*/ 3465290 h 3487140"/>
              <a:gd name="connsiteX146" fmla="*/ 4666214 w 5420018"/>
              <a:gd name="connsiteY146" fmla="*/ 3390434 h 3487140"/>
              <a:gd name="connsiteX147" fmla="*/ 5106037 w 5420018"/>
              <a:gd name="connsiteY147" fmla="*/ 3017940 h 3487140"/>
              <a:gd name="connsiteX148" fmla="*/ 5420018 w 5420018"/>
              <a:gd name="connsiteY148" fmla="*/ 2655510 h 3487140"/>
              <a:gd name="connsiteX0" fmla="*/ 777215 w 5106037"/>
              <a:gd name="connsiteY0" fmla="*/ 3295741 h 3487140"/>
              <a:gd name="connsiteX1" fmla="*/ 526113 w 5106037"/>
              <a:gd name="connsiteY1" fmla="*/ 3112384 h 3487140"/>
              <a:gd name="connsiteX2" fmla="*/ 219950 w 5106037"/>
              <a:gd name="connsiteY2" fmla="*/ 2750287 h 3487140"/>
              <a:gd name="connsiteX3" fmla="*/ 128418 w 5106037"/>
              <a:gd name="connsiteY3" fmla="*/ 2305432 h 3487140"/>
              <a:gd name="connsiteX4" fmla="*/ 256006 w 5106037"/>
              <a:gd name="connsiteY4" fmla="*/ 1919713 h 3487140"/>
              <a:gd name="connsiteX5" fmla="*/ 580218 w 5106037"/>
              <a:gd name="connsiteY5" fmla="*/ 1637837 h 3487140"/>
              <a:gd name="connsiteX6" fmla="*/ 1073522 w 5106037"/>
              <a:gd name="connsiteY6" fmla="*/ 1545972 h 3487140"/>
              <a:gd name="connsiteX7" fmla="*/ 1308197 w 5106037"/>
              <a:gd name="connsiteY7" fmla="*/ 1517651 h 3487140"/>
              <a:gd name="connsiteX8" fmla="*/ 1292934 w 5106037"/>
              <a:gd name="connsiteY8" fmla="*/ 1460718 h 3487140"/>
              <a:gd name="connsiteX9" fmla="*/ 1016880 w 5106037"/>
              <a:gd name="connsiteY9" fmla="*/ 1416969 h 3487140"/>
              <a:gd name="connsiteX10" fmla="*/ 497460 w 5106037"/>
              <a:gd name="connsiteY10" fmla="*/ 1517318 h 3487140"/>
              <a:gd name="connsiteX11" fmla="*/ 88162 w 5106037"/>
              <a:gd name="connsiteY11" fmla="*/ 1960593 h 3487140"/>
              <a:gd name="connsiteX12" fmla="*/ 28692 w 5106037"/>
              <a:gd name="connsiteY12" fmla="*/ 2569342 h 3487140"/>
              <a:gd name="connsiteX13" fmla="*/ 442399 w 5106037"/>
              <a:gd name="connsiteY13" fmla="*/ 3165532 h 3487140"/>
              <a:gd name="connsiteX14" fmla="*/ 1232384 w 5106037"/>
              <a:gd name="connsiteY14" fmla="*/ 3283181 h 3487140"/>
              <a:gd name="connsiteX15" fmla="*/ 1835020 w 5106037"/>
              <a:gd name="connsiteY15" fmla="*/ 2757481 h 3487140"/>
              <a:gd name="connsiteX16" fmla="*/ 1824789 w 5106037"/>
              <a:gd name="connsiteY16" fmla="*/ 1980430 h 3487140"/>
              <a:gd name="connsiteX17" fmla="*/ 1494755 w 5106037"/>
              <a:gd name="connsiteY17" fmla="*/ 1589139 h 3487140"/>
              <a:gd name="connsiteX18" fmla="*/ 1305701 w 5106037"/>
              <a:gd name="connsiteY18" fmla="*/ 1660710 h 3487140"/>
              <a:gd name="connsiteX19" fmla="*/ 1197284 w 5106037"/>
              <a:gd name="connsiteY19" fmla="*/ 2116627 h 3487140"/>
              <a:gd name="connsiteX20" fmla="*/ 973921 w 5106037"/>
              <a:gd name="connsiteY20" fmla="*/ 2374258 h 3487140"/>
              <a:gd name="connsiteX21" fmla="*/ 918985 w 5106037"/>
              <a:gd name="connsiteY21" fmla="*/ 2276986 h 3487140"/>
              <a:gd name="connsiteX22" fmla="*/ 1298257 w 5106037"/>
              <a:gd name="connsiteY22" fmla="*/ 2021601 h 3487140"/>
              <a:gd name="connsiteX23" fmla="*/ 1558176 w 5106037"/>
              <a:gd name="connsiteY23" fmla="*/ 1234153 h 3487140"/>
              <a:gd name="connsiteX24" fmla="*/ 1788276 w 5106037"/>
              <a:gd name="connsiteY24" fmla="*/ 725296 h 3487140"/>
              <a:gd name="connsiteX25" fmla="*/ 1896859 w 5106037"/>
              <a:gd name="connsiteY25" fmla="*/ 539984 h 3487140"/>
              <a:gd name="connsiteX26" fmla="*/ 1865711 w 5106037"/>
              <a:gd name="connsiteY26" fmla="*/ 435851 h 3487140"/>
              <a:gd name="connsiteX27" fmla="*/ 1759373 w 5106037"/>
              <a:gd name="connsiteY27" fmla="*/ 350265 h 3487140"/>
              <a:gd name="connsiteX28" fmla="*/ 1714085 w 5106037"/>
              <a:gd name="connsiteY28" fmla="*/ 209327 h 3487140"/>
              <a:gd name="connsiteX29" fmla="*/ 1758915 w 5106037"/>
              <a:gd name="connsiteY29" fmla="*/ 82237 h 3487140"/>
              <a:gd name="connsiteX30" fmla="*/ 1939195 w 5106037"/>
              <a:gd name="connsiteY30" fmla="*/ 6716 h 3487140"/>
              <a:gd name="connsiteX31" fmla="*/ 2207888 w 5106037"/>
              <a:gd name="connsiteY31" fmla="*/ 10167 h 3487140"/>
              <a:gd name="connsiteX32" fmla="*/ 2291561 w 5106037"/>
              <a:gd name="connsiteY32" fmla="*/ 49800 h 3487140"/>
              <a:gd name="connsiteX33" fmla="*/ 2244526 w 5106037"/>
              <a:gd name="connsiteY33" fmla="*/ 86812 h 3487140"/>
              <a:gd name="connsiteX34" fmla="*/ 2008603 w 5106037"/>
              <a:gd name="connsiteY34" fmla="*/ 91886 h 3487140"/>
              <a:gd name="connsiteX35" fmla="*/ 1765070 w 5106037"/>
              <a:gd name="connsiteY35" fmla="*/ 75833 h 3487140"/>
              <a:gd name="connsiteX36" fmla="*/ 1657319 w 5106037"/>
              <a:gd name="connsiteY36" fmla="*/ 176931 h 3487140"/>
              <a:gd name="connsiteX37" fmla="*/ 1672581 w 5106037"/>
              <a:gd name="connsiteY37" fmla="*/ 370393 h 3487140"/>
              <a:gd name="connsiteX38" fmla="*/ 1617354 w 5106037"/>
              <a:gd name="connsiteY38" fmla="*/ 589348 h 3487140"/>
              <a:gd name="connsiteX39" fmla="*/ 1460820 w 5106037"/>
              <a:gd name="connsiteY39" fmla="*/ 903953 h 3487140"/>
              <a:gd name="connsiteX40" fmla="*/ 1250349 w 5106037"/>
              <a:gd name="connsiteY40" fmla="*/ 922501 h 3487140"/>
              <a:gd name="connsiteX41" fmla="*/ 1055930 w 5106037"/>
              <a:gd name="connsiteY41" fmla="*/ 866816 h 3487140"/>
              <a:gd name="connsiteX42" fmla="*/ 997085 w 5106037"/>
              <a:gd name="connsiteY42" fmla="*/ 751038 h 3487140"/>
              <a:gd name="connsiteX43" fmla="*/ 1009021 w 5106037"/>
              <a:gd name="connsiteY43" fmla="*/ 369436 h 3487140"/>
              <a:gd name="connsiteX44" fmla="*/ 1070694 w 5106037"/>
              <a:gd name="connsiteY44" fmla="*/ 155805 h 3487140"/>
              <a:gd name="connsiteX45" fmla="*/ 1272058 w 5106037"/>
              <a:gd name="connsiteY45" fmla="*/ 156761 h 3487140"/>
              <a:gd name="connsiteX46" fmla="*/ 1524989 w 5106037"/>
              <a:gd name="connsiteY46" fmla="*/ 245175 h 3487140"/>
              <a:gd name="connsiteX47" fmla="*/ 1694081 w 5106037"/>
              <a:gd name="connsiteY47" fmla="*/ 357792 h 3487140"/>
              <a:gd name="connsiteX48" fmla="*/ 1798672 w 5106037"/>
              <a:gd name="connsiteY48" fmla="*/ 483301 h 3487140"/>
              <a:gd name="connsiteX49" fmla="*/ 1822876 w 5106037"/>
              <a:gd name="connsiteY49" fmla="*/ 600951 h 3487140"/>
              <a:gd name="connsiteX50" fmla="*/ 1795345 w 5106037"/>
              <a:gd name="connsiteY50" fmla="*/ 761726 h 3487140"/>
              <a:gd name="connsiteX51" fmla="*/ 1967266 w 5106037"/>
              <a:gd name="connsiteY51" fmla="*/ 1160004 h 3487140"/>
              <a:gd name="connsiteX52" fmla="*/ 2390246 w 5106037"/>
              <a:gd name="connsiteY52" fmla="*/ 1793622 h 3487140"/>
              <a:gd name="connsiteX53" fmla="*/ 2807737 w 5106037"/>
              <a:gd name="connsiteY53" fmla="*/ 2087475 h 3487140"/>
              <a:gd name="connsiteX54" fmla="*/ 2917360 w 5106037"/>
              <a:gd name="connsiteY54" fmla="*/ 2185620 h 3487140"/>
              <a:gd name="connsiteX55" fmla="*/ 2804411 w 5106037"/>
              <a:gd name="connsiteY55" fmla="*/ 2468120 h 3487140"/>
              <a:gd name="connsiteX56" fmla="*/ 2638312 w 5106037"/>
              <a:gd name="connsiteY56" fmla="*/ 2505548 h 3487140"/>
              <a:gd name="connsiteX57" fmla="*/ 2329862 w 5106037"/>
              <a:gd name="connsiteY57" fmla="*/ 2278109 h 3487140"/>
              <a:gd name="connsiteX58" fmla="*/ 1885173 w 5106037"/>
              <a:gd name="connsiteY58" fmla="*/ 1678800 h 3487140"/>
              <a:gd name="connsiteX59" fmla="*/ 1765320 w 5106037"/>
              <a:gd name="connsiteY59" fmla="*/ 1175432 h 3487140"/>
              <a:gd name="connsiteX60" fmla="*/ 1919774 w 5106037"/>
              <a:gd name="connsiteY60" fmla="*/ 1377420 h 3487140"/>
              <a:gd name="connsiteX61" fmla="*/ 2281414 w 5106037"/>
              <a:gd name="connsiteY61" fmla="*/ 2268710 h 3487140"/>
              <a:gd name="connsiteX62" fmla="*/ 2601216 w 5106037"/>
              <a:gd name="connsiteY62" fmla="*/ 2693105 h 3487140"/>
              <a:gd name="connsiteX63" fmla="*/ 2834644 w 5106037"/>
              <a:gd name="connsiteY63" fmla="*/ 2746586 h 3487140"/>
              <a:gd name="connsiteX64" fmla="*/ 3001865 w 5106037"/>
              <a:gd name="connsiteY64" fmla="*/ 2631432 h 3487140"/>
              <a:gd name="connsiteX65" fmla="*/ 3013052 w 5106037"/>
              <a:gd name="connsiteY65" fmla="*/ 2436680 h 3487140"/>
              <a:gd name="connsiteX66" fmla="*/ 2859222 w 5106037"/>
              <a:gd name="connsiteY66" fmla="*/ 2309258 h 3487140"/>
              <a:gd name="connsiteX67" fmla="*/ 2652036 w 5106037"/>
              <a:gd name="connsiteY67" fmla="*/ 2375007 h 3487140"/>
              <a:gd name="connsiteX68" fmla="*/ 2629537 w 5106037"/>
              <a:gd name="connsiteY68" fmla="*/ 2581402 h 3487140"/>
              <a:gd name="connsiteX69" fmla="*/ 2772222 w 5106037"/>
              <a:gd name="connsiteY69" fmla="*/ 2671064 h 3487140"/>
              <a:gd name="connsiteX70" fmla="*/ 2868787 w 5106037"/>
              <a:gd name="connsiteY70" fmla="*/ 2596831 h 3487140"/>
              <a:gd name="connsiteX71" fmla="*/ 2835601 w 5106037"/>
              <a:gd name="connsiteY71" fmla="*/ 2530750 h 3487140"/>
              <a:gd name="connsiteX72" fmla="*/ 2713543 w 5106037"/>
              <a:gd name="connsiteY72" fmla="*/ 2615379 h 3487140"/>
              <a:gd name="connsiteX73" fmla="*/ 2567864 w 5106037"/>
              <a:gd name="connsiteY73" fmla="*/ 2907028 h 3487140"/>
              <a:gd name="connsiteX74" fmla="*/ 2520039 w 5106037"/>
              <a:gd name="connsiteY74" fmla="*/ 3008333 h 3487140"/>
              <a:gd name="connsiteX75" fmla="*/ 2484191 w 5106037"/>
              <a:gd name="connsiteY75" fmla="*/ 3024053 h 3487140"/>
              <a:gd name="connsiteX76" fmla="*/ 2389165 w 5106037"/>
              <a:gd name="connsiteY76" fmla="*/ 3013989 h 3487140"/>
              <a:gd name="connsiteX77" fmla="*/ 2396068 w 5106037"/>
              <a:gd name="connsiteY77" fmla="*/ 2956724 h 3487140"/>
              <a:gd name="connsiteX78" fmla="*/ 2584831 w 5106037"/>
              <a:gd name="connsiteY78" fmla="*/ 2951068 h 3487140"/>
              <a:gd name="connsiteX79" fmla="*/ 2671041 w 5106037"/>
              <a:gd name="connsiteY79" fmla="*/ 2951068 h 3487140"/>
              <a:gd name="connsiteX80" fmla="*/ 2752219 w 5106037"/>
              <a:gd name="connsiteY80" fmla="*/ 2822066 h 3487140"/>
              <a:gd name="connsiteX81" fmla="*/ 2892533 w 5106037"/>
              <a:gd name="connsiteY81" fmla="*/ 2789337 h 3487140"/>
              <a:gd name="connsiteX82" fmla="*/ 3020246 w 5106037"/>
              <a:gd name="connsiteY82" fmla="*/ 2713815 h 3487140"/>
              <a:gd name="connsiteX83" fmla="*/ 3106456 w 5106037"/>
              <a:gd name="connsiteY83" fmla="*/ 2544556 h 3487140"/>
              <a:gd name="connsiteX84" fmla="*/ 3326035 w 5106037"/>
              <a:gd name="connsiteY84" fmla="*/ 2482883 h 3487140"/>
              <a:gd name="connsiteX85" fmla="*/ 3861009 w 5106037"/>
              <a:gd name="connsiteY85" fmla="*/ 2466831 h 3487140"/>
              <a:gd name="connsiteX86" fmla="*/ 4016751 w 5106037"/>
              <a:gd name="connsiteY86" fmla="*/ 2420918 h 3487140"/>
              <a:gd name="connsiteX87" fmla="*/ 3866664 w 5106037"/>
              <a:gd name="connsiteY87" fmla="*/ 2252907 h 3487140"/>
              <a:gd name="connsiteX88" fmla="*/ 3391285 w 5106037"/>
              <a:gd name="connsiteY88" fmla="*/ 1791709 h 3487140"/>
              <a:gd name="connsiteX89" fmla="*/ 3127166 w 5106037"/>
              <a:gd name="connsiteY89" fmla="*/ 1600118 h 3487140"/>
              <a:gd name="connsiteX90" fmla="*/ 3003196 w 5106037"/>
              <a:gd name="connsiteY90" fmla="*/ 1733529 h 3487140"/>
              <a:gd name="connsiteX91" fmla="*/ 2940898 w 5106037"/>
              <a:gd name="connsiteY91" fmla="*/ 1995900 h 3487140"/>
              <a:gd name="connsiteX92" fmla="*/ 2981778 w 5106037"/>
              <a:gd name="connsiteY92" fmla="*/ 2048133 h 3487140"/>
              <a:gd name="connsiteX93" fmla="*/ 3044699 w 5106037"/>
              <a:gd name="connsiteY93" fmla="*/ 1778817 h 3487140"/>
              <a:gd name="connsiteX94" fmla="*/ 3166466 w 5106037"/>
              <a:gd name="connsiteY94" fmla="*/ 1356918 h 3487140"/>
              <a:gd name="connsiteX95" fmla="*/ 3272803 w 5106037"/>
              <a:gd name="connsiteY95" fmla="*/ 986960 h 3487140"/>
              <a:gd name="connsiteX96" fmla="*/ 3243526 w 5106037"/>
              <a:gd name="connsiteY96" fmla="*/ 867107 h 3487140"/>
              <a:gd name="connsiteX97" fmla="*/ 3068612 w 5106037"/>
              <a:gd name="connsiteY97" fmla="*/ 840034 h 3487140"/>
              <a:gd name="connsiteX98" fmla="*/ 2924513 w 5106037"/>
              <a:gd name="connsiteY98" fmla="*/ 782769 h 3487140"/>
              <a:gd name="connsiteX99" fmla="*/ 2940857 w 5106037"/>
              <a:gd name="connsiteY99" fmla="*/ 714816 h 3487140"/>
              <a:gd name="connsiteX100" fmla="*/ 3114524 w 5106037"/>
              <a:gd name="connsiteY100" fmla="*/ 723008 h 3487140"/>
              <a:gd name="connsiteX101" fmla="*/ 3317135 w 5106037"/>
              <a:gd name="connsiteY101" fmla="*/ 729288 h 3487140"/>
              <a:gd name="connsiteX102" fmla="*/ 3483857 w 5106037"/>
              <a:gd name="connsiteY102" fmla="*/ 682087 h 3487140"/>
              <a:gd name="connsiteX103" fmla="*/ 3601506 w 5106037"/>
              <a:gd name="connsiteY103" fmla="*/ 703463 h 3487140"/>
              <a:gd name="connsiteX104" fmla="*/ 3624171 w 5106037"/>
              <a:gd name="connsiteY104" fmla="*/ 797199 h 3487140"/>
              <a:gd name="connsiteX105" fmla="*/ 3496458 w 5106037"/>
              <a:gd name="connsiteY105" fmla="*/ 890936 h 3487140"/>
              <a:gd name="connsiteX106" fmla="*/ 3326575 w 5106037"/>
              <a:gd name="connsiteY106" fmla="*/ 918009 h 3487140"/>
              <a:gd name="connsiteX107" fmla="*/ 3198862 w 5106037"/>
              <a:gd name="connsiteY107" fmla="*/ 1002306 h 3487140"/>
              <a:gd name="connsiteX108" fmla="*/ 3097972 w 5106037"/>
              <a:gd name="connsiteY108" fmla="*/ 1299902 h 3487140"/>
              <a:gd name="connsiteX109" fmla="*/ 3159022 w 5106037"/>
              <a:gd name="connsiteY109" fmla="*/ 1545930 h 3487140"/>
              <a:gd name="connsiteX110" fmla="*/ 3371697 w 5106037"/>
              <a:gd name="connsiteY110" fmla="*/ 1536490 h 3487140"/>
              <a:gd name="connsiteX111" fmla="*/ 3551228 w 5106037"/>
              <a:gd name="connsiteY111" fmla="*/ 1376048 h 3487140"/>
              <a:gd name="connsiteX112" fmla="*/ 3554389 w 5106037"/>
              <a:gd name="connsiteY112" fmla="*/ 1231949 h 3487140"/>
              <a:gd name="connsiteX113" fmla="*/ 3336348 w 5106037"/>
              <a:gd name="connsiteY113" fmla="*/ 1191693 h 3487140"/>
              <a:gd name="connsiteX114" fmla="*/ 3344832 w 5106037"/>
              <a:gd name="connsiteY114" fmla="*/ 1255238 h 3487140"/>
              <a:gd name="connsiteX115" fmla="*/ 3769850 w 5106037"/>
              <a:gd name="connsiteY115" fmla="*/ 1241722 h 3487140"/>
              <a:gd name="connsiteX116" fmla="*/ 4254670 w 5106037"/>
              <a:gd name="connsiteY116" fmla="*/ 1259646 h 3487140"/>
              <a:gd name="connsiteX117" fmla="*/ 4484022 w 5106037"/>
              <a:gd name="connsiteY117" fmla="*/ 1236981 h 3487140"/>
              <a:gd name="connsiteX118" fmla="*/ 4465766 w 5106037"/>
              <a:gd name="connsiteY118" fmla="*/ 1185995 h 3487140"/>
              <a:gd name="connsiteX119" fmla="*/ 4105248 w 5106037"/>
              <a:gd name="connsiteY119" fmla="*/ 1177512 h 3487140"/>
              <a:gd name="connsiteX120" fmla="*/ 3734668 w 5106037"/>
              <a:gd name="connsiteY120" fmla="*/ 1331342 h 3487140"/>
              <a:gd name="connsiteX121" fmla="*/ 3388914 w 5106037"/>
              <a:gd name="connsiteY121" fmla="*/ 1604110 h 3487140"/>
              <a:gd name="connsiteX122" fmla="*/ 3156111 w 5106037"/>
              <a:gd name="connsiteY122" fmla="*/ 1921252 h 3487140"/>
              <a:gd name="connsiteX123" fmla="*/ 3060461 w 5106037"/>
              <a:gd name="connsiteY123" fmla="*/ 2419255 h 3487140"/>
              <a:gd name="connsiteX124" fmla="*/ 3290769 w 5106037"/>
              <a:gd name="connsiteY124" fmla="*/ 3048465 h 3487140"/>
              <a:gd name="connsiteX125" fmla="*/ 3868994 w 5106037"/>
              <a:gd name="connsiteY125" fmla="*/ 3394510 h 3487140"/>
              <a:gd name="connsiteX126" fmla="*/ 4507643 w 5106037"/>
              <a:gd name="connsiteY126" fmla="*/ 3330632 h 3487140"/>
              <a:gd name="connsiteX127" fmla="*/ 5002818 w 5106037"/>
              <a:gd name="connsiteY127" fmla="*/ 2841404 h 3487140"/>
              <a:gd name="connsiteX128" fmla="*/ 5036171 w 5106037"/>
              <a:gd name="connsiteY128" fmla="*/ 2052999 h 3487140"/>
              <a:gd name="connsiteX129" fmla="*/ 4605164 w 5106037"/>
              <a:gd name="connsiteY129" fmla="*/ 1482011 h 3487140"/>
              <a:gd name="connsiteX130" fmla="*/ 4138310 w 5106037"/>
              <a:gd name="connsiteY130" fmla="*/ 1352717 h 3487140"/>
              <a:gd name="connsiteX131" fmla="*/ 3977868 w 5106037"/>
              <a:gd name="connsiteY131" fmla="*/ 1466624 h 3487140"/>
              <a:gd name="connsiteX132" fmla="*/ 3999909 w 5106037"/>
              <a:gd name="connsiteY132" fmla="*/ 2001140 h 3487140"/>
              <a:gd name="connsiteX133" fmla="*/ 4033885 w 5106037"/>
              <a:gd name="connsiteY133" fmla="*/ 2313208 h 3487140"/>
              <a:gd name="connsiteX134" fmla="*/ 4125585 w 5106037"/>
              <a:gd name="connsiteY134" fmla="*/ 2399085 h 3487140"/>
              <a:gd name="connsiteX135" fmla="*/ 4230051 w 5106037"/>
              <a:gd name="connsiteY135" fmla="*/ 2362905 h 3487140"/>
              <a:gd name="connsiteX136" fmla="*/ 4194660 w 5106037"/>
              <a:gd name="connsiteY136" fmla="*/ 2271372 h 3487140"/>
              <a:gd name="connsiteX137" fmla="*/ 4097056 w 5106037"/>
              <a:gd name="connsiteY137" fmla="*/ 2303394 h 3487140"/>
              <a:gd name="connsiteX138" fmla="*/ 4080670 w 5106037"/>
              <a:gd name="connsiteY138" fmla="*/ 2437262 h 3487140"/>
              <a:gd name="connsiteX139" fmla="*/ 4079589 w 5106037"/>
              <a:gd name="connsiteY139" fmla="*/ 2519521 h 3487140"/>
              <a:gd name="connsiteX140" fmla="*/ 3900475 w 5106037"/>
              <a:gd name="connsiteY140" fmla="*/ 2539400 h 3487140"/>
              <a:gd name="connsiteX141" fmla="*/ 3490220 w 5106037"/>
              <a:gd name="connsiteY141" fmla="*/ 2545679 h 3487140"/>
              <a:gd name="connsiteX142" fmla="*/ 3249848 w 5106037"/>
              <a:gd name="connsiteY142" fmla="*/ 2602944 h 3487140"/>
              <a:gd name="connsiteX143" fmla="*/ 3240241 w 5106037"/>
              <a:gd name="connsiteY143" fmla="*/ 2790460 h 3487140"/>
              <a:gd name="connsiteX144" fmla="*/ 3433578 w 5106037"/>
              <a:gd name="connsiteY144" fmla="*/ 3133385 h 3487140"/>
              <a:gd name="connsiteX145" fmla="*/ 3925468 w 5106037"/>
              <a:gd name="connsiteY145" fmla="*/ 3465290 h 3487140"/>
              <a:gd name="connsiteX146" fmla="*/ 4666214 w 5106037"/>
              <a:gd name="connsiteY146" fmla="*/ 3390434 h 3487140"/>
              <a:gd name="connsiteX147" fmla="*/ 5106037 w 5106037"/>
              <a:gd name="connsiteY147" fmla="*/ 3017940 h 3487140"/>
              <a:gd name="connsiteX0" fmla="*/ 777215 w 5088779"/>
              <a:gd name="connsiteY0" fmla="*/ 3295741 h 3487140"/>
              <a:gd name="connsiteX1" fmla="*/ 526113 w 5088779"/>
              <a:gd name="connsiteY1" fmla="*/ 3112384 h 3487140"/>
              <a:gd name="connsiteX2" fmla="*/ 219950 w 5088779"/>
              <a:gd name="connsiteY2" fmla="*/ 2750287 h 3487140"/>
              <a:gd name="connsiteX3" fmla="*/ 128418 w 5088779"/>
              <a:gd name="connsiteY3" fmla="*/ 2305432 h 3487140"/>
              <a:gd name="connsiteX4" fmla="*/ 256006 w 5088779"/>
              <a:gd name="connsiteY4" fmla="*/ 1919713 h 3487140"/>
              <a:gd name="connsiteX5" fmla="*/ 580218 w 5088779"/>
              <a:gd name="connsiteY5" fmla="*/ 1637837 h 3487140"/>
              <a:gd name="connsiteX6" fmla="*/ 1073522 w 5088779"/>
              <a:gd name="connsiteY6" fmla="*/ 1545972 h 3487140"/>
              <a:gd name="connsiteX7" fmla="*/ 1308197 w 5088779"/>
              <a:gd name="connsiteY7" fmla="*/ 1517651 h 3487140"/>
              <a:gd name="connsiteX8" fmla="*/ 1292934 w 5088779"/>
              <a:gd name="connsiteY8" fmla="*/ 1460718 h 3487140"/>
              <a:gd name="connsiteX9" fmla="*/ 1016880 w 5088779"/>
              <a:gd name="connsiteY9" fmla="*/ 1416969 h 3487140"/>
              <a:gd name="connsiteX10" fmla="*/ 497460 w 5088779"/>
              <a:gd name="connsiteY10" fmla="*/ 1517318 h 3487140"/>
              <a:gd name="connsiteX11" fmla="*/ 88162 w 5088779"/>
              <a:gd name="connsiteY11" fmla="*/ 1960593 h 3487140"/>
              <a:gd name="connsiteX12" fmla="*/ 28692 w 5088779"/>
              <a:gd name="connsiteY12" fmla="*/ 2569342 h 3487140"/>
              <a:gd name="connsiteX13" fmla="*/ 442399 w 5088779"/>
              <a:gd name="connsiteY13" fmla="*/ 3165532 h 3487140"/>
              <a:gd name="connsiteX14" fmla="*/ 1232384 w 5088779"/>
              <a:gd name="connsiteY14" fmla="*/ 3283181 h 3487140"/>
              <a:gd name="connsiteX15" fmla="*/ 1835020 w 5088779"/>
              <a:gd name="connsiteY15" fmla="*/ 2757481 h 3487140"/>
              <a:gd name="connsiteX16" fmla="*/ 1824789 w 5088779"/>
              <a:gd name="connsiteY16" fmla="*/ 1980430 h 3487140"/>
              <a:gd name="connsiteX17" fmla="*/ 1494755 w 5088779"/>
              <a:gd name="connsiteY17" fmla="*/ 1589139 h 3487140"/>
              <a:gd name="connsiteX18" fmla="*/ 1305701 w 5088779"/>
              <a:gd name="connsiteY18" fmla="*/ 1660710 h 3487140"/>
              <a:gd name="connsiteX19" fmla="*/ 1197284 w 5088779"/>
              <a:gd name="connsiteY19" fmla="*/ 2116627 h 3487140"/>
              <a:gd name="connsiteX20" fmla="*/ 973921 w 5088779"/>
              <a:gd name="connsiteY20" fmla="*/ 2374258 h 3487140"/>
              <a:gd name="connsiteX21" fmla="*/ 918985 w 5088779"/>
              <a:gd name="connsiteY21" fmla="*/ 2276986 h 3487140"/>
              <a:gd name="connsiteX22" fmla="*/ 1298257 w 5088779"/>
              <a:gd name="connsiteY22" fmla="*/ 2021601 h 3487140"/>
              <a:gd name="connsiteX23" fmla="*/ 1558176 w 5088779"/>
              <a:gd name="connsiteY23" fmla="*/ 1234153 h 3487140"/>
              <a:gd name="connsiteX24" fmla="*/ 1788276 w 5088779"/>
              <a:gd name="connsiteY24" fmla="*/ 725296 h 3487140"/>
              <a:gd name="connsiteX25" fmla="*/ 1896859 w 5088779"/>
              <a:gd name="connsiteY25" fmla="*/ 539984 h 3487140"/>
              <a:gd name="connsiteX26" fmla="*/ 1865711 w 5088779"/>
              <a:gd name="connsiteY26" fmla="*/ 435851 h 3487140"/>
              <a:gd name="connsiteX27" fmla="*/ 1759373 w 5088779"/>
              <a:gd name="connsiteY27" fmla="*/ 350265 h 3487140"/>
              <a:gd name="connsiteX28" fmla="*/ 1714085 w 5088779"/>
              <a:gd name="connsiteY28" fmla="*/ 209327 h 3487140"/>
              <a:gd name="connsiteX29" fmla="*/ 1758915 w 5088779"/>
              <a:gd name="connsiteY29" fmla="*/ 82237 h 3487140"/>
              <a:gd name="connsiteX30" fmla="*/ 1939195 w 5088779"/>
              <a:gd name="connsiteY30" fmla="*/ 6716 h 3487140"/>
              <a:gd name="connsiteX31" fmla="*/ 2207888 w 5088779"/>
              <a:gd name="connsiteY31" fmla="*/ 10167 h 3487140"/>
              <a:gd name="connsiteX32" fmla="*/ 2291561 w 5088779"/>
              <a:gd name="connsiteY32" fmla="*/ 49800 h 3487140"/>
              <a:gd name="connsiteX33" fmla="*/ 2244526 w 5088779"/>
              <a:gd name="connsiteY33" fmla="*/ 86812 h 3487140"/>
              <a:gd name="connsiteX34" fmla="*/ 2008603 w 5088779"/>
              <a:gd name="connsiteY34" fmla="*/ 91886 h 3487140"/>
              <a:gd name="connsiteX35" fmla="*/ 1765070 w 5088779"/>
              <a:gd name="connsiteY35" fmla="*/ 75833 h 3487140"/>
              <a:gd name="connsiteX36" fmla="*/ 1657319 w 5088779"/>
              <a:gd name="connsiteY36" fmla="*/ 176931 h 3487140"/>
              <a:gd name="connsiteX37" fmla="*/ 1672581 w 5088779"/>
              <a:gd name="connsiteY37" fmla="*/ 370393 h 3487140"/>
              <a:gd name="connsiteX38" fmla="*/ 1617354 w 5088779"/>
              <a:gd name="connsiteY38" fmla="*/ 589348 h 3487140"/>
              <a:gd name="connsiteX39" fmla="*/ 1460820 w 5088779"/>
              <a:gd name="connsiteY39" fmla="*/ 903953 h 3487140"/>
              <a:gd name="connsiteX40" fmla="*/ 1250349 w 5088779"/>
              <a:gd name="connsiteY40" fmla="*/ 922501 h 3487140"/>
              <a:gd name="connsiteX41" fmla="*/ 1055930 w 5088779"/>
              <a:gd name="connsiteY41" fmla="*/ 866816 h 3487140"/>
              <a:gd name="connsiteX42" fmla="*/ 997085 w 5088779"/>
              <a:gd name="connsiteY42" fmla="*/ 751038 h 3487140"/>
              <a:gd name="connsiteX43" fmla="*/ 1009021 w 5088779"/>
              <a:gd name="connsiteY43" fmla="*/ 369436 h 3487140"/>
              <a:gd name="connsiteX44" fmla="*/ 1070694 w 5088779"/>
              <a:gd name="connsiteY44" fmla="*/ 155805 h 3487140"/>
              <a:gd name="connsiteX45" fmla="*/ 1272058 w 5088779"/>
              <a:gd name="connsiteY45" fmla="*/ 156761 h 3487140"/>
              <a:gd name="connsiteX46" fmla="*/ 1524989 w 5088779"/>
              <a:gd name="connsiteY46" fmla="*/ 245175 h 3487140"/>
              <a:gd name="connsiteX47" fmla="*/ 1694081 w 5088779"/>
              <a:gd name="connsiteY47" fmla="*/ 357792 h 3487140"/>
              <a:gd name="connsiteX48" fmla="*/ 1798672 w 5088779"/>
              <a:gd name="connsiteY48" fmla="*/ 483301 h 3487140"/>
              <a:gd name="connsiteX49" fmla="*/ 1822876 w 5088779"/>
              <a:gd name="connsiteY49" fmla="*/ 600951 h 3487140"/>
              <a:gd name="connsiteX50" fmla="*/ 1795345 w 5088779"/>
              <a:gd name="connsiteY50" fmla="*/ 761726 h 3487140"/>
              <a:gd name="connsiteX51" fmla="*/ 1967266 w 5088779"/>
              <a:gd name="connsiteY51" fmla="*/ 1160004 h 3487140"/>
              <a:gd name="connsiteX52" fmla="*/ 2390246 w 5088779"/>
              <a:gd name="connsiteY52" fmla="*/ 1793622 h 3487140"/>
              <a:gd name="connsiteX53" fmla="*/ 2807737 w 5088779"/>
              <a:gd name="connsiteY53" fmla="*/ 2087475 h 3487140"/>
              <a:gd name="connsiteX54" fmla="*/ 2917360 w 5088779"/>
              <a:gd name="connsiteY54" fmla="*/ 2185620 h 3487140"/>
              <a:gd name="connsiteX55" fmla="*/ 2804411 w 5088779"/>
              <a:gd name="connsiteY55" fmla="*/ 2468120 h 3487140"/>
              <a:gd name="connsiteX56" fmla="*/ 2638312 w 5088779"/>
              <a:gd name="connsiteY56" fmla="*/ 2505548 h 3487140"/>
              <a:gd name="connsiteX57" fmla="*/ 2329862 w 5088779"/>
              <a:gd name="connsiteY57" fmla="*/ 2278109 h 3487140"/>
              <a:gd name="connsiteX58" fmla="*/ 1885173 w 5088779"/>
              <a:gd name="connsiteY58" fmla="*/ 1678800 h 3487140"/>
              <a:gd name="connsiteX59" fmla="*/ 1765320 w 5088779"/>
              <a:gd name="connsiteY59" fmla="*/ 1175432 h 3487140"/>
              <a:gd name="connsiteX60" fmla="*/ 1919774 w 5088779"/>
              <a:gd name="connsiteY60" fmla="*/ 1377420 h 3487140"/>
              <a:gd name="connsiteX61" fmla="*/ 2281414 w 5088779"/>
              <a:gd name="connsiteY61" fmla="*/ 2268710 h 3487140"/>
              <a:gd name="connsiteX62" fmla="*/ 2601216 w 5088779"/>
              <a:gd name="connsiteY62" fmla="*/ 2693105 h 3487140"/>
              <a:gd name="connsiteX63" fmla="*/ 2834644 w 5088779"/>
              <a:gd name="connsiteY63" fmla="*/ 2746586 h 3487140"/>
              <a:gd name="connsiteX64" fmla="*/ 3001865 w 5088779"/>
              <a:gd name="connsiteY64" fmla="*/ 2631432 h 3487140"/>
              <a:gd name="connsiteX65" fmla="*/ 3013052 w 5088779"/>
              <a:gd name="connsiteY65" fmla="*/ 2436680 h 3487140"/>
              <a:gd name="connsiteX66" fmla="*/ 2859222 w 5088779"/>
              <a:gd name="connsiteY66" fmla="*/ 2309258 h 3487140"/>
              <a:gd name="connsiteX67" fmla="*/ 2652036 w 5088779"/>
              <a:gd name="connsiteY67" fmla="*/ 2375007 h 3487140"/>
              <a:gd name="connsiteX68" fmla="*/ 2629537 w 5088779"/>
              <a:gd name="connsiteY68" fmla="*/ 2581402 h 3487140"/>
              <a:gd name="connsiteX69" fmla="*/ 2772222 w 5088779"/>
              <a:gd name="connsiteY69" fmla="*/ 2671064 h 3487140"/>
              <a:gd name="connsiteX70" fmla="*/ 2868787 w 5088779"/>
              <a:gd name="connsiteY70" fmla="*/ 2596831 h 3487140"/>
              <a:gd name="connsiteX71" fmla="*/ 2835601 w 5088779"/>
              <a:gd name="connsiteY71" fmla="*/ 2530750 h 3487140"/>
              <a:gd name="connsiteX72" fmla="*/ 2713543 w 5088779"/>
              <a:gd name="connsiteY72" fmla="*/ 2615379 h 3487140"/>
              <a:gd name="connsiteX73" fmla="*/ 2567864 w 5088779"/>
              <a:gd name="connsiteY73" fmla="*/ 2907028 h 3487140"/>
              <a:gd name="connsiteX74" fmla="*/ 2520039 w 5088779"/>
              <a:gd name="connsiteY74" fmla="*/ 3008333 h 3487140"/>
              <a:gd name="connsiteX75" fmla="*/ 2484191 w 5088779"/>
              <a:gd name="connsiteY75" fmla="*/ 3024053 h 3487140"/>
              <a:gd name="connsiteX76" fmla="*/ 2389165 w 5088779"/>
              <a:gd name="connsiteY76" fmla="*/ 3013989 h 3487140"/>
              <a:gd name="connsiteX77" fmla="*/ 2396068 w 5088779"/>
              <a:gd name="connsiteY77" fmla="*/ 2956724 h 3487140"/>
              <a:gd name="connsiteX78" fmla="*/ 2584831 w 5088779"/>
              <a:gd name="connsiteY78" fmla="*/ 2951068 h 3487140"/>
              <a:gd name="connsiteX79" fmla="*/ 2671041 w 5088779"/>
              <a:gd name="connsiteY79" fmla="*/ 2951068 h 3487140"/>
              <a:gd name="connsiteX80" fmla="*/ 2752219 w 5088779"/>
              <a:gd name="connsiteY80" fmla="*/ 2822066 h 3487140"/>
              <a:gd name="connsiteX81" fmla="*/ 2892533 w 5088779"/>
              <a:gd name="connsiteY81" fmla="*/ 2789337 h 3487140"/>
              <a:gd name="connsiteX82" fmla="*/ 3020246 w 5088779"/>
              <a:gd name="connsiteY82" fmla="*/ 2713815 h 3487140"/>
              <a:gd name="connsiteX83" fmla="*/ 3106456 w 5088779"/>
              <a:gd name="connsiteY83" fmla="*/ 2544556 h 3487140"/>
              <a:gd name="connsiteX84" fmla="*/ 3326035 w 5088779"/>
              <a:gd name="connsiteY84" fmla="*/ 2482883 h 3487140"/>
              <a:gd name="connsiteX85" fmla="*/ 3861009 w 5088779"/>
              <a:gd name="connsiteY85" fmla="*/ 2466831 h 3487140"/>
              <a:gd name="connsiteX86" fmla="*/ 4016751 w 5088779"/>
              <a:gd name="connsiteY86" fmla="*/ 2420918 h 3487140"/>
              <a:gd name="connsiteX87" fmla="*/ 3866664 w 5088779"/>
              <a:gd name="connsiteY87" fmla="*/ 2252907 h 3487140"/>
              <a:gd name="connsiteX88" fmla="*/ 3391285 w 5088779"/>
              <a:gd name="connsiteY88" fmla="*/ 1791709 h 3487140"/>
              <a:gd name="connsiteX89" fmla="*/ 3127166 w 5088779"/>
              <a:gd name="connsiteY89" fmla="*/ 1600118 h 3487140"/>
              <a:gd name="connsiteX90" fmla="*/ 3003196 w 5088779"/>
              <a:gd name="connsiteY90" fmla="*/ 1733529 h 3487140"/>
              <a:gd name="connsiteX91" fmla="*/ 2940898 w 5088779"/>
              <a:gd name="connsiteY91" fmla="*/ 1995900 h 3487140"/>
              <a:gd name="connsiteX92" fmla="*/ 2981778 w 5088779"/>
              <a:gd name="connsiteY92" fmla="*/ 2048133 h 3487140"/>
              <a:gd name="connsiteX93" fmla="*/ 3044699 w 5088779"/>
              <a:gd name="connsiteY93" fmla="*/ 1778817 h 3487140"/>
              <a:gd name="connsiteX94" fmla="*/ 3166466 w 5088779"/>
              <a:gd name="connsiteY94" fmla="*/ 1356918 h 3487140"/>
              <a:gd name="connsiteX95" fmla="*/ 3272803 w 5088779"/>
              <a:gd name="connsiteY95" fmla="*/ 986960 h 3487140"/>
              <a:gd name="connsiteX96" fmla="*/ 3243526 w 5088779"/>
              <a:gd name="connsiteY96" fmla="*/ 867107 h 3487140"/>
              <a:gd name="connsiteX97" fmla="*/ 3068612 w 5088779"/>
              <a:gd name="connsiteY97" fmla="*/ 840034 h 3487140"/>
              <a:gd name="connsiteX98" fmla="*/ 2924513 w 5088779"/>
              <a:gd name="connsiteY98" fmla="*/ 782769 h 3487140"/>
              <a:gd name="connsiteX99" fmla="*/ 2940857 w 5088779"/>
              <a:gd name="connsiteY99" fmla="*/ 714816 h 3487140"/>
              <a:gd name="connsiteX100" fmla="*/ 3114524 w 5088779"/>
              <a:gd name="connsiteY100" fmla="*/ 723008 h 3487140"/>
              <a:gd name="connsiteX101" fmla="*/ 3317135 w 5088779"/>
              <a:gd name="connsiteY101" fmla="*/ 729288 h 3487140"/>
              <a:gd name="connsiteX102" fmla="*/ 3483857 w 5088779"/>
              <a:gd name="connsiteY102" fmla="*/ 682087 h 3487140"/>
              <a:gd name="connsiteX103" fmla="*/ 3601506 w 5088779"/>
              <a:gd name="connsiteY103" fmla="*/ 703463 h 3487140"/>
              <a:gd name="connsiteX104" fmla="*/ 3624171 w 5088779"/>
              <a:gd name="connsiteY104" fmla="*/ 797199 h 3487140"/>
              <a:gd name="connsiteX105" fmla="*/ 3496458 w 5088779"/>
              <a:gd name="connsiteY105" fmla="*/ 890936 h 3487140"/>
              <a:gd name="connsiteX106" fmla="*/ 3326575 w 5088779"/>
              <a:gd name="connsiteY106" fmla="*/ 918009 h 3487140"/>
              <a:gd name="connsiteX107" fmla="*/ 3198862 w 5088779"/>
              <a:gd name="connsiteY107" fmla="*/ 1002306 h 3487140"/>
              <a:gd name="connsiteX108" fmla="*/ 3097972 w 5088779"/>
              <a:gd name="connsiteY108" fmla="*/ 1299902 h 3487140"/>
              <a:gd name="connsiteX109" fmla="*/ 3159022 w 5088779"/>
              <a:gd name="connsiteY109" fmla="*/ 1545930 h 3487140"/>
              <a:gd name="connsiteX110" fmla="*/ 3371697 w 5088779"/>
              <a:gd name="connsiteY110" fmla="*/ 1536490 h 3487140"/>
              <a:gd name="connsiteX111" fmla="*/ 3551228 w 5088779"/>
              <a:gd name="connsiteY111" fmla="*/ 1376048 h 3487140"/>
              <a:gd name="connsiteX112" fmla="*/ 3554389 w 5088779"/>
              <a:gd name="connsiteY112" fmla="*/ 1231949 h 3487140"/>
              <a:gd name="connsiteX113" fmla="*/ 3336348 w 5088779"/>
              <a:gd name="connsiteY113" fmla="*/ 1191693 h 3487140"/>
              <a:gd name="connsiteX114" fmla="*/ 3344832 w 5088779"/>
              <a:gd name="connsiteY114" fmla="*/ 1255238 h 3487140"/>
              <a:gd name="connsiteX115" fmla="*/ 3769850 w 5088779"/>
              <a:gd name="connsiteY115" fmla="*/ 1241722 h 3487140"/>
              <a:gd name="connsiteX116" fmla="*/ 4254670 w 5088779"/>
              <a:gd name="connsiteY116" fmla="*/ 1259646 h 3487140"/>
              <a:gd name="connsiteX117" fmla="*/ 4484022 w 5088779"/>
              <a:gd name="connsiteY117" fmla="*/ 1236981 h 3487140"/>
              <a:gd name="connsiteX118" fmla="*/ 4465766 w 5088779"/>
              <a:gd name="connsiteY118" fmla="*/ 1185995 h 3487140"/>
              <a:gd name="connsiteX119" fmla="*/ 4105248 w 5088779"/>
              <a:gd name="connsiteY119" fmla="*/ 1177512 h 3487140"/>
              <a:gd name="connsiteX120" fmla="*/ 3734668 w 5088779"/>
              <a:gd name="connsiteY120" fmla="*/ 1331342 h 3487140"/>
              <a:gd name="connsiteX121" fmla="*/ 3388914 w 5088779"/>
              <a:gd name="connsiteY121" fmla="*/ 1604110 h 3487140"/>
              <a:gd name="connsiteX122" fmla="*/ 3156111 w 5088779"/>
              <a:gd name="connsiteY122" fmla="*/ 1921252 h 3487140"/>
              <a:gd name="connsiteX123" fmla="*/ 3060461 w 5088779"/>
              <a:gd name="connsiteY123" fmla="*/ 2419255 h 3487140"/>
              <a:gd name="connsiteX124" fmla="*/ 3290769 w 5088779"/>
              <a:gd name="connsiteY124" fmla="*/ 3048465 h 3487140"/>
              <a:gd name="connsiteX125" fmla="*/ 3868994 w 5088779"/>
              <a:gd name="connsiteY125" fmla="*/ 3394510 h 3487140"/>
              <a:gd name="connsiteX126" fmla="*/ 4507643 w 5088779"/>
              <a:gd name="connsiteY126" fmla="*/ 3330632 h 3487140"/>
              <a:gd name="connsiteX127" fmla="*/ 5002818 w 5088779"/>
              <a:gd name="connsiteY127" fmla="*/ 2841404 h 3487140"/>
              <a:gd name="connsiteX128" fmla="*/ 5036171 w 5088779"/>
              <a:gd name="connsiteY128" fmla="*/ 2052999 h 3487140"/>
              <a:gd name="connsiteX129" fmla="*/ 4605164 w 5088779"/>
              <a:gd name="connsiteY129" fmla="*/ 1482011 h 3487140"/>
              <a:gd name="connsiteX130" fmla="*/ 4138310 w 5088779"/>
              <a:gd name="connsiteY130" fmla="*/ 1352717 h 3487140"/>
              <a:gd name="connsiteX131" fmla="*/ 3977868 w 5088779"/>
              <a:gd name="connsiteY131" fmla="*/ 1466624 h 3487140"/>
              <a:gd name="connsiteX132" fmla="*/ 3999909 w 5088779"/>
              <a:gd name="connsiteY132" fmla="*/ 2001140 h 3487140"/>
              <a:gd name="connsiteX133" fmla="*/ 4033885 w 5088779"/>
              <a:gd name="connsiteY133" fmla="*/ 2313208 h 3487140"/>
              <a:gd name="connsiteX134" fmla="*/ 4125585 w 5088779"/>
              <a:gd name="connsiteY134" fmla="*/ 2399085 h 3487140"/>
              <a:gd name="connsiteX135" fmla="*/ 4230051 w 5088779"/>
              <a:gd name="connsiteY135" fmla="*/ 2362905 h 3487140"/>
              <a:gd name="connsiteX136" fmla="*/ 4194660 w 5088779"/>
              <a:gd name="connsiteY136" fmla="*/ 2271372 h 3487140"/>
              <a:gd name="connsiteX137" fmla="*/ 4097056 w 5088779"/>
              <a:gd name="connsiteY137" fmla="*/ 2303394 h 3487140"/>
              <a:gd name="connsiteX138" fmla="*/ 4080670 w 5088779"/>
              <a:gd name="connsiteY138" fmla="*/ 2437262 h 3487140"/>
              <a:gd name="connsiteX139" fmla="*/ 4079589 w 5088779"/>
              <a:gd name="connsiteY139" fmla="*/ 2519521 h 3487140"/>
              <a:gd name="connsiteX140" fmla="*/ 3900475 w 5088779"/>
              <a:gd name="connsiteY140" fmla="*/ 2539400 h 3487140"/>
              <a:gd name="connsiteX141" fmla="*/ 3490220 w 5088779"/>
              <a:gd name="connsiteY141" fmla="*/ 2545679 h 3487140"/>
              <a:gd name="connsiteX142" fmla="*/ 3249848 w 5088779"/>
              <a:gd name="connsiteY142" fmla="*/ 2602944 h 3487140"/>
              <a:gd name="connsiteX143" fmla="*/ 3240241 w 5088779"/>
              <a:gd name="connsiteY143" fmla="*/ 2790460 h 3487140"/>
              <a:gd name="connsiteX144" fmla="*/ 3433578 w 5088779"/>
              <a:gd name="connsiteY144" fmla="*/ 3133385 h 3487140"/>
              <a:gd name="connsiteX145" fmla="*/ 3925468 w 5088779"/>
              <a:gd name="connsiteY145" fmla="*/ 3465290 h 3487140"/>
              <a:gd name="connsiteX146" fmla="*/ 4666214 w 5088779"/>
              <a:gd name="connsiteY146" fmla="*/ 3390434 h 3487140"/>
              <a:gd name="connsiteX0" fmla="*/ 777215 w 5088779"/>
              <a:gd name="connsiteY0" fmla="*/ 3295741 h 3465287"/>
              <a:gd name="connsiteX1" fmla="*/ 526113 w 5088779"/>
              <a:gd name="connsiteY1" fmla="*/ 3112384 h 3465287"/>
              <a:gd name="connsiteX2" fmla="*/ 219950 w 5088779"/>
              <a:gd name="connsiteY2" fmla="*/ 2750287 h 3465287"/>
              <a:gd name="connsiteX3" fmla="*/ 128418 w 5088779"/>
              <a:gd name="connsiteY3" fmla="*/ 2305432 h 3465287"/>
              <a:gd name="connsiteX4" fmla="*/ 256006 w 5088779"/>
              <a:gd name="connsiteY4" fmla="*/ 1919713 h 3465287"/>
              <a:gd name="connsiteX5" fmla="*/ 580218 w 5088779"/>
              <a:gd name="connsiteY5" fmla="*/ 1637837 h 3465287"/>
              <a:gd name="connsiteX6" fmla="*/ 1073522 w 5088779"/>
              <a:gd name="connsiteY6" fmla="*/ 1545972 h 3465287"/>
              <a:gd name="connsiteX7" fmla="*/ 1308197 w 5088779"/>
              <a:gd name="connsiteY7" fmla="*/ 1517651 h 3465287"/>
              <a:gd name="connsiteX8" fmla="*/ 1292934 w 5088779"/>
              <a:gd name="connsiteY8" fmla="*/ 1460718 h 3465287"/>
              <a:gd name="connsiteX9" fmla="*/ 1016880 w 5088779"/>
              <a:gd name="connsiteY9" fmla="*/ 1416969 h 3465287"/>
              <a:gd name="connsiteX10" fmla="*/ 497460 w 5088779"/>
              <a:gd name="connsiteY10" fmla="*/ 1517318 h 3465287"/>
              <a:gd name="connsiteX11" fmla="*/ 88162 w 5088779"/>
              <a:gd name="connsiteY11" fmla="*/ 1960593 h 3465287"/>
              <a:gd name="connsiteX12" fmla="*/ 28692 w 5088779"/>
              <a:gd name="connsiteY12" fmla="*/ 2569342 h 3465287"/>
              <a:gd name="connsiteX13" fmla="*/ 442399 w 5088779"/>
              <a:gd name="connsiteY13" fmla="*/ 3165532 h 3465287"/>
              <a:gd name="connsiteX14" fmla="*/ 1232384 w 5088779"/>
              <a:gd name="connsiteY14" fmla="*/ 3283181 h 3465287"/>
              <a:gd name="connsiteX15" fmla="*/ 1835020 w 5088779"/>
              <a:gd name="connsiteY15" fmla="*/ 2757481 h 3465287"/>
              <a:gd name="connsiteX16" fmla="*/ 1824789 w 5088779"/>
              <a:gd name="connsiteY16" fmla="*/ 1980430 h 3465287"/>
              <a:gd name="connsiteX17" fmla="*/ 1494755 w 5088779"/>
              <a:gd name="connsiteY17" fmla="*/ 1589139 h 3465287"/>
              <a:gd name="connsiteX18" fmla="*/ 1305701 w 5088779"/>
              <a:gd name="connsiteY18" fmla="*/ 1660710 h 3465287"/>
              <a:gd name="connsiteX19" fmla="*/ 1197284 w 5088779"/>
              <a:gd name="connsiteY19" fmla="*/ 2116627 h 3465287"/>
              <a:gd name="connsiteX20" fmla="*/ 973921 w 5088779"/>
              <a:gd name="connsiteY20" fmla="*/ 2374258 h 3465287"/>
              <a:gd name="connsiteX21" fmla="*/ 918985 w 5088779"/>
              <a:gd name="connsiteY21" fmla="*/ 2276986 h 3465287"/>
              <a:gd name="connsiteX22" fmla="*/ 1298257 w 5088779"/>
              <a:gd name="connsiteY22" fmla="*/ 2021601 h 3465287"/>
              <a:gd name="connsiteX23" fmla="*/ 1558176 w 5088779"/>
              <a:gd name="connsiteY23" fmla="*/ 1234153 h 3465287"/>
              <a:gd name="connsiteX24" fmla="*/ 1788276 w 5088779"/>
              <a:gd name="connsiteY24" fmla="*/ 725296 h 3465287"/>
              <a:gd name="connsiteX25" fmla="*/ 1896859 w 5088779"/>
              <a:gd name="connsiteY25" fmla="*/ 539984 h 3465287"/>
              <a:gd name="connsiteX26" fmla="*/ 1865711 w 5088779"/>
              <a:gd name="connsiteY26" fmla="*/ 435851 h 3465287"/>
              <a:gd name="connsiteX27" fmla="*/ 1759373 w 5088779"/>
              <a:gd name="connsiteY27" fmla="*/ 350265 h 3465287"/>
              <a:gd name="connsiteX28" fmla="*/ 1714085 w 5088779"/>
              <a:gd name="connsiteY28" fmla="*/ 209327 h 3465287"/>
              <a:gd name="connsiteX29" fmla="*/ 1758915 w 5088779"/>
              <a:gd name="connsiteY29" fmla="*/ 82237 h 3465287"/>
              <a:gd name="connsiteX30" fmla="*/ 1939195 w 5088779"/>
              <a:gd name="connsiteY30" fmla="*/ 6716 h 3465287"/>
              <a:gd name="connsiteX31" fmla="*/ 2207888 w 5088779"/>
              <a:gd name="connsiteY31" fmla="*/ 10167 h 3465287"/>
              <a:gd name="connsiteX32" fmla="*/ 2291561 w 5088779"/>
              <a:gd name="connsiteY32" fmla="*/ 49800 h 3465287"/>
              <a:gd name="connsiteX33" fmla="*/ 2244526 w 5088779"/>
              <a:gd name="connsiteY33" fmla="*/ 86812 h 3465287"/>
              <a:gd name="connsiteX34" fmla="*/ 2008603 w 5088779"/>
              <a:gd name="connsiteY34" fmla="*/ 91886 h 3465287"/>
              <a:gd name="connsiteX35" fmla="*/ 1765070 w 5088779"/>
              <a:gd name="connsiteY35" fmla="*/ 75833 h 3465287"/>
              <a:gd name="connsiteX36" fmla="*/ 1657319 w 5088779"/>
              <a:gd name="connsiteY36" fmla="*/ 176931 h 3465287"/>
              <a:gd name="connsiteX37" fmla="*/ 1672581 w 5088779"/>
              <a:gd name="connsiteY37" fmla="*/ 370393 h 3465287"/>
              <a:gd name="connsiteX38" fmla="*/ 1617354 w 5088779"/>
              <a:gd name="connsiteY38" fmla="*/ 589348 h 3465287"/>
              <a:gd name="connsiteX39" fmla="*/ 1460820 w 5088779"/>
              <a:gd name="connsiteY39" fmla="*/ 903953 h 3465287"/>
              <a:gd name="connsiteX40" fmla="*/ 1250349 w 5088779"/>
              <a:gd name="connsiteY40" fmla="*/ 922501 h 3465287"/>
              <a:gd name="connsiteX41" fmla="*/ 1055930 w 5088779"/>
              <a:gd name="connsiteY41" fmla="*/ 866816 h 3465287"/>
              <a:gd name="connsiteX42" fmla="*/ 997085 w 5088779"/>
              <a:gd name="connsiteY42" fmla="*/ 751038 h 3465287"/>
              <a:gd name="connsiteX43" fmla="*/ 1009021 w 5088779"/>
              <a:gd name="connsiteY43" fmla="*/ 369436 h 3465287"/>
              <a:gd name="connsiteX44" fmla="*/ 1070694 w 5088779"/>
              <a:gd name="connsiteY44" fmla="*/ 155805 h 3465287"/>
              <a:gd name="connsiteX45" fmla="*/ 1272058 w 5088779"/>
              <a:gd name="connsiteY45" fmla="*/ 156761 h 3465287"/>
              <a:gd name="connsiteX46" fmla="*/ 1524989 w 5088779"/>
              <a:gd name="connsiteY46" fmla="*/ 245175 h 3465287"/>
              <a:gd name="connsiteX47" fmla="*/ 1694081 w 5088779"/>
              <a:gd name="connsiteY47" fmla="*/ 357792 h 3465287"/>
              <a:gd name="connsiteX48" fmla="*/ 1798672 w 5088779"/>
              <a:gd name="connsiteY48" fmla="*/ 483301 h 3465287"/>
              <a:gd name="connsiteX49" fmla="*/ 1822876 w 5088779"/>
              <a:gd name="connsiteY49" fmla="*/ 600951 h 3465287"/>
              <a:gd name="connsiteX50" fmla="*/ 1795345 w 5088779"/>
              <a:gd name="connsiteY50" fmla="*/ 761726 h 3465287"/>
              <a:gd name="connsiteX51" fmla="*/ 1967266 w 5088779"/>
              <a:gd name="connsiteY51" fmla="*/ 1160004 h 3465287"/>
              <a:gd name="connsiteX52" fmla="*/ 2390246 w 5088779"/>
              <a:gd name="connsiteY52" fmla="*/ 1793622 h 3465287"/>
              <a:gd name="connsiteX53" fmla="*/ 2807737 w 5088779"/>
              <a:gd name="connsiteY53" fmla="*/ 2087475 h 3465287"/>
              <a:gd name="connsiteX54" fmla="*/ 2917360 w 5088779"/>
              <a:gd name="connsiteY54" fmla="*/ 2185620 h 3465287"/>
              <a:gd name="connsiteX55" fmla="*/ 2804411 w 5088779"/>
              <a:gd name="connsiteY55" fmla="*/ 2468120 h 3465287"/>
              <a:gd name="connsiteX56" fmla="*/ 2638312 w 5088779"/>
              <a:gd name="connsiteY56" fmla="*/ 2505548 h 3465287"/>
              <a:gd name="connsiteX57" fmla="*/ 2329862 w 5088779"/>
              <a:gd name="connsiteY57" fmla="*/ 2278109 h 3465287"/>
              <a:gd name="connsiteX58" fmla="*/ 1885173 w 5088779"/>
              <a:gd name="connsiteY58" fmla="*/ 1678800 h 3465287"/>
              <a:gd name="connsiteX59" fmla="*/ 1765320 w 5088779"/>
              <a:gd name="connsiteY59" fmla="*/ 1175432 h 3465287"/>
              <a:gd name="connsiteX60" fmla="*/ 1919774 w 5088779"/>
              <a:gd name="connsiteY60" fmla="*/ 1377420 h 3465287"/>
              <a:gd name="connsiteX61" fmla="*/ 2281414 w 5088779"/>
              <a:gd name="connsiteY61" fmla="*/ 2268710 h 3465287"/>
              <a:gd name="connsiteX62" fmla="*/ 2601216 w 5088779"/>
              <a:gd name="connsiteY62" fmla="*/ 2693105 h 3465287"/>
              <a:gd name="connsiteX63" fmla="*/ 2834644 w 5088779"/>
              <a:gd name="connsiteY63" fmla="*/ 2746586 h 3465287"/>
              <a:gd name="connsiteX64" fmla="*/ 3001865 w 5088779"/>
              <a:gd name="connsiteY64" fmla="*/ 2631432 h 3465287"/>
              <a:gd name="connsiteX65" fmla="*/ 3013052 w 5088779"/>
              <a:gd name="connsiteY65" fmla="*/ 2436680 h 3465287"/>
              <a:gd name="connsiteX66" fmla="*/ 2859222 w 5088779"/>
              <a:gd name="connsiteY66" fmla="*/ 2309258 h 3465287"/>
              <a:gd name="connsiteX67" fmla="*/ 2652036 w 5088779"/>
              <a:gd name="connsiteY67" fmla="*/ 2375007 h 3465287"/>
              <a:gd name="connsiteX68" fmla="*/ 2629537 w 5088779"/>
              <a:gd name="connsiteY68" fmla="*/ 2581402 h 3465287"/>
              <a:gd name="connsiteX69" fmla="*/ 2772222 w 5088779"/>
              <a:gd name="connsiteY69" fmla="*/ 2671064 h 3465287"/>
              <a:gd name="connsiteX70" fmla="*/ 2868787 w 5088779"/>
              <a:gd name="connsiteY70" fmla="*/ 2596831 h 3465287"/>
              <a:gd name="connsiteX71" fmla="*/ 2835601 w 5088779"/>
              <a:gd name="connsiteY71" fmla="*/ 2530750 h 3465287"/>
              <a:gd name="connsiteX72" fmla="*/ 2713543 w 5088779"/>
              <a:gd name="connsiteY72" fmla="*/ 2615379 h 3465287"/>
              <a:gd name="connsiteX73" fmla="*/ 2567864 w 5088779"/>
              <a:gd name="connsiteY73" fmla="*/ 2907028 h 3465287"/>
              <a:gd name="connsiteX74" fmla="*/ 2520039 w 5088779"/>
              <a:gd name="connsiteY74" fmla="*/ 3008333 h 3465287"/>
              <a:gd name="connsiteX75" fmla="*/ 2484191 w 5088779"/>
              <a:gd name="connsiteY75" fmla="*/ 3024053 h 3465287"/>
              <a:gd name="connsiteX76" fmla="*/ 2389165 w 5088779"/>
              <a:gd name="connsiteY76" fmla="*/ 3013989 h 3465287"/>
              <a:gd name="connsiteX77" fmla="*/ 2396068 w 5088779"/>
              <a:gd name="connsiteY77" fmla="*/ 2956724 h 3465287"/>
              <a:gd name="connsiteX78" fmla="*/ 2584831 w 5088779"/>
              <a:gd name="connsiteY78" fmla="*/ 2951068 h 3465287"/>
              <a:gd name="connsiteX79" fmla="*/ 2671041 w 5088779"/>
              <a:gd name="connsiteY79" fmla="*/ 2951068 h 3465287"/>
              <a:gd name="connsiteX80" fmla="*/ 2752219 w 5088779"/>
              <a:gd name="connsiteY80" fmla="*/ 2822066 h 3465287"/>
              <a:gd name="connsiteX81" fmla="*/ 2892533 w 5088779"/>
              <a:gd name="connsiteY81" fmla="*/ 2789337 h 3465287"/>
              <a:gd name="connsiteX82" fmla="*/ 3020246 w 5088779"/>
              <a:gd name="connsiteY82" fmla="*/ 2713815 h 3465287"/>
              <a:gd name="connsiteX83" fmla="*/ 3106456 w 5088779"/>
              <a:gd name="connsiteY83" fmla="*/ 2544556 h 3465287"/>
              <a:gd name="connsiteX84" fmla="*/ 3326035 w 5088779"/>
              <a:gd name="connsiteY84" fmla="*/ 2482883 h 3465287"/>
              <a:gd name="connsiteX85" fmla="*/ 3861009 w 5088779"/>
              <a:gd name="connsiteY85" fmla="*/ 2466831 h 3465287"/>
              <a:gd name="connsiteX86" fmla="*/ 4016751 w 5088779"/>
              <a:gd name="connsiteY86" fmla="*/ 2420918 h 3465287"/>
              <a:gd name="connsiteX87" fmla="*/ 3866664 w 5088779"/>
              <a:gd name="connsiteY87" fmla="*/ 2252907 h 3465287"/>
              <a:gd name="connsiteX88" fmla="*/ 3391285 w 5088779"/>
              <a:gd name="connsiteY88" fmla="*/ 1791709 h 3465287"/>
              <a:gd name="connsiteX89" fmla="*/ 3127166 w 5088779"/>
              <a:gd name="connsiteY89" fmla="*/ 1600118 h 3465287"/>
              <a:gd name="connsiteX90" fmla="*/ 3003196 w 5088779"/>
              <a:gd name="connsiteY90" fmla="*/ 1733529 h 3465287"/>
              <a:gd name="connsiteX91" fmla="*/ 2940898 w 5088779"/>
              <a:gd name="connsiteY91" fmla="*/ 1995900 h 3465287"/>
              <a:gd name="connsiteX92" fmla="*/ 2981778 w 5088779"/>
              <a:gd name="connsiteY92" fmla="*/ 2048133 h 3465287"/>
              <a:gd name="connsiteX93" fmla="*/ 3044699 w 5088779"/>
              <a:gd name="connsiteY93" fmla="*/ 1778817 h 3465287"/>
              <a:gd name="connsiteX94" fmla="*/ 3166466 w 5088779"/>
              <a:gd name="connsiteY94" fmla="*/ 1356918 h 3465287"/>
              <a:gd name="connsiteX95" fmla="*/ 3272803 w 5088779"/>
              <a:gd name="connsiteY95" fmla="*/ 986960 h 3465287"/>
              <a:gd name="connsiteX96" fmla="*/ 3243526 w 5088779"/>
              <a:gd name="connsiteY96" fmla="*/ 867107 h 3465287"/>
              <a:gd name="connsiteX97" fmla="*/ 3068612 w 5088779"/>
              <a:gd name="connsiteY97" fmla="*/ 840034 h 3465287"/>
              <a:gd name="connsiteX98" fmla="*/ 2924513 w 5088779"/>
              <a:gd name="connsiteY98" fmla="*/ 782769 h 3465287"/>
              <a:gd name="connsiteX99" fmla="*/ 2940857 w 5088779"/>
              <a:gd name="connsiteY99" fmla="*/ 714816 h 3465287"/>
              <a:gd name="connsiteX100" fmla="*/ 3114524 w 5088779"/>
              <a:gd name="connsiteY100" fmla="*/ 723008 h 3465287"/>
              <a:gd name="connsiteX101" fmla="*/ 3317135 w 5088779"/>
              <a:gd name="connsiteY101" fmla="*/ 729288 h 3465287"/>
              <a:gd name="connsiteX102" fmla="*/ 3483857 w 5088779"/>
              <a:gd name="connsiteY102" fmla="*/ 682087 h 3465287"/>
              <a:gd name="connsiteX103" fmla="*/ 3601506 w 5088779"/>
              <a:gd name="connsiteY103" fmla="*/ 703463 h 3465287"/>
              <a:gd name="connsiteX104" fmla="*/ 3624171 w 5088779"/>
              <a:gd name="connsiteY104" fmla="*/ 797199 h 3465287"/>
              <a:gd name="connsiteX105" fmla="*/ 3496458 w 5088779"/>
              <a:gd name="connsiteY105" fmla="*/ 890936 h 3465287"/>
              <a:gd name="connsiteX106" fmla="*/ 3326575 w 5088779"/>
              <a:gd name="connsiteY106" fmla="*/ 918009 h 3465287"/>
              <a:gd name="connsiteX107" fmla="*/ 3198862 w 5088779"/>
              <a:gd name="connsiteY107" fmla="*/ 1002306 h 3465287"/>
              <a:gd name="connsiteX108" fmla="*/ 3097972 w 5088779"/>
              <a:gd name="connsiteY108" fmla="*/ 1299902 h 3465287"/>
              <a:gd name="connsiteX109" fmla="*/ 3159022 w 5088779"/>
              <a:gd name="connsiteY109" fmla="*/ 1545930 h 3465287"/>
              <a:gd name="connsiteX110" fmla="*/ 3371697 w 5088779"/>
              <a:gd name="connsiteY110" fmla="*/ 1536490 h 3465287"/>
              <a:gd name="connsiteX111" fmla="*/ 3551228 w 5088779"/>
              <a:gd name="connsiteY111" fmla="*/ 1376048 h 3465287"/>
              <a:gd name="connsiteX112" fmla="*/ 3554389 w 5088779"/>
              <a:gd name="connsiteY112" fmla="*/ 1231949 h 3465287"/>
              <a:gd name="connsiteX113" fmla="*/ 3336348 w 5088779"/>
              <a:gd name="connsiteY113" fmla="*/ 1191693 h 3465287"/>
              <a:gd name="connsiteX114" fmla="*/ 3344832 w 5088779"/>
              <a:gd name="connsiteY114" fmla="*/ 1255238 h 3465287"/>
              <a:gd name="connsiteX115" fmla="*/ 3769850 w 5088779"/>
              <a:gd name="connsiteY115" fmla="*/ 1241722 h 3465287"/>
              <a:gd name="connsiteX116" fmla="*/ 4254670 w 5088779"/>
              <a:gd name="connsiteY116" fmla="*/ 1259646 h 3465287"/>
              <a:gd name="connsiteX117" fmla="*/ 4484022 w 5088779"/>
              <a:gd name="connsiteY117" fmla="*/ 1236981 h 3465287"/>
              <a:gd name="connsiteX118" fmla="*/ 4465766 w 5088779"/>
              <a:gd name="connsiteY118" fmla="*/ 1185995 h 3465287"/>
              <a:gd name="connsiteX119" fmla="*/ 4105248 w 5088779"/>
              <a:gd name="connsiteY119" fmla="*/ 1177512 h 3465287"/>
              <a:gd name="connsiteX120" fmla="*/ 3734668 w 5088779"/>
              <a:gd name="connsiteY120" fmla="*/ 1331342 h 3465287"/>
              <a:gd name="connsiteX121" fmla="*/ 3388914 w 5088779"/>
              <a:gd name="connsiteY121" fmla="*/ 1604110 h 3465287"/>
              <a:gd name="connsiteX122" fmla="*/ 3156111 w 5088779"/>
              <a:gd name="connsiteY122" fmla="*/ 1921252 h 3465287"/>
              <a:gd name="connsiteX123" fmla="*/ 3060461 w 5088779"/>
              <a:gd name="connsiteY123" fmla="*/ 2419255 h 3465287"/>
              <a:gd name="connsiteX124" fmla="*/ 3290769 w 5088779"/>
              <a:gd name="connsiteY124" fmla="*/ 3048465 h 3465287"/>
              <a:gd name="connsiteX125" fmla="*/ 3868994 w 5088779"/>
              <a:gd name="connsiteY125" fmla="*/ 3394510 h 3465287"/>
              <a:gd name="connsiteX126" fmla="*/ 4507643 w 5088779"/>
              <a:gd name="connsiteY126" fmla="*/ 3330632 h 3465287"/>
              <a:gd name="connsiteX127" fmla="*/ 5002818 w 5088779"/>
              <a:gd name="connsiteY127" fmla="*/ 2841404 h 3465287"/>
              <a:gd name="connsiteX128" fmla="*/ 5036171 w 5088779"/>
              <a:gd name="connsiteY128" fmla="*/ 2052999 h 3465287"/>
              <a:gd name="connsiteX129" fmla="*/ 4605164 w 5088779"/>
              <a:gd name="connsiteY129" fmla="*/ 1482011 h 3465287"/>
              <a:gd name="connsiteX130" fmla="*/ 4138310 w 5088779"/>
              <a:gd name="connsiteY130" fmla="*/ 1352717 h 3465287"/>
              <a:gd name="connsiteX131" fmla="*/ 3977868 w 5088779"/>
              <a:gd name="connsiteY131" fmla="*/ 1466624 h 3465287"/>
              <a:gd name="connsiteX132" fmla="*/ 3999909 w 5088779"/>
              <a:gd name="connsiteY132" fmla="*/ 2001140 h 3465287"/>
              <a:gd name="connsiteX133" fmla="*/ 4033885 w 5088779"/>
              <a:gd name="connsiteY133" fmla="*/ 2313208 h 3465287"/>
              <a:gd name="connsiteX134" fmla="*/ 4125585 w 5088779"/>
              <a:gd name="connsiteY134" fmla="*/ 2399085 h 3465287"/>
              <a:gd name="connsiteX135" fmla="*/ 4230051 w 5088779"/>
              <a:gd name="connsiteY135" fmla="*/ 2362905 h 3465287"/>
              <a:gd name="connsiteX136" fmla="*/ 4194660 w 5088779"/>
              <a:gd name="connsiteY136" fmla="*/ 2271372 h 3465287"/>
              <a:gd name="connsiteX137" fmla="*/ 4097056 w 5088779"/>
              <a:gd name="connsiteY137" fmla="*/ 2303394 h 3465287"/>
              <a:gd name="connsiteX138" fmla="*/ 4080670 w 5088779"/>
              <a:gd name="connsiteY138" fmla="*/ 2437262 h 3465287"/>
              <a:gd name="connsiteX139" fmla="*/ 4079589 w 5088779"/>
              <a:gd name="connsiteY139" fmla="*/ 2519521 h 3465287"/>
              <a:gd name="connsiteX140" fmla="*/ 3900475 w 5088779"/>
              <a:gd name="connsiteY140" fmla="*/ 2539400 h 3465287"/>
              <a:gd name="connsiteX141" fmla="*/ 3490220 w 5088779"/>
              <a:gd name="connsiteY141" fmla="*/ 2545679 h 3465287"/>
              <a:gd name="connsiteX142" fmla="*/ 3249848 w 5088779"/>
              <a:gd name="connsiteY142" fmla="*/ 2602944 h 3465287"/>
              <a:gd name="connsiteX143" fmla="*/ 3240241 w 5088779"/>
              <a:gd name="connsiteY143" fmla="*/ 2790460 h 3465287"/>
              <a:gd name="connsiteX144" fmla="*/ 3433578 w 5088779"/>
              <a:gd name="connsiteY144" fmla="*/ 3133385 h 3465287"/>
              <a:gd name="connsiteX145" fmla="*/ 3925468 w 5088779"/>
              <a:gd name="connsiteY145" fmla="*/ 3465290 h 3465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088779" h="3465287">
                <a:moveTo>
                  <a:pt x="777215" y="3295741"/>
                </a:moveTo>
                <a:cubicBezTo>
                  <a:pt x="734921" y="3254861"/>
                  <a:pt x="636277" y="3202669"/>
                  <a:pt x="526113" y="3112384"/>
                </a:cubicBezTo>
                <a:cubicBezTo>
                  <a:pt x="415950" y="3022099"/>
                  <a:pt x="294183" y="2893762"/>
                  <a:pt x="219950" y="2750287"/>
                </a:cubicBezTo>
                <a:cubicBezTo>
                  <a:pt x="145718" y="2606812"/>
                  <a:pt x="118978" y="2448283"/>
                  <a:pt x="128418" y="2305432"/>
                </a:cubicBezTo>
                <a:cubicBezTo>
                  <a:pt x="137858" y="2162622"/>
                  <a:pt x="183479" y="2035491"/>
                  <a:pt x="256006" y="1919713"/>
                </a:cubicBezTo>
                <a:cubicBezTo>
                  <a:pt x="328534" y="1803935"/>
                  <a:pt x="427927" y="1699510"/>
                  <a:pt x="580218" y="1637837"/>
                </a:cubicBezTo>
                <a:cubicBezTo>
                  <a:pt x="732468" y="1576164"/>
                  <a:pt x="937616" y="1557283"/>
                  <a:pt x="1073522" y="1545972"/>
                </a:cubicBezTo>
                <a:cubicBezTo>
                  <a:pt x="1209428" y="1534660"/>
                  <a:pt x="1276133" y="1530876"/>
                  <a:pt x="1308197" y="1517651"/>
                </a:cubicBezTo>
                <a:cubicBezTo>
                  <a:pt x="1340302" y="1504426"/>
                  <a:pt x="1337765" y="1481803"/>
                  <a:pt x="1292934" y="1460718"/>
                </a:cubicBezTo>
                <a:cubicBezTo>
                  <a:pt x="1248104" y="1439634"/>
                  <a:pt x="1160979" y="1420130"/>
                  <a:pt x="1016880" y="1416969"/>
                </a:cubicBezTo>
                <a:cubicBezTo>
                  <a:pt x="872782" y="1413808"/>
                  <a:pt x="671751" y="1427033"/>
                  <a:pt x="497460" y="1517318"/>
                </a:cubicBezTo>
                <a:cubicBezTo>
                  <a:pt x="323169" y="1607603"/>
                  <a:pt x="175619" y="1774991"/>
                  <a:pt x="88162" y="1960593"/>
                </a:cubicBezTo>
                <a:cubicBezTo>
                  <a:pt x="704" y="2146195"/>
                  <a:pt x="-26660" y="2350054"/>
                  <a:pt x="28692" y="2569342"/>
                </a:cubicBezTo>
                <a:cubicBezTo>
                  <a:pt x="84044" y="2788630"/>
                  <a:pt x="222155" y="3023305"/>
                  <a:pt x="442399" y="3165532"/>
                </a:cubicBezTo>
                <a:cubicBezTo>
                  <a:pt x="662601" y="3307718"/>
                  <a:pt x="964938" y="3357456"/>
                  <a:pt x="1232384" y="3283181"/>
                </a:cubicBezTo>
                <a:cubicBezTo>
                  <a:pt x="1499787" y="3208949"/>
                  <a:pt x="1732300" y="3010746"/>
                  <a:pt x="1835020" y="2757481"/>
                </a:cubicBezTo>
                <a:cubicBezTo>
                  <a:pt x="1937739" y="2504217"/>
                  <a:pt x="1910666" y="2195933"/>
                  <a:pt x="1824789" y="1980430"/>
                </a:cubicBezTo>
                <a:cubicBezTo>
                  <a:pt x="1738912" y="1764927"/>
                  <a:pt x="1594190" y="1642245"/>
                  <a:pt x="1494755" y="1589139"/>
                </a:cubicBezTo>
                <a:cubicBezTo>
                  <a:pt x="1395363" y="1536032"/>
                  <a:pt x="1341216" y="1552501"/>
                  <a:pt x="1305701" y="1660710"/>
                </a:cubicBezTo>
                <a:cubicBezTo>
                  <a:pt x="1270145" y="1768919"/>
                  <a:pt x="1253177" y="1968910"/>
                  <a:pt x="1197284" y="2116627"/>
                </a:cubicBezTo>
                <a:cubicBezTo>
                  <a:pt x="1141391" y="2264344"/>
                  <a:pt x="1046615" y="2359786"/>
                  <a:pt x="973921" y="2374258"/>
                </a:cubicBezTo>
                <a:cubicBezTo>
                  <a:pt x="901227" y="2388730"/>
                  <a:pt x="850658" y="2322191"/>
                  <a:pt x="918985" y="2276986"/>
                </a:cubicBezTo>
                <a:cubicBezTo>
                  <a:pt x="987312" y="2231781"/>
                  <a:pt x="1174495" y="2207910"/>
                  <a:pt x="1298257" y="2021601"/>
                </a:cubicBezTo>
                <a:cubicBezTo>
                  <a:pt x="1422020" y="1835292"/>
                  <a:pt x="1482321" y="1486544"/>
                  <a:pt x="1558176" y="1234153"/>
                </a:cubicBezTo>
                <a:cubicBezTo>
                  <a:pt x="1633988" y="981762"/>
                  <a:pt x="1725313" y="825686"/>
                  <a:pt x="1788276" y="725296"/>
                </a:cubicBezTo>
                <a:cubicBezTo>
                  <a:pt x="1851238" y="624905"/>
                  <a:pt x="1885839" y="580241"/>
                  <a:pt x="1896859" y="539984"/>
                </a:cubicBezTo>
                <a:cubicBezTo>
                  <a:pt x="1907880" y="499728"/>
                  <a:pt x="1895279" y="463839"/>
                  <a:pt x="1865711" y="435851"/>
                </a:cubicBezTo>
                <a:cubicBezTo>
                  <a:pt x="1836142" y="407863"/>
                  <a:pt x="1789565" y="387735"/>
                  <a:pt x="1759373" y="350265"/>
                </a:cubicBezTo>
                <a:cubicBezTo>
                  <a:pt x="1729181" y="312837"/>
                  <a:pt x="1715332" y="258067"/>
                  <a:pt x="1714085" y="209327"/>
                </a:cubicBezTo>
                <a:cubicBezTo>
                  <a:pt x="1712837" y="160545"/>
                  <a:pt x="1724149" y="117794"/>
                  <a:pt x="1758915" y="82237"/>
                </a:cubicBezTo>
                <a:cubicBezTo>
                  <a:pt x="1793682" y="46681"/>
                  <a:pt x="1851862" y="18360"/>
                  <a:pt x="1939195" y="6716"/>
                </a:cubicBezTo>
                <a:cubicBezTo>
                  <a:pt x="2026486" y="-4929"/>
                  <a:pt x="2142887" y="103"/>
                  <a:pt x="2207888" y="10167"/>
                </a:cubicBezTo>
                <a:cubicBezTo>
                  <a:pt x="2272846" y="20231"/>
                  <a:pt x="2286362" y="35327"/>
                  <a:pt x="2291561" y="49800"/>
                </a:cubicBezTo>
                <a:cubicBezTo>
                  <a:pt x="2296759" y="64272"/>
                  <a:pt x="2293598" y="78120"/>
                  <a:pt x="2244526" y="86812"/>
                </a:cubicBezTo>
                <a:cubicBezTo>
                  <a:pt x="2195453" y="95504"/>
                  <a:pt x="2100469" y="99122"/>
                  <a:pt x="2008603" y="91886"/>
                </a:cubicBezTo>
                <a:cubicBezTo>
                  <a:pt x="1916738" y="84649"/>
                  <a:pt x="1828033" y="66601"/>
                  <a:pt x="1765070" y="75833"/>
                </a:cubicBezTo>
                <a:cubicBezTo>
                  <a:pt x="1702149" y="85065"/>
                  <a:pt x="1665012" y="121537"/>
                  <a:pt x="1657319" y="176931"/>
                </a:cubicBezTo>
                <a:cubicBezTo>
                  <a:pt x="1649625" y="232283"/>
                  <a:pt x="1671333" y="306557"/>
                  <a:pt x="1672581" y="370393"/>
                </a:cubicBezTo>
                <a:cubicBezTo>
                  <a:pt x="1673829" y="434270"/>
                  <a:pt x="1654657" y="487751"/>
                  <a:pt x="1617354" y="589348"/>
                </a:cubicBezTo>
                <a:cubicBezTo>
                  <a:pt x="1580092" y="690945"/>
                  <a:pt x="1524698" y="840699"/>
                  <a:pt x="1460820" y="903953"/>
                </a:cubicBezTo>
                <a:cubicBezTo>
                  <a:pt x="1396943" y="967207"/>
                  <a:pt x="1324582" y="943918"/>
                  <a:pt x="1250349" y="922501"/>
                </a:cubicBezTo>
                <a:cubicBezTo>
                  <a:pt x="1176117" y="901125"/>
                  <a:pt x="1099971" y="881621"/>
                  <a:pt x="1055930" y="866816"/>
                </a:cubicBezTo>
                <a:cubicBezTo>
                  <a:pt x="1011890" y="852011"/>
                  <a:pt x="999913" y="841947"/>
                  <a:pt x="997085" y="751038"/>
                </a:cubicBezTo>
                <a:cubicBezTo>
                  <a:pt x="994257" y="660129"/>
                  <a:pt x="1000537" y="488333"/>
                  <a:pt x="1009021" y="369436"/>
                </a:cubicBezTo>
                <a:cubicBezTo>
                  <a:pt x="1017504" y="250498"/>
                  <a:pt x="1028192" y="184458"/>
                  <a:pt x="1070694" y="155805"/>
                </a:cubicBezTo>
                <a:cubicBezTo>
                  <a:pt x="1113154" y="127193"/>
                  <a:pt x="1187428" y="135968"/>
                  <a:pt x="1272058" y="156761"/>
                </a:cubicBezTo>
                <a:cubicBezTo>
                  <a:pt x="1356687" y="177513"/>
                  <a:pt x="1451713" y="210242"/>
                  <a:pt x="1524989" y="245175"/>
                </a:cubicBezTo>
                <a:cubicBezTo>
                  <a:pt x="1598307" y="280108"/>
                  <a:pt x="1649875" y="317203"/>
                  <a:pt x="1694081" y="357792"/>
                </a:cubicBezTo>
                <a:cubicBezTo>
                  <a:pt x="1738288" y="398381"/>
                  <a:pt x="1775093" y="442422"/>
                  <a:pt x="1798672" y="483301"/>
                </a:cubicBezTo>
                <a:cubicBezTo>
                  <a:pt x="1822252" y="524181"/>
                  <a:pt x="1832649" y="561942"/>
                  <a:pt x="1822876" y="600951"/>
                </a:cubicBezTo>
                <a:cubicBezTo>
                  <a:pt x="1813103" y="639959"/>
                  <a:pt x="1783244" y="680215"/>
                  <a:pt x="1795345" y="761726"/>
                </a:cubicBezTo>
                <a:cubicBezTo>
                  <a:pt x="1807447" y="843195"/>
                  <a:pt x="1861552" y="965917"/>
                  <a:pt x="1967266" y="1160004"/>
                </a:cubicBezTo>
                <a:cubicBezTo>
                  <a:pt x="2072980" y="1354131"/>
                  <a:pt x="2230261" y="1619622"/>
                  <a:pt x="2390246" y="1793622"/>
                </a:cubicBezTo>
                <a:cubicBezTo>
                  <a:pt x="2550231" y="1967580"/>
                  <a:pt x="2712878" y="2050005"/>
                  <a:pt x="2807737" y="2087475"/>
                </a:cubicBezTo>
                <a:cubicBezTo>
                  <a:pt x="2902597" y="2124903"/>
                  <a:pt x="2929629" y="2117376"/>
                  <a:pt x="2917360" y="2185620"/>
                </a:cubicBezTo>
                <a:cubicBezTo>
                  <a:pt x="2905092" y="2253906"/>
                  <a:pt x="2853483" y="2397963"/>
                  <a:pt x="2804411" y="2468120"/>
                </a:cubicBezTo>
                <a:cubicBezTo>
                  <a:pt x="2755338" y="2538277"/>
                  <a:pt x="2708761" y="2534492"/>
                  <a:pt x="2638312" y="2505548"/>
                </a:cubicBezTo>
                <a:cubicBezTo>
                  <a:pt x="2567823" y="2476603"/>
                  <a:pt x="2473462" y="2422499"/>
                  <a:pt x="2329862" y="2278109"/>
                </a:cubicBezTo>
                <a:cubicBezTo>
                  <a:pt x="2186263" y="2133719"/>
                  <a:pt x="1993383" y="1899003"/>
                  <a:pt x="1885173" y="1678800"/>
                </a:cubicBezTo>
                <a:cubicBezTo>
                  <a:pt x="1776964" y="1458598"/>
                  <a:pt x="1753343" y="1252826"/>
                  <a:pt x="1765320" y="1175432"/>
                </a:cubicBezTo>
                <a:cubicBezTo>
                  <a:pt x="1777255" y="1098039"/>
                  <a:pt x="1824789" y="1149025"/>
                  <a:pt x="1919774" y="1377420"/>
                </a:cubicBezTo>
                <a:cubicBezTo>
                  <a:pt x="2014800" y="1605815"/>
                  <a:pt x="2157318" y="2011662"/>
                  <a:pt x="2281414" y="2268710"/>
                </a:cubicBezTo>
                <a:cubicBezTo>
                  <a:pt x="2405509" y="2525759"/>
                  <a:pt x="2511223" y="2633968"/>
                  <a:pt x="2601216" y="2693105"/>
                </a:cubicBezTo>
                <a:cubicBezTo>
                  <a:pt x="2691211" y="2752241"/>
                  <a:pt x="2765443" y="2762305"/>
                  <a:pt x="2834644" y="2746586"/>
                </a:cubicBezTo>
                <a:cubicBezTo>
                  <a:pt x="2903844" y="2730866"/>
                  <a:pt x="2968055" y="2689320"/>
                  <a:pt x="3001865" y="2631432"/>
                </a:cubicBezTo>
                <a:cubicBezTo>
                  <a:pt x="3035675" y="2573542"/>
                  <a:pt x="3039127" y="2499310"/>
                  <a:pt x="3013052" y="2436680"/>
                </a:cubicBezTo>
                <a:cubicBezTo>
                  <a:pt x="2986935" y="2374092"/>
                  <a:pt x="2931251" y="2323106"/>
                  <a:pt x="2859222" y="2309258"/>
                </a:cubicBezTo>
                <a:cubicBezTo>
                  <a:pt x="2787193" y="2295409"/>
                  <a:pt x="2698780" y="2318698"/>
                  <a:pt x="2652036" y="2375007"/>
                </a:cubicBezTo>
                <a:cubicBezTo>
                  <a:pt x="2605334" y="2431315"/>
                  <a:pt x="2600302" y="2520686"/>
                  <a:pt x="2629537" y="2581402"/>
                </a:cubicBezTo>
                <a:cubicBezTo>
                  <a:pt x="2658773" y="2642119"/>
                  <a:pt x="2722359" y="2674224"/>
                  <a:pt x="2772222" y="2671064"/>
                </a:cubicBezTo>
                <a:cubicBezTo>
                  <a:pt x="2822085" y="2667903"/>
                  <a:pt x="2858265" y="2629518"/>
                  <a:pt x="2868787" y="2596831"/>
                </a:cubicBezTo>
                <a:cubicBezTo>
                  <a:pt x="2879308" y="2564144"/>
                  <a:pt x="2864212" y="2537071"/>
                  <a:pt x="2835601" y="2530750"/>
                </a:cubicBezTo>
                <a:cubicBezTo>
                  <a:pt x="2806989" y="2524470"/>
                  <a:pt x="2764820" y="2538942"/>
                  <a:pt x="2713543" y="2615379"/>
                </a:cubicBezTo>
                <a:cubicBezTo>
                  <a:pt x="2662266" y="2691816"/>
                  <a:pt x="2601840" y="2830259"/>
                  <a:pt x="2567864" y="2907028"/>
                </a:cubicBezTo>
                <a:cubicBezTo>
                  <a:pt x="2533888" y="2983797"/>
                  <a:pt x="2526318" y="2998893"/>
                  <a:pt x="2520039" y="3008333"/>
                </a:cubicBezTo>
                <a:cubicBezTo>
                  <a:pt x="2513760" y="3017774"/>
                  <a:pt x="2508727" y="3021558"/>
                  <a:pt x="2484191" y="3024053"/>
                </a:cubicBezTo>
                <a:cubicBezTo>
                  <a:pt x="2459655" y="3026590"/>
                  <a:pt x="2415614" y="3027838"/>
                  <a:pt x="2389165" y="3013989"/>
                </a:cubicBezTo>
                <a:cubicBezTo>
                  <a:pt x="2362757" y="3000141"/>
                  <a:pt x="2353941" y="2971196"/>
                  <a:pt x="2396068" y="2956724"/>
                </a:cubicBezTo>
                <a:cubicBezTo>
                  <a:pt x="2438238" y="2942252"/>
                  <a:pt x="2531351" y="2942252"/>
                  <a:pt x="2584831" y="2951068"/>
                </a:cubicBezTo>
                <a:cubicBezTo>
                  <a:pt x="2638312" y="2959885"/>
                  <a:pt x="2652160" y="2977476"/>
                  <a:pt x="2671041" y="2951068"/>
                </a:cubicBezTo>
                <a:cubicBezTo>
                  <a:pt x="2689922" y="2924661"/>
                  <a:pt x="2713834" y="2854171"/>
                  <a:pt x="2752219" y="2822066"/>
                </a:cubicBezTo>
                <a:cubicBezTo>
                  <a:pt x="2790603" y="2789961"/>
                  <a:pt x="2843460" y="2796282"/>
                  <a:pt x="2892533" y="2789337"/>
                </a:cubicBezTo>
                <a:cubicBezTo>
                  <a:pt x="2941606" y="2782434"/>
                  <a:pt x="2986935" y="2762264"/>
                  <a:pt x="3020246" y="2713815"/>
                </a:cubicBezTo>
                <a:cubicBezTo>
                  <a:pt x="3053599" y="2665366"/>
                  <a:pt x="3074975" y="2588597"/>
                  <a:pt x="3106456" y="2544556"/>
                </a:cubicBezTo>
                <a:cubicBezTo>
                  <a:pt x="3137896" y="2500516"/>
                  <a:pt x="3179441" y="2489204"/>
                  <a:pt x="3326035" y="2482883"/>
                </a:cubicBezTo>
                <a:cubicBezTo>
                  <a:pt x="3472629" y="2476603"/>
                  <a:pt x="3724313" y="2475314"/>
                  <a:pt x="3861009" y="2466831"/>
                </a:cubicBezTo>
                <a:cubicBezTo>
                  <a:pt x="3997705" y="2458347"/>
                  <a:pt x="4019413" y="2442627"/>
                  <a:pt x="4016751" y="2420918"/>
                </a:cubicBezTo>
                <a:cubicBezTo>
                  <a:pt x="4014090" y="2399210"/>
                  <a:pt x="3987017" y="2371513"/>
                  <a:pt x="3866664" y="2252907"/>
                </a:cubicBezTo>
                <a:cubicBezTo>
                  <a:pt x="3746312" y="2134302"/>
                  <a:pt x="3532721" y="1924787"/>
                  <a:pt x="3391285" y="1791709"/>
                </a:cubicBezTo>
                <a:cubicBezTo>
                  <a:pt x="3249889" y="1658631"/>
                  <a:pt x="3180647" y="1601989"/>
                  <a:pt x="3127166" y="1600118"/>
                </a:cubicBezTo>
                <a:cubicBezTo>
                  <a:pt x="3073686" y="1598246"/>
                  <a:pt x="3035924" y="1651103"/>
                  <a:pt x="3003196" y="1733529"/>
                </a:cubicBezTo>
                <a:cubicBezTo>
                  <a:pt x="2970467" y="1815954"/>
                  <a:pt x="2942811" y="1927947"/>
                  <a:pt x="2940898" y="1995900"/>
                </a:cubicBezTo>
                <a:cubicBezTo>
                  <a:pt x="2939027" y="2063853"/>
                  <a:pt x="2962940" y="2087766"/>
                  <a:pt x="2981778" y="2048133"/>
                </a:cubicBezTo>
                <a:cubicBezTo>
                  <a:pt x="3000659" y="2008501"/>
                  <a:pt x="3014507" y="1905324"/>
                  <a:pt x="3044699" y="1778817"/>
                </a:cubicBezTo>
                <a:cubicBezTo>
                  <a:pt x="3074891" y="1652351"/>
                  <a:pt x="3121469" y="1502596"/>
                  <a:pt x="3166466" y="1356918"/>
                </a:cubicBezTo>
                <a:cubicBezTo>
                  <a:pt x="3211463" y="1211239"/>
                  <a:pt x="3254880" y="1069677"/>
                  <a:pt x="3272803" y="986960"/>
                </a:cubicBezTo>
                <a:cubicBezTo>
                  <a:pt x="3290727" y="904202"/>
                  <a:pt x="3283200" y="880290"/>
                  <a:pt x="3243526" y="867107"/>
                </a:cubicBezTo>
                <a:cubicBezTo>
                  <a:pt x="3203894" y="853882"/>
                  <a:pt x="3132157" y="851387"/>
                  <a:pt x="3068612" y="840034"/>
                </a:cubicBezTo>
                <a:cubicBezTo>
                  <a:pt x="3005067" y="828722"/>
                  <a:pt x="2949673" y="808594"/>
                  <a:pt x="2924513" y="782769"/>
                </a:cubicBezTo>
                <a:cubicBezTo>
                  <a:pt x="2899353" y="756985"/>
                  <a:pt x="2904385" y="725504"/>
                  <a:pt x="2940857" y="714816"/>
                </a:cubicBezTo>
                <a:cubicBezTo>
                  <a:pt x="2977370" y="704128"/>
                  <a:pt x="3045323" y="714192"/>
                  <a:pt x="3114524" y="723008"/>
                </a:cubicBezTo>
                <a:cubicBezTo>
                  <a:pt x="3183724" y="731825"/>
                  <a:pt x="3254214" y="739352"/>
                  <a:pt x="3317135" y="729288"/>
                </a:cubicBezTo>
                <a:cubicBezTo>
                  <a:pt x="3380056" y="719224"/>
                  <a:pt x="3435408" y="691527"/>
                  <a:pt x="3483857" y="682087"/>
                </a:cubicBezTo>
                <a:cubicBezTo>
                  <a:pt x="3532306" y="672647"/>
                  <a:pt x="3573851" y="681463"/>
                  <a:pt x="3601506" y="703463"/>
                </a:cubicBezTo>
                <a:cubicBezTo>
                  <a:pt x="3629203" y="725504"/>
                  <a:pt x="3643052" y="760728"/>
                  <a:pt x="3624171" y="797199"/>
                </a:cubicBezTo>
                <a:cubicBezTo>
                  <a:pt x="3605291" y="833713"/>
                  <a:pt x="3553681" y="871432"/>
                  <a:pt x="3496458" y="890936"/>
                </a:cubicBezTo>
                <a:cubicBezTo>
                  <a:pt x="3439193" y="910441"/>
                  <a:pt x="3376272" y="911688"/>
                  <a:pt x="3326575" y="918009"/>
                </a:cubicBezTo>
                <a:cubicBezTo>
                  <a:pt x="3276879" y="924289"/>
                  <a:pt x="3240366" y="935642"/>
                  <a:pt x="3198862" y="1002306"/>
                </a:cubicBezTo>
                <a:cubicBezTo>
                  <a:pt x="3157317" y="1069011"/>
                  <a:pt x="3110781" y="1191069"/>
                  <a:pt x="3097972" y="1299902"/>
                </a:cubicBezTo>
                <a:cubicBezTo>
                  <a:pt x="3085163" y="1408735"/>
                  <a:pt x="3106165" y="1504385"/>
                  <a:pt x="3159022" y="1545930"/>
                </a:cubicBezTo>
                <a:cubicBezTo>
                  <a:pt x="3211879" y="1587475"/>
                  <a:pt x="3296591" y="1574875"/>
                  <a:pt x="3371697" y="1536490"/>
                </a:cubicBezTo>
                <a:cubicBezTo>
                  <a:pt x="3446803" y="1498105"/>
                  <a:pt x="3512219" y="1433937"/>
                  <a:pt x="3551228" y="1376048"/>
                </a:cubicBezTo>
                <a:cubicBezTo>
                  <a:pt x="3590236" y="1318159"/>
                  <a:pt x="3602837" y="1266549"/>
                  <a:pt x="3554389" y="1231949"/>
                </a:cubicBezTo>
                <a:cubicBezTo>
                  <a:pt x="3505940" y="1197349"/>
                  <a:pt x="3396442" y="1179716"/>
                  <a:pt x="3336348" y="1191693"/>
                </a:cubicBezTo>
                <a:cubicBezTo>
                  <a:pt x="3276255" y="1203628"/>
                  <a:pt x="3265567" y="1245174"/>
                  <a:pt x="3344832" y="1255238"/>
                </a:cubicBezTo>
                <a:cubicBezTo>
                  <a:pt x="3424096" y="1265302"/>
                  <a:pt x="3593355" y="1243926"/>
                  <a:pt x="3769850" y="1241722"/>
                </a:cubicBezTo>
                <a:cubicBezTo>
                  <a:pt x="3946345" y="1239518"/>
                  <a:pt x="4130076" y="1256527"/>
                  <a:pt x="4254670" y="1259646"/>
                </a:cubicBezTo>
                <a:cubicBezTo>
                  <a:pt x="4379265" y="1262806"/>
                  <a:pt x="4444681" y="1252077"/>
                  <a:pt x="4484022" y="1236981"/>
                </a:cubicBezTo>
                <a:cubicBezTo>
                  <a:pt x="4523363" y="1221885"/>
                  <a:pt x="4536546" y="1202381"/>
                  <a:pt x="4465766" y="1185995"/>
                </a:cubicBezTo>
                <a:cubicBezTo>
                  <a:pt x="4394985" y="1169652"/>
                  <a:pt x="4240198" y="1156427"/>
                  <a:pt x="4105248" y="1177512"/>
                </a:cubicBezTo>
                <a:cubicBezTo>
                  <a:pt x="3970299" y="1198596"/>
                  <a:pt x="3855145" y="1253948"/>
                  <a:pt x="3734668" y="1331342"/>
                </a:cubicBezTo>
                <a:cubicBezTo>
                  <a:pt x="3614191" y="1408735"/>
                  <a:pt x="3488349" y="1508128"/>
                  <a:pt x="3388914" y="1604110"/>
                </a:cubicBezTo>
                <a:cubicBezTo>
                  <a:pt x="3289480" y="1700051"/>
                  <a:pt x="3216495" y="1792540"/>
                  <a:pt x="3156111" y="1921252"/>
                </a:cubicBezTo>
                <a:cubicBezTo>
                  <a:pt x="3095726" y="2049922"/>
                  <a:pt x="3047902" y="2214772"/>
                  <a:pt x="3060461" y="2419255"/>
                </a:cubicBezTo>
                <a:cubicBezTo>
                  <a:pt x="3073062" y="2623738"/>
                  <a:pt x="3146046" y="2867895"/>
                  <a:pt x="3290769" y="3048465"/>
                </a:cubicBezTo>
                <a:cubicBezTo>
                  <a:pt x="3435492" y="3229035"/>
                  <a:pt x="3651951" y="3346061"/>
                  <a:pt x="3868994" y="3394510"/>
                </a:cubicBezTo>
                <a:cubicBezTo>
                  <a:pt x="4086077" y="3442958"/>
                  <a:pt x="4303784" y="3422830"/>
                  <a:pt x="4507643" y="3330632"/>
                </a:cubicBezTo>
                <a:cubicBezTo>
                  <a:pt x="4711502" y="3238434"/>
                  <a:pt x="4901513" y="3074249"/>
                  <a:pt x="5002818" y="2841404"/>
                </a:cubicBezTo>
                <a:cubicBezTo>
                  <a:pt x="5104125" y="2608600"/>
                  <a:pt x="5116725" y="2307220"/>
                  <a:pt x="5036171" y="2052999"/>
                </a:cubicBezTo>
                <a:cubicBezTo>
                  <a:pt x="4955617" y="1798820"/>
                  <a:pt x="4781992" y="1591800"/>
                  <a:pt x="4605164" y="1482011"/>
                </a:cubicBezTo>
                <a:cubicBezTo>
                  <a:pt x="4428379" y="1372221"/>
                  <a:pt x="4248391" y="1359621"/>
                  <a:pt x="4138310" y="1352717"/>
                </a:cubicBezTo>
                <a:cubicBezTo>
                  <a:pt x="4028188" y="1345814"/>
                  <a:pt x="3987932" y="1344525"/>
                  <a:pt x="3977868" y="1466624"/>
                </a:cubicBezTo>
                <a:cubicBezTo>
                  <a:pt x="3967804" y="1588681"/>
                  <a:pt x="3987932" y="1834086"/>
                  <a:pt x="3999909" y="2001140"/>
                </a:cubicBezTo>
                <a:cubicBezTo>
                  <a:pt x="4011844" y="2168195"/>
                  <a:pt x="4015629" y="2256900"/>
                  <a:pt x="4033885" y="2313208"/>
                </a:cubicBezTo>
                <a:cubicBezTo>
                  <a:pt x="4052142" y="2369517"/>
                  <a:pt x="4084871" y="2393430"/>
                  <a:pt x="4125585" y="2399085"/>
                </a:cubicBezTo>
                <a:cubicBezTo>
                  <a:pt x="4166340" y="2404741"/>
                  <a:pt x="4215080" y="2392182"/>
                  <a:pt x="4230051" y="2362905"/>
                </a:cubicBezTo>
                <a:cubicBezTo>
                  <a:pt x="4244980" y="2333628"/>
                  <a:pt x="4226100" y="2287716"/>
                  <a:pt x="4194660" y="2271372"/>
                </a:cubicBezTo>
                <a:cubicBezTo>
                  <a:pt x="4163179" y="2255028"/>
                  <a:pt x="4119138" y="2268211"/>
                  <a:pt x="4097056" y="2303394"/>
                </a:cubicBezTo>
                <a:cubicBezTo>
                  <a:pt x="4074973" y="2338576"/>
                  <a:pt x="4074849" y="2395758"/>
                  <a:pt x="4080670" y="2437262"/>
                </a:cubicBezTo>
                <a:cubicBezTo>
                  <a:pt x="4086493" y="2478808"/>
                  <a:pt x="4098262" y="2504675"/>
                  <a:pt x="4079589" y="2519521"/>
                </a:cubicBezTo>
                <a:cubicBezTo>
                  <a:pt x="4060917" y="2534368"/>
                  <a:pt x="4011844" y="2538152"/>
                  <a:pt x="3900475" y="2539400"/>
                </a:cubicBezTo>
                <a:cubicBezTo>
                  <a:pt x="3789105" y="2540647"/>
                  <a:pt x="3615438" y="2539400"/>
                  <a:pt x="3490220" y="2545679"/>
                </a:cubicBezTo>
                <a:cubicBezTo>
                  <a:pt x="3365002" y="2551959"/>
                  <a:pt x="3288232" y="2565807"/>
                  <a:pt x="3249848" y="2602944"/>
                </a:cubicBezTo>
                <a:cubicBezTo>
                  <a:pt x="3211463" y="2640081"/>
                  <a:pt x="3211463" y="2700466"/>
                  <a:pt x="3240241" y="2790460"/>
                </a:cubicBezTo>
                <a:cubicBezTo>
                  <a:pt x="3269019" y="2880454"/>
                  <a:pt x="3326617" y="2999975"/>
                  <a:pt x="3433578" y="3133385"/>
                </a:cubicBezTo>
                <a:cubicBezTo>
                  <a:pt x="3540540" y="3266796"/>
                  <a:pt x="3696907" y="3414014"/>
                  <a:pt x="3925468" y="3465290"/>
                </a:cubicBezTo>
              </a:path>
            </a:pathLst>
          </a:custGeom>
          <a:noFill/>
          <a:ln w="15875" cap="rnd">
            <a:solidFill>
              <a:schemeClr val="accent1"/>
            </a:solidFill>
            <a:prstDash val="solid"/>
            <a:miter/>
          </a:ln>
        </p:spPr>
        <p:txBody>
          <a:bodyPr rtlCol="0" anchor="ctr"/>
          <a:lstStyle/>
          <a:p>
            <a:endParaRPr lang="ja-JP" altLang="en-US"/>
          </a:p>
        </p:txBody>
      </p:sp>
    </p:spTree>
    <p:extLst>
      <p:ext uri="{BB962C8B-B14F-4D97-AF65-F5344CB8AC3E}">
        <p14:creationId xmlns:p14="http://schemas.microsoft.com/office/powerpoint/2010/main" val="1333294796"/>
      </p:ext>
    </p:extLst>
  </p:cSld>
  <p:clrMapOvr>
    <a:masterClrMapping/>
  </p:clrMapOvr>
  <p:extLst mod="1">
    <p:ext uri="{DCECCB84-F9BA-43D5-87BE-67443E8EF086}">
      <p15:sldGuideLst xmlns:p15="http://schemas.microsoft.com/office/powerpoint/2012/main">
        <p15:guide id="1" orient="horz" pos="70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緑線">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590CD8F7-B765-3CB6-9036-61B8EBDC7AD2}"/>
              </a:ext>
            </a:extLst>
          </p:cNvPr>
          <p:cNvSpPr>
            <a:spLocks noGrp="1"/>
          </p:cNvSpPr>
          <p:nvPr>
            <p:ph type="dt" sz="half" idx="10"/>
          </p:nvPr>
        </p:nvSpPr>
        <p:spPr/>
        <p:txBody>
          <a:bodyPr/>
          <a:lstStyle/>
          <a:p>
            <a:fld id="{A89D9207-3CEC-4A38-A1E4-1759936EB250}" type="datetime1">
              <a:rPr kumimoji="1" lang="ja-JP" altLang="en-US" smtClean="0"/>
              <a:t>2024/7/1</a:t>
            </a:fld>
            <a:endParaRPr kumimoji="1" lang="ja-JP" altLang="en-US"/>
          </a:p>
        </p:txBody>
      </p:sp>
      <p:sp>
        <p:nvSpPr>
          <p:cNvPr id="3" name="フッター プレースホルダー 2">
            <a:extLst>
              <a:ext uri="{FF2B5EF4-FFF2-40B4-BE49-F238E27FC236}">
                <a16:creationId xmlns:a16="http://schemas.microsoft.com/office/drawing/2014/main" id="{D766499A-ED94-0F69-099E-87D5B933CB6F}"/>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5" name="スライド番号プレースホルダー 4">
            <a:extLst>
              <a:ext uri="{FF2B5EF4-FFF2-40B4-BE49-F238E27FC236}">
                <a16:creationId xmlns:a16="http://schemas.microsoft.com/office/drawing/2014/main" id="{3A43CC76-FD01-4D12-3976-5E659672B14F}"/>
              </a:ext>
            </a:extLst>
          </p:cNvPr>
          <p:cNvSpPr>
            <a:spLocks noGrp="1"/>
          </p:cNvSpPr>
          <p:nvPr>
            <p:ph type="sldNum" sz="quarter" idx="12"/>
          </p:nvPr>
        </p:nvSpPr>
        <p:spPr>
          <a:xfrm>
            <a:off x="7544584" y="6492875"/>
            <a:ext cx="2228850" cy="365125"/>
          </a:xfrm>
        </p:spPr>
        <p:txBody>
          <a:bodyPr/>
          <a:lstStyle>
            <a:lvl1pPr>
              <a:defRPr sz="1100" b="1">
                <a:solidFill>
                  <a:schemeClr val="tx1">
                    <a:lumMod val="50000"/>
                    <a:lumOff val="50000"/>
                  </a:schemeClr>
                </a:solidFill>
                <a:latin typeface="+mn-lt"/>
              </a:defRPr>
            </a:lvl1pPr>
          </a:lstStyle>
          <a:p>
            <a:fld id="{3DB74C4F-4DC2-4C31-8D08-159129179147}" type="slidenum">
              <a:rPr kumimoji="1" lang="ja-JP" altLang="en-US" smtClean="0"/>
              <a:pPr/>
              <a:t>‹#›</a:t>
            </a:fld>
            <a:endParaRPr kumimoji="1" lang="ja-JP" altLang="en-US"/>
          </a:p>
        </p:txBody>
      </p:sp>
      <p:sp>
        <p:nvSpPr>
          <p:cNvPr id="6" name="フリーフォーム: 図形 5">
            <a:extLst>
              <a:ext uri="{FF2B5EF4-FFF2-40B4-BE49-F238E27FC236}">
                <a16:creationId xmlns:a16="http://schemas.microsoft.com/office/drawing/2014/main" id="{7D8472CA-E133-8E30-FFBD-005A50E6BD3D}"/>
              </a:ext>
            </a:extLst>
          </p:cNvPr>
          <p:cNvSpPr/>
          <p:nvPr userDrawn="1"/>
        </p:nvSpPr>
        <p:spPr>
          <a:xfrm>
            <a:off x="0" y="724339"/>
            <a:ext cx="9956798" cy="179116"/>
          </a:xfrm>
          <a:custGeom>
            <a:avLst/>
            <a:gdLst>
              <a:gd name="connsiteX0" fmla="*/ 0 w 5915025"/>
              <a:gd name="connsiteY0" fmla="*/ 0 h 761742"/>
              <a:gd name="connsiteX1" fmla="*/ 2947987 w 5915025"/>
              <a:gd name="connsiteY1" fmla="*/ 733425 h 761742"/>
              <a:gd name="connsiteX2" fmla="*/ 5915025 w 5915025"/>
              <a:gd name="connsiteY2" fmla="*/ 552450 h 761742"/>
              <a:gd name="connsiteX0" fmla="*/ 0 w 8328025"/>
              <a:gd name="connsiteY0" fmla="*/ 0 h 733425"/>
              <a:gd name="connsiteX1" fmla="*/ 2947987 w 8328025"/>
              <a:gd name="connsiteY1" fmla="*/ 733425 h 733425"/>
              <a:gd name="connsiteX2" fmla="*/ 8328025 w 8328025"/>
              <a:gd name="connsiteY2" fmla="*/ 184150 h 733425"/>
              <a:gd name="connsiteX0" fmla="*/ 0 w 8328025"/>
              <a:gd name="connsiteY0" fmla="*/ 0 h 733425"/>
              <a:gd name="connsiteX1" fmla="*/ 2947987 w 8328025"/>
              <a:gd name="connsiteY1" fmla="*/ 733425 h 733425"/>
              <a:gd name="connsiteX2" fmla="*/ 8328025 w 8328025"/>
              <a:gd name="connsiteY2" fmla="*/ 184150 h 733425"/>
              <a:gd name="connsiteX0" fmla="*/ 0 w 8328025"/>
              <a:gd name="connsiteY0" fmla="*/ 0 h 755652"/>
              <a:gd name="connsiteX1" fmla="*/ 2947987 w 8328025"/>
              <a:gd name="connsiteY1" fmla="*/ 733425 h 755652"/>
              <a:gd name="connsiteX2" fmla="*/ 8328025 w 8328025"/>
              <a:gd name="connsiteY2" fmla="*/ 184150 h 755652"/>
              <a:gd name="connsiteX0" fmla="*/ 0 w 8328025"/>
              <a:gd name="connsiteY0" fmla="*/ 0 h 755652"/>
              <a:gd name="connsiteX1" fmla="*/ 2947987 w 8328025"/>
              <a:gd name="connsiteY1" fmla="*/ 733425 h 755652"/>
              <a:gd name="connsiteX2" fmla="*/ 8328025 w 8328025"/>
              <a:gd name="connsiteY2" fmla="*/ 184150 h 755652"/>
              <a:gd name="connsiteX0" fmla="*/ 0 w 10576775"/>
              <a:gd name="connsiteY0" fmla="*/ 332943 h 1069864"/>
              <a:gd name="connsiteX1" fmla="*/ 2947987 w 10576775"/>
              <a:gd name="connsiteY1" fmla="*/ 1066368 h 1069864"/>
              <a:gd name="connsiteX2" fmla="*/ 10576775 w 10576775"/>
              <a:gd name="connsiteY2" fmla="*/ 0 h 1069864"/>
              <a:gd name="connsiteX0" fmla="*/ 0 w 10576775"/>
              <a:gd name="connsiteY0" fmla="*/ 332943 h 1069865"/>
              <a:gd name="connsiteX1" fmla="*/ 2947987 w 10576775"/>
              <a:gd name="connsiteY1" fmla="*/ 1066368 h 1069865"/>
              <a:gd name="connsiteX2" fmla="*/ 10576775 w 10576775"/>
              <a:gd name="connsiteY2" fmla="*/ 0 h 1069865"/>
              <a:gd name="connsiteX0" fmla="*/ 0 w 10576775"/>
              <a:gd name="connsiteY0" fmla="*/ 332943 h 1237511"/>
              <a:gd name="connsiteX1" fmla="*/ 3669511 w 10576775"/>
              <a:gd name="connsiteY1" fmla="*/ 1234723 h 1237511"/>
              <a:gd name="connsiteX2" fmla="*/ 10576775 w 10576775"/>
              <a:gd name="connsiteY2" fmla="*/ 0 h 1237511"/>
              <a:gd name="connsiteX0" fmla="*/ 0 w 10576775"/>
              <a:gd name="connsiteY0" fmla="*/ 332943 h 1234776"/>
              <a:gd name="connsiteX1" fmla="*/ 3669511 w 10576775"/>
              <a:gd name="connsiteY1" fmla="*/ 1234723 h 1234776"/>
              <a:gd name="connsiteX2" fmla="*/ 10576775 w 10576775"/>
              <a:gd name="connsiteY2" fmla="*/ 0 h 1234776"/>
              <a:gd name="connsiteX0" fmla="*/ 0 w 10576775"/>
              <a:gd name="connsiteY0" fmla="*/ 332943 h 1251515"/>
              <a:gd name="connsiteX1" fmla="*/ 3669511 w 10576775"/>
              <a:gd name="connsiteY1" fmla="*/ 1234723 h 1251515"/>
              <a:gd name="connsiteX2" fmla="*/ 7221703 w 10576775"/>
              <a:gd name="connsiteY2" fmla="*/ 673308 h 1251515"/>
              <a:gd name="connsiteX3" fmla="*/ 10576775 w 10576775"/>
              <a:gd name="connsiteY3" fmla="*/ 0 h 1251515"/>
              <a:gd name="connsiteX0" fmla="*/ 0 w 10753148"/>
              <a:gd name="connsiteY0" fmla="*/ 0 h 918572"/>
              <a:gd name="connsiteX1" fmla="*/ 3669511 w 10753148"/>
              <a:gd name="connsiteY1" fmla="*/ 901780 h 918572"/>
              <a:gd name="connsiteX2" fmla="*/ 7221703 w 10753148"/>
              <a:gd name="connsiteY2" fmla="*/ 340365 h 918572"/>
              <a:gd name="connsiteX3" fmla="*/ 10753148 w 10753148"/>
              <a:gd name="connsiteY3" fmla="*/ 532873 h 918572"/>
              <a:gd name="connsiteX0" fmla="*/ 0 w 10753148"/>
              <a:gd name="connsiteY0" fmla="*/ 0 h 918572"/>
              <a:gd name="connsiteX1" fmla="*/ 3669511 w 10753148"/>
              <a:gd name="connsiteY1" fmla="*/ 901780 h 918572"/>
              <a:gd name="connsiteX2" fmla="*/ 7221703 w 10753148"/>
              <a:gd name="connsiteY2" fmla="*/ 340365 h 918572"/>
              <a:gd name="connsiteX3" fmla="*/ 10753148 w 10753148"/>
              <a:gd name="connsiteY3" fmla="*/ 532873 h 918572"/>
              <a:gd name="connsiteX0" fmla="*/ 0 w 10753148"/>
              <a:gd name="connsiteY0" fmla="*/ 0 h 918572"/>
              <a:gd name="connsiteX1" fmla="*/ 3669511 w 10753148"/>
              <a:gd name="connsiteY1" fmla="*/ 901780 h 918572"/>
              <a:gd name="connsiteX2" fmla="*/ 7221703 w 10753148"/>
              <a:gd name="connsiteY2" fmla="*/ 340365 h 918572"/>
              <a:gd name="connsiteX3" fmla="*/ 10753148 w 10753148"/>
              <a:gd name="connsiteY3" fmla="*/ 532873 h 918572"/>
              <a:gd name="connsiteX0" fmla="*/ 0 w 10753148"/>
              <a:gd name="connsiteY0" fmla="*/ 0 h 925735"/>
              <a:gd name="connsiteX1" fmla="*/ 3669511 w 10753148"/>
              <a:gd name="connsiteY1" fmla="*/ 901780 h 925735"/>
              <a:gd name="connsiteX2" fmla="*/ 7221703 w 10753148"/>
              <a:gd name="connsiteY2" fmla="*/ 340365 h 925735"/>
              <a:gd name="connsiteX3" fmla="*/ 10753148 w 10753148"/>
              <a:gd name="connsiteY3" fmla="*/ 532873 h 925735"/>
              <a:gd name="connsiteX0" fmla="*/ 0 w 10753148"/>
              <a:gd name="connsiteY0" fmla="*/ 0 h 1043474"/>
              <a:gd name="connsiteX1" fmla="*/ 3100309 w 10753148"/>
              <a:gd name="connsiteY1" fmla="*/ 1023536 h 1043474"/>
              <a:gd name="connsiteX2" fmla="*/ 7221703 w 10753148"/>
              <a:gd name="connsiteY2" fmla="*/ 340365 h 1043474"/>
              <a:gd name="connsiteX3" fmla="*/ 10753148 w 10753148"/>
              <a:gd name="connsiteY3" fmla="*/ 532873 h 1043474"/>
              <a:gd name="connsiteX0" fmla="*/ 0 w 10753148"/>
              <a:gd name="connsiteY0" fmla="*/ 0 h 1031142"/>
              <a:gd name="connsiteX1" fmla="*/ 3100309 w 10753148"/>
              <a:gd name="connsiteY1" fmla="*/ 1023536 h 1031142"/>
              <a:gd name="connsiteX2" fmla="*/ 7919177 w 10753148"/>
              <a:gd name="connsiteY2" fmla="*/ 432006 h 1031142"/>
              <a:gd name="connsiteX3" fmla="*/ 10753148 w 10753148"/>
              <a:gd name="connsiteY3" fmla="*/ 532873 h 1031142"/>
              <a:gd name="connsiteX0" fmla="*/ 0 w 10753148"/>
              <a:gd name="connsiteY0" fmla="*/ 0 h 1028248"/>
              <a:gd name="connsiteX1" fmla="*/ 3100309 w 10753148"/>
              <a:gd name="connsiteY1" fmla="*/ 1023536 h 1028248"/>
              <a:gd name="connsiteX2" fmla="*/ 7919177 w 10753148"/>
              <a:gd name="connsiteY2" fmla="*/ 432006 h 1028248"/>
              <a:gd name="connsiteX3" fmla="*/ 10753148 w 10753148"/>
              <a:gd name="connsiteY3" fmla="*/ 532873 h 1028248"/>
              <a:gd name="connsiteX0" fmla="*/ 0 w 10753148"/>
              <a:gd name="connsiteY0" fmla="*/ 0 h 1034490"/>
              <a:gd name="connsiteX1" fmla="*/ 3100309 w 10753148"/>
              <a:gd name="connsiteY1" fmla="*/ 1023536 h 1034490"/>
              <a:gd name="connsiteX2" fmla="*/ 10753148 w 10753148"/>
              <a:gd name="connsiteY2" fmla="*/ 532873 h 1034490"/>
              <a:gd name="connsiteX0" fmla="*/ 0 w 10945554"/>
              <a:gd name="connsiteY0" fmla="*/ 16986 h 1040530"/>
              <a:gd name="connsiteX1" fmla="*/ 3100309 w 10945554"/>
              <a:gd name="connsiteY1" fmla="*/ 1040522 h 1040530"/>
              <a:gd name="connsiteX2" fmla="*/ 10945554 w 10945554"/>
              <a:gd name="connsiteY2" fmla="*/ 0 h 1040530"/>
              <a:gd name="connsiteX0" fmla="*/ 0 w 10945554"/>
              <a:gd name="connsiteY0" fmla="*/ 16986 h 1055583"/>
              <a:gd name="connsiteX1" fmla="*/ 3100309 w 10945554"/>
              <a:gd name="connsiteY1" fmla="*/ 1040522 h 1055583"/>
              <a:gd name="connsiteX2" fmla="*/ 10945554 w 10945554"/>
              <a:gd name="connsiteY2" fmla="*/ 0 h 1055583"/>
              <a:gd name="connsiteX0" fmla="*/ 0 w 10945554"/>
              <a:gd name="connsiteY0" fmla="*/ 16986 h 1055577"/>
              <a:gd name="connsiteX1" fmla="*/ 3100309 w 10945554"/>
              <a:gd name="connsiteY1" fmla="*/ 1040522 h 1055577"/>
              <a:gd name="connsiteX2" fmla="*/ 10945554 w 10945554"/>
              <a:gd name="connsiteY2" fmla="*/ 0 h 1055577"/>
              <a:gd name="connsiteX0" fmla="*/ 0 w 10945554"/>
              <a:gd name="connsiteY0" fmla="*/ 16986 h 1055577"/>
              <a:gd name="connsiteX1" fmla="*/ 3100309 w 10945554"/>
              <a:gd name="connsiteY1" fmla="*/ 1040522 h 1055577"/>
              <a:gd name="connsiteX2" fmla="*/ 10945554 w 10945554"/>
              <a:gd name="connsiteY2" fmla="*/ 0 h 1055577"/>
              <a:gd name="connsiteX0" fmla="*/ 0 w 10945554"/>
              <a:gd name="connsiteY0" fmla="*/ 16986 h 1055577"/>
              <a:gd name="connsiteX1" fmla="*/ 3100309 w 10945554"/>
              <a:gd name="connsiteY1" fmla="*/ 1040522 h 1055577"/>
              <a:gd name="connsiteX2" fmla="*/ 10945554 w 10945554"/>
              <a:gd name="connsiteY2" fmla="*/ 0 h 1055577"/>
              <a:gd name="connsiteX0" fmla="*/ 0 w 10945554"/>
              <a:gd name="connsiteY0" fmla="*/ 16986 h 1055577"/>
              <a:gd name="connsiteX1" fmla="*/ 3100309 w 10945554"/>
              <a:gd name="connsiteY1" fmla="*/ 1040522 h 1055577"/>
              <a:gd name="connsiteX2" fmla="*/ 10945554 w 10945554"/>
              <a:gd name="connsiteY2" fmla="*/ 0 h 1055577"/>
            </a:gdLst>
            <a:ahLst/>
            <a:cxnLst>
              <a:cxn ang="0">
                <a:pos x="connsiteX0" y="connsiteY0"/>
              </a:cxn>
              <a:cxn ang="0">
                <a:pos x="connsiteX1" y="connsiteY1"/>
              </a:cxn>
              <a:cxn ang="0">
                <a:pos x="connsiteX2" y="connsiteY2"/>
              </a:cxn>
            </a:cxnLst>
            <a:rect l="l" t="t" r="r" b="b"/>
            <a:pathLst>
              <a:path w="10945554" h="1055577">
                <a:moveTo>
                  <a:pt x="0" y="16986"/>
                </a:moveTo>
                <a:cubicBezTo>
                  <a:pt x="135247" y="1083393"/>
                  <a:pt x="1276050" y="1043353"/>
                  <a:pt x="3100309" y="1040522"/>
                </a:cubicBezTo>
                <a:cubicBezTo>
                  <a:pt x="4924568" y="1037691"/>
                  <a:pt x="8786019" y="1270669"/>
                  <a:pt x="10945554" y="0"/>
                </a:cubicBezTo>
              </a:path>
            </a:pathLst>
          </a:cu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7" name="グラフィックス 6">
            <a:extLst>
              <a:ext uri="{FF2B5EF4-FFF2-40B4-BE49-F238E27FC236}">
                <a16:creationId xmlns:a16="http://schemas.microsoft.com/office/drawing/2014/main" id="{9DC6F92E-6B8C-02C2-AB94-5BEFD506C8D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8406818" y="210781"/>
            <a:ext cx="1026676" cy="233049"/>
          </a:xfrm>
          <a:prstGeom prst="rect">
            <a:avLst/>
          </a:prstGeom>
        </p:spPr>
      </p:pic>
      <p:sp>
        <p:nvSpPr>
          <p:cNvPr id="8" name="フリーフォーム: 図形 7">
            <a:extLst>
              <a:ext uri="{FF2B5EF4-FFF2-40B4-BE49-F238E27FC236}">
                <a16:creationId xmlns:a16="http://schemas.microsoft.com/office/drawing/2014/main" id="{04770AE3-DA02-7881-6B6C-A46E455CFE0C}"/>
              </a:ext>
            </a:extLst>
          </p:cNvPr>
          <p:cNvSpPr/>
          <p:nvPr userDrawn="1"/>
        </p:nvSpPr>
        <p:spPr>
          <a:xfrm rot="650446">
            <a:off x="11520" y="611212"/>
            <a:ext cx="81972" cy="130278"/>
          </a:xfrm>
          <a:custGeom>
            <a:avLst/>
            <a:gdLst>
              <a:gd name="connsiteX0" fmla="*/ 6253 w 177898"/>
              <a:gd name="connsiteY0" fmla="*/ 282666 h 282735"/>
              <a:gd name="connsiteX1" fmla="*/ 50703 w 177898"/>
              <a:gd name="connsiteY1" fmla="*/ 22316 h 282735"/>
              <a:gd name="connsiteX2" fmla="*/ 177703 w 177898"/>
              <a:gd name="connsiteY2" fmla="*/ 47716 h 282735"/>
              <a:gd name="connsiteX3" fmla="*/ 6253 w 177898"/>
              <a:gd name="connsiteY3" fmla="*/ 282666 h 282735"/>
            </a:gdLst>
            <a:ahLst/>
            <a:cxnLst>
              <a:cxn ang="0">
                <a:pos x="connsiteX0" y="connsiteY0"/>
              </a:cxn>
              <a:cxn ang="0">
                <a:pos x="connsiteX1" y="connsiteY1"/>
              </a:cxn>
              <a:cxn ang="0">
                <a:pos x="connsiteX2" y="connsiteY2"/>
              </a:cxn>
              <a:cxn ang="0">
                <a:pos x="connsiteX3" y="connsiteY3"/>
              </a:cxn>
            </a:cxnLst>
            <a:rect l="l" t="t" r="r" b="b"/>
            <a:pathLst>
              <a:path w="177898" h="282735">
                <a:moveTo>
                  <a:pt x="6253" y="282666"/>
                </a:moveTo>
                <a:cubicBezTo>
                  <a:pt x="-14914" y="278433"/>
                  <a:pt x="22128" y="61474"/>
                  <a:pt x="50703" y="22316"/>
                </a:cubicBezTo>
                <a:cubicBezTo>
                  <a:pt x="79278" y="-16842"/>
                  <a:pt x="182995" y="-2026"/>
                  <a:pt x="177703" y="47716"/>
                </a:cubicBezTo>
                <a:cubicBezTo>
                  <a:pt x="172411" y="97458"/>
                  <a:pt x="27420" y="286899"/>
                  <a:pt x="6253" y="282666"/>
                </a:cubicBezTo>
                <a:close/>
              </a:path>
            </a:pathLst>
          </a:cu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グラフィックス 6">
            <a:extLst>
              <a:ext uri="{FF2B5EF4-FFF2-40B4-BE49-F238E27FC236}">
                <a16:creationId xmlns:a16="http://schemas.microsoft.com/office/drawing/2014/main" id="{45D729C5-C88C-0BFC-FA56-B1B325E1D3CD}"/>
              </a:ext>
            </a:extLst>
          </p:cNvPr>
          <p:cNvSpPr/>
          <p:nvPr userDrawn="1"/>
        </p:nvSpPr>
        <p:spPr>
          <a:xfrm flipH="1">
            <a:off x="7538926" y="387159"/>
            <a:ext cx="690674" cy="470326"/>
          </a:xfrm>
          <a:custGeom>
            <a:avLst/>
            <a:gdLst>
              <a:gd name="connsiteX0" fmla="*/ 0 w 9875100"/>
              <a:gd name="connsiteY0" fmla="*/ 3339656 h 3487140"/>
              <a:gd name="connsiteX1" fmla="*/ 659859 w 9875100"/>
              <a:gd name="connsiteY1" fmla="*/ 3395424 h 3487140"/>
              <a:gd name="connsiteX2" fmla="*/ 984944 w 9875100"/>
              <a:gd name="connsiteY2" fmla="*/ 2916759 h 3487140"/>
              <a:gd name="connsiteX3" fmla="*/ 1241411 w 9875100"/>
              <a:gd name="connsiteY3" fmla="*/ 2898295 h 3487140"/>
              <a:gd name="connsiteX4" fmla="*/ 1470762 w 9875100"/>
              <a:gd name="connsiteY4" fmla="*/ 3416675 h 3487140"/>
              <a:gd name="connsiteX5" fmla="*/ 1630581 w 9875100"/>
              <a:gd name="connsiteY5" fmla="*/ 3205871 h 3487140"/>
              <a:gd name="connsiteX6" fmla="*/ 1889834 w 9875100"/>
              <a:gd name="connsiteY6" fmla="*/ 2696848 h 3487140"/>
              <a:gd name="connsiteX7" fmla="*/ 2164182 w 9875100"/>
              <a:gd name="connsiteY7" fmla="*/ 2954187 h 3487140"/>
              <a:gd name="connsiteX8" fmla="*/ 2511516 w 9875100"/>
              <a:gd name="connsiteY8" fmla="*/ 3339906 h 3487140"/>
              <a:gd name="connsiteX9" fmla="*/ 2969638 w 9875100"/>
              <a:gd name="connsiteY9" fmla="*/ 3385485 h 3487140"/>
              <a:gd name="connsiteX10" fmla="*/ 3048320 w 9875100"/>
              <a:gd name="connsiteY10" fmla="*/ 3295741 h 3487140"/>
              <a:gd name="connsiteX11" fmla="*/ 2797218 w 9875100"/>
              <a:gd name="connsiteY11" fmla="*/ 3112384 h 3487140"/>
              <a:gd name="connsiteX12" fmla="*/ 2491055 w 9875100"/>
              <a:gd name="connsiteY12" fmla="*/ 2750287 h 3487140"/>
              <a:gd name="connsiteX13" fmla="*/ 2399523 w 9875100"/>
              <a:gd name="connsiteY13" fmla="*/ 2305432 h 3487140"/>
              <a:gd name="connsiteX14" fmla="*/ 2527111 w 9875100"/>
              <a:gd name="connsiteY14" fmla="*/ 1919713 h 3487140"/>
              <a:gd name="connsiteX15" fmla="*/ 2851323 w 9875100"/>
              <a:gd name="connsiteY15" fmla="*/ 1637837 h 3487140"/>
              <a:gd name="connsiteX16" fmla="*/ 3344627 w 9875100"/>
              <a:gd name="connsiteY16" fmla="*/ 1545972 h 3487140"/>
              <a:gd name="connsiteX17" fmla="*/ 3579302 w 9875100"/>
              <a:gd name="connsiteY17" fmla="*/ 1517651 h 3487140"/>
              <a:gd name="connsiteX18" fmla="*/ 3564039 w 9875100"/>
              <a:gd name="connsiteY18" fmla="*/ 1460718 h 3487140"/>
              <a:gd name="connsiteX19" fmla="*/ 3287985 w 9875100"/>
              <a:gd name="connsiteY19" fmla="*/ 1416969 h 3487140"/>
              <a:gd name="connsiteX20" fmla="*/ 2768565 w 9875100"/>
              <a:gd name="connsiteY20" fmla="*/ 1517318 h 3487140"/>
              <a:gd name="connsiteX21" fmla="*/ 2359267 w 9875100"/>
              <a:gd name="connsiteY21" fmla="*/ 1960593 h 3487140"/>
              <a:gd name="connsiteX22" fmla="*/ 2299797 w 9875100"/>
              <a:gd name="connsiteY22" fmla="*/ 2569342 h 3487140"/>
              <a:gd name="connsiteX23" fmla="*/ 2713504 w 9875100"/>
              <a:gd name="connsiteY23" fmla="*/ 3165532 h 3487140"/>
              <a:gd name="connsiteX24" fmla="*/ 3503489 w 9875100"/>
              <a:gd name="connsiteY24" fmla="*/ 3283181 h 3487140"/>
              <a:gd name="connsiteX25" fmla="*/ 4106125 w 9875100"/>
              <a:gd name="connsiteY25" fmla="*/ 2757481 h 3487140"/>
              <a:gd name="connsiteX26" fmla="*/ 4095894 w 9875100"/>
              <a:gd name="connsiteY26" fmla="*/ 1980430 h 3487140"/>
              <a:gd name="connsiteX27" fmla="*/ 3765860 w 9875100"/>
              <a:gd name="connsiteY27" fmla="*/ 1589139 h 3487140"/>
              <a:gd name="connsiteX28" fmla="*/ 3576806 w 9875100"/>
              <a:gd name="connsiteY28" fmla="*/ 1660710 h 3487140"/>
              <a:gd name="connsiteX29" fmla="*/ 3468389 w 9875100"/>
              <a:gd name="connsiteY29" fmla="*/ 2116627 h 3487140"/>
              <a:gd name="connsiteX30" fmla="*/ 3245026 w 9875100"/>
              <a:gd name="connsiteY30" fmla="*/ 2374258 h 3487140"/>
              <a:gd name="connsiteX31" fmla="*/ 3190090 w 9875100"/>
              <a:gd name="connsiteY31" fmla="*/ 2276986 h 3487140"/>
              <a:gd name="connsiteX32" fmla="*/ 3569362 w 9875100"/>
              <a:gd name="connsiteY32" fmla="*/ 2021601 h 3487140"/>
              <a:gd name="connsiteX33" fmla="*/ 3829281 w 9875100"/>
              <a:gd name="connsiteY33" fmla="*/ 1234153 h 3487140"/>
              <a:gd name="connsiteX34" fmla="*/ 4059381 w 9875100"/>
              <a:gd name="connsiteY34" fmla="*/ 725296 h 3487140"/>
              <a:gd name="connsiteX35" fmla="*/ 4167964 w 9875100"/>
              <a:gd name="connsiteY35" fmla="*/ 539984 h 3487140"/>
              <a:gd name="connsiteX36" fmla="*/ 4136816 w 9875100"/>
              <a:gd name="connsiteY36" fmla="*/ 435851 h 3487140"/>
              <a:gd name="connsiteX37" fmla="*/ 4030478 w 9875100"/>
              <a:gd name="connsiteY37" fmla="*/ 350265 h 3487140"/>
              <a:gd name="connsiteX38" fmla="*/ 3985190 w 9875100"/>
              <a:gd name="connsiteY38" fmla="*/ 209327 h 3487140"/>
              <a:gd name="connsiteX39" fmla="*/ 4030020 w 9875100"/>
              <a:gd name="connsiteY39" fmla="*/ 82237 h 3487140"/>
              <a:gd name="connsiteX40" fmla="*/ 4210300 w 9875100"/>
              <a:gd name="connsiteY40" fmla="*/ 6716 h 3487140"/>
              <a:gd name="connsiteX41" fmla="*/ 4478993 w 9875100"/>
              <a:gd name="connsiteY41" fmla="*/ 10167 h 3487140"/>
              <a:gd name="connsiteX42" fmla="*/ 4562666 w 9875100"/>
              <a:gd name="connsiteY42" fmla="*/ 49800 h 3487140"/>
              <a:gd name="connsiteX43" fmla="*/ 4515631 w 9875100"/>
              <a:gd name="connsiteY43" fmla="*/ 86812 h 3487140"/>
              <a:gd name="connsiteX44" fmla="*/ 4279708 w 9875100"/>
              <a:gd name="connsiteY44" fmla="*/ 91886 h 3487140"/>
              <a:gd name="connsiteX45" fmla="*/ 4036175 w 9875100"/>
              <a:gd name="connsiteY45" fmla="*/ 75833 h 3487140"/>
              <a:gd name="connsiteX46" fmla="*/ 3928424 w 9875100"/>
              <a:gd name="connsiteY46" fmla="*/ 176931 h 3487140"/>
              <a:gd name="connsiteX47" fmla="*/ 3943686 w 9875100"/>
              <a:gd name="connsiteY47" fmla="*/ 370393 h 3487140"/>
              <a:gd name="connsiteX48" fmla="*/ 3888459 w 9875100"/>
              <a:gd name="connsiteY48" fmla="*/ 589348 h 3487140"/>
              <a:gd name="connsiteX49" fmla="*/ 3731925 w 9875100"/>
              <a:gd name="connsiteY49" fmla="*/ 903953 h 3487140"/>
              <a:gd name="connsiteX50" fmla="*/ 3521454 w 9875100"/>
              <a:gd name="connsiteY50" fmla="*/ 922501 h 3487140"/>
              <a:gd name="connsiteX51" fmla="*/ 3327035 w 9875100"/>
              <a:gd name="connsiteY51" fmla="*/ 866816 h 3487140"/>
              <a:gd name="connsiteX52" fmla="*/ 3268190 w 9875100"/>
              <a:gd name="connsiteY52" fmla="*/ 751038 h 3487140"/>
              <a:gd name="connsiteX53" fmla="*/ 3280126 w 9875100"/>
              <a:gd name="connsiteY53" fmla="*/ 369436 h 3487140"/>
              <a:gd name="connsiteX54" fmla="*/ 3341799 w 9875100"/>
              <a:gd name="connsiteY54" fmla="*/ 155805 h 3487140"/>
              <a:gd name="connsiteX55" fmla="*/ 3543163 w 9875100"/>
              <a:gd name="connsiteY55" fmla="*/ 156761 h 3487140"/>
              <a:gd name="connsiteX56" fmla="*/ 3796094 w 9875100"/>
              <a:gd name="connsiteY56" fmla="*/ 245175 h 3487140"/>
              <a:gd name="connsiteX57" fmla="*/ 3965186 w 9875100"/>
              <a:gd name="connsiteY57" fmla="*/ 357792 h 3487140"/>
              <a:gd name="connsiteX58" fmla="*/ 4069777 w 9875100"/>
              <a:gd name="connsiteY58" fmla="*/ 483301 h 3487140"/>
              <a:gd name="connsiteX59" fmla="*/ 4093981 w 9875100"/>
              <a:gd name="connsiteY59" fmla="*/ 600951 h 3487140"/>
              <a:gd name="connsiteX60" fmla="*/ 4066450 w 9875100"/>
              <a:gd name="connsiteY60" fmla="*/ 761726 h 3487140"/>
              <a:gd name="connsiteX61" fmla="*/ 4238371 w 9875100"/>
              <a:gd name="connsiteY61" fmla="*/ 1160004 h 3487140"/>
              <a:gd name="connsiteX62" fmla="*/ 4661351 w 9875100"/>
              <a:gd name="connsiteY62" fmla="*/ 1793622 h 3487140"/>
              <a:gd name="connsiteX63" fmla="*/ 5078842 w 9875100"/>
              <a:gd name="connsiteY63" fmla="*/ 2087475 h 3487140"/>
              <a:gd name="connsiteX64" fmla="*/ 5188465 w 9875100"/>
              <a:gd name="connsiteY64" fmla="*/ 2185620 h 3487140"/>
              <a:gd name="connsiteX65" fmla="*/ 5075516 w 9875100"/>
              <a:gd name="connsiteY65" fmla="*/ 2468120 h 3487140"/>
              <a:gd name="connsiteX66" fmla="*/ 4909417 w 9875100"/>
              <a:gd name="connsiteY66" fmla="*/ 2505548 h 3487140"/>
              <a:gd name="connsiteX67" fmla="*/ 4600967 w 9875100"/>
              <a:gd name="connsiteY67" fmla="*/ 2278109 h 3487140"/>
              <a:gd name="connsiteX68" fmla="*/ 4156278 w 9875100"/>
              <a:gd name="connsiteY68" fmla="*/ 1678800 h 3487140"/>
              <a:gd name="connsiteX69" fmla="*/ 4036425 w 9875100"/>
              <a:gd name="connsiteY69" fmla="*/ 1175432 h 3487140"/>
              <a:gd name="connsiteX70" fmla="*/ 4190879 w 9875100"/>
              <a:gd name="connsiteY70" fmla="*/ 1377420 h 3487140"/>
              <a:gd name="connsiteX71" fmla="*/ 4552519 w 9875100"/>
              <a:gd name="connsiteY71" fmla="*/ 2268710 h 3487140"/>
              <a:gd name="connsiteX72" fmla="*/ 4872321 w 9875100"/>
              <a:gd name="connsiteY72" fmla="*/ 2693105 h 3487140"/>
              <a:gd name="connsiteX73" fmla="*/ 5105749 w 9875100"/>
              <a:gd name="connsiteY73" fmla="*/ 2746586 h 3487140"/>
              <a:gd name="connsiteX74" fmla="*/ 5272970 w 9875100"/>
              <a:gd name="connsiteY74" fmla="*/ 2631432 h 3487140"/>
              <a:gd name="connsiteX75" fmla="*/ 5284157 w 9875100"/>
              <a:gd name="connsiteY75" fmla="*/ 2436680 h 3487140"/>
              <a:gd name="connsiteX76" fmla="*/ 5130327 w 9875100"/>
              <a:gd name="connsiteY76" fmla="*/ 2309258 h 3487140"/>
              <a:gd name="connsiteX77" fmla="*/ 4923141 w 9875100"/>
              <a:gd name="connsiteY77" fmla="*/ 2375007 h 3487140"/>
              <a:gd name="connsiteX78" fmla="*/ 4900642 w 9875100"/>
              <a:gd name="connsiteY78" fmla="*/ 2581402 h 3487140"/>
              <a:gd name="connsiteX79" fmla="*/ 5043327 w 9875100"/>
              <a:gd name="connsiteY79" fmla="*/ 2671064 h 3487140"/>
              <a:gd name="connsiteX80" fmla="*/ 5139892 w 9875100"/>
              <a:gd name="connsiteY80" fmla="*/ 2596831 h 3487140"/>
              <a:gd name="connsiteX81" fmla="*/ 5106706 w 9875100"/>
              <a:gd name="connsiteY81" fmla="*/ 2530750 h 3487140"/>
              <a:gd name="connsiteX82" fmla="*/ 4984648 w 9875100"/>
              <a:gd name="connsiteY82" fmla="*/ 2615379 h 3487140"/>
              <a:gd name="connsiteX83" fmla="*/ 4838969 w 9875100"/>
              <a:gd name="connsiteY83" fmla="*/ 2907028 h 3487140"/>
              <a:gd name="connsiteX84" fmla="*/ 4791144 w 9875100"/>
              <a:gd name="connsiteY84" fmla="*/ 3008333 h 3487140"/>
              <a:gd name="connsiteX85" fmla="*/ 4755296 w 9875100"/>
              <a:gd name="connsiteY85" fmla="*/ 3024053 h 3487140"/>
              <a:gd name="connsiteX86" fmla="*/ 4660270 w 9875100"/>
              <a:gd name="connsiteY86" fmla="*/ 3013989 h 3487140"/>
              <a:gd name="connsiteX87" fmla="*/ 4667173 w 9875100"/>
              <a:gd name="connsiteY87" fmla="*/ 2956724 h 3487140"/>
              <a:gd name="connsiteX88" fmla="*/ 4855936 w 9875100"/>
              <a:gd name="connsiteY88" fmla="*/ 2951068 h 3487140"/>
              <a:gd name="connsiteX89" fmla="*/ 4942146 w 9875100"/>
              <a:gd name="connsiteY89" fmla="*/ 2951068 h 3487140"/>
              <a:gd name="connsiteX90" fmla="*/ 5023324 w 9875100"/>
              <a:gd name="connsiteY90" fmla="*/ 2822066 h 3487140"/>
              <a:gd name="connsiteX91" fmla="*/ 5163638 w 9875100"/>
              <a:gd name="connsiteY91" fmla="*/ 2789337 h 3487140"/>
              <a:gd name="connsiteX92" fmla="*/ 5291351 w 9875100"/>
              <a:gd name="connsiteY92" fmla="*/ 2713815 h 3487140"/>
              <a:gd name="connsiteX93" fmla="*/ 5377561 w 9875100"/>
              <a:gd name="connsiteY93" fmla="*/ 2544556 h 3487140"/>
              <a:gd name="connsiteX94" fmla="*/ 5597140 w 9875100"/>
              <a:gd name="connsiteY94" fmla="*/ 2482883 h 3487140"/>
              <a:gd name="connsiteX95" fmla="*/ 6132114 w 9875100"/>
              <a:gd name="connsiteY95" fmla="*/ 2466831 h 3487140"/>
              <a:gd name="connsiteX96" fmla="*/ 6287856 w 9875100"/>
              <a:gd name="connsiteY96" fmla="*/ 2420918 h 3487140"/>
              <a:gd name="connsiteX97" fmla="*/ 6137769 w 9875100"/>
              <a:gd name="connsiteY97" fmla="*/ 2252907 h 3487140"/>
              <a:gd name="connsiteX98" fmla="*/ 5662390 w 9875100"/>
              <a:gd name="connsiteY98" fmla="*/ 1791709 h 3487140"/>
              <a:gd name="connsiteX99" fmla="*/ 5398271 w 9875100"/>
              <a:gd name="connsiteY99" fmla="*/ 1600118 h 3487140"/>
              <a:gd name="connsiteX100" fmla="*/ 5274301 w 9875100"/>
              <a:gd name="connsiteY100" fmla="*/ 1733529 h 3487140"/>
              <a:gd name="connsiteX101" fmla="*/ 5212003 w 9875100"/>
              <a:gd name="connsiteY101" fmla="*/ 1995900 h 3487140"/>
              <a:gd name="connsiteX102" fmla="*/ 5252883 w 9875100"/>
              <a:gd name="connsiteY102" fmla="*/ 2048133 h 3487140"/>
              <a:gd name="connsiteX103" fmla="*/ 5315804 w 9875100"/>
              <a:gd name="connsiteY103" fmla="*/ 1778817 h 3487140"/>
              <a:gd name="connsiteX104" fmla="*/ 5437571 w 9875100"/>
              <a:gd name="connsiteY104" fmla="*/ 1356918 h 3487140"/>
              <a:gd name="connsiteX105" fmla="*/ 5543908 w 9875100"/>
              <a:gd name="connsiteY105" fmla="*/ 986960 h 3487140"/>
              <a:gd name="connsiteX106" fmla="*/ 5514631 w 9875100"/>
              <a:gd name="connsiteY106" fmla="*/ 867107 h 3487140"/>
              <a:gd name="connsiteX107" fmla="*/ 5339717 w 9875100"/>
              <a:gd name="connsiteY107" fmla="*/ 840034 h 3487140"/>
              <a:gd name="connsiteX108" fmla="*/ 5195618 w 9875100"/>
              <a:gd name="connsiteY108" fmla="*/ 782769 h 3487140"/>
              <a:gd name="connsiteX109" fmla="*/ 5211962 w 9875100"/>
              <a:gd name="connsiteY109" fmla="*/ 714816 h 3487140"/>
              <a:gd name="connsiteX110" fmla="*/ 5385629 w 9875100"/>
              <a:gd name="connsiteY110" fmla="*/ 723008 h 3487140"/>
              <a:gd name="connsiteX111" fmla="*/ 5588240 w 9875100"/>
              <a:gd name="connsiteY111" fmla="*/ 729288 h 3487140"/>
              <a:gd name="connsiteX112" fmla="*/ 5754962 w 9875100"/>
              <a:gd name="connsiteY112" fmla="*/ 682087 h 3487140"/>
              <a:gd name="connsiteX113" fmla="*/ 5872611 w 9875100"/>
              <a:gd name="connsiteY113" fmla="*/ 703463 h 3487140"/>
              <a:gd name="connsiteX114" fmla="*/ 5895276 w 9875100"/>
              <a:gd name="connsiteY114" fmla="*/ 797199 h 3487140"/>
              <a:gd name="connsiteX115" fmla="*/ 5767563 w 9875100"/>
              <a:gd name="connsiteY115" fmla="*/ 890936 h 3487140"/>
              <a:gd name="connsiteX116" fmla="*/ 5597680 w 9875100"/>
              <a:gd name="connsiteY116" fmla="*/ 918009 h 3487140"/>
              <a:gd name="connsiteX117" fmla="*/ 5469967 w 9875100"/>
              <a:gd name="connsiteY117" fmla="*/ 1002306 h 3487140"/>
              <a:gd name="connsiteX118" fmla="*/ 5369077 w 9875100"/>
              <a:gd name="connsiteY118" fmla="*/ 1299902 h 3487140"/>
              <a:gd name="connsiteX119" fmla="*/ 5430127 w 9875100"/>
              <a:gd name="connsiteY119" fmla="*/ 1545930 h 3487140"/>
              <a:gd name="connsiteX120" fmla="*/ 5642802 w 9875100"/>
              <a:gd name="connsiteY120" fmla="*/ 1536490 h 3487140"/>
              <a:gd name="connsiteX121" fmla="*/ 5822333 w 9875100"/>
              <a:gd name="connsiteY121" fmla="*/ 1376048 h 3487140"/>
              <a:gd name="connsiteX122" fmla="*/ 5825494 w 9875100"/>
              <a:gd name="connsiteY122" fmla="*/ 1231949 h 3487140"/>
              <a:gd name="connsiteX123" fmla="*/ 5607453 w 9875100"/>
              <a:gd name="connsiteY123" fmla="*/ 1191693 h 3487140"/>
              <a:gd name="connsiteX124" fmla="*/ 5615937 w 9875100"/>
              <a:gd name="connsiteY124" fmla="*/ 1255238 h 3487140"/>
              <a:gd name="connsiteX125" fmla="*/ 6040955 w 9875100"/>
              <a:gd name="connsiteY125" fmla="*/ 1241722 h 3487140"/>
              <a:gd name="connsiteX126" fmla="*/ 6525775 w 9875100"/>
              <a:gd name="connsiteY126" fmla="*/ 1259646 h 3487140"/>
              <a:gd name="connsiteX127" fmla="*/ 6755127 w 9875100"/>
              <a:gd name="connsiteY127" fmla="*/ 1236981 h 3487140"/>
              <a:gd name="connsiteX128" fmla="*/ 6736871 w 9875100"/>
              <a:gd name="connsiteY128" fmla="*/ 1185995 h 3487140"/>
              <a:gd name="connsiteX129" fmla="*/ 6376353 w 9875100"/>
              <a:gd name="connsiteY129" fmla="*/ 1177512 h 3487140"/>
              <a:gd name="connsiteX130" fmla="*/ 6005773 w 9875100"/>
              <a:gd name="connsiteY130" fmla="*/ 1331342 h 3487140"/>
              <a:gd name="connsiteX131" fmla="*/ 5660019 w 9875100"/>
              <a:gd name="connsiteY131" fmla="*/ 1604110 h 3487140"/>
              <a:gd name="connsiteX132" fmla="*/ 5427216 w 9875100"/>
              <a:gd name="connsiteY132" fmla="*/ 1921252 h 3487140"/>
              <a:gd name="connsiteX133" fmla="*/ 5331566 w 9875100"/>
              <a:gd name="connsiteY133" fmla="*/ 2419255 h 3487140"/>
              <a:gd name="connsiteX134" fmla="*/ 5561874 w 9875100"/>
              <a:gd name="connsiteY134" fmla="*/ 3048465 h 3487140"/>
              <a:gd name="connsiteX135" fmla="*/ 6140099 w 9875100"/>
              <a:gd name="connsiteY135" fmla="*/ 3394510 h 3487140"/>
              <a:gd name="connsiteX136" fmla="*/ 6778748 w 9875100"/>
              <a:gd name="connsiteY136" fmla="*/ 3330632 h 3487140"/>
              <a:gd name="connsiteX137" fmla="*/ 7273923 w 9875100"/>
              <a:gd name="connsiteY137" fmla="*/ 2841404 h 3487140"/>
              <a:gd name="connsiteX138" fmla="*/ 7307276 w 9875100"/>
              <a:gd name="connsiteY138" fmla="*/ 2052999 h 3487140"/>
              <a:gd name="connsiteX139" fmla="*/ 6876269 w 9875100"/>
              <a:gd name="connsiteY139" fmla="*/ 1482011 h 3487140"/>
              <a:gd name="connsiteX140" fmla="*/ 6409415 w 9875100"/>
              <a:gd name="connsiteY140" fmla="*/ 1352717 h 3487140"/>
              <a:gd name="connsiteX141" fmla="*/ 6248973 w 9875100"/>
              <a:gd name="connsiteY141" fmla="*/ 1466624 h 3487140"/>
              <a:gd name="connsiteX142" fmla="*/ 6271014 w 9875100"/>
              <a:gd name="connsiteY142" fmla="*/ 2001140 h 3487140"/>
              <a:gd name="connsiteX143" fmla="*/ 6304990 w 9875100"/>
              <a:gd name="connsiteY143" fmla="*/ 2313208 h 3487140"/>
              <a:gd name="connsiteX144" fmla="*/ 6396690 w 9875100"/>
              <a:gd name="connsiteY144" fmla="*/ 2399085 h 3487140"/>
              <a:gd name="connsiteX145" fmla="*/ 6501156 w 9875100"/>
              <a:gd name="connsiteY145" fmla="*/ 2362905 h 3487140"/>
              <a:gd name="connsiteX146" fmla="*/ 6465765 w 9875100"/>
              <a:gd name="connsiteY146" fmla="*/ 2271372 h 3487140"/>
              <a:gd name="connsiteX147" fmla="*/ 6368161 w 9875100"/>
              <a:gd name="connsiteY147" fmla="*/ 2303394 h 3487140"/>
              <a:gd name="connsiteX148" fmla="*/ 6351775 w 9875100"/>
              <a:gd name="connsiteY148" fmla="*/ 2437262 h 3487140"/>
              <a:gd name="connsiteX149" fmla="*/ 6350694 w 9875100"/>
              <a:gd name="connsiteY149" fmla="*/ 2519521 h 3487140"/>
              <a:gd name="connsiteX150" fmla="*/ 6171580 w 9875100"/>
              <a:gd name="connsiteY150" fmla="*/ 2539400 h 3487140"/>
              <a:gd name="connsiteX151" fmla="*/ 5761325 w 9875100"/>
              <a:gd name="connsiteY151" fmla="*/ 2545679 h 3487140"/>
              <a:gd name="connsiteX152" fmla="*/ 5520953 w 9875100"/>
              <a:gd name="connsiteY152" fmla="*/ 2602944 h 3487140"/>
              <a:gd name="connsiteX153" fmla="*/ 5511346 w 9875100"/>
              <a:gd name="connsiteY153" fmla="*/ 2790460 h 3487140"/>
              <a:gd name="connsiteX154" fmla="*/ 5704683 w 9875100"/>
              <a:gd name="connsiteY154" fmla="*/ 3133385 h 3487140"/>
              <a:gd name="connsiteX155" fmla="*/ 6196573 w 9875100"/>
              <a:gd name="connsiteY155" fmla="*/ 3465290 h 3487140"/>
              <a:gd name="connsiteX156" fmla="*/ 6937319 w 9875100"/>
              <a:gd name="connsiteY156" fmla="*/ 3390434 h 3487140"/>
              <a:gd name="connsiteX157" fmla="*/ 7377142 w 9875100"/>
              <a:gd name="connsiteY157" fmla="*/ 3017940 h 3487140"/>
              <a:gd name="connsiteX158" fmla="*/ 7691123 w 9875100"/>
              <a:gd name="connsiteY158" fmla="*/ 2655510 h 3487140"/>
              <a:gd name="connsiteX159" fmla="*/ 8063617 w 9875100"/>
              <a:gd name="connsiteY159" fmla="*/ 3163577 h 3487140"/>
              <a:gd name="connsiteX160" fmla="*/ 8287604 w 9875100"/>
              <a:gd name="connsiteY160" fmla="*/ 3255443 h 3487140"/>
              <a:gd name="connsiteX161" fmla="*/ 8365621 w 9875100"/>
              <a:gd name="connsiteY161" fmla="*/ 2786675 h 3487140"/>
              <a:gd name="connsiteX162" fmla="*/ 8675194 w 9875100"/>
              <a:gd name="connsiteY162" fmla="*/ 2869724 h 3487140"/>
              <a:gd name="connsiteX163" fmla="*/ 8913986 w 9875100"/>
              <a:gd name="connsiteY163" fmla="*/ 3245046 h 3487140"/>
              <a:gd name="connsiteX164" fmla="*/ 9286479 w 9875100"/>
              <a:gd name="connsiteY164" fmla="*/ 3329676 h 3487140"/>
              <a:gd name="connsiteX165" fmla="*/ 9875101 w 9875100"/>
              <a:gd name="connsiteY165" fmla="*/ 3217682 h 3487140"/>
              <a:gd name="connsiteX0" fmla="*/ 0 w 9215242"/>
              <a:gd name="connsiteY0" fmla="*/ 3395424 h 3487140"/>
              <a:gd name="connsiteX1" fmla="*/ 325085 w 9215242"/>
              <a:gd name="connsiteY1" fmla="*/ 2916759 h 3487140"/>
              <a:gd name="connsiteX2" fmla="*/ 581552 w 9215242"/>
              <a:gd name="connsiteY2" fmla="*/ 2898295 h 3487140"/>
              <a:gd name="connsiteX3" fmla="*/ 810903 w 9215242"/>
              <a:gd name="connsiteY3" fmla="*/ 3416675 h 3487140"/>
              <a:gd name="connsiteX4" fmla="*/ 970722 w 9215242"/>
              <a:gd name="connsiteY4" fmla="*/ 3205871 h 3487140"/>
              <a:gd name="connsiteX5" fmla="*/ 1229975 w 9215242"/>
              <a:gd name="connsiteY5" fmla="*/ 2696848 h 3487140"/>
              <a:gd name="connsiteX6" fmla="*/ 1504323 w 9215242"/>
              <a:gd name="connsiteY6" fmla="*/ 2954187 h 3487140"/>
              <a:gd name="connsiteX7" fmla="*/ 1851657 w 9215242"/>
              <a:gd name="connsiteY7" fmla="*/ 3339906 h 3487140"/>
              <a:gd name="connsiteX8" fmla="*/ 2309779 w 9215242"/>
              <a:gd name="connsiteY8" fmla="*/ 3385485 h 3487140"/>
              <a:gd name="connsiteX9" fmla="*/ 2388461 w 9215242"/>
              <a:gd name="connsiteY9" fmla="*/ 3295741 h 3487140"/>
              <a:gd name="connsiteX10" fmla="*/ 2137359 w 9215242"/>
              <a:gd name="connsiteY10" fmla="*/ 3112384 h 3487140"/>
              <a:gd name="connsiteX11" fmla="*/ 1831196 w 9215242"/>
              <a:gd name="connsiteY11" fmla="*/ 2750287 h 3487140"/>
              <a:gd name="connsiteX12" fmla="*/ 1739664 w 9215242"/>
              <a:gd name="connsiteY12" fmla="*/ 2305432 h 3487140"/>
              <a:gd name="connsiteX13" fmla="*/ 1867252 w 9215242"/>
              <a:gd name="connsiteY13" fmla="*/ 1919713 h 3487140"/>
              <a:gd name="connsiteX14" fmla="*/ 2191464 w 9215242"/>
              <a:gd name="connsiteY14" fmla="*/ 1637837 h 3487140"/>
              <a:gd name="connsiteX15" fmla="*/ 2684768 w 9215242"/>
              <a:gd name="connsiteY15" fmla="*/ 1545972 h 3487140"/>
              <a:gd name="connsiteX16" fmla="*/ 2919443 w 9215242"/>
              <a:gd name="connsiteY16" fmla="*/ 1517651 h 3487140"/>
              <a:gd name="connsiteX17" fmla="*/ 2904180 w 9215242"/>
              <a:gd name="connsiteY17" fmla="*/ 1460718 h 3487140"/>
              <a:gd name="connsiteX18" fmla="*/ 2628126 w 9215242"/>
              <a:gd name="connsiteY18" fmla="*/ 1416969 h 3487140"/>
              <a:gd name="connsiteX19" fmla="*/ 2108706 w 9215242"/>
              <a:gd name="connsiteY19" fmla="*/ 1517318 h 3487140"/>
              <a:gd name="connsiteX20" fmla="*/ 1699408 w 9215242"/>
              <a:gd name="connsiteY20" fmla="*/ 1960593 h 3487140"/>
              <a:gd name="connsiteX21" fmla="*/ 1639938 w 9215242"/>
              <a:gd name="connsiteY21" fmla="*/ 2569342 h 3487140"/>
              <a:gd name="connsiteX22" fmla="*/ 2053645 w 9215242"/>
              <a:gd name="connsiteY22" fmla="*/ 3165532 h 3487140"/>
              <a:gd name="connsiteX23" fmla="*/ 2843630 w 9215242"/>
              <a:gd name="connsiteY23" fmla="*/ 3283181 h 3487140"/>
              <a:gd name="connsiteX24" fmla="*/ 3446266 w 9215242"/>
              <a:gd name="connsiteY24" fmla="*/ 2757481 h 3487140"/>
              <a:gd name="connsiteX25" fmla="*/ 3436035 w 9215242"/>
              <a:gd name="connsiteY25" fmla="*/ 1980430 h 3487140"/>
              <a:gd name="connsiteX26" fmla="*/ 3106001 w 9215242"/>
              <a:gd name="connsiteY26" fmla="*/ 1589139 h 3487140"/>
              <a:gd name="connsiteX27" fmla="*/ 2916947 w 9215242"/>
              <a:gd name="connsiteY27" fmla="*/ 1660710 h 3487140"/>
              <a:gd name="connsiteX28" fmla="*/ 2808530 w 9215242"/>
              <a:gd name="connsiteY28" fmla="*/ 2116627 h 3487140"/>
              <a:gd name="connsiteX29" fmla="*/ 2585167 w 9215242"/>
              <a:gd name="connsiteY29" fmla="*/ 2374258 h 3487140"/>
              <a:gd name="connsiteX30" fmla="*/ 2530231 w 9215242"/>
              <a:gd name="connsiteY30" fmla="*/ 2276986 h 3487140"/>
              <a:gd name="connsiteX31" fmla="*/ 2909503 w 9215242"/>
              <a:gd name="connsiteY31" fmla="*/ 2021601 h 3487140"/>
              <a:gd name="connsiteX32" fmla="*/ 3169422 w 9215242"/>
              <a:gd name="connsiteY32" fmla="*/ 1234153 h 3487140"/>
              <a:gd name="connsiteX33" fmla="*/ 3399522 w 9215242"/>
              <a:gd name="connsiteY33" fmla="*/ 725296 h 3487140"/>
              <a:gd name="connsiteX34" fmla="*/ 3508105 w 9215242"/>
              <a:gd name="connsiteY34" fmla="*/ 539984 h 3487140"/>
              <a:gd name="connsiteX35" fmla="*/ 3476957 w 9215242"/>
              <a:gd name="connsiteY35" fmla="*/ 435851 h 3487140"/>
              <a:gd name="connsiteX36" fmla="*/ 3370619 w 9215242"/>
              <a:gd name="connsiteY36" fmla="*/ 350265 h 3487140"/>
              <a:gd name="connsiteX37" fmla="*/ 3325331 w 9215242"/>
              <a:gd name="connsiteY37" fmla="*/ 209327 h 3487140"/>
              <a:gd name="connsiteX38" fmla="*/ 3370161 w 9215242"/>
              <a:gd name="connsiteY38" fmla="*/ 82237 h 3487140"/>
              <a:gd name="connsiteX39" fmla="*/ 3550441 w 9215242"/>
              <a:gd name="connsiteY39" fmla="*/ 6716 h 3487140"/>
              <a:gd name="connsiteX40" fmla="*/ 3819134 w 9215242"/>
              <a:gd name="connsiteY40" fmla="*/ 10167 h 3487140"/>
              <a:gd name="connsiteX41" fmla="*/ 3902807 w 9215242"/>
              <a:gd name="connsiteY41" fmla="*/ 49800 h 3487140"/>
              <a:gd name="connsiteX42" fmla="*/ 3855772 w 9215242"/>
              <a:gd name="connsiteY42" fmla="*/ 86812 h 3487140"/>
              <a:gd name="connsiteX43" fmla="*/ 3619849 w 9215242"/>
              <a:gd name="connsiteY43" fmla="*/ 91886 h 3487140"/>
              <a:gd name="connsiteX44" fmla="*/ 3376316 w 9215242"/>
              <a:gd name="connsiteY44" fmla="*/ 75833 h 3487140"/>
              <a:gd name="connsiteX45" fmla="*/ 3268565 w 9215242"/>
              <a:gd name="connsiteY45" fmla="*/ 176931 h 3487140"/>
              <a:gd name="connsiteX46" fmla="*/ 3283827 w 9215242"/>
              <a:gd name="connsiteY46" fmla="*/ 370393 h 3487140"/>
              <a:gd name="connsiteX47" fmla="*/ 3228600 w 9215242"/>
              <a:gd name="connsiteY47" fmla="*/ 589348 h 3487140"/>
              <a:gd name="connsiteX48" fmla="*/ 3072066 w 9215242"/>
              <a:gd name="connsiteY48" fmla="*/ 903953 h 3487140"/>
              <a:gd name="connsiteX49" fmla="*/ 2861595 w 9215242"/>
              <a:gd name="connsiteY49" fmla="*/ 922501 h 3487140"/>
              <a:gd name="connsiteX50" fmla="*/ 2667176 w 9215242"/>
              <a:gd name="connsiteY50" fmla="*/ 866816 h 3487140"/>
              <a:gd name="connsiteX51" fmla="*/ 2608331 w 9215242"/>
              <a:gd name="connsiteY51" fmla="*/ 751038 h 3487140"/>
              <a:gd name="connsiteX52" fmla="*/ 2620267 w 9215242"/>
              <a:gd name="connsiteY52" fmla="*/ 369436 h 3487140"/>
              <a:gd name="connsiteX53" fmla="*/ 2681940 w 9215242"/>
              <a:gd name="connsiteY53" fmla="*/ 155805 h 3487140"/>
              <a:gd name="connsiteX54" fmla="*/ 2883304 w 9215242"/>
              <a:gd name="connsiteY54" fmla="*/ 156761 h 3487140"/>
              <a:gd name="connsiteX55" fmla="*/ 3136235 w 9215242"/>
              <a:gd name="connsiteY55" fmla="*/ 245175 h 3487140"/>
              <a:gd name="connsiteX56" fmla="*/ 3305327 w 9215242"/>
              <a:gd name="connsiteY56" fmla="*/ 357792 h 3487140"/>
              <a:gd name="connsiteX57" fmla="*/ 3409918 w 9215242"/>
              <a:gd name="connsiteY57" fmla="*/ 483301 h 3487140"/>
              <a:gd name="connsiteX58" fmla="*/ 3434122 w 9215242"/>
              <a:gd name="connsiteY58" fmla="*/ 600951 h 3487140"/>
              <a:gd name="connsiteX59" fmla="*/ 3406591 w 9215242"/>
              <a:gd name="connsiteY59" fmla="*/ 761726 h 3487140"/>
              <a:gd name="connsiteX60" fmla="*/ 3578512 w 9215242"/>
              <a:gd name="connsiteY60" fmla="*/ 1160004 h 3487140"/>
              <a:gd name="connsiteX61" fmla="*/ 4001492 w 9215242"/>
              <a:gd name="connsiteY61" fmla="*/ 1793622 h 3487140"/>
              <a:gd name="connsiteX62" fmla="*/ 4418983 w 9215242"/>
              <a:gd name="connsiteY62" fmla="*/ 2087475 h 3487140"/>
              <a:gd name="connsiteX63" fmla="*/ 4528606 w 9215242"/>
              <a:gd name="connsiteY63" fmla="*/ 2185620 h 3487140"/>
              <a:gd name="connsiteX64" fmla="*/ 4415657 w 9215242"/>
              <a:gd name="connsiteY64" fmla="*/ 2468120 h 3487140"/>
              <a:gd name="connsiteX65" fmla="*/ 4249558 w 9215242"/>
              <a:gd name="connsiteY65" fmla="*/ 2505548 h 3487140"/>
              <a:gd name="connsiteX66" fmla="*/ 3941108 w 9215242"/>
              <a:gd name="connsiteY66" fmla="*/ 2278109 h 3487140"/>
              <a:gd name="connsiteX67" fmla="*/ 3496419 w 9215242"/>
              <a:gd name="connsiteY67" fmla="*/ 1678800 h 3487140"/>
              <a:gd name="connsiteX68" fmla="*/ 3376566 w 9215242"/>
              <a:gd name="connsiteY68" fmla="*/ 1175432 h 3487140"/>
              <a:gd name="connsiteX69" fmla="*/ 3531020 w 9215242"/>
              <a:gd name="connsiteY69" fmla="*/ 1377420 h 3487140"/>
              <a:gd name="connsiteX70" fmla="*/ 3892660 w 9215242"/>
              <a:gd name="connsiteY70" fmla="*/ 2268710 h 3487140"/>
              <a:gd name="connsiteX71" fmla="*/ 4212462 w 9215242"/>
              <a:gd name="connsiteY71" fmla="*/ 2693105 h 3487140"/>
              <a:gd name="connsiteX72" fmla="*/ 4445890 w 9215242"/>
              <a:gd name="connsiteY72" fmla="*/ 2746586 h 3487140"/>
              <a:gd name="connsiteX73" fmla="*/ 4613111 w 9215242"/>
              <a:gd name="connsiteY73" fmla="*/ 2631432 h 3487140"/>
              <a:gd name="connsiteX74" fmla="*/ 4624298 w 9215242"/>
              <a:gd name="connsiteY74" fmla="*/ 2436680 h 3487140"/>
              <a:gd name="connsiteX75" fmla="*/ 4470468 w 9215242"/>
              <a:gd name="connsiteY75" fmla="*/ 2309258 h 3487140"/>
              <a:gd name="connsiteX76" fmla="*/ 4263282 w 9215242"/>
              <a:gd name="connsiteY76" fmla="*/ 2375007 h 3487140"/>
              <a:gd name="connsiteX77" fmla="*/ 4240783 w 9215242"/>
              <a:gd name="connsiteY77" fmla="*/ 2581402 h 3487140"/>
              <a:gd name="connsiteX78" fmla="*/ 4383468 w 9215242"/>
              <a:gd name="connsiteY78" fmla="*/ 2671064 h 3487140"/>
              <a:gd name="connsiteX79" fmla="*/ 4480033 w 9215242"/>
              <a:gd name="connsiteY79" fmla="*/ 2596831 h 3487140"/>
              <a:gd name="connsiteX80" fmla="*/ 4446847 w 9215242"/>
              <a:gd name="connsiteY80" fmla="*/ 2530750 h 3487140"/>
              <a:gd name="connsiteX81" fmla="*/ 4324789 w 9215242"/>
              <a:gd name="connsiteY81" fmla="*/ 2615379 h 3487140"/>
              <a:gd name="connsiteX82" fmla="*/ 4179110 w 9215242"/>
              <a:gd name="connsiteY82" fmla="*/ 2907028 h 3487140"/>
              <a:gd name="connsiteX83" fmla="*/ 4131285 w 9215242"/>
              <a:gd name="connsiteY83" fmla="*/ 3008333 h 3487140"/>
              <a:gd name="connsiteX84" fmla="*/ 4095437 w 9215242"/>
              <a:gd name="connsiteY84" fmla="*/ 3024053 h 3487140"/>
              <a:gd name="connsiteX85" fmla="*/ 4000411 w 9215242"/>
              <a:gd name="connsiteY85" fmla="*/ 3013989 h 3487140"/>
              <a:gd name="connsiteX86" fmla="*/ 4007314 w 9215242"/>
              <a:gd name="connsiteY86" fmla="*/ 2956724 h 3487140"/>
              <a:gd name="connsiteX87" fmla="*/ 4196077 w 9215242"/>
              <a:gd name="connsiteY87" fmla="*/ 2951068 h 3487140"/>
              <a:gd name="connsiteX88" fmla="*/ 4282287 w 9215242"/>
              <a:gd name="connsiteY88" fmla="*/ 2951068 h 3487140"/>
              <a:gd name="connsiteX89" fmla="*/ 4363465 w 9215242"/>
              <a:gd name="connsiteY89" fmla="*/ 2822066 h 3487140"/>
              <a:gd name="connsiteX90" fmla="*/ 4503779 w 9215242"/>
              <a:gd name="connsiteY90" fmla="*/ 2789337 h 3487140"/>
              <a:gd name="connsiteX91" fmla="*/ 4631492 w 9215242"/>
              <a:gd name="connsiteY91" fmla="*/ 2713815 h 3487140"/>
              <a:gd name="connsiteX92" fmla="*/ 4717702 w 9215242"/>
              <a:gd name="connsiteY92" fmla="*/ 2544556 h 3487140"/>
              <a:gd name="connsiteX93" fmla="*/ 4937281 w 9215242"/>
              <a:gd name="connsiteY93" fmla="*/ 2482883 h 3487140"/>
              <a:gd name="connsiteX94" fmla="*/ 5472255 w 9215242"/>
              <a:gd name="connsiteY94" fmla="*/ 2466831 h 3487140"/>
              <a:gd name="connsiteX95" fmla="*/ 5627997 w 9215242"/>
              <a:gd name="connsiteY95" fmla="*/ 2420918 h 3487140"/>
              <a:gd name="connsiteX96" fmla="*/ 5477910 w 9215242"/>
              <a:gd name="connsiteY96" fmla="*/ 2252907 h 3487140"/>
              <a:gd name="connsiteX97" fmla="*/ 5002531 w 9215242"/>
              <a:gd name="connsiteY97" fmla="*/ 1791709 h 3487140"/>
              <a:gd name="connsiteX98" fmla="*/ 4738412 w 9215242"/>
              <a:gd name="connsiteY98" fmla="*/ 1600118 h 3487140"/>
              <a:gd name="connsiteX99" fmla="*/ 4614442 w 9215242"/>
              <a:gd name="connsiteY99" fmla="*/ 1733529 h 3487140"/>
              <a:gd name="connsiteX100" fmla="*/ 4552144 w 9215242"/>
              <a:gd name="connsiteY100" fmla="*/ 1995900 h 3487140"/>
              <a:gd name="connsiteX101" fmla="*/ 4593024 w 9215242"/>
              <a:gd name="connsiteY101" fmla="*/ 2048133 h 3487140"/>
              <a:gd name="connsiteX102" fmla="*/ 4655945 w 9215242"/>
              <a:gd name="connsiteY102" fmla="*/ 1778817 h 3487140"/>
              <a:gd name="connsiteX103" fmla="*/ 4777712 w 9215242"/>
              <a:gd name="connsiteY103" fmla="*/ 1356918 h 3487140"/>
              <a:gd name="connsiteX104" fmla="*/ 4884049 w 9215242"/>
              <a:gd name="connsiteY104" fmla="*/ 986960 h 3487140"/>
              <a:gd name="connsiteX105" fmla="*/ 4854772 w 9215242"/>
              <a:gd name="connsiteY105" fmla="*/ 867107 h 3487140"/>
              <a:gd name="connsiteX106" fmla="*/ 4679858 w 9215242"/>
              <a:gd name="connsiteY106" fmla="*/ 840034 h 3487140"/>
              <a:gd name="connsiteX107" fmla="*/ 4535759 w 9215242"/>
              <a:gd name="connsiteY107" fmla="*/ 782769 h 3487140"/>
              <a:gd name="connsiteX108" fmla="*/ 4552103 w 9215242"/>
              <a:gd name="connsiteY108" fmla="*/ 714816 h 3487140"/>
              <a:gd name="connsiteX109" fmla="*/ 4725770 w 9215242"/>
              <a:gd name="connsiteY109" fmla="*/ 723008 h 3487140"/>
              <a:gd name="connsiteX110" fmla="*/ 4928381 w 9215242"/>
              <a:gd name="connsiteY110" fmla="*/ 729288 h 3487140"/>
              <a:gd name="connsiteX111" fmla="*/ 5095103 w 9215242"/>
              <a:gd name="connsiteY111" fmla="*/ 682087 h 3487140"/>
              <a:gd name="connsiteX112" fmla="*/ 5212752 w 9215242"/>
              <a:gd name="connsiteY112" fmla="*/ 703463 h 3487140"/>
              <a:gd name="connsiteX113" fmla="*/ 5235417 w 9215242"/>
              <a:gd name="connsiteY113" fmla="*/ 797199 h 3487140"/>
              <a:gd name="connsiteX114" fmla="*/ 5107704 w 9215242"/>
              <a:gd name="connsiteY114" fmla="*/ 890936 h 3487140"/>
              <a:gd name="connsiteX115" fmla="*/ 4937821 w 9215242"/>
              <a:gd name="connsiteY115" fmla="*/ 918009 h 3487140"/>
              <a:gd name="connsiteX116" fmla="*/ 4810108 w 9215242"/>
              <a:gd name="connsiteY116" fmla="*/ 1002306 h 3487140"/>
              <a:gd name="connsiteX117" fmla="*/ 4709218 w 9215242"/>
              <a:gd name="connsiteY117" fmla="*/ 1299902 h 3487140"/>
              <a:gd name="connsiteX118" fmla="*/ 4770268 w 9215242"/>
              <a:gd name="connsiteY118" fmla="*/ 1545930 h 3487140"/>
              <a:gd name="connsiteX119" fmla="*/ 4982943 w 9215242"/>
              <a:gd name="connsiteY119" fmla="*/ 1536490 h 3487140"/>
              <a:gd name="connsiteX120" fmla="*/ 5162474 w 9215242"/>
              <a:gd name="connsiteY120" fmla="*/ 1376048 h 3487140"/>
              <a:gd name="connsiteX121" fmla="*/ 5165635 w 9215242"/>
              <a:gd name="connsiteY121" fmla="*/ 1231949 h 3487140"/>
              <a:gd name="connsiteX122" fmla="*/ 4947594 w 9215242"/>
              <a:gd name="connsiteY122" fmla="*/ 1191693 h 3487140"/>
              <a:gd name="connsiteX123" fmla="*/ 4956078 w 9215242"/>
              <a:gd name="connsiteY123" fmla="*/ 1255238 h 3487140"/>
              <a:gd name="connsiteX124" fmla="*/ 5381096 w 9215242"/>
              <a:gd name="connsiteY124" fmla="*/ 1241722 h 3487140"/>
              <a:gd name="connsiteX125" fmla="*/ 5865916 w 9215242"/>
              <a:gd name="connsiteY125" fmla="*/ 1259646 h 3487140"/>
              <a:gd name="connsiteX126" fmla="*/ 6095268 w 9215242"/>
              <a:gd name="connsiteY126" fmla="*/ 1236981 h 3487140"/>
              <a:gd name="connsiteX127" fmla="*/ 6077012 w 9215242"/>
              <a:gd name="connsiteY127" fmla="*/ 1185995 h 3487140"/>
              <a:gd name="connsiteX128" fmla="*/ 5716494 w 9215242"/>
              <a:gd name="connsiteY128" fmla="*/ 1177512 h 3487140"/>
              <a:gd name="connsiteX129" fmla="*/ 5345914 w 9215242"/>
              <a:gd name="connsiteY129" fmla="*/ 1331342 h 3487140"/>
              <a:gd name="connsiteX130" fmla="*/ 5000160 w 9215242"/>
              <a:gd name="connsiteY130" fmla="*/ 1604110 h 3487140"/>
              <a:gd name="connsiteX131" fmla="*/ 4767357 w 9215242"/>
              <a:gd name="connsiteY131" fmla="*/ 1921252 h 3487140"/>
              <a:gd name="connsiteX132" fmla="*/ 4671707 w 9215242"/>
              <a:gd name="connsiteY132" fmla="*/ 2419255 h 3487140"/>
              <a:gd name="connsiteX133" fmla="*/ 4902015 w 9215242"/>
              <a:gd name="connsiteY133" fmla="*/ 3048465 h 3487140"/>
              <a:gd name="connsiteX134" fmla="*/ 5480240 w 9215242"/>
              <a:gd name="connsiteY134" fmla="*/ 3394510 h 3487140"/>
              <a:gd name="connsiteX135" fmla="*/ 6118889 w 9215242"/>
              <a:gd name="connsiteY135" fmla="*/ 3330632 h 3487140"/>
              <a:gd name="connsiteX136" fmla="*/ 6614064 w 9215242"/>
              <a:gd name="connsiteY136" fmla="*/ 2841404 h 3487140"/>
              <a:gd name="connsiteX137" fmla="*/ 6647417 w 9215242"/>
              <a:gd name="connsiteY137" fmla="*/ 2052999 h 3487140"/>
              <a:gd name="connsiteX138" fmla="*/ 6216410 w 9215242"/>
              <a:gd name="connsiteY138" fmla="*/ 1482011 h 3487140"/>
              <a:gd name="connsiteX139" fmla="*/ 5749556 w 9215242"/>
              <a:gd name="connsiteY139" fmla="*/ 1352717 h 3487140"/>
              <a:gd name="connsiteX140" fmla="*/ 5589114 w 9215242"/>
              <a:gd name="connsiteY140" fmla="*/ 1466624 h 3487140"/>
              <a:gd name="connsiteX141" fmla="*/ 5611155 w 9215242"/>
              <a:gd name="connsiteY141" fmla="*/ 2001140 h 3487140"/>
              <a:gd name="connsiteX142" fmla="*/ 5645131 w 9215242"/>
              <a:gd name="connsiteY142" fmla="*/ 2313208 h 3487140"/>
              <a:gd name="connsiteX143" fmla="*/ 5736831 w 9215242"/>
              <a:gd name="connsiteY143" fmla="*/ 2399085 h 3487140"/>
              <a:gd name="connsiteX144" fmla="*/ 5841297 w 9215242"/>
              <a:gd name="connsiteY144" fmla="*/ 2362905 h 3487140"/>
              <a:gd name="connsiteX145" fmla="*/ 5805906 w 9215242"/>
              <a:gd name="connsiteY145" fmla="*/ 2271372 h 3487140"/>
              <a:gd name="connsiteX146" fmla="*/ 5708302 w 9215242"/>
              <a:gd name="connsiteY146" fmla="*/ 2303394 h 3487140"/>
              <a:gd name="connsiteX147" fmla="*/ 5691916 w 9215242"/>
              <a:gd name="connsiteY147" fmla="*/ 2437262 h 3487140"/>
              <a:gd name="connsiteX148" fmla="*/ 5690835 w 9215242"/>
              <a:gd name="connsiteY148" fmla="*/ 2519521 h 3487140"/>
              <a:gd name="connsiteX149" fmla="*/ 5511721 w 9215242"/>
              <a:gd name="connsiteY149" fmla="*/ 2539400 h 3487140"/>
              <a:gd name="connsiteX150" fmla="*/ 5101466 w 9215242"/>
              <a:gd name="connsiteY150" fmla="*/ 2545679 h 3487140"/>
              <a:gd name="connsiteX151" fmla="*/ 4861094 w 9215242"/>
              <a:gd name="connsiteY151" fmla="*/ 2602944 h 3487140"/>
              <a:gd name="connsiteX152" fmla="*/ 4851487 w 9215242"/>
              <a:gd name="connsiteY152" fmla="*/ 2790460 h 3487140"/>
              <a:gd name="connsiteX153" fmla="*/ 5044824 w 9215242"/>
              <a:gd name="connsiteY153" fmla="*/ 3133385 h 3487140"/>
              <a:gd name="connsiteX154" fmla="*/ 5536714 w 9215242"/>
              <a:gd name="connsiteY154" fmla="*/ 3465290 h 3487140"/>
              <a:gd name="connsiteX155" fmla="*/ 6277460 w 9215242"/>
              <a:gd name="connsiteY155" fmla="*/ 3390434 h 3487140"/>
              <a:gd name="connsiteX156" fmla="*/ 6717283 w 9215242"/>
              <a:gd name="connsiteY156" fmla="*/ 3017940 h 3487140"/>
              <a:gd name="connsiteX157" fmla="*/ 7031264 w 9215242"/>
              <a:gd name="connsiteY157" fmla="*/ 2655510 h 3487140"/>
              <a:gd name="connsiteX158" fmla="*/ 7403758 w 9215242"/>
              <a:gd name="connsiteY158" fmla="*/ 3163577 h 3487140"/>
              <a:gd name="connsiteX159" fmla="*/ 7627745 w 9215242"/>
              <a:gd name="connsiteY159" fmla="*/ 3255443 h 3487140"/>
              <a:gd name="connsiteX160" fmla="*/ 7705762 w 9215242"/>
              <a:gd name="connsiteY160" fmla="*/ 2786675 h 3487140"/>
              <a:gd name="connsiteX161" fmla="*/ 8015335 w 9215242"/>
              <a:gd name="connsiteY161" fmla="*/ 2869724 h 3487140"/>
              <a:gd name="connsiteX162" fmla="*/ 8254127 w 9215242"/>
              <a:gd name="connsiteY162" fmla="*/ 3245046 h 3487140"/>
              <a:gd name="connsiteX163" fmla="*/ 8626620 w 9215242"/>
              <a:gd name="connsiteY163" fmla="*/ 3329676 h 3487140"/>
              <a:gd name="connsiteX164" fmla="*/ 9215242 w 9215242"/>
              <a:gd name="connsiteY164" fmla="*/ 3217682 h 3487140"/>
              <a:gd name="connsiteX0" fmla="*/ 0 w 8890157"/>
              <a:gd name="connsiteY0" fmla="*/ 2916759 h 3487140"/>
              <a:gd name="connsiteX1" fmla="*/ 256467 w 8890157"/>
              <a:gd name="connsiteY1" fmla="*/ 2898295 h 3487140"/>
              <a:gd name="connsiteX2" fmla="*/ 485818 w 8890157"/>
              <a:gd name="connsiteY2" fmla="*/ 3416675 h 3487140"/>
              <a:gd name="connsiteX3" fmla="*/ 645637 w 8890157"/>
              <a:gd name="connsiteY3" fmla="*/ 3205871 h 3487140"/>
              <a:gd name="connsiteX4" fmla="*/ 904890 w 8890157"/>
              <a:gd name="connsiteY4" fmla="*/ 2696848 h 3487140"/>
              <a:gd name="connsiteX5" fmla="*/ 1179238 w 8890157"/>
              <a:gd name="connsiteY5" fmla="*/ 2954187 h 3487140"/>
              <a:gd name="connsiteX6" fmla="*/ 1526572 w 8890157"/>
              <a:gd name="connsiteY6" fmla="*/ 3339906 h 3487140"/>
              <a:gd name="connsiteX7" fmla="*/ 1984694 w 8890157"/>
              <a:gd name="connsiteY7" fmla="*/ 3385485 h 3487140"/>
              <a:gd name="connsiteX8" fmla="*/ 2063376 w 8890157"/>
              <a:gd name="connsiteY8" fmla="*/ 3295741 h 3487140"/>
              <a:gd name="connsiteX9" fmla="*/ 1812274 w 8890157"/>
              <a:gd name="connsiteY9" fmla="*/ 3112384 h 3487140"/>
              <a:gd name="connsiteX10" fmla="*/ 1506111 w 8890157"/>
              <a:gd name="connsiteY10" fmla="*/ 2750287 h 3487140"/>
              <a:gd name="connsiteX11" fmla="*/ 1414579 w 8890157"/>
              <a:gd name="connsiteY11" fmla="*/ 2305432 h 3487140"/>
              <a:gd name="connsiteX12" fmla="*/ 1542167 w 8890157"/>
              <a:gd name="connsiteY12" fmla="*/ 1919713 h 3487140"/>
              <a:gd name="connsiteX13" fmla="*/ 1866379 w 8890157"/>
              <a:gd name="connsiteY13" fmla="*/ 1637837 h 3487140"/>
              <a:gd name="connsiteX14" fmla="*/ 2359683 w 8890157"/>
              <a:gd name="connsiteY14" fmla="*/ 1545972 h 3487140"/>
              <a:gd name="connsiteX15" fmla="*/ 2594358 w 8890157"/>
              <a:gd name="connsiteY15" fmla="*/ 1517651 h 3487140"/>
              <a:gd name="connsiteX16" fmla="*/ 2579095 w 8890157"/>
              <a:gd name="connsiteY16" fmla="*/ 1460718 h 3487140"/>
              <a:gd name="connsiteX17" fmla="*/ 2303041 w 8890157"/>
              <a:gd name="connsiteY17" fmla="*/ 1416969 h 3487140"/>
              <a:gd name="connsiteX18" fmla="*/ 1783621 w 8890157"/>
              <a:gd name="connsiteY18" fmla="*/ 1517318 h 3487140"/>
              <a:gd name="connsiteX19" fmla="*/ 1374323 w 8890157"/>
              <a:gd name="connsiteY19" fmla="*/ 1960593 h 3487140"/>
              <a:gd name="connsiteX20" fmla="*/ 1314853 w 8890157"/>
              <a:gd name="connsiteY20" fmla="*/ 2569342 h 3487140"/>
              <a:gd name="connsiteX21" fmla="*/ 1728560 w 8890157"/>
              <a:gd name="connsiteY21" fmla="*/ 3165532 h 3487140"/>
              <a:gd name="connsiteX22" fmla="*/ 2518545 w 8890157"/>
              <a:gd name="connsiteY22" fmla="*/ 3283181 h 3487140"/>
              <a:gd name="connsiteX23" fmla="*/ 3121181 w 8890157"/>
              <a:gd name="connsiteY23" fmla="*/ 2757481 h 3487140"/>
              <a:gd name="connsiteX24" fmla="*/ 3110950 w 8890157"/>
              <a:gd name="connsiteY24" fmla="*/ 1980430 h 3487140"/>
              <a:gd name="connsiteX25" fmla="*/ 2780916 w 8890157"/>
              <a:gd name="connsiteY25" fmla="*/ 1589139 h 3487140"/>
              <a:gd name="connsiteX26" fmla="*/ 2591862 w 8890157"/>
              <a:gd name="connsiteY26" fmla="*/ 1660710 h 3487140"/>
              <a:gd name="connsiteX27" fmla="*/ 2483445 w 8890157"/>
              <a:gd name="connsiteY27" fmla="*/ 2116627 h 3487140"/>
              <a:gd name="connsiteX28" fmla="*/ 2260082 w 8890157"/>
              <a:gd name="connsiteY28" fmla="*/ 2374258 h 3487140"/>
              <a:gd name="connsiteX29" fmla="*/ 2205146 w 8890157"/>
              <a:gd name="connsiteY29" fmla="*/ 2276986 h 3487140"/>
              <a:gd name="connsiteX30" fmla="*/ 2584418 w 8890157"/>
              <a:gd name="connsiteY30" fmla="*/ 2021601 h 3487140"/>
              <a:gd name="connsiteX31" fmla="*/ 2844337 w 8890157"/>
              <a:gd name="connsiteY31" fmla="*/ 1234153 h 3487140"/>
              <a:gd name="connsiteX32" fmla="*/ 3074437 w 8890157"/>
              <a:gd name="connsiteY32" fmla="*/ 725296 h 3487140"/>
              <a:gd name="connsiteX33" fmla="*/ 3183020 w 8890157"/>
              <a:gd name="connsiteY33" fmla="*/ 539984 h 3487140"/>
              <a:gd name="connsiteX34" fmla="*/ 3151872 w 8890157"/>
              <a:gd name="connsiteY34" fmla="*/ 435851 h 3487140"/>
              <a:gd name="connsiteX35" fmla="*/ 3045534 w 8890157"/>
              <a:gd name="connsiteY35" fmla="*/ 350265 h 3487140"/>
              <a:gd name="connsiteX36" fmla="*/ 3000246 w 8890157"/>
              <a:gd name="connsiteY36" fmla="*/ 209327 h 3487140"/>
              <a:gd name="connsiteX37" fmla="*/ 3045076 w 8890157"/>
              <a:gd name="connsiteY37" fmla="*/ 82237 h 3487140"/>
              <a:gd name="connsiteX38" fmla="*/ 3225356 w 8890157"/>
              <a:gd name="connsiteY38" fmla="*/ 6716 h 3487140"/>
              <a:gd name="connsiteX39" fmla="*/ 3494049 w 8890157"/>
              <a:gd name="connsiteY39" fmla="*/ 10167 h 3487140"/>
              <a:gd name="connsiteX40" fmla="*/ 3577722 w 8890157"/>
              <a:gd name="connsiteY40" fmla="*/ 49800 h 3487140"/>
              <a:gd name="connsiteX41" fmla="*/ 3530687 w 8890157"/>
              <a:gd name="connsiteY41" fmla="*/ 86812 h 3487140"/>
              <a:gd name="connsiteX42" fmla="*/ 3294764 w 8890157"/>
              <a:gd name="connsiteY42" fmla="*/ 91886 h 3487140"/>
              <a:gd name="connsiteX43" fmla="*/ 3051231 w 8890157"/>
              <a:gd name="connsiteY43" fmla="*/ 75833 h 3487140"/>
              <a:gd name="connsiteX44" fmla="*/ 2943480 w 8890157"/>
              <a:gd name="connsiteY44" fmla="*/ 176931 h 3487140"/>
              <a:gd name="connsiteX45" fmla="*/ 2958742 w 8890157"/>
              <a:gd name="connsiteY45" fmla="*/ 370393 h 3487140"/>
              <a:gd name="connsiteX46" fmla="*/ 2903515 w 8890157"/>
              <a:gd name="connsiteY46" fmla="*/ 589348 h 3487140"/>
              <a:gd name="connsiteX47" fmla="*/ 2746981 w 8890157"/>
              <a:gd name="connsiteY47" fmla="*/ 903953 h 3487140"/>
              <a:gd name="connsiteX48" fmla="*/ 2536510 w 8890157"/>
              <a:gd name="connsiteY48" fmla="*/ 922501 h 3487140"/>
              <a:gd name="connsiteX49" fmla="*/ 2342091 w 8890157"/>
              <a:gd name="connsiteY49" fmla="*/ 866816 h 3487140"/>
              <a:gd name="connsiteX50" fmla="*/ 2283246 w 8890157"/>
              <a:gd name="connsiteY50" fmla="*/ 751038 h 3487140"/>
              <a:gd name="connsiteX51" fmla="*/ 2295182 w 8890157"/>
              <a:gd name="connsiteY51" fmla="*/ 369436 h 3487140"/>
              <a:gd name="connsiteX52" fmla="*/ 2356855 w 8890157"/>
              <a:gd name="connsiteY52" fmla="*/ 155805 h 3487140"/>
              <a:gd name="connsiteX53" fmla="*/ 2558219 w 8890157"/>
              <a:gd name="connsiteY53" fmla="*/ 156761 h 3487140"/>
              <a:gd name="connsiteX54" fmla="*/ 2811150 w 8890157"/>
              <a:gd name="connsiteY54" fmla="*/ 245175 h 3487140"/>
              <a:gd name="connsiteX55" fmla="*/ 2980242 w 8890157"/>
              <a:gd name="connsiteY55" fmla="*/ 357792 h 3487140"/>
              <a:gd name="connsiteX56" fmla="*/ 3084833 w 8890157"/>
              <a:gd name="connsiteY56" fmla="*/ 483301 h 3487140"/>
              <a:gd name="connsiteX57" fmla="*/ 3109037 w 8890157"/>
              <a:gd name="connsiteY57" fmla="*/ 600951 h 3487140"/>
              <a:gd name="connsiteX58" fmla="*/ 3081506 w 8890157"/>
              <a:gd name="connsiteY58" fmla="*/ 761726 h 3487140"/>
              <a:gd name="connsiteX59" fmla="*/ 3253427 w 8890157"/>
              <a:gd name="connsiteY59" fmla="*/ 1160004 h 3487140"/>
              <a:gd name="connsiteX60" fmla="*/ 3676407 w 8890157"/>
              <a:gd name="connsiteY60" fmla="*/ 1793622 h 3487140"/>
              <a:gd name="connsiteX61" fmla="*/ 4093898 w 8890157"/>
              <a:gd name="connsiteY61" fmla="*/ 2087475 h 3487140"/>
              <a:gd name="connsiteX62" fmla="*/ 4203521 w 8890157"/>
              <a:gd name="connsiteY62" fmla="*/ 2185620 h 3487140"/>
              <a:gd name="connsiteX63" fmla="*/ 4090572 w 8890157"/>
              <a:gd name="connsiteY63" fmla="*/ 2468120 h 3487140"/>
              <a:gd name="connsiteX64" fmla="*/ 3924473 w 8890157"/>
              <a:gd name="connsiteY64" fmla="*/ 2505548 h 3487140"/>
              <a:gd name="connsiteX65" fmla="*/ 3616023 w 8890157"/>
              <a:gd name="connsiteY65" fmla="*/ 2278109 h 3487140"/>
              <a:gd name="connsiteX66" fmla="*/ 3171334 w 8890157"/>
              <a:gd name="connsiteY66" fmla="*/ 1678800 h 3487140"/>
              <a:gd name="connsiteX67" fmla="*/ 3051481 w 8890157"/>
              <a:gd name="connsiteY67" fmla="*/ 1175432 h 3487140"/>
              <a:gd name="connsiteX68" fmla="*/ 3205935 w 8890157"/>
              <a:gd name="connsiteY68" fmla="*/ 1377420 h 3487140"/>
              <a:gd name="connsiteX69" fmla="*/ 3567575 w 8890157"/>
              <a:gd name="connsiteY69" fmla="*/ 2268710 h 3487140"/>
              <a:gd name="connsiteX70" fmla="*/ 3887377 w 8890157"/>
              <a:gd name="connsiteY70" fmla="*/ 2693105 h 3487140"/>
              <a:gd name="connsiteX71" fmla="*/ 4120805 w 8890157"/>
              <a:gd name="connsiteY71" fmla="*/ 2746586 h 3487140"/>
              <a:gd name="connsiteX72" fmla="*/ 4288026 w 8890157"/>
              <a:gd name="connsiteY72" fmla="*/ 2631432 h 3487140"/>
              <a:gd name="connsiteX73" fmla="*/ 4299213 w 8890157"/>
              <a:gd name="connsiteY73" fmla="*/ 2436680 h 3487140"/>
              <a:gd name="connsiteX74" fmla="*/ 4145383 w 8890157"/>
              <a:gd name="connsiteY74" fmla="*/ 2309258 h 3487140"/>
              <a:gd name="connsiteX75" fmla="*/ 3938197 w 8890157"/>
              <a:gd name="connsiteY75" fmla="*/ 2375007 h 3487140"/>
              <a:gd name="connsiteX76" fmla="*/ 3915698 w 8890157"/>
              <a:gd name="connsiteY76" fmla="*/ 2581402 h 3487140"/>
              <a:gd name="connsiteX77" fmla="*/ 4058383 w 8890157"/>
              <a:gd name="connsiteY77" fmla="*/ 2671064 h 3487140"/>
              <a:gd name="connsiteX78" fmla="*/ 4154948 w 8890157"/>
              <a:gd name="connsiteY78" fmla="*/ 2596831 h 3487140"/>
              <a:gd name="connsiteX79" fmla="*/ 4121762 w 8890157"/>
              <a:gd name="connsiteY79" fmla="*/ 2530750 h 3487140"/>
              <a:gd name="connsiteX80" fmla="*/ 3999704 w 8890157"/>
              <a:gd name="connsiteY80" fmla="*/ 2615379 h 3487140"/>
              <a:gd name="connsiteX81" fmla="*/ 3854025 w 8890157"/>
              <a:gd name="connsiteY81" fmla="*/ 2907028 h 3487140"/>
              <a:gd name="connsiteX82" fmla="*/ 3806200 w 8890157"/>
              <a:gd name="connsiteY82" fmla="*/ 3008333 h 3487140"/>
              <a:gd name="connsiteX83" fmla="*/ 3770352 w 8890157"/>
              <a:gd name="connsiteY83" fmla="*/ 3024053 h 3487140"/>
              <a:gd name="connsiteX84" fmla="*/ 3675326 w 8890157"/>
              <a:gd name="connsiteY84" fmla="*/ 3013989 h 3487140"/>
              <a:gd name="connsiteX85" fmla="*/ 3682229 w 8890157"/>
              <a:gd name="connsiteY85" fmla="*/ 2956724 h 3487140"/>
              <a:gd name="connsiteX86" fmla="*/ 3870992 w 8890157"/>
              <a:gd name="connsiteY86" fmla="*/ 2951068 h 3487140"/>
              <a:gd name="connsiteX87" fmla="*/ 3957202 w 8890157"/>
              <a:gd name="connsiteY87" fmla="*/ 2951068 h 3487140"/>
              <a:gd name="connsiteX88" fmla="*/ 4038380 w 8890157"/>
              <a:gd name="connsiteY88" fmla="*/ 2822066 h 3487140"/>
              <a:gd name="connsiteX89" fmla="*/ 4178694 w 8890157"/>
              <a:gd name="connsiteY89" fmla="*/ 2789337 h 3487140"/>
              <a:gd name="connsiteX90" fmla="*/ 4306407 w 8890157"/>
              <a:gd name="connsiteY90" fmla="*/ 2713815 h 3487140"/>
              <a:gd name="connsiteX91" fmla="*/ 4392617 w 8890157"/>
              <a:gd name="connsiteY91" fmla="*/ 2544556 h 3487140"/>
              <a:gd name="connsiteX92" fmla="*/ 4612196 w 8890157"/>
              <a:gd name="connsiteY92" fmla="*/ 2482883 h 3487140"/>
              <a:gd name="connsiteX93" fmla="*/ 5147170 w 8890157"/>
              <a:gd name="connsiteY93" fmla="*/ 2466831 h 3487140"/>
              <a:gd name="connsiteX94" fmla="*/ 5302912 w 8890157"/>
              <a:gd name="connsiteY94" fmla="*/ 2420918 h 3487140"/>
              <a:gd name="connsiteX95" fmla="*/ 5152825 w 8890157"/>
              <a:gd name="connsiteY95" fmla="*/ 2252907 h 3487140"/>
              <a:gd name="connsiteX96" fmla="*/ 4677446 w 8890157"/>
              <a:gd name="connsiteY96" fmla="*/ 1791709 h 3487140"/>
              <a:gd name="connsiteX97" fmla="*/ 4413327 w 8890157"/>
              <a:gd name="connsiteY97" fmla="*/ 1600118 h 3487140"/>
              <a:gd name="connsiteX98" fmla="*/ 4289357 w 8890157"/>
              <a:gd name="connsiteY98" fmla="*/ 1733529 h 3487140"/>
              <a:gd name="connsiteX99" fmla="*/ 4227059 w 8890157"/>
              <a:gd name="connsiteY99" fmla="*/ 1995900 h 3487140"/>
              <a:gd name="connsiteX100" fmla="*/ 4267939 w 8890157"/>
              <a:gd name="connsiteY100" fmla="*/ 2048133 h 3487140"/>
              <a:gd name="connsiteX101" fmla="*/ 4330860 w 8890157"/>
              <a:gd name="connsiteY101" fmla="*/ 1778817 h 3487140"/>
              <a:gd name="connsiteX102" fmla="*/ 4452627 w 8890157"/>
              <a:gd name="connsiteY102" fmla="*/ 1356918 h 3487140"/>
              <a:gd name="connsiteX103" fmla="*/ 4558964 w 8890157"/>
              <a:gd name="connsiteY103" fmla="*/ 986960 h 3487140"/>
              <a:gd name="connsiteX104" fmla="*/ 4529687 w 8890157"/>
              <a:gd name="connsiteY104" fmla="*/ 867107 h 3487140"/>
              <a:gd name="connsiteX105" fmla="*/ 4354773 w 8890157"/>
              <a:gd name="connsiteY105" fmla="*/ 840034 h 3487140"/>
              <a:gd name="connsiteX106" fmla="*/ 4210674 w 8890157"/>
              <a:gd name="connsiteY106" fmla="*/ 782769 h 3487140"/>
              <a:gd name="connsiteX107" fmla="*/ 4227018 w 8890157"/>
              <a:gd name="connsiteY107" fmla="*/ 714816 h 3487140"/>
              <a:gd name="connsiteX108" fmla="*/ 4400685 w 8890157"/>
              <a:gd name="connsiteY108" fmla="*/ 723008 h 3487140"/>
              <a:gd name="connsiteX109" fmla="*/ 4603296 w 8890157"/>
              <a:gd name="connsiteY109" fmla="*/ 729288 h 3487140"/>
              <a:gd name="connsiteX110" fmla="*/ 4770018 w 8890157"/>
              <a:gd name="connsiteY110" fmla="*/ 682087 h 3487140"/>
              <a:gd name="connsiteX111" fmla="*/ 4887667 w 8890157"/>
              <a:gd name="connsiteY111" fmla="*/ 703463 h 3487140"/>
              <a:gd name="connsiteX112" fmla="*/ 4910332 w 8890157"/>
              <a:gd name="connsiteY112" fmla="*/ 797199 h 3487140"/>
              <a:gd name="connsiteX113" fmla="*/ 4782619 w 8890157"/>
              <a:gd name="connsiteY113" fmla="*/ 890936 h 3487140"/>
              <a:gd name="connsiteX114" fmla="*/ 4612736 w 8890157"/>
              <a:gd name="connsiteY114" fmla="*/ 918009 h 3487140"/>
              <a:gd name="connsiteX115" fmla="*/ 4485023 w 8890157"/>
              <a:gd name="connsiteY115" fmla="*/ 1002306 h 3487140"/>
              <a:gd name="connsiteX116" fmla="*/ 4384133 w 8890157"/>
              <a:gd name="connsiteY116" fmla="*/ 1299902 h 3487140"/>
              <a:gd name="connsiteX117" fmla="*/ 4445183 w 8890157"/>
              <a:gd name="connsiteY117" fmla="*/ 1545930 h 3487140"/>
              <a:gd name="connsiteX118" fmla="*/ 4657858 w 8890157"/>
              <a:gd name="connsiteY118" fmla="*/ 1536490 h 3487140"/>
              <a:gd name="connsiteX119" fmla="*/ 4837389 w 8890157"/>
              <a:gd name="connsiteY119" fmla="*/ 1376048 h 3487140"/>
              <a:gd name="connsiteX120" fmla="*/ 4840550 w 8890157"/>
              <a:gd name="connsiteY120" fmla="*/ 1231949 h 3487140"/>
              <a:gd name="connsiteX121" fmla="*/ 4622509 w 8890157"/>
              <a:gd name="connsiteY121" fmla="*/ 1191693 h 3487140"/>
              <a:gd name="connsiteX122" fmla="*/ 4630993 w 8890157"/>
              <a:gd name="connsiteY122" fmla="*/ 1255238 h 3487140"/>
              <a:gd name="connsiteX123" fmla="*/ 5056011 w 8890157"/>
              <a:gd name="connsiteY123" fmla="*/ 1241722 h 3487140"/>
              <a:gd name="connsiteX124" fmla="*/ 5540831 w 8890157"/>
              <a:gd name="connsiteY124" fmla="*/ 1259646 h 3487140"/>
              <a:gd name="connsiteX125" fmla="*/ 5770183 w 8890157"/>
              <a:gd name="connsiteY125" fmla="*/ 1236981 h 3487140"/>
              <a:gd name="connsiteX126" fmla="*/ 5751927 w 8890157"/>
              <a:gd name="connsiteY126" fmla="*/ 1185995 h 3487140"/>
              <a:gd name="connsiteX127" fmla="*/ 5391409 w 8890157"/>
              <a:gd name="connsiteY127" fmla="*/ 1177512 h 3487140"/>
              <a:gd name="connsiteX128" fmla="*/ 5020829 w 8890157"/>
              <a:gd name="connsiteY128" fmla="*/ 1331342 h 3487140"/>
              <a:gd name="connsiteX129" fmla="*/ 4675075 w 8890157"/>
              <a:gd name="connsiteY129" fmla="*/ 1604110 h 3487140"/>
              <a:gd name="connsiteX130" fmla="*/ 4442272 w 8890157"/>
              <a:gd name="connsiteY130" fmla="*/ 1921252 h 3487140"/>
              <a:gd name="connsiteX131" fmla="*/ 4346622 w 8890157"/>
              <a:gd name="connsiteY131" fmla="*/ 2419255 h 3487140"/>
              <a:gd name="connsiteX132" fmla="*/ 4576930 w 8890157"/>
              <a:gd name="connsiteY132" fmla="*/ 3048465 h 3487140"/>
              <a:gd name="connsiteX133" fmla="*/ 5155155 w 8890157"/>
              <a:gd name="connsiteY133" fmla="*/ 3394510 h 3487140"/>
              <a:gd name="connsiteX134" fmla="*/ 5793804 w 8890157"/>
              <a:gd name="connsiteY134" fmla="*/ 3330632 h 3487140"/>
              <a:gd name="connsiteX135" fmla="*/ 6288979 w 8890157"/>
              <a:gd name="connsiteY135" fmla="*/ 2841404 h 3487140"/>
              <a:gd name="connsiteX136" fmla="*/ 6322332 w 8890157"/>
              <a:gd name="connsiteY136" fmla="*/ 2052999 h 3487140"/>
              <a:gd name="connsiteX137" fmla="*/ 5891325 w 8890157"/>
              <a:gd name="connsiteY137" fmla="*/ 1482011 h 3487140"/>
              <a:gd name="connsiteX138" fmla="*/ 5424471 w 8890157"/>
              <a:gd name="connsiteY138" fmla="*/ 1352717 h 3487140"/>
              <a:gd name="connsiteX139" fmla="*/ 5264029 w 8890157"/>
              <a:gd name="connsiteY139" fmla="*/ 1466624 h 3487140"/>
              <a:gd name="connsiteX140" fmla="*/ 5286070 w 8890157"/>
              <a:gd name="connsiteY140" fmla="*/ 2001140 h 3487140"/>
              <a:gd name="connsiteX141" fmla="*/ 5320046 w 8890157"/>
              <a:gd name="connsiteY141" fmla="*/ 2313208 h 3487140"/>
              <a:gd name="connsiteX142" fmla="*/ 5411746 w 8890157"/>
              <a:gd name="connsiteY142" fmla="*/ 2399085 h 3487140"/>
              <a:gd name="connsiteX143" fmla="*/ 5516212 w 8890157"/>
              <a:gd name="connsiteY143" fmla="*/ 2362905 h 3487140"/>
              <a:gd name="connsiteX144" fmla="*/ 5480821 w 8890157"/>
              <a:gd name="connsiteY144" fmla="*/ 2271372 h 3487140"/>
              <a:gd name="connsiteX145" fmla="*/ 5383217 w 8890157"/>
              <a:gd name="connsiteY145" fmla="*/ 2303394 h 3487140"/>
              <a:gd name="connsiteX146" fmla="*/ 5366831 w 8890157"/>
              <a:gd name="connsiteY146" fmla="*/ 2437262 h 3487140"/>
              <a:gd name="connsiteX147" fmla="*/ 5365750 w 8890157"/>
              <a:gd name="connsiteY147" fmla="*/ 2519521 h 3487140"/>
              <a:gd name="connsiteX148" fmla="*/ 5186636 w 8890157"/>
              <a:gd name="connsiteY148" fmla="*/ 2539400 h 3487140"/>
              <a:gd name="connsiteX149" fmla="*/ 4776381 w 8890157"/>
              <a:gd name="connsiteY149" fmla="*/ 2545679 h 3487140"/>
              <a:gd name="connsiteX150" fmla="*/ 4536009 w 8890157"/>
              <a:gd name="connsiteY150" fmla="*/ 2602944 h 3487140"/>
              <a:gd name="connsiteX151" fmla="*/ 4526402 w 8890157"/>
              <a:gd name="connsiteY151" fmla="*/ 2790460 h 3487140"/>
              <a:gd name="connsiteX152" fmla="*/ 4719739 w 8890157"/>
              <a:gd name="connsiteY152" fmla="*/ 3133385 h 3487140"/>
              <a:gd name="connsiteX153" fmla="*/ 5211629 w 8890157"/>
              <a:gd name="connsiteY153" fmla="*/ 3465290 h 3487140"/>
              <a:gd name="connsiteX154" fmla="*/ 5952375 w 8890157"/>
              <a:gd name="connsiteY154" fmla="*/ 3390434 h 3487140"/>
              <a:gd name="connsiteX155" fmla="*/ 6392198 w 8890157"/>
              <a:gd name="connsiteY155" fmla="*/ 3017940 h 3487140"/>
              <a:gd name="connsiteX156" fmla="*/ 6706179 w 8890157"/>
              <a:gd name="connsiteY156" fmla="*/ 2655510 h 3487140"/>
              <a:gd name="connsiteX157" fmla="*/ 7078673 w 8890157"/>
              <a:gd name="connsiteY157" fmla="*/ 3163577 h 3487140"/>
              <a:gd name="connsiteX158" fmla="*/ 7302660 w 8890157"/>
              <a:gd name="connsiteY158" fmla="*/ 3255443 h 3487140"/>
              <a:gd name="connsiteX159" fmla="*/ 7380677 w 8890157"/>
              <a:gd name="connsiteY159" fmla="*/ 2786675 h 3487140"/>
              <a:gd name="connsiteX160" fmla="*/ 7690250 w 8890157"/>
              <a:gd name="connsiteY160" fmla="*/ 2869724 h 3487140"/>
              <a:gd name="connsiteX161" fmla="*/ 7929042 w 8890157"/>
              <a:gd name="connsiteY161" fmla="*/ 3245046 h 3487140"/>
              <a:gd name="connsiteX162" fmla="*/ 8301535 w 8890157"/>
              <a:gd name="connsiteY162" fmla="*/ 3329676 h 3487140"/>
              <a:gd name="connsiteX163" fmla="*/ 8890157 w 8890157"/>
              <a:gd name="connsiteY163" fmla="*/ 3217682 h 3487140"/>
              <a:gd name="connsiteX0" fmla="*/ 0 w 8633690"/>
              <a:gd name="connsiteY0" fmla="*/ 2898295 h 3487140"/>
              <a:gd name="connsiteX1" fmla="*/ 229351 w 8633690"/>
              <a:gd name="connsiteY1" fmla="*/ 3416675 h 3487140"/>
              <a:gd name="connsiteX2" fmla="*/ 389170 w 8633690"/>
              <a:gd name="connsiteY2" fmla="*/ 3205871 h 3487140"/>
              <a:gd name="connsiteX3" fmla="*/ 648423 w 8633690"/>
              <a:gd name="connsiteY3" fmla="*/ 2696848 h 3487140"/>
              <a:gd name="connsiteX4" fmla="*/ 922771 w 8633690"/>
              <a:gd name="connsiteY4" fmla="*/ 2954187 h 3487140"/>
              <a:gd name="connsiteX5" fmla="*/ 1270105 w 8633690"/>
              <a:gd name="connsiteY5" fmla="*/ 3339906 h 3487140"/>
              <a:gd name="connsiteX6" fmla="*/ 1728227 w 8633690"/>
              <a:gd name="connsiteY6" fmla="*/ 3385485 h 3487140"/>
              <a:gd name="connsiteX7" fmla="*/ 1806909 w 8633690"/>
              <a:gd name="connsiteY7" fmla="*/ 3295741 h 3487140"/>
              <a:gd name="connsiteX8" fmla="*/ 1555807 w 8633690"/>
              <a:gd name="connsiteY8" fmla="*/ 3112384 h 3487140"/>
              <a:gd name="connsiteX9" fmla="*/ 1249644 w 8633690"/>
              <a:gd name="connsiteY9" fmla="*/ 2750287 h 3487140"/>
              <a:gd name="connsiteX10" fmla="*/ 1158112 w 8633690"/>
              <a:gd name="connsiteY10" fmla="*/ 2305432 h 3487140"/>
              <a:gd name="connsiteX11" fmla="*/ 1285700 w 8633690"/>
              <a:gd name="connsiteY11" fmla="*/ 1919713 h 3487140"/>
              <a:gd name="connsiteX12" fmla="*/ 1609912 w 8633690"/>
              <a:gd name="connsiteY12" fmla="*/ 1637837 h 3487140"/>
              <a:gd name="connsiteX13" fmla="*/ 2103216 w 8633690"/>
              <a:gd name="connsiteY13" fmla="*/ 1545972 h 3487140"/>
              <a:gd name="connsiteX14" fmla="*/ 2337891 w 8633690"/>
              <a:gd name="connsiteY14" fmla="*/ 1517651 h 3487140"/>
              <a:gd name="connsiteX15" fmla="*/ 2322628 w 8633690"/>
              <a:gd name="connsiteY15" fmla="*/ 1460718 h 3487140"/>
              <a:gd name="connsiteX16" fmla="*/ 2046574 w 8633690"/>
              <a:gd name="connsiteY16" fmla="*/ 1416969 h 3487140"/>
              <a:gd name="connsiteX17" fmla="*/ 1527154 w 8633690"/>
              <a:gd name="connsiteY17" fmla="*/ 1517318 h 3487140"/>
              <a:gd name="connsiteX18" fmla="*/ 1117856 w 8633690"/>
              <a:gd name="connsiteY18" fmla="*/ 1960593 h 3487140"/>
              <a:gd name="connsiteX19" fmla="*/ 1058386 w 8633690"/>
              <a:gd name="connsiteY19" fmla="*/ 2569342 h 3487140"/>
              <a:gd name="connsiteX20" fmla="*/ 1472093 w 8633690"/>
              <a:gd name="connsiteY20" fmla="*/ 3165532 h 3487140"/>
              <a:gd name="connsiteX21" fmla="*/ 2262078 w 8633690"/>
              <a:gd name="connsiteY21" fmla="*/ 3283181 h 3487140"/>
              <a:gd name="connsiteX22" fmla="*/ 2864714 w 8633690"/>
              <a:gd name="connsiteY22" fmla="*/ 2757481 h 3487140"/>
              <a:gd name="connsiteX23" fmla="*/ 2854483 w 8633690"/>
              <a:gd name="connsiteY23" fmla="*/ 1980430 h 3487140"/>
              <a:gd name="connsiteX24" fmla="*/ 2524449 w 8633690"/>
              <a:gd name="connsiteY24" fmla="*/ 1589139 h 3487140"/>
              <a:gd name="connsiteX25" fmla="*/ 2335395 w 8633690"/>
              <a:gd name="connsiteY25" fmla="*/ 1660710 h 3487140"/>
              <a:gd name="connsiteX26" fmla="*/ 2226978 w 8633690"/>
              <a:gd name="connsiteY26" fmla="*/ 2116627 h 3487140"/>
              <a:gd name="connsiteX27" fmla="*/ 2003615 w 8633690"/>
              <a:gd name="connsiteY27" fmla="*/ 2374258 h 3487140"/>
              <a:gd name="connsiteX28" fmla="*/ 1948679 w 8633690"/>
              <a:gd name="connsiteY28" fmla="*/ 2276986 h 3487140"/>
              <a:gd name="connsiteX29" fmla="*/ 2327951 w 8633690"/>
              <a:gd name="connsiteY29" fmla="*/ 2021601 h 3487140"/>
              <a:gd name="connsiteX30" fmla="*/ 2587870 w 8633690"/>
              <a:gd name="connsiteY30" fmla="*/ 1234153 h 3487140"/>
              <a:gd name="connsiteX31" fmla="*/ 2817970 w 8633690"/>
              <a:gd name="connsiteY31" fmla="*/ 725296 h 3487140"/>
              <a:gd name="connsiteX32" fmla="*/ 2926553 w 8633690"/>
              <a:gd name="connsiteY32" fmla="*/ 539984 h 3487140"/>
              <a:gd name="connsiteX33" fmla="*/ 2895405 w 8633690"/>
              <a:gd name="connsiteY33" fmla="*/ 435851 h 3487140"/>
              <a:gd name="connsiteX34" fmla="*/ 2789067 w 8633690"/>
              <a:gd name="connsiteY34" fmla="*/ 350265 h 3487140"/>
              <a:gd name="connsiteX35" fmla="*/ 2743779 w 8633690"/>
              <a:gd name="connsiteY35" fmla="*/ 209327 h 3487140"/>
              <a:gd name="connsiteX36" fmla="*/ 2788609 w 8633690"/>
              <a:gd name="connsiteY36" fmla="*/ 82237 h 3487140"/>
              <a:gd name="connsiteX37" fmla="*/ 2968889 w 8633690"/>
              <a:gd name="connsiteY37" fmla="*/ 6716 h 3487140"/>
              <a:gd name="connsiteX38" fmla="*/ 3237582 w 8633690"/>
              <a:gd name="connsiteY38" fmla="*/ 10167 h 3487140"/>
              <a:gd name="connsiteX39" fmla="*/ 3321255 w 8633690"/>
              <a:gd name="connsiteY39" fmla="*/ 49800 h 3487140"/>
              <a:gd name="connsiteX40" fmla="*/ 3274220 w 8633690"/>
              <a:gd name="connsiteY40" fmla="*/ 86812 h 3487140"/>
              <a:gd name="connsiteX41" fmla="*/ 3038297 w 8633690"/>
              <a:gd name="connsiteY41" fmla="*/ 91886 h 3487140"/>
              <a:gd name="connsiteX42" fmla="*/ 2794764 w 8633690"/>
              <a:gd name="connsiteY42" fmla="*/ 75833 h 3487140"/>
              <a:gd name="connsiteX43" fmla="*/ 2687013 w 8633690"/>
              <a:gd name="connsiteY43" fmla="*/ 176931 h 3487140"/>
              <a:gd name="connsiteX44" fmla="*/ 2702275 w 8633690"/>
              <a:gd name="connsiteY44" fmla="*/ 370393 h 3487140"/>
              <a:gd name="connsiteX45" fmla="*/ 2647048 w 8633690"/>
              <a:gd name="connsiteY45" fmla="*/ 589348 h 3487140"/>
              <a:gd name="connsiteX46" fmla="*/ 2490514 w 8633690"/>
              <a:gd name="connsiteY46" fmla="*/ 903953 h 3487140"/>
              <a:gd name="connsiteX47" fmla="*/ 2280043 w 8633690"/>
              <a:gd name="connsiteY47" fmla="*/ 922501 h 3487140"/>
              <a:gd name="connsiteX48" fmla="*/ 2085624 w 8633690"/>
              <a:gd name="connsiteY48" fmla="*/ 866816 h 3487140"/>
              <a:gd name="connsiteX49" fmla="*/ 2026779 w 8633690"/>
              <a:gd name="connsiteY49" fmla="*/ 751038 h 3487140"/>
              <a:gd name="connsiteX50" fmla="*/ 2038715 w 8633690"/>
              <a:gd name="connsiteY50" fmla="*/ 369436 h 3487140"/>
              <a:gd name="connsiteX51" fmla="*/ 2100388 w 8633690"/>
              <a:gd name="connsiteY51" fmla="*/ 155805 h 3487140"/>
              <a:gd name="connsiteX52" fmla="*/ 2301752 w 8633690"/>
              <a:gd name="connsiteY52" fmla="*/ 156761 h 3487140"/>
              <a:gd name="connsiteX53" fmla="*/ 2554683 w 8633690"/>
              <a:gd name="connsiteY53" fmla="*/ 245175 h 3487140"/>
              <a:gd name="connsiteX54" fmla="*/ 2723775 w 8633690"/>
              <a:gd name="connsiteY54" fmla="*/ 357792 h 3487140"/>
              <a:gd name="connsiteX55" fmla="*/ 2828366 w 8633690"/>
              <a:gd name="connsiteY55" fmla="*/ 483301 h 3487140"/>
              <a:gd name="connsiteX56" fmla="*/ 2852570 w 8633690"/>
              <a:gd name="connsiteY56" fmla="*/ 600951 h 3487140"/>
              <a:gd name="connsiteX57" fmla="*/ 2825039 w 8633690"/>
              <a:gd name="connsiteY57" fmla="*/ 761726 h 3487140"/>
              <a:gd name="connsiteX58" fmla="*/ 2996960 w 8633690"/>
              <a:gd name="connsiteY58" fmla="*/ 1160004 h 3487140"/>
              <a:gd name="connsiteX59" fmla="*/ 3419940 w 8633690"/>
              <a:gd name="connsiteY59" fmla="*/ 1793622 h 3487140"/>
              <a:gd name="connsiteX60" fmla="*/ 3837431 w 8633690"/>
              <a:gd name="connsiteY60" fmla="*/ 2087475 h 3487140"/>
              <a:gd name="connsiteX61" fmla="*/ 3947054 w 8633690"/>
              <a:gd name="connsiteY61" fmla="*/ 2185620 h 3487140"/>
              <a:gd name="connsiteX62" fmla="*/ 3834105 w 8633690"/>
              <a:gd name="connsiteY62" fmla="*/ 2468120 h 3487140"/>
              <a:gd name="connsiteX63" fmla="*/ 3668006 w 8633690"/>
              <a:gd name="connsiteY63" fmla="*/ 2505548 h 3487140"/>
              <a:gd name="connsiteX64" fmla="*/ 3359556 w 8633690"/>
              <a:gd name="connsiteY64" fmla="*/ 2278109 h 3487140"/>
              <a:gd name="connsiteX65" fmla="*/ 2914867 w 8633690"/>
              <a:gd name="connsiteY65" fmla="*/ 1678800 h 3487140"/>
              <a:gd name="connsiteX66" fmla="*/ 2795014 w 8633690"/>
              <a:gd name="connsiteY66" fmla="*/ 1175432 h 3487140"/>
              <a:gd name="connsiteX67" fmla="*/ 2949468 w 8633690"/>
              <a:gd name="connsiteY67" fmla="*/ 1377420 h 3487140"/>
              <a:gd name="connsiteX68" fmla="*/ 3311108 w 8633690"/>
              <a:gd name="connsiteY68" fmla="*/ 2268710 h 3487140"/>
              <a:gd name="connsiteX69" fmla="*/ 3630910 w 8633690"/>
              <a:gd name="connsiteY69" fmla="*/ 2693105 h 3487140"/>
              <a:gd name="connsiteX70" fmla="*/ 3864338 w 8633690"/>
              <a:gd name="connsiteY70" fmla="*/ 2746586 h 3487140"/>
              <a:gd name="connsiteX71" fmla="*/ 4031559 w 8633690"/>
              <a:gd name="connsiteY71" fmla="*/ 2631432 h 3487140"/>
              <a:gd name="connsiteX72" fmla="*/ 4042746 w 8633690"/>
              <a:gd name="connsiteY72" fmla="*/ 2436680 h 3487140"/>
              <a:gd name="connsiteX73" fmla="*/ 3888916 w 8633690"/>
              <a:gd name="connsiteY73" fmla="*/ 2309258 h 3487140"/>
              <a:gd name="connsiteX74" fmla="*/ 3681730 w 8633690"/>
              <a:gd name="connsiteY74" fmla="*/ 2375007 h 3487140"/>
              <a:gd name="connsiteX75" fmla="*/ 3659231 w 8633690"/>
              <a:gd name="connsiteY75" fmla="*/ 2581402 h 3487140"/>
              <a:gd name="connsiteX76" fmla="*/ 3801916 w 8633690"/>
              <a:gd name="connsiteY76" fmla="*/ 2671064 h 3487140"/>
              <a:gd name="connsiteX77" fmla="*/ 3898481 w 8633690"/>
              <a:gd name="connsiteY77" fmla="*/ 2596831 h 3487140"/>
              <a:gd name="connsiteX78" fmla="*/ 3865295 w 8633690"/>
              <a:gd name="connsiteY78" fmla="*/ 2530750 h 3487140"/>
              <a:gd name="connsiteX79" fmla="*/ 3743237 w 8633690"/>
              <a:gd name="connsiteY79" fmla="*/ 2615379 h 3487140"/>
              <a:gd name="connsiteX80" fmla="*/ 3597558 w 8633690"/>
              <a:gd name="connsiteY80" fmla="*/ 2907028 h 3487140"/>
              <a:gd name="connsiteX81" fmla="*/ 3549733 w 8633690"/>
              <a:gd name="connsiteY81" fmla="*/ 3008333 h 3487140"/>
              <a:gd name="connsiteX82" fmla="*/ 3513885 w 8633690"/>
              <a:gd name="connsiteY82" fmla="*/ 3024053 h 3487140"/>
              <a:gd name="connsiteX83" fmla="*/ 3418859 w 8633690"/>
              <a:gd name="connsiteY83" fmla="*/ 3013989 h 3487140"/>
              <a:gd name="connsiteX84" fmla="*/ 3425762 w 8633690"/>
              <a:gd name="connsiteY84" fmla="*/ 2956724 h 3487140"/>
              <a:gd name="connsiteX85" fmla="*/ 3614525 w 8633690"/>
              <a:gd name="connsiteY85" fmla="*/ 2951068 h 3487140"/>
              <a:gd name="connsiteX86" fmla="*/ 3700735 w 8633690"/>
              <a:gd name="connsiteY86" fmla="*/ 2951068 h 3487140"/>
              <a:gd name="connsiteX87" fmla="*/ 3781913 w 8633690"/>
              <a:gd name="connsiteY87" fmla="*/ 2822066 h 3487140"/>
              <a:gd name="connsiteX88" fmla="*/ 3922227 w 8633690"/>
              <a:gd name="connsiteY88" fmla="*/ 2789337 h 3487140"/>
              <a:gd name="connsiteX89" fmla="*/ 4049940 w 8633690"/>
              <a:gd name="connsiteY89" fmla="*/ 2713815 h 3487140"/>
              <a:gd name="connsiteX90" fmla="*/ 4136150 w 8633690"/>
              <a:gd name="connsiteY90" fmla="*/ 2544556 h 3487140"/>
              <a:gd name="connsiteX91" fmla="*/ 4355729 w 8633690"/>
              <a:gd name="connsiteY91" fmla="*/ 2482883 h 3487140"/>
              <a:gd name="connsiteX92" fmla="*/ 4890703 w 8633690"/>
              <a:gd name="connsiteY92" fmla="*/ 2466831 h 3487140"/>
              <a:gd name="connsiteX93" fmla="*/ 5046445 w 8633690"/>
              <a:gd name="connsiteY93" fmla="*/ 2420918 h 3487140"/>
              <a:gd name="connsiteX94" fmla="*/ 4896358 w 8633690"/>
              <a:gd name="connsiteY94" fmla="*/ 2252907 h 3487140"/>
              <a:gd name="connsiteX95" fmla="*/ 4420979 w 8633690"/>
              <a:gd name="connsiteY95" fmla="*/ 1791709 h 3487140"/>
              <a:gd name="connsiteX96" fmla="*/ 4156860 w 8633690"/>
              <a:gd name="connsiteY96" fmla="*/ 1600118 h 3487140"/>
              <a:gd name="connsiteX97" fmla="*/ 4032890 w 8633690"/>
              <a:gd name="connsiteY97" fmla="*/ 1733529 h 3487140"/>
              <a:gd name="connsiteX98" fmla="*/ 3970592 w 8633690"/>
              <a:gd name="connsiteY98" fmla="*/ 1995900 h 3487140"/>
              <a:gd name="connsiteX99" fmla="*/ 4011472 w 8633690"/>
              <a:gd name="connsiteY99" fmla="*/ 2048133 h 3487140"/>
              <a:gd name="connsiteX100" fmla="*/ 4074393 w 8633690"/>
              <a:gd name="connsiteY100" fmla="*/ 1778817 h 3487140"/>
              <a:gd name="connsiteX101" fmla="*/ 4196160 w 8633690"/>
              <a:gd name="connsiteY101" fmla="*/ 1356918 h 3487140"/>
              <a:gd name="connsiteX102" fmla="*/ 4302497 w 8633690"/>
              <a:gd name="connsiteY102" fmla="*/ 986960 h 3487140"/>
              <a:gd name="connsiteX103" fmla="*/ 4273220 w 8633690"/>
              <a:gd name="connsiteY103" fmla="*/ 867107 h 3487140"/>
              <a:gd name="connsiteX104" fmla="*/ 4098306 w 8633690"/>
              <a:gd name="connsiteY104" fmla="*/ 840034 h 3487140"/>
              <a:gd name="connsiteX105" fmla="*/ 3954207 w 8633690"/>
              <a:gd name="connsiteY105" fmla="*/ 782769 h 3487140"/>
              <a:gd name="connsiteX106" fmla="*/ 3970551 w 8633690"/>
              <a:gd name="connsiteY106" fmla="*/ 714816 h 3487140"/>
              <a:gd name="connsiteX107" fmla="*/ 4144218 w 8633690"/>
              <a:gd name="connsiteY107" fmla="*/ 723008 h 3487140"/>
              <a:gd name="connsiteX108" fmla="*/ 4346829 w 8633690"/>
              <a:gd name="connsiteY108" fmla="*/ 729288 h 3487140"/>
              <a:gd name="connsiteX109" fmla="*/ 4513551 w 8633690"/>
              <a:gd name="connsiteY109" fmla="*/ 682087 h 3487140"/>
              <a:gd name="connsiteX110" fmla="*/ 4631200 w 8633690"/>
              <a:gd name="connsiteY110" fmla="*/ 703463 h 3487140"/>
              <a:gd name="connsiteX111" fmla="*/ 4653865 w 8633690"/>
              <a:gd name="connsiteY111" fmla="*/ 797199 h 3487140"/>
              <a:gd name="connsiteX112" fmla="*/ 4526152 w 8633690"/>
              <a:gd name="connsiteY112" fmla="*/ 890936 h 3487140"/>
              <a:gd name="connsiteX113" fmla="*/ 4356269 w 8633690"/>
              <a:gd name="connsiteY113" fmla="*/ 918009 h 3487140"/>
              <a:gd name="connsiteX114" fmla="*/ 4228556 w 8633690"/>
              <a:gd name="connsiteY114" fmla="*/ 1002306 h 3487140"/>
              <a:gd name="connsiteX115" fmla="*/ 4127666 w 8633690"/>
              <a:gd name="connsiteY115" fmla="*/ 1299902 h 3487140"/>
              <a:gd name="connsiteX116" fmla="*/ 4188716 w 8633690"/>
              <a:gd name="connsiteY116" fmla="*/ 1545930 h 3487140"/>
              <a:gd name="connsiteX117" fmla="*/ 4401391 w 8633690"/>
              <a:gd name="connsiteY117" fmla="*/ 1536490 h 3487140"/>
              <a:gd name="connsiteX118" fmla="*/ 4580922 w 8633690"/>
              <a:gd name="connsiteY118" fmla="*/ 1376048 h 3487140"/>
              <a:gd name="connsiteX119" fmla="*/ 4584083 w 8633690"/>
              <a:gd name="connsiteY119" fmla="*/ 1231949 h 3487140"/>
              <a:gd name="connsiteX120" fmla="*/ 4366042 w 8633690"/>
              <a:gd name="connsiteY120" fmla="*/ 1191693 h 3487140"/>
              <a:gd name="connsiteX121" fmla="*/ 4374526 w 8633690"/>
              <a:gd name="connsiteY121" fmla="*/ 1255238 h 3487140"/>
              <a:gd name="connsiteX122" fmla="*/ 4799544 w 8633690"/>
              <a:gd name="connsiteY122" fmla="*/ 1241722 h 3487140"/>
              <a:gd name="connsiteX123" fmla="*/ 5284364 w 8633690"/>
              <a:gd name="connsiteY123" fmla="*/ 1259646 h 3487140"/>
              <a:gd name="connsiteX124" fmla="*/ 5513716 w 8633690"/>
              <a:gd name="connsiteY124" fmla="*/ 1236981 h 3487140"/>
              <a:gd name="connsiteX125" fmla="*/ 5495460 w 8633690"/>
              <a:gd name="connsiteY125" fmla="*/ 1185995 h 3487140"/>
              <a:gd name="connsiteX126" fmla="*/ 5134942 w 8633690"/>
              <a:gd name="connsiteY126" fmla="*/ 1177512 h 3487140"/>
              <a:gd name="connsiteX127" fmla="*/ 4764362 w 8633690"/>
              <a:gd name="connsiteY127" fmla="*/ 1331342 h 3487140"/>
              <a:gd name="connsiteX128" fmla="*/ 4418608 w 8633690"/>
              <a:gd name="connsiteY128" fmla="*/ 1604110 h 3487140"/>
              <a:gd name="connsiteX129" fmla="*/ 4185805 w 8633690"/>
              <a:gd name="connsiteY129" fmla="*/ 1921252 h 3487140"/>
              <a:gd name="connsiteX130" fmla="*/ 4090155 w 8633690"/>
              <a:gd name="connsiteY130" fmla="*/ 2419255 h 3487140"/>
              <a:gd name="connsiteX131" fmla="*/ 4320463 w 8633690"/>
              <a:gd name="connsiteY131" fmla="*/ 3048465 h 3487140"/>
              <a:gd name="connsiteX132" fmla="*/ 4898688 w 8633690"/>
              <a:gd name="connsiteY132" fmla="*/ 3394510 h 3487140"/>
              <a:gd name="connsiteX133" fmla="*/ 5537337 w 8633690"/>
              <a:gd name="connsiteY133" fmla="*/ 3330632 h 3487140"/>
              <a:gd name="connsiteX134" fmla="*/ 6032512 w 8633690"/>
              <a:gd name="connsiteY134" fmla="*/ 2841404 h 3487140"/>
              <a:gd name="connsiteX135" fmla="*/ 6065865 w 8633690"/>
              <a:gd name="connsiteY135" fmla="*/ 2052999 h 3487140"/>
              <a:gd name="connsiteX136" fmla="*/ 5634858 w 8633690"/>
              <a:gd name="connsiteY136" fmla="*/ 1482011 h 3487140"/>
              <a:gd name="connsiteX137" fmla="*/ 5168004 w 8633690"/>
              <a:gd name="connsiteY137" fmla="*/ 1352717 h 3487140"/>
              <a:gd name="connsiteX138" fmla="*/ 5007562 w 8633690"/>
              <a:gd name="connsiteY138" fmla="*/ 1466624 h 3487140"/>
              <a:gd name="connsiteX139" fmla="*/ 5029603 w 8633690"/>
              <a:gd name="connsiteY139" fmla="*/ 2001140 h 3487140"/>
              <a:gd name="connsiteX140" fmla="*/ 5063579 w 8633690"/>
              <a:gd name="connsiteY140" fmla="*/ 2313208 h 3487140"/>
              <a:gd name="connsiteX141" fmla="*/ 5155279 w 8633690"/>
              <a:gd name="connsiteY141" fmla="*/ 2399085 h 3487140"/>
              <a:gd name="connsiteX142" fmla="*/ 5259745 w 8633690"/>
              <a:gd name="connsiteY142" fmla="*/ 2362905 h 3487140"/>
              <a:gd name="connsiteX143" fmla="*/ 5224354 w 8633690"/>
              <a:gd name="connsiteY143" fmla="*/ 2271372 h 3487140"/>
              <a:gd name="connsiteX144" fmla="*/ 5126750 w 8633690"/>
              <a:gd name="connsiteY144" fmla="*/ 2303394 h 3487140"/>
              <a:gd name="connsiteX145" fmla="*/ 5110364 w 8633690"/>
              <a:gd name="connsiteY145" fmla="*/ 2437262 h 3487140"/>
              <a:gd name="connsiteX146" fmla="*/ 5109283 w 8633690"/>
              <a:gd name="connsiteY146" fmla="*/ 2519521 h 3487140"/>
              <a:gd name="connsiteX147" fmla="*/ 4930169 w 8633690"/>
              <a:gd name="connsiteY147" fmla="*/ 2539400 h 3487140"/>
              <a:gd name="connsiteX148" fmla="*/ 4519914 w 8633690"/>
              <a:gd name="connsiteY148" fmla="*/ 2545679 h 3487140"/>
              <a:gd name="connsiteX149" fmla="*/ 4279542 w 8633690"/>
              <a:gd name="connsiteY149" fmla="*/ 2602944 h 3487140"/>
              <a:gd name="connsiteX150" fmla="*/ 4269935 w 8633690"/>
              <a:gd name="connsiteY150" fmla="*/ 2790460 h 3487140"/>
              <a:gd name="connsiteX151" fmla="*/ 4463272 w 8633690"/>
              <a:gd name="connsiteY151" fmla="*/ 3133385 h 3487140"/>
              <a:gd name="connsiteX152" fmla="*/ 4955162 w 8633690"/>
              <a:gd name="connsiteY152" fmla="*/ 3465290 h 3487140"/>
              <a:gd name="connsiteX153" fmla="*/ 5695908 w 8633690"/>
              <a:gd name="connsiteY153" fmla="*/ 3390434 h 3487140"/>
              <a:gd name="connsiteX154" fmla="*/ 6135731 w 8633690"/>
              <a:gd name="connsiteY154" fmla="*/ 3017940 h 3487140"/>
              <a:gd name="connsiteX155" fmla="*/ 6449712 w 8633690"/>
              <a:gd name="connsiteY155" fmla="*/ 2655510 h 3487140"/>
              <a:gd name="connsiteX156" fmla="*/ 6822206 w 8633690"/>
              <a:gd name="connsiteY156" fmla="*/ 3163577 h 3487140"/>
              <a:gd name="connsiteX157" fmla="*/ 7046193 w 8633690"/>
              <a:gd name="connsiteY157" fmla="*/ 3255443 h 3487140"/>
              <a:gd name="connsiteX158" fmla="*/ 7124210 w 8633690"/>
              <a:gd name="connsiteY158" fmla="*/ 2786675 h 3487140"/>
              <a:gd name="connsiteX159" fmla="*/ 7433783 w 8633690"/>
              <a:gd name="connsiteY159" fmla="*/ 2869724 h 3487140"/>
              <a:gd name="connsiteX160" fmla="*/ 7672575 w 8633690"/>
              <a:gd name="connsiteY160" fmla="*/ 3245046 h 3487140"/>
              <a:gd name="connsiteX161" fmla="*/ 8045068 w 8633690"/>
              <a:gd name="connsiteY161" fmla="*/ 3329676 h 3487140"/>
              <a:gd name="connsiteX162" fmla="*/ 8633690 w 8633690"/>
              <a:gd name="connsiteY162" fmla="*/ 3217682 h 3487140"/>
              <a:gd name="connsiteX0" fmla="*/ 0 w 8404339"/>
              <a:gd name="connsiteY0" fmla="*/ 3416675 h 3487140"/>
              <a:gd name="connsiteX1" fmla="*/ 159819 w 8404339"/>
              <a:gd name="connsiteY1" fmla="*/ 3205871 h 3487140"/>
              <a:gd name="connsiteX2" fmla="*/ 419072 w 8404339"/>
              <a:gd name="connsiteY2" fmla="*/ 2696848 h 3487140"/>
              <a:gd name="connsiteX3" fmla="*/ 693420 w 8404339"/>
              <a:gd name="connsiteY3" fmla="*/ 2954187 h 3487140"/>
              <a:gd name="connsiteX4" fmla="*/ 1040754 w 8404339"/>
              <a:gd name="connsiteY4" fmla="*/ 3339906 h 3487140"/>
              <a:gd name="connsiteX5" fmla="*/ 1498876 w 8404339"/>
              <a:gd name="connsiteY5" fmla="*/ 3385485 h 3487140"/>
              <a:gd name="connsiteX6" fmla="*/ 1577558 w 8404339"/>
              <a:gd name="connsiteY6" fmla="*/ 3295741 h 3487140"/>
              <a:gd name="connsiteX7" fmla="*/ 1326456 w 8404339"/>
              <a:gd name="connsiteY7" fmla="*/ 3112384 h 3487140"/>
              <a:gd name="connsiteX8" fmla="*/ 1020293 w 8404339"/>
              <a:gd name="connsiteY8" fmla="*/ 2750287 h 3487140"/>
              <a:gd name="connsiteX9" fmla="*/ 928761 w 8404339"/>
              <a:gd name="connsiteY9" fmla="*/ 2305432 h 3487140"/>
              <a:gd name="connsiteX10" fmla="*/ 1056349 w 8404339"/>
              <a:gd name="connsiteY10" fmla="*/ 1919713 h 3487140"/>
              <a:gd name="connsiteX11" fmla="*/ 1380561 w 8404339"/>
              <a:gd name="connsiteY11" fmla="*/ 1637837 h 3487140"/>
              <a:gd name="connsiteX12" fmla="*/ 1873865 w 8404339"/>
              <a:gd name="connsiteY12" fmla="*/ 1545972 h 3487140"/>
              <a:gd name="connsiteX13" fmla="*/ 2108540 w 8404339"/>
              <a:gd name="connsiteY13" fmla="*/ 1517651 h 3487140"/>
              <a:gd name="connsiteX14" fmla="*/ 2093277 w 8404339"/>
              <a:gd name="connsiteY14" fmla="*/ 1460718 h 3487140"/>
              <a:gd name="connsiteX15" fmla="*/ 1817223 w 8404339"/>
              <a:gd name="connsiteY15" fmla="*/ 1416969 h 3487140"/>
              <a:gd name="connsiteX16" fmla="*/ 1297803 w 8404339"/>
              <a:gd name="connsiteY16" fmla="*/ 1517318 h 3487140"/>
              <a:gd name="connsiteX17" fmla="*/ 888505 w 8404339"/>
              <a:gd name="connsiteY17" fmla="*/ 1960593 h 3487140"/>
              <a:gd name="connsiteX18" fmla="*/ 829035 w 8404339"/>
              <a:gd name="connsiteY18" fmla="*/ 2569342 h 3487140"/>
              <a:gd name="connsiteX19" fmla="*/ 1242742 w 8404339"/>
              <a:gd name="connsiteY19" fmla="*/ 3165532 h 3487140"/>
              <a:gd name="connsiteX20" fmla="*/ 2032727 w 8404339"/>
              <a:gd name="connsiteY20" fmla="*/ 3283181 h 3487140"/>
              <a:gd name="connsiteX21" fmla="*/ 2635363 w 8404339"/>
              <a:gd name="connsiteY21" fmla="*/ 2757481 h 3487140"/>
              <a:gd name="connsiteX22" fmla="*/ 2625132 w 8404339"/>
              <a:gd name="connsiteY22" fmla="*/ 1980430 h 3487140"/>
              <a:gd name="connsiteX23" fmla="*/ 2295098 w 8404339"/>
              <a:gd name="connsiteY23" fmla="*/ 1589139 h 3487140"/>
              <a:gd name="connsiteX24" fmla="*/ 2106044 w 8404339"/>
              <a:gd name="connsiteY24" fmla="*/ 1660710 h 3487140"/>
              <a:gd name="connsiteX25" fmla="*/ 1997627 w 8404339"/>
              <a:gd name="connsiteY25" fmla="*/ 2116627 h 3487140"/>
              <a:gd name="connsiteX26" fmla="*/ 1774264 w 8404339"/>
              <a:gd name="connsiteY26" fmla="*/ 2374258 h 3487140"/>
              <a:gd name="connsiteX27" fmla="*/ 1719328 w 8404339"/>
              <a:gd name="connsiteY27" fmla="*/ 2276986 h 3487140"/>
              <a:gd name="connsiteX28" fmla="*/ 2098600 w 8404339"/>
              <a:gd name="connsiteY28" fmla="*/ 2021601 h 3487140"/>
              <a:gd name="connsiteX29" fmla="*/ 2358519 w 8404339"/>
              <a:gd name="connsiteY29" fmla="*/ 1234153 h 3487140"/>
              <a:gd name="connsiteX30" fmla="*/ 2588619 w 8404339"/>
              <a:gd name="connsiteY30" fmla="*/ 725296 h 3487140"/>
              <a:gd name="connsiteX31" fmla="*/ 2697202 w 8404339"/>
              <a:gd name="connsiteY31" fmla="*/ 539984 h 3487140"/>
              <a:gd name="connsiteX32" fmla="*/ 2666054 w 8404339"/>
              <a:gd name="connsiteY32" fmla="*/ 435851 h 3487140"/>
              <a:gd name="connsiteX33" fmla="*/ 2559716 w 8404339"/>
              <a:gd name="connsiteY33" fmla="*/ 350265 h 3487140"/>
              <a:gd name="connsiteX34" fmla="*/ 2514428 w 8404339"/>
              <a:gd name="connsiteY34" fmla="*/ 209327 h 3487140"/>
              <a:gd name="connsiteX35" fmla="*/ 2559258 w 8404339"/>
              <a:gd name="connsiteY35" fmla="*/ 82237 h 3487140"/>
              <a:gd name="connsiteX36" fmla="*/ 2739538 w 8404339"/>
              <a:gd name="connsiteY36" fmla="*/ 6716 h 3487140"/>
              <a:gd name="connsiteX37" fmla="*/ 3008231 w 8404339"/>
              <a:gd name="connsiteY37" fmla="*/ 10167 h 3487140"/>
              <a:gd name="connsiteX38" fmla="*/ 3091904 w 8404339"/>
              <a:gd name="connsiteY38" fmla="*/ 49800 h 3487140"/>
              <a:gd name="connsiteX39" fmla="*/ 3044869 w 8404339"/>
              <a:gd name="connsiteY39" fmla="*/ 86812 h 3487140"/>
              <a:gd name="connsiteX40" fmla="*/ 2808946 w 8404339"/>
              <a:gd name="connsiteY40" fmla="*/ 91886 h 3487140"/>
              <a:gd name="connsiteX41" fmla="*/ 2565413 w 8404339"/>
              <a:gd name="connsiteY41" fmla="*/ 75833 h 3487140"/>
              <a:gd name="connsiteX42" fmla="*/ 2457662 w 8404339"/>
              <a:gd name="connsiteY42" fmla="*/ 176931 h 3487140"/>
              <a:gd name="connsiteX43" fmla="*/ 2472924 w 8404339"/>
              <a:gd name="connsiteY43" fmla="*/ 370393 h 3487140"/>
              <a:gd name="connsiteX44" fmla="*/ 2417697 w 8404339"/>
              <a:gd name="connsiteY44" fmla="*/ 589348 h 3487140"/>
              <a:gd name="connsiteX45" fmla="*/ 2261163 w 8404339"/>
              <a:gd name="connsiteY45" fmla="*/ 903953 h 3487140"/>
              <a:gd name="connsiteX46" fmla="*/ 2050692 w 8404339"/>
              <a:gd name="connsiteY46" fmla="*/ 922501 h 3487140"/>
              <a:gd name="connsiteX47" fmla="*/ 1856273 w 8404339"/>
              <a:gd name="connsiteY47" fmla="*/ 866816 h 3487140"/>
              <a:gd name="connsiteX48" fmla="*/ 1797428 w 8404339"/>
              <a:gd name="connsiteY48" fmla="*/ 751038 h 3487140"/>
              <a:gd name="connsiteX49" fmla="*/ 1809364 w 8404339"/>
              <a:gd name="connsiteY49" fmla="*/ 369436 h 3487140"/>
              <a:gd name="connsiteX50" fmla="*/ 1871037 w 8404339"/>
              <a:gd name="connsiteY50" fmla="*/ 155805 h 3487140"/>
              <a:gd name="connsiteX51" fmla="*/ 2072401 w 8404339"/>
              <a:gd name="connsiteY51" fmla="*/ 156761 h 3487140"/>
              <a:gd name="connsiteX52" fmla="*/ 2325332 w 8404339"/>
              <a:gd name="connsiteY52" fmla="*/ 245175 h 3487140"/>
              <a:gd name="connsiteX53" fmla="*/ 2494424 w 8404339"/>
              <a:gd name="connsiteY53" fmla="*/ 357792 h 3487140"/>
              <a:gd name="connsiteX54" fmla="*/ 2599015 w 8404339"/>
              <a:gd name="connsiteY54" fmla="*/ 483301 h 3487140"/>
              <a:gd name="connsiteX55" fmla="*/ 2623219 w 8404339"/>
              <a:gd name="connsiteY55" fmla="*/ 600951 h 3487140"/>
              <a:gd name="connsiteX56" fmla="*/ 2595688 w 8404339"/>
              <a:gd name="connsiteY56" fmla="*/ 761726 h 3487140"/>
              <a:gd name="connsiteX57" fmla="*/ 2767609 w 8404339"/>
              <a:gd name="connsiteY57" fmla="*/ 1160004 h 3487140"/>
              <a:gd name="connsiteX58" fmla="*/ 3190589 w 8404339"/>
              <a:gd name="connsiteY58" fmla="*/ 1793622 h 3487140"/>
              <a:gd name="connsiteX59" fmla="*/ 3608080 w 8404339"/>
              <a:gd name="connsiteY59" fmla="*/ 2087475 h 3487140"/>
              <a:gd name="connsiteX60" fmla="*/ 3717703 w 8404339"/>
              <a:gd name="connsiteY60" fmla="*/ 2185620 h 3487140"/>
              <a:gd name="connsiteX61" fmla="*/ 3604754 w 8404339"/>
              <a:gd name="connsiteY61" fmla="*/ 2468120 h 3487140"/>
              <a:gd name="connsiteX62" fmla="*/ 3438655 w 8404339"/>
              <a:gd name="connsiteY62" fmla="*/ 2505548 h 3487140"/>
              <a:gd name="connsiteX63" fmla="*/ 3130205 w 8404339"/>
              <a:gd name="connsiteY63" fmla="*/ 2278109 h 3487140"/>
              <a:gd name="connsiteX64" fmla="*/ 2685516 w 8404339"/>
              <a:gd name="connsiteY64" fmla="*/ 1678800 h 3487140"/>
              <a:gd name="connsiteX65" fmla="*/ 2565663 w 8404339"/>
              <a:gd name="connsiteY65" fmla="*/ 1175432 h 3487140"/>
              <a:gd name="connsiteX66" fmla="*/ 2720117 w 8404339"/>
              <a:gd name="connsiteY66" fmla="*/ 1377420 h 3487140"/>
              <a:gd name="connsiteX67" fmla="*/ 3081757 w 8404339"/>
              <a:gd name="connsiteY67" fmla="*/ 2268710 h 3487140"/>
              <a:gd name="connsiteX68" fmla="*/ 3401559 w 8404339"/>
              <a:gd name="connsiteY68" fmla="*/ 2693105 h 3487140"/>
              <a:gd name="connsiteX69" fmla="*/ 3634987 w 8404339"/>
              <a:gd name="connsiteY69" fmla="*/ 2746586 h 3487140"/>
              <a:gd name="connsiteX70" fmla="*/ 3802208 w 8404339"/>
              <a:gd name="connsiteY70" fmla="*/ 2631432 h 3487140"/>
              <a:gd name="connsiteX71" fmla="*/ 3813395 w 8404339"/>
              <a:gd name="connsiteY71" fmla="*/ 2436680 h 3487140"/>
              <a:gd name="connsiteX72" fmla="*/ 3659565 w 8404339"/>
              <a:gd name="connsiteY72" fmla="*/ 2309258 h 3487140"/>
              <a:gd name="connsiteX73" fmla="*/ 3452379 w 8404339"/>
              <a:gd name="connsiteY73" fmla="*/ 2375007 h 3487140"/>
              <a:gd name="connsiteX74" fmla="*/ 3429880 w 8404339"/>
              <a:gd name="connsiteY74" fmla="*/ 2581402 h 3487140"/>
              <a:gd name="connsiteX75" fmla="*/ 3572565 w 8404339"/>
              <a:gd name="connsiteY75" fmla="*/ 2671064 h 3487140"/>
              <a:gd name="connsiteX76" fmla="*/ 3669130 w 8404339"/>
              <a:gd name="connsiteY76" fmla="*/ 2596831 h 3487140"/>
              <a:gd name="connsiteX77" fmla="*/ 3635944 w 8404339"/>
              <a:gd name="connsiteY77" fmla="*/ 2530750 h 3487140"/>
              <a:gd name="connsiteX78" fmla="*/ 3513886 w 8404339"/>
              <a:gd name="connsiteY78" fmla="*/ 2615379 h 3487140"/>
              <a:gd name="connsiteX79" fmla="*/ 3368207 w 8404339"/>
              <a:gd name="connsiteY79" fmla="*/ 2907028 h 3487140"/>
              <a:gd name="connsiteX80" fmla="*/ 3320382 w 8404339"/>
              <a:gd name="connsiteY80" fmla="*/ 3008333 h 3487140"/>
              <a:gd name="connsiteX81" fmla="*/ 3284534 w 8404339"/>
              <a:gd name="connsiteY81" fmla="*/ 3024053 h 3487140"/>
              <a:gd name="connsiteX82" fmla="*/ 3189508 w 8404339"/>
              <a:gd name="connsiteY82" fmla="*/ 3013989 h 3487140"/>
              <a:gd name="connsiteX83" fmla="*/ 3196411 w 8404339"/>
              <a:gd name="connsiteY83" fmla="*/ 2956724 h 3487140"/>
              <a:gd name="connsiteX84" fmla="*/ 3385174 w 8404339"/>
              <a:gd name="connsiteY84" fmla="*/ 2951068 h 3487140"/>
              <a:gd name="connsiteX85" fmla="*/ 3471384 w 8404339"/>
              <a:gd name="connsiteY85" fmla="*/ 2951068 h 3487140"/>
              <a:gd name="connsiteX86" fmla="*/ 3552562 w 8404339"/>
              <a:gd name="connsiteY86" fmla="*/ 2822066 h 3487140"/>
              <a:gd name="connsiteX87" fmla="*/ 3692876 w 8404339"/>
              <a:gd name="connsiteY87" fmla="*/ 2789337 h 3487140"/>
              <a:gd name="connsiteX88" fmla="*/ 3820589 w 8404339"/>
              <a:gd name="connsiteY88" fmla="*/ 2713815 h 3487140"/>
              <a:gd name="connsiteX89" fmla="*/ 3906799 w 8404339"/>
              <a:gd name="connsiteY89" fmla="*/ 2544556 h 3487140"/>
              <a:gd name="connsiteX90" fmla="*/ 4126378 w 8404339"/>
              <a:gd name="connsiteY90" fmla="*/ 2482883 h 3487140"/>
              <a:gd name="connsiteX91" fmla="*/ 4661352 w 8404339"/>
              <a:gd name="connsiteY91" fmla="*/ 2466831 h 3487140"/>
              <a:gd name="connsiteX92" fmla="*/ 4817094 w 8404339"/>
              <a:gd name="connsiteY92" fmla="*/ 2420918 h 3487140"/>
              <a:gd name="connsiteX93" fmla="*/ 4667007 w 8404339"/>
              <a:gd name="connsiteY93" fmla="*/ 2252907 h 3487140"/>
              <a:gd name="connsiteX94" fmla="*/ 4191628 w 8404339"/>
              <a:gd name="connsiteY94" fmla="*/ 1791709 h 3487140"/>
              <a:gd name="connsiteX95" fmla="*/ 3927509 w 8404339"/>
              <a:gd name="connsiteY95" fmla="*/ 1600118 h 3487140"/>
              <a:gd name="connsiteX96" fmla="*/ 3803539 w 8404339"/>
              <a:gd name="connsiteY96" fmla="*/ 1733529 h 3487140"/>
              <a:gd name="connsiteX97" fmla="*/ 3741241 w 8404339"/>
              <a:gd name="connsiteY97" fmla="*/ 1995900 h 3487140"/>
              <a:gd name="connsiteX98" fmla="*/ 3782121 w 8404339"/>
              <a:gd name="connsiteY98" fmla="*/ 2048133 h 3487140"/>
              <a:gd name="connsiteX99" fmla="*/ 3845042 w 8404339"/>
              <a:gd name="connsiteY99" fmla="*/ 1778817 h 3487140"/>
              <a:gd name="connsiteX100" fmla="*/ 3966809 w 8404339"/>
              <a:gd name="connsiteY100" fmla="*/ 1356918 h 3487140"/>
              <a:gd name="connsiteX101" fmla="*/ 4073146 w 8404339"/>
              <a:gd name="connsiteY101" fmla="*/ 986960 h 3487140"/>
              <a:gd name="connsiteX102" fmla="*/ 4043869 w 8404339"/>
              <a:gd name="connsiteY102" fmla="*/ 867107 h 3487140"/>
              <a:gd name="connsiteX103" fmla="*/ 3868955 w 8404339"/>
              <a:gd name="connsiteY103" fmla="*/ 840034 h 3487140"/>
              <a:gd name="connsiteX104" fmla="*/ 3724856 w 8404339"/>
              <a:gd name="connsiteY104" fmla="*/ 782769 h 3487140"/>
              <a:gd name="connsiteX105" fmla="*/ 3741200 w 8404339"/>
              <a:gd name="connsiteY105" fmla="*/ 714816 h 3487140"/>
              <a:gd name="connsiteX106" fmla="*/ 3914867 w 8404339"/>
              <a:gd name="connsiteY106" fmla="*/ 723008 h 3487140"/>
              <a:gd name="connsiteX107" fmla="*/ 4117478 w 8404339"/>
              <a:gd name="connsiteY107" fmla="*/ 729288 h 3487140"/>
              <a:gd name="connsiteX108" fmla="*/ 4284200 w 8404339"/>
              <a:gd name="connsiteY108" fmla="*/ 682087 h 3487140"/>
              <a:gd name="connsiteX109" fmla="*/ 4401849 w 8404339"/>
              <a:gd name="connsiteY109" fmla="*/ 703463 h 3487140"/>
              <a:gd name="connsiteX110" fmla="*/ 4424514 w 8404339"/>
              <a:gd name="connsiteY110" fmla="*/ 797199 h 3487140"/>
              <a:gd name="connsiteX111" fmla="*/ 4296801 w 8404339"/>
              <a:gd name="connsiteY111" fmla="*/ 890936 h 3487140"/>
              <a:gd name="connsiteX112" fmla="*/ 4126918 w 8404339"/>
              <a:gd name="connsiteY112" fmla="*/ 918009 h 3487140"/>
              <a:gd name="connsiteX113" fmla="*/ 3999205 w 8404339"/>
              <a:gd name="connsiteY113" fmla="*/ 1002306 h 3487140"/>
              <a:gd name="connsiteX114" fmla="*/ 3898315 w 8404339"/>
              <a:gd name="connsiteY114" fmla="*/ 1299902 h 3487140"/>
              <a:gd name="connsiteX115" fmla="*/ 3959365 w 8404339"/>
              <a:gd name="connsiteY115" fmla="*/ 1545930 h 3487140"/>
              <a:gd name="connsiteX116" fmla="*/ 4172040 w 8404339"/>
              <a:gd name="connsiteY116" fmla="*/ 1536490 h 3487140"/>
              <a:gd name="connsiteX117" fmla="*/ 4351571 w 8404339"/>
              <a:gd name="connsiteY117" fmla="*/ 1376048 h 3487140"/>
              <a:gd name="connsiteX118" fmla="*/ 4354732 w 8404339"/>
              <a:gd name="connsiteY118" fmla="*/ 1231949 h 3487140"/>
              <a:gd name="connsiteX119" fmla="*/ 4136691 w 8404339"/>
              <a:gd name="connsiteY119" fmla="*/ 1191693 h 3487140"/>
              <a:gd name="connsiteX120" fmla="*/ 4145175 w 8404339"/>
              <a:gd name="connsiteY120" fmla="*/ 1255238 h 3487140"/>
              <a:gd name="connsiteX121" fmla="*/ 4570193 w 8404339"/>
              <a:gd name="connsiteY121" fmla="*/ 1241722 h 3487140"/>
              <a:gd name="connsiteX122" fmla="*/ 5055013 w 8404339"/>
              <a:gd name="connsiteY122" fmla="*/ 1259646 h 3487140"/>
              <a:gd name="connsiteX123" fmla="*/ 5284365 w 8404339"/>
              <a:gd name="connsiteY123" fmla="*/ 1236981 h 3487140"/>
              <a:gd name="connsiteX124" fmla="*/ 5266109 w 8404339"/>
              <a:gd name="connsiteY124" fmla="*/ 1185995 h 3487140"/>
              <a:gd name="connsiteX125" fmla="*/ 4905591 w 8404339"/>
              <a:gd name="connsiteY125" fmla="*/ 1177512 h 3487140"/>
              <a:gd name="connsiteX126" fmla="*/ 4535011 w 8404339"/>
              <a:gd name="connsiteY126" fmla="*/ 1331342 h 3487140"/>
              <a:gd name="connsiteX127" fmla="*/ 4189257 w 8404339"/>
              <a:gd name="connsiteY127" fmla="*/ 1604110 h 3487140"/>
              <a:gd name="connsiteX128" fmla="*/ 3956454 w 8404339"/>
              <a:gd name="connsiteY128" fmla="*/ 1921252 h 3487140"/>
              <a:gd name="connsiteX129" fmla="*/ 3860804 w 8404339"/>
              <a:gd name="connsiteY129" fmla="*/ 2419255 h 3487140"/>
              <a:gd name="connsiteX130" fmla="*/ 4091112 w 8404339"/>
              <a:gd name="connsiteY130" fmla="*/ 3048465 h 3487140"/>
              <a:gd name="connsiteX131" fmla="*/ 4669337 w 8404339"/>
              <a:gd name="connsiteY131" fmla="*/ 3394510 h 3487140"/>
              <a:gd name="connsiteX132" fmla="*/ 5307986 w 8404339"/>
              <a:gd name="connsiteY132" fmla="*/ 3330632 h 3487140"/>
              <a:gd name="connsiteX133" fmla="*/ 5803161 w 8404339"/>
              <a:gd name="connsiteY133" fmla="*/ 2841404 h 3487140"/>
              <a:gd name="connsiteX134" fmla="*/ 5836514 w 8404339"/>
              <a:gd name="connsiteY134" fmla="*/ 2052999 h 3487140"/>
              <a:gd name="connsiteX135" fmla="*/ 5405507 w 8404339"/>
              <a:gd name="connsiteY135" fmla="*/ 1482011 h 3487140"/>
              <a:gd name="connsiteX136" fmla="*/ 4938653 w 8404339"/>
              <a:gd name="connsiteY136" fmla="*/ 1352717 h 3487140"/>
              <a:gd name="connsiteX137" fmla="*/ 4778211 w 8404339"/>
              <a:gd name="connsiteY137" fmla="*/ 1466624 h 3487140"/>
              <a:gd name="connsiteX138" fmla="*/ 4800252 w 8404339"/>
              <a:gd name="connsiteY138" fmla="*/ 2001140 h 3487140"/>
              <a:gd name="connsiteX139" fmla="*/ 4834228 w 8404339"/>
              <a:gd name="connsiteY139" fmla="*/ 2313208 h 3487140"/>
              <a:gd name="connsiteX140" fmla="*/ 4925928 w 8404339"/>
              <a:gd name="connsiteY140" fmla="*/ 2399085 h 3487140"/>
              <a:gd name="connsiteX141" fmla="*/ 5030394 w 8404339"/>
              <a:gd name="connsiteY141" fmla="*/ 2362905 h 3487140"/>
              <a:gd name="connsiteX142" fmla="*/ 4995003 w 8404339"/>
              <a:gd name="connsiteY142" fmla="*/ 2271372 h 3487140"/>
              <a:gd name="connsiteX143" fmla="*/ 4897399 w 8404339"/>
              <a:gd name="connsiteY143" fmla="*/ 2303394 h 3487140"/>
              <a:gd name="connsiteX144" fmla="*/ 4881013 w 8404339"/>
              <a:gd name="connsiteY144" fmla="*/ 2437262 h 3487140"/>
              <a:gd name="connsiteX145" fmla="*/ 4879932 w 8404339"/>
              <a:gd name="connsiteY145" fmla="*/ 2519521 h 3487140"/>
              <a:gd name="connsiteX146" fmla="*/ 4700818 w 8404339"/>
              <a:gd name="connsiteY146" fmla="*/ 2539400 h 3487140"/>
              <a:gd name="connsiteX147" fmla="*/ 4290563 w 8404339"/>
              <a:gd name="connsiteY147" fmla="*/ 2545679 h 3487140"/>
              <a:gd name="connsiteX148" fmla="*/ 4050191 w 8404339"/>
              <a:gd name="connsiteY148" fmla="*/ 2602944 h 3487140"/>
              <a:gd name="connsiteX149" fmla="*/ 4040584 w 8404339"/>
              <a:gd name="connsiteY149" fmla="*/ 2790460 h 3487140"/>
              <a:gd name="connsiteX150" fmla="*/ 4233921 w 8404339"/>
              <a:gd name="connsiteY150" fmla="*/ 3133385 h 3487140"/>
              <a:gd name="connsiteX151" fmla="*/ 4725811 w 8404339"/>
              <a:gd name="connsiteY151" fmla="*/ 3465290 h 3487140"/>
              <a:gd name="connsiteX152" fmla="*/ 5466557 w 8404339"/>
              <a:gd name="connsiteY152" fmla="*/ 3390434 h 3487140"/>
              <a:gd name="connsiteX153" fmla="*/ 5906380 w 8404339"/>
              <a:gd name="connsiteY153" fmla="*/ 3017940 h 3487140"/>
              <a:gd name="connsiteX154" fmla="*/ 6220361 w 8404339"/>
              <a:gd name="connsiteY154" fmla="*/ 2655510 h 3487140"/>
              <a:gd name="connsiteX155" fmla="*/ 6592855 w 8404339"/>
              <a:gd name="connsiteY155" fmla="*/ 3163577 h 3487140"/>
              <a:gd name="connsiteX156" fmla="*/ 6816842 w 8404339"/>
              <a:gd name="connsiteY156" fmla="*/ 3255443 h 3487140"/>
              <a:gd name="connsiteX157" fmla="*/ 6894859 w 8404339"/>
              <a:gd name="connsiteY157" fmla="*/ 2786675 h 3487140"/>
              <a:gd name="connsiteX158" fmla="*/ 7204432 w 8404339"/>
              <a:gd name="connsiteY158" fmla="*/ 2869724 h 3487140"/>
              <a:gd name="connsiteX159" fmla="*/ 7443224 w 8404339"/>
              <a:gd name="connsiteY159" fmla="*/ 3245046 h 3487140"/>
              <a:gd name="connsiteX160" fmla="*/ 7815717 w 8404339"/>
              <a:gd name="connsiteY160" fmla="*/ 3329676 h 3487140"/>
              <a:gd name="connsiteX161" fmla="*/ 8404339 w 8404339"/>
              <a:gd name="connsiteY161" fmla="*/ 3217682 h 3487140"/>
              <a:gd name="connsiteX0" fmla="*/ 0 w 8244520"/>
              <a:gd name="connsiteY0" fmla="*/ 3205871 h 3487140"/>
              <a:gd name="connsiteX1" fmla="*/ 259253 w 8244520"/>
              <a:gd name="connsiteY1" fmla="*/ 2696848 h 3487140"/>
              <a:gd name="connsiteX2" fmla="*/ 533601 w 8244520"/>
              <a:gd name="connsiteY2" fmla="*/ 2954187 h 3487140"/>
              <a:gd name="connsiteX3" fmla="*/ 880935 w 8244520"/>
              <a:gd name="connsiteY3" fmla="*/ 3339906 h 3487140"/>
              <a:gd name="connsiteX4" fmla="*/ 1339057 w 8244520"/>
              <a:gd name="connsiteY4" fmla="*/ 3385485 h 3487140"/>
              <a:gd name="connsiteX5" fmla="*/ 1417739 w 8244520"/>
              <a:gd name="connsiteY5" fmla="*/ 3295741 h 3487140"/>
              <a:gd name="connsiteX6" fmla="*/ 1166637 w 8244520"/>
              <a:gd name="connsiteY6" fmla="*/ 3112384 h 3487140"/>
              <a:gd name="connsiteX7" fmla="*/ 860474 w 8244520"/>
              <a:gd name="connsiteY7" fmla="*/ 2750287 h 3487140"/>
              <a:gd name="connsiteX8" fmla="*/ 768942 w 8244520"/>
              <a:gd name="connsiteY8" fmla="*/ 2305432 h 3487140"/>
              <a:gd name="connsiteX9" fmla="*/ 896530 w 8244520"/>
              <a:gd name="connsiteY9" fmla="*/ 1919713 h 3487140"/>
              <a:gd name="connsiteX10" fmla="*/ 1220742 w 8244520"/>
              <a:gd name="connsiteY10" fmla="*/ 1637837 h 3487140"/>
              <a:gd name="connsiteX11" fmla="*/ 1714046 w 8244520"/>
              <a:gd name="connsiteY11" fmla="*/ 1545972 h 3487140"/>
              <a:gd name="connsiteX12" fmla="*/ 1948721 w 8244520"/>
              <a:gd name="connsiteY12" fmla="*/ 1517651 h 3487140"/>
              <a:gd name="connsiteX13" fmla="*/ 1933458 w 8244520"/>
              <a:gd name="connsiteY13" fmla="*/ 1460718 h 3487140"/>
              <a:gd name="connsiteX14" fmla="*/ 1657404 w 8244520"/>
              <a:gd name="connsiteY14" fmla="*/ 1416969 h 3487140"/>
              <a:gd name="connsiteX15" fmla="*/ 1137984 w 8244520"/>
              <a:gd name="connsiteY15" fmla="*/ 1517318 h 3487140"/>
              <a:gd name="connsiteX16" fmla="*/ 728686 w 8244520"/>
              <a:gd name="connsiteY16" fmla="*/ 1960593 h 3487140"/>
              <a:gd name="connsiteX17" fmla="*/ 669216 w 8244520"/>
              <a:gd name="connsiteY17" fmla="*/ 2569342 h 3487140"/>
              <a:gd name="connsiteX18" fmla="*/ 1082923 w 8244520"/>
              <a:gd name="connsiteY18" fmla="*/ 3165532 h 3487140"/>
              <a:gd name="connsiteX19" fmla="*/ 1872908 w 8244520"/>
              <a:gd name="connsiteY19" fmla="*/ 3283181 h 3487140"/>
              <a:gd name="connsiteX20" fmla="*/ 2475544 w 8244520"/>
              <a:gd name="connsiteY20" fmla="*/ 2757481 h 3487140"/>
              <a:gd name="connsiteX21" fmla="*/ 2465313 w 8244520"/>
              <a:gd name="connsiteY21" fmla="*/ 1980430 h 3487140"/>
              <a:gd name="connsiteX22" fmla="*/ 2135279 w 8244520"/>
              <a:gd name="connsiteY22" fmla="*/ 1589139 h 3487140"/>
              <a:gd name="connsiteX23" fmla="*/ 1946225 w 8244520"/>
              <a:gd name="connsiteY23" fmla="*/ 1660710 h 3487140"/>
              <a:gd name="connsiteX24" fmla="*/ 1837808 w 8244520"/>
              <a:gd name="connsiteY24" fmla="*/ 2116627 h 3487140"/>
              <a:gd name="connsiteX25" fmla="*/ 1614445 w 8244520"/>
              <a:gd name="connsiteY25" fmla="*/ 2374258 h 3487140"/>
              <a:gd name="connsiteX26" fmla="*/ 1559509 w 8244520"/>
              <a:gd name="connsiteY26" fmla="*/ 2276986 h 3487140"/>
              <a:gd name="connsiteX27" fmla="*/ 1938781 w 8244520"/>
              <a:gd name="connsiteY27" fmla="*/ 2021601 h 3487140"/>
              <a:gd name="connsiteX28" fmla="*/ 2198700 w 8244520"/>
              <a:gd name="connsiteY28" fmla="*/ 1234153 h 3487140"/>
              <a:gd name="connsiteX29" fmla="*/ 2428800 w 8244520"/>
              <a:gd name="connsiteY29" fmla="*/ 725296 h 3487140"/>
              <a:gd name="connsiteX30" fmla="*/ 2537383 w 8244520"/>
              <a:gd name="connsiteY30" fmla="*/ 539984 h 3487140"/>
              <a:gd name="connsiteX31" fmla="*/ 2506235 w 8244520"/>
              <a:gd name="connsiteY31" fmla="*/ 435851 h 3487140"/>
              <a:gd name="connsiteX32" fmla="*/ 2399897 w 8244520"/>
              <a:gd name="connsiteY32" fmla="*/ 350265 h 3487140"/>
              <a:gd name="connsiteX33" fmla="*/ 2354609 w 8244520"/>
              <a:gd name="connsiteY33" fmla="*/ 209327 h 3487140"/>
              <a:gd name="connsiteX34" fmla="*/ 2399439 w 8244520"/>
              <a:gd name="connsiteY34" fmla="*/ 82237 h 3487140"/>
              <a:gd name="connsiteX35" fmla="*/ 2579719 w 8244520"/>
              <a:gd name="connsiteY35" fmla="*/ 6716 h 3487140"/>
              <a:gd name="connsiteX36" fmla="*/ 2848412 w 8244520"/>
              <a:gd name="connsiteY36" fmla="*/ 10167 h 3487140"/>
              <a:gd name="connsiteX37" fmla="*/ 2932085 w 8244520"/>
              <a:gd name="connsiteY37" fmla="*/ 49800 h 3487140"/>
              <a:gd name="connsiteX38" fmla="*/ 2885050 w 8244520"/>
              <a:gd name="connsiteY38" fmla="*/ 86812 h 3487140"/>
              <a:gd name="connsiteX39" fmla="*/ 2649127 w 8244520"/>
              <a:gd name="connsiteY39" fmla="*/ 91886 h 3487140"/>
              <a:gd name="connsiteX40" fmla="*/ 2405594 w 8244520"/>
              <a:gd name="connsiteY40" fmla="*/ 75833 h 3487140"/>
              <a:gd name="connsiteX41" fmla="*/ 2297843 w 8244520"/>
              <a:gd name="connsiteY41" fmla="*/ 176931 h 3487140"/>
              <a:gd name="connsiteX42" fmla="*/ 2313105 w 8244520"/>
              <a:gd name="connsiteY42" fmla="*/ 370393 h 3487140"/>
              <a:gd name="connsiteX43" fmla="*/ 2257878 w 8244520"/>
              <a:gd name="connsiteY43" fmla="*/ 589348 h 3487140"/>
              <a:gd name="connsiteX44" fmla="*/ 2101344 w 8244520"/>
              <a:gd name="connsiteY44" fmla="*/ 903953 h 3487140"/>
              <a:gd name="connsiteX45" fmla="*/ 1890873 w 8244520"/>
              <a:gd name="connsiteY45" fmla="*/ 922501 h 3487140"/>
              <a:gd name="connsiteX46" fmla="*/ 1696454 w 8244520"/>
              <a:gd name="connsiteY46" fmla="*/ 866816 h 3487140"/>
              <a:gd name="connsiteX47" fmla="*/ 1637609 w 8244520"/>
              <a:gd name="connsiteY47" fmla="*/ 751038 h 3487140"/>
              <a:gd name="connsiteX48" fmla="*/ 1649545 w 8244520"/>
              <a:gd name="connsiteY48" fmla="*/ 369436 h 3487140"/>
              <a:gd name="connsiteX49" fmla="*/ 1711218 w 8244520"/>
              <a:gd name="connsiteY49" fmla="*/ 155805 h 3487140"/>
              <a:gd name="connsiteX50" fmla="*/ 1912582 w 8244520"/>
              <a:gd name="connsiteY50" fmla="*/ 156761 h 3487140"/>
              <a:gd name="connsiteX51" fmla="*/ 2165513 w 8244520"/>
              <a:gd name="connsiteY51" fmla="*/ 245175 h 3487140"/>
              <a:gd name="connsiteX52" fmla="*/ 2334605 w 8244520"/>
              <a:gd name="connsiteY52" fmla="*/ 357792 h 3487140"/>
              <a:gd name="connsiteX53" fmla="*/ 2439196 w 8244520"/>
              <a:gd name="connsiteY53" fmla="*/ 483301 h 3487140"/>
              <a:gd name="connsiteX54" fmla="*/ 2463400 w 8244520"/>
              <a:gd name="connsiteY54" fmla="*/ 600951 h 3487140"/>
              <a:gd name="connsiteX55" fmla="*/ 2435869 w 8244520"/>
              <a:gd name="connsiteY55" fmla="*/ 761726 h 3487140"/>
              <a:gd name="connsiteX56" fmla="*/ 2607790 w 8244520"/>
              <a:gd name="connsiteY56" fmla="*/ 1160004 h 3487140"/>
              <a:gd name="connsiteX57" fmla="*/ 3030770 w 8244520"/>
              <a:gd name="connsiteY57" fmla="*/ 1793622 h 3487140"/>
              <a:gd name="connsiteX58" fmla="*/ 3448261 w 8244520"/>
              <a:gd name="connsiteY58" fmla="*/ 2087475 h 3487140"/>
              <a:gd name="connsiteX59" fmla="*/ 3557884 w 8244520"/>
              <a:gd name="connsiteY59" fmla="*/ 2185620 h 3487140"/>
              <a:gd name="connsiteX60" fmla="*/ 3444935 w 8244520"/>
              <a:gd name="connsiteY60" fmla="*/ 2468120 h 3487140"/>
              <a:gd name="connsiteX61" fmla="*/ 3278836 w 8244520"/>
              <a:gd name="connsiteY61" fmla="*/ 2505548 h 3487140"/>
              <a:gd name="connsiteX62" fmla="*/ 2970386 w 8244520"/>
              <a:gd name="connsiteY62" fmla="*/ 2278109 h 3487140"/>
              <a:gd name="connsiteX63" fmla="*/ 2525697 w 8244520"/>
              <a:gd name="connsiteY63" fmla="*/ 1678800 h 3487140"/>
              <a:gd name="connsiteX64" fmla="*/ 2405844 w 8244520"/>
              <a:gd name="connsiteY64" fmla="*/ 1175432 h 3487140"/>
              <a:gd name="connsiteX65" fmla="*/ 2560298 w 8244520"/>
              <a:gd name="connsiteY65" fmla="*/ 1377420 h 3487140"/>
              <a:gd name="connsiteX66" fmla="*/ 2921938 w 8244520"/>
              <a:gd name="connsiteY66" fmla="*/ 2268710 h 3487140"/>
              <a:gd name="connsiteX67" fmla="*/ 3241740 w 8244520"/>
              <a:gd name="connsiteY67" fmla="*/ 2693105 h 3487140"/>
              <a:gd name="connsiteX68" fmla="*/ 3475168 w 8244520"/>
              <a:gd name="connsiteY68" fmla="*/ 2746586 h 3487140"/>
              <a:gd name="connsiteX69" fmla="*/ 3642389 w 8244520"/>
              <a:gd name="connsiteY69" fmla="*/ 2631432 h 3487140"/>
              <a:gd name="connsiteX70" fmla="*/ 3653576 w 8244520"/>
              <a:gd name="connsiteY70" fmla="*/ 2436680 h 3487140"/>
              <a:gd name="connsiteX71" fmla="*/ 3499746 w 8244520"/>
              <a:gd name="connsiteY71" fmla="*/ 2309258 h 3487140"/>
              <a:gd name="connsiteX72" fmla="*/ 3292560 w 8244520"/>
              <a:gd name="connsiteY72" fmla="*/ 2375007 h 3487140"/>
              <a:gd name="connsiteX73" fmla="*/ 3270061 w 8244520"/>
              <a:gd name="connsiteY73" fmla="*/ 2581402 h 3487140"/>
              <a:gd name="connsiteX74" fmla="*/ 3412746 w 8244520"/>
              <a:gd name="connsiteY74" fmla="*/ 2671064 h 3487140"/>
              <a:gd name="connsiteX75" fmla="*/ 3509311 w 8244520"/>
              <a:gd name="connsiteY75" fmla="*/ 2596831 h 3487140"/>
              <a:gd name="connsiteX76" fmla="*/ 3476125 w 8244520"/>
              <a:gd name="connsiteY76" fmla="*/ 2530750 h 3487140"/>
              <a:gd name="connsiteX77" fmla="*/ 3354067 w 8244520"/>
              <a:gd name="connsiteY77" fmla="*/ 2615379 h 3487140"/>
              <a:gd name="connsiteX78" fmla="*/ 3208388 w 8244520"/>
              <a:gd name="connsiteY78" fmla="*/ 2907028 h 3487140"/>
              <a:gd name="connsiteX79" fmla="*/ 3160563 w 8244520"/>
              <a:gd name="connsiteY79" fmla="*/ 3008333 h 3487140"/>
              <a:gd name="connsiteX80" fmla="*/ 3124715 w 8244520"/>
              <a:gd name="connsiteY80" fmla="*/ 3024053 h 3487140"/>
              <a:gd name="connsiteX81" fmla="*/ 3029689 w 8244520"/>
              <a:gd name="connsiteY81" fmla="*/ 3013989 h 3487140"/>
              <a:gd name="connsiteX82" fmla="*/ 3036592 w 8244520"/>
              <a:gd name="connsiteY82" fmla="*/ 2956724 h 3487140"/>
              <a:gd name="connsiteX83" fmla="*/ 3225355 w 8244520"/>
              <a:gd name="connsiteY83" fmla="*/ 2951068 h 3487140"/>
              <a:gd name="connsiteX84" fmla="*/ 3311565 w 8244520"/>
              <a:gd name="connsiteY84" fmla="*/ 2951068 h 3487140"/>
              <a:gd name="connsiteX85" fmla="*/ 3392743 w 8244520"/>
              <a:gd name="connsiteY85" fmla="*/ 2822066 h 3487140"/>
              <a:gd name="connsiteX86" fmla="*/ 3533057 w 8244520"/>
              <a:gd name="connsiteY86" fmla="*/ 2789337 h 3487140"/>
              <a:gd name="connsiteX87" fmla="*/ 3660770 w 8244520"/>
              <a:gd name="connsiteY87" fmla="*/ 2713815 h 3487140"/>
              <a:gd name="connsiteX88" fmla="*/ 3746980 w 8244520"/>
              <a:gd name="connsiteY88" fmla="*/ 2544556 h 3487140"/>
              <a:gd name="connsiteX89" fmla="*/ 3966559 w 8244520"/>
              <a:gd name="connsiteY89" fmla="*/ 2482883 h 3487140"/>
              <a:gd name="connsiteX90" fmla="*/ 4501533 w 8244520"/>
              <a:gd name="connsiteY90" fmla="*/ 2466831 h 3487140"/>
              <a:gd name="connsiteX91" fmla="*/ 4657275 w 8244520"/>
              <a:gd name="connsiteY91" fmla="*/ 2420918 h 3487140"/>
              <a:gd name="connsiteX92" fmla="*/ 4507188 w 8244520"/>
              <a:gd name="connsiteY92" fmla="*/ 2252907 h 3487140"/>
              <a:gd name="connsiteX93" fmla="*/ 4031809 w 8244520"/>
              <a:gd name="connsiteY93" fmla="*/ 1791709 h 3487140"/>
              <a:gd name="connsiteX94" fmla="*/ 3767690 w 8244520"/>
              <a:gd name="connsiteY94" fmla="*/ 1600118 h 3487140"/>
              <a:gd name="connsiteX95" fmla="*/ 3643720 w 8244520"/>
              <a:gd name="connsiteY95" fmla="*/ 1733529 h 3487140"/>
              <a:gd name="connsiteX96" fmla="*/ 3581422 w 8244520"/>
              <a:gd name="connsiteY96" fmla="*/ 1995900 h 3487140"/>
              <a:gd name="connsiteX97" fmla="*/ 3622302 w 8244520"/>
              <a:gd name="connsiteY97" fmla="*/ 2048133 h 3487140"/>
              <a:gd name="connsiteX98" fmla="*/ 3685223 w 8244520"/>
              <a:gd name="connsiteY98" fmla="*/ 1778817 h 3487140"/>
              <a:gd name="connsiteX99" fmla="*/ 3806990 w 8244520"/>
              <a:gd name="connsiteY99" fmla="*/ 1356918 h 3487140"/>
              <a:gd name="connsiteX100" fmla="*/ 3913327 w 8244520"/>
              <a:gd name="connsiteY100" fmla="*/ 986960 h 3487140"/>
              <a:gd name="connsiteX101" fmla="*/ 3884050 w 8244520"/>
              <a:gd name="connsiteY101" fmla="*/ 867107 h 3487140"/>
              <a:gd name="connsiteX102" fmla="*/ 3709136 w 8244520"/>
              <a:gd name="connsiteY102" fmla="*/ 840034 h 3487140"/>
              <a:gd name="connsiteX103" fmla="*/ 3565037 w 8244520"/>
              <a:gd name="connsiteY103" fmla="*/ 782769 h 3487140"/>
              <a:gd name="connsiteX104" fmla="*/ 3581381 w 8244520"/>
              <a:gd name="connsiteY104" fmla="*/ 714816 h 3487140"/>
              <a:gd name="connsiteX105" fmla="*/ 3755048 w 8244520"/>
              <a:gd name="connsiteY105" fmla="*/ 723008 h 3487140"/>
              <a:gd name="connsiteX106" fmla="*/ 3957659 w 8244520"/>
              <a:gd name="connsiteY106" fmla="*/ 729288 h 3487140"/>
              <a:gd name="connsiteX107" fmla="*/ 4124381 w 8244520"/>
              <a:gd name="connsiteY107" fmla="*/ 682087 h 3487140"/>
              <a:gd name="connsiteX108" fmla="*/ 4242030 w 8244520"/>
              <a:gd name="connsiteY108" fmla="*/ 703463 h 3487140"/>
              <a:gd name="connsiteX109" fmla="*/ 4264695 w 8244520"/>
              <a:gd name="connsiteY109" fmla="*/ 797199 h 3487140"/>
              <a:gd name="connsiteX110" fmla="*/ 4136982 w 8244520"/>
              <a:gd name="connsiteY110" fmla="*/ 890936 h 3487140"/>
              <a:gd name="connsiteX111" fmla="*/ 3967099 w 8244520"/>
              <a:gd name="connsiteY111" fmla="*/ 918009 h 3487140"/>
              <a:gd name="connsiteX112" fmla="*/ 3839386 w 8244520"/>
              <a:gd name="connsiteY112" fmla="*/ 1002306 h 3487140"/>
              <a:gd name="connsiteX113" fmla="*/ 3738496 w 8244520"/>
              <a:gd name="connsiteY113" fmla="*/ 1299902 h 3487140"/>
              <a:gd name="connsiteX114" fmla="*/ 3799546 w 8244520"/>
              <a:gd name="connsiteY114" fmla="*/ 1545930 h 3487140"/>
              <a:gd name="connsiteX115" fmla="*/ 4012221 w 8244520"/>
              <a:gd name="connsiteY115" fmla="*/ 1536490 h 3487140"/>
              <a:gd name="connsiteX116" fmla="*/ 4191752 w 8244520"/>
              <a:gd name="connsiteY116" fmla="*/ 1376048 h 3487140"/>
              <a:gd name="connsiteX117" fmla="*/ 4194913 w 8244520"/>
              <a:gd name="connsiteY117" fmla="*/ 1231949 h 3487140"/>
              <a:gd name="connsiteX118" fmla="*/ 3976872 w 8244520"/>
              <a:gd name="connsiteY118" fmla="*/ 1191693 h 3487140"/>
              <a:gd name="connsiteX119" fmla="*/ 3985356 w 8244520"/>
              <a:gd name="connsiteY119" fmla="*/ 1255238 h 3487140"/>
              <a:gd name="connsiteX120" fmla="*/ 4410374 w 8244520"/>
              <a:gd name="connsiteY120" fmla="*/ 1241722 h 3487140"/>
              <a:gd name="connsiteX121" fmla="*/ 4895194 w 8244520"/>
              <a:gd name="connsiteY121" fmla="*/ 1259646 h 3487140"/>
              <a:gd name="connsiteX122" fmla="*/ 5124546 w 8244520"/>
              <a:gd name="connsiteY122" fmla="*/ 1236981 h 3487140"/>
              <a:gd name="connsiteX123" fmla="*/ 5106290 w 8244520"/>
              <a:gd name="connsiteY123" fmla="*/ 1185995 h 3487140"/>
              <a:gd name="connsiteX124" fmla="*/ 4745772 w 8244520"/>
              <a:gd name="connsiteY124" fmla="*/ 1177512 h 3487140"/>
              <a:gd name="connsiteX125" fmla="*/ 4375192 w 8244520"/>
              <a:gd name="connsiteY125" fmla="*/ 1331342 h 3487140"/>
              <a:gd name="connsiteX126" fmla="*/ 4029438 w 8244520"/>
              <a:gd name="connsiteY126" fmla="*/ 1604110 h 3487140"/>
              <a:gd name="connsiteX127" fmla="*/ 3796635 w 8244520"/>
              <a:gd name="connsiteY127" fmla="*/ 1921252 h 3487140"/>
              <a:gd name="connsiteX128" fmla="*/ 3700985 w 8244520"/>
              <a:gd name="connsiteY128" fmla="*/ 2419255 h 3487140"/>
              <a:gd name="connsiteX129" fmla="*/ 3931293 w 8244520"/>
              <a:gd name="connsiteY129" fmla="*/ 3048465 h 3487140"/>
              <a:gd name="connsiteX130" fmla="*/ 4509518 w 8244520"/>
              <a:gd name="connsiteY130" fmla="*/ 3394510 h 3487140"/>
              <a:gd name="connsiteX131" fmla="*/ 5148167 w 8244520"/>
              <a:gd name="connsiteY131" fmla="*/ 3330632 h 3487140"/>
              <a:gd name="connsiteX132" fmla="*/ 5643342 w 8244520"/>
              <a:gd name="connsiteY132" fmla="*/ 2841404 h 3487140"/>
              <a:gd name="connsiteX133" fmla="*/ 5676695 w 8244520"/>
              <a:gd name="connsiteY133" fmla="*/ 2052999 h 3487140"/>
              <a:gd name="connsiteX134" fmla="*/ 5245688 w 8244520"/>
              <a:gd name="connsiteY134" fmla="*/ 1482011 h 3487140"/>
              <a:gd name="connsiteX135" fmla="*/ 4778834 w 8244520"/>
              <a:gd name="connsiteY135" fmla="*/ 1352717 h 3487140"/>
              <a:gd name="connsiteX136" fmla="*/ 4618392 w 8244520"/>
              <a:gd name="connsiteY136" fmla="*/ 1466624 h 3487140"/>
              <a:gd name="connsiteX137" fmla="*/ 4640433 w 8244520"/>
              <a:gd name="connsiteY137" fmla="*/ 2001140 h 3487140"/>
              <a:gd name="connsiteX138" fmla="*/ 4674409 w 8244520"/>
              <a:gd name="connsiteY138" fmla="*/ 2313208 h 3487140"/>
              <a:gd name="connsiteX139" fmla="*/ 4766109 w 8244520"/>
              <a:gd name="connsiteY139" fmla="*/ 2399085 h 3487140"/>
              <a:gd name="connsiteX140" fmla="*/ 4870575 w 8244520"/>
              <a:gd name="connsiteY140" fmla="*/ 2362905 h 3487140"/>
              <a:gd name="connsiteX141" fmla="*/ 4835184 w 8244520"/>
              <a:gd name="connsiteY141" fmla="*/ 2271372 h 3487140"/>
              <a:gd name="connsiteX142" fmla="*/ 4737580 w 8244520"/>
              <a:gd name="connsiteY142" fmla="*/ 2303394 h 3487140"/>
              <a:gd name="connsiteX143" fmla="*/ 4721194 w 8244520"/>
              <a:gd name="connsiteY143" fmla="*/ 2437262 h 3487140"/>
              <a:gd name="connsiteX144" fmla="*/ 4720113 w 8244520"/>
              <a:gd name="connsiteY144" fmla="*/ 2519521 h 3487140"/>
              <a:gd name="connsiteX145" fmla="*/ 4540999 w 8244520"/>
              <a:gd name="connsiteY145" fmla="*/ 2539400 h 3487140"/>
              <a:gd name="connsiteX146" fmla="*/ 4130744 w 8244520"/>
              <a:gd name="connsiteY146" fmla="*/ 2545679 h 3487140"/>
              <a:gd name="connsiteX147" fmla="*/ 3890372 w 8244520"/>
              <a:gd name="connsiteY147" fmla="*/ 2602944 h 3487140"/>
              <a:gd name="connsiteX148" fmla="*/ 3880765 w 8244520"/>
              <a:gd name="connsiteY148" fmla="*/ 2790460 h 3487140"/>
              <a:gd name="connsiteX149" fmla="*/ 4074102 w 8244520"/>
              <a:gd name="connsiteY149" fmla="*/ 3133385 h 3487140"/>
              <a:gd name="connsiteX150" fmla="*/ 4565992 w 8244520"/>
              <a:gd name="connsiteY150" fmla="*/ 3465290 h 3487140"/>
              <a:gd name="connsiteX151" fmla="*/ 5306738 w 8244520"/>
              <a:gd name="connsiteY151" fmla="*/ 3390434 h 3487140"/>
              <a:gd name="connsiteX152" fmla="*/ 5746561 w 8244520"/>
              <a:gd name="connsiteY152" fmla="*/ 3017940 h 3487140"/>
              <a:gd name="connsiteX153" fmla="*/ 6060542 w 8244520"/>
              <a:gd name="connsiteY153" fmla="*/ 2655510 h 3487140"/>
              <a:gd name="connsiteX154" fmla="*/ 6433036 w 8244520"/>
              <a:gd name="connsiteY154" fmla="*/ 3163577 h 3487140"/>
              <a:gd name="connsiteX155" fmla="*/ 6657023 w 8244520"/>
              <a:gd name="connsiteY155" fmla="*/ 3255443 h 3487140"/>
              <a:gd name="connsiteX156" fmla="*/ 6735040 w 8244520"/>
              <a:gd name="connsiteY156" fmla="*/ 2786675 h 3487140"/>
              <a:gd name="connsiteX157" fmla="*/ 7044613 w 8244520"/>
              <a:gd name="connsiteY157" fmla="*/ 2869724 h 3487140"/>
              <a:gd name="connsiteX158" fmla="*/ 7283405 w 8244520"/>
              <a:gd name="connsiteY158" fmla="*/ 3245046 h 3487140"/>
              <a:gd name="connsiteX159" fmla="*/ 7655898 w 8244520"/>
              <a:gd name="connsiteY159" fmla="*/ 3329676 h 3487140"/>
              <a:gd name="connsiteX160" fmla="*/ 8244520 w 8244520"/>
              <a:gd name="connsiteY160" fmla="*/ 3217682 h 3487140"/>
              <a:gd name="connsiteX0" fmla="*/ 0 w 7985267"/>
              <a:gd name="connsiteY0" fmla="*/ 2696848 h 3487140"/>
              <a:gd name="connsiteX1" fmla="*/ 274348 w 7985267"/>
              <a:gd name="connsiteY1" fmla="*/ 2954187 h 3487140"/>
              <a:gd name="connsiteX2" fmla="*/ 621682 w 7985267"/>
              <a:gd name="connsiteY2" fmla="*/ 3339906 h 3487140"/>
              <a:gd name="connsiteX3" fmla="*/ 1079804 w 7985267"/>
              <a:gd name="connsiteY3" fmla="*/ 3385485 h 3487140"/>
              <a:gd name="connsiteX4" fmla="*/ 1158486 w 7985267"/>
              <a:gd name="connsiteY4" fmla="*/ 3295741 h 3487140"/>
              <a:gd name="connsiteX5" fmla="*/ 907384 w 7985267"/>
              <a:gd name="connsiteY5" fmla="*/ 3112384 h 3487140"/>
              <a:gd name="connsiteX6" fmla="*/ 601221 w 7985267"/>
              <a:gd name="connsiteY6" fmla="*/ 2750287 h 3487140"/>
              <a:gd name="connsiteX7" fmla="*/ 509689 w 7985267"/>
              <a:gd name="connsiteY7" fmla="*/ 2305432 h 3487140"/>
              <a:gd name="connsiteX8" fmla="*/ 637277 w 7985267"/>
              <a:gd name="connsiteY8" fmla="*/ 1919713 h 3487140"/>
              <a:gd name="connsiteX9" fmla="*/ 961489 w 7985267"/>
              <a:gd name="connsiteY9" fmla="*/ 1637837 h 3487140"/>
              <a:gd name="connsiteX10" fmla="*/ 1454793 w 7985267"/>
              <a:gd name="connsiteY10" fmla="*/ 1545972 h 3487140"/>
              <a:gd name="connsiteX11" fmla="*/ 1689468 w 7985267"/>
              <a:gd name="connsiteY11" fmla="*/ 1517651 h 3487140"/>
              <a:gd name="connsiteX12" fmla="*/ 1674205 w 7985267"/>
              <a:gd name="connsiteY12" fmla="*/ 1460718 h 3487140"/>
              <a:gd name="connsiteX13" fmla="*/ 1398151 w 7985267"/>
              <a:gd name="connsiteY13" fmla="*/ 1416969 h 3487140"/>
              <a:gd name="connsiteX14" fmla="*/ 878731 w 7985267"/>
              <a:gd name="connsiteY14" fmla="*/ 1517318 h 3487140"/>
              <a:gd name="connsiteX15" fmla="*/ 469433 w 7985267"/>
              <a:gd name="connsiteY15" fmla="*/ 1960593 h 3487140"/>
              <a:gd name="connsiteX16" fmla="*/ 409963 w 7985267"/>
              <a:gd name="connsiteY16" fmla="*/ 2569342 h 3487140"/>
              <a:gd name="connsiteX17" fmla="*/ 823670 w 7985267"/>
              <a:gd name="connsiteY17" fmla="*/ 3165532 h 3487140"/>
              <a:gd name="connsiteX18" fmla="*/ 1613655 w 7985267"/>
              <a:gd name="connsiteY18" fmla="*/ 3283181 h 3487140"/>
              <a:gd name="connsiteX19" fmla="*/ 2216291 w 7985267"/>
              <a:gd name="connsiteY19" fmla="*/ 2757481 h 3487140"/>
              <a:gd name="connsiteX20" fmla="*/ 2206060 w 7985267"/>
              <a:gd name="connsiteY20" fmla="*/ 1980430 h 3487140"/>
              <a:gd name="connsiteX21" fmla="*/ 1876026 w 7985267"/>
              <a:gd name="connsiteY21" fmla="*/ 1589139 h 3487140"/>
              <a:gd name="connsiteX22" fmla="*/ 1686972 w 7985267"/>
              <a:gd name="connsiteY22" fmla="*/ 1660710 h 3487140"/>
              <a:gd name="connsiteX23" fmla="*/ 1578555 w 7985267"/>
              <a:gd name="connsiteY23" fmla="*/ 2116627 h 3487140"/>
              <a:gd name="connsiteX24" fmla="*/ 1355192 w 7985267"/>
              <a:gd name="connsiteY24" fmla="*/ 2374258 h 3487140"/>
              <a:gd name="connsiteX25" fmla="*/ 1300256 w 7985267"/>
              <a:gd name="connsiteY25" fmla="*/ 2276986 h 3487140"/>
              <a:gd name="connsiteX26" fmla="*/ 1679528 w 7985267"/>
              <a:gd name="connsiteY26" fmla="*/ 2021601 h 3487140"/>
              <a:gd name="connsiteX27" fmla="*/ 1939447 w 7985267"/>
              <a:gd name="connsiteY27" fmla="*/ 1234153 h 3487140"/>
              <a:gd name="connsiteX28" fmla="*/ 2169547 w 7985267"/>
              <a:gd name="connsiteY28" fmla="*/ 725296 h 3487140"/>
              <a:gd name="connsiteX29" fmla="*/ 2278130 w 7985267"/>
              <a:gd name="connsiteY29" fmla="*/ 539984 h 3487140"/>
              <a:gd name="connsiteX30" fmla="*/ 2246982 w 7985267"/>
              <a:gd name="connsiteY30" fmla="*/ 435851 h 3487140"/>
              <a:gd name="connsiteX31" fmla="*/ 2140644 w 7985267"/>
              <a:gd name="connsiteY31" fmla="*/ 350265 h 3487140"/>
              <a:gd name="connsiteX32" fmla="*/ 2095356 w 7985267"/>
              <a:gd name="connsiteY32" fmla="*/ 209327 h 3487140"/>
              <a:gd name="connsiteX33" fmla="*/ 2140186 w 7985267"/>
              <a:gd name="connsiteY33" fmla="*/ 82237 h 3487140"/>
              <a:gd name="connsiteX34" fmla="*/ 2320466 w 7985267"/>
              <a:gd name="connsiteY34" fmla="*/ 6716 h 3487140"/>
              <a:gd name="connsiteX35" fmla="*/ 2589159 w 7985267"/>
              <a:gd name="connsiteY35" fmla="*/ 10167 h 3487140"/>
              <a:gd name="connsiteX36" fmla="*/ 2672832 w 7985267"/>
              <a:gd name="connsiteY36" fmla="*/ 49800 h 3487140"/>
              <a:gd name="connsiteX37" fmla="*/ 2625797 w 7985267"/>
              <a:gd name="connsiteY37" fmla="*/ 86812 h 3487140"/>
              <a:gd name="connsiteX38" fmla="*/ 2389874 w 7985267"/>
              <a:gd name="connsiteY38" fmla="*/ 91886 h 3487140"/>
              <a:gd name="connsiteX39" fmla="*/ 2146341 w 7985267"/>
              <a:gd name="connsiteY39" fmla="*/ 75833 h 3487140"/>
              <a:gd name="connsiteX40" fmla="*/ 2038590 w 7985267"/>
              <a:gd name="connsiteY40" fmla="*/ 176931 h 3487140"/>
              <a:gd name="connsiteX41" fmla="*/ 2053852 w 7985267"/>
              <a:gd name="connsiteY41" fmla="*/ 370393 h 3487140"/>
              <a:gd name="connsiteX42" fmla="*/ 1998625 w 7985267"/>
              <a:gd name="connsiteY42" fmla="*/ 589348 h 3487140"/>
              <a:gd name="connsiteX43" fmla="*/ 1842091 w 7985267"/>
              <a:gd name="connsiteY43" fmla="*/ 903953 h 3487140"/>
              <a:gd name="connsiteX44" fmla="*/ 1631620 w 7985267"/>
              <a:gd name="connsiteY44" fmla="*/ 922501 h 3487140"/>
              <a:gd name="connsiteX45" fmla="*/ 1437201 w 7985267"/>
              <a:gd name="connsiteY45" fmla="*/ 866816 h 3487140"/>
              <a:gd name="connsiteX46" fmla="*/ 1378356 w 7985267"/>
              <a:gd name="connsiteY46" fmla="*/ 751038 h 3487140"/>
              <a:gd name="connsiteX47" fmla="*/ 1390292 w 7985267"/>
              <a:gd name="connsiteY47" fmla="*/ 369436 h 3487140"/>
              <a:gd name="connsiteX48" fmla="*/ 1451965 w 7985267"/>
              <a:gd name="connsiteY48" fmla="*/ 155805 h 3487140"/>
              <a:gd name="connsiteX49" fmla="*/ 1653329 w 7985267"/>
              <a:gd name="connsiteY49" fmla="*/ 156761 h 3487140"/>
              <a:gd name="connsiteX50" fmla="*/ 1906260 w 7985267"/>
              <a:gd name="connsiteY50" fmla="*/ 245175 h 3487140"/>
              <a:gd name="connsiteX51" fmla="*/ 2075352 w 7985267"/>
              <a:gd name="connsiteY51" fmla="*/ 357792 h 3487140"/>
              <a:gd name="connsiteX52" fmla="*/ 2179943 w 7985267"/>
              <a:gd name="connsiteY52" fmla="*/ 483301 h 3487140"/>
              <a:gd name="connsiteX53" fmla="*/ 2204147 w 7985267"/>
              <a:gd name="connsiteY53" fmla="*/ 600951 h 3487140"/>
              <a:gd name="connsiteX54" fmla="*/ 2176616 w 7985267"/>
              <a:gd name="connsiteY54" fmla="*/ 761726 h 3487140"/>
              <a:gd name="connsiteX55" fmla="*/ 2348537 w 7985267"/>
              <a:gd name="connsiteY55" fmla="*/ 1160004 h 3487140"/>
              <a:gd name="connsiteX56" fmla="*/ 2771517 w 7985267"/>
              <a:gd name="connsiteY56" fmla="*/ 1793622 h 3487140"/>
              <a:gd name="connsiteX57" fmla="*/ 3189008 w 7985267"/>
              <a:gd name="connsiteY57" fmla="*/ 2087475 h 3487140"/>
              <a:gd name="connsiteX58" fmla="*/ 3298631 w 7985267"/>
              <a:gd name="connsiteY58" fmla="*/ 2185620 h 3487140"/>
              <a:gd name="connsiteX59" fmla="*/ 3185682 w 7985267"/>
              <a:gd name="connsiteY59" fmla="*/ 2468120 h 3487140"/>
              <a:gd name="connsiteX60" fmla="*/ 3019583 w 7985267"/>
              <a:gd name="connsiteY60" fmla="*/ 2505548 h 3487140"/>
              <a:gd name="connsiteX61" fmla="*/ 2711133 w 7985267"/>
              <a:gd name="connsiteY61" fmla="*/ 2278109 h 3487140"/>
              <a:gd name="connsiteX62" fmla="*/ 2266444 w 7985267"/>
              <a:gd name="connsiteY62" fmla="*/ 1678800 h 3487140"/>
              <a:gd name="connsiteX63" fmla="*/ 2146591 w 7985267"/>
              <a:gd name="connsiteY63" fmla="*/ 1175432 h 3487140"/>
              <a:gd name="connsiteX64" fmla="*/ 2301045 w 7985267"/>
              <a:gd name="connsiteY64" fmla="*/ 1377420 h 3487140"/>
              <a:gd name="connsiteX65" fmla="*/ 2662685 w 7985267"/>
              <a:gd name="connsiteY65" fmla="*/ 2268710 h 3487140"/>
              <a:gd name="connsiteX66" fmla="*/ 2982487 w 7985267"/>
              <a:gd name="connsiteY66" fmla="*/ 2693105 h 3487140"/>
              <a:gd name="connsiteX67" fmla="*/ 3215915 w 7985267"/>
              <a:gd name="connsiteY67" fmla="*/ 2746586 h 3487140"/>
              <a:gd name="connsiteX68" fmla="*/ 3383136 w 7985267"/>
              <a:gd name="connsiteY68" fmla="*/ 2631432 h 3487140"/>
              <a:gd name="connsiteX69" fmla="*/ 3394323 w 7985267"/>
              <a:gd name="connsiteY69" fmla="*/ 2436680 h 3487140"/>
              <a:gd name="connsiteX70" fmla="*/ 3240493 w 7985267"/>
              <a:gd name="connsiteY70" fmla="*/ 2309258 h 3487140"/>
              <a:gd name="connsiteX71" fmla="*/ 3033307 w 7985267"/>
              <a:gd name="connsiteY71" fmla="*/ 2375007 h 3487140"/>
              <a:gd name="connsiteX72" fmla="*/ 3010808 w 7985267"/>
              <a:gd name="connsiteY72" fmla="*/ 2581402 h 3487140"/>
              <a:gd name="connsiteX73" fmla="*/ 3153493 w 7985267"/>
              <a:gd name="connsiteY73" fmla="*/ 2671064 h 3487140"/>
              <a:gd name="connsiteX74" fmla="*/ 3250058 w 7985267"/>
              <a:gd name="connsiteY74" fmla="*/ 2596831 h 3487140"/>
              <a:gd name="connsiteX75" fmla="*/ 3216872 w 7985267"/>
              <a:gd name="connsiteY75" fmla="*/ 2530750 h 3487140"/>
              <a:gd name="connsiteX76" fmla="*/ 3094814 w 7985267"/>
              <a:gd name="connsiteY76" fmla="*/ 2615379 h 3487140"/>
              <a:gd name="connsiteX77" fmla="*/ 2949135 w 7985267"/>
              <a:gd name="connsiteY77" fmla="*/ 2907028 h 3487140"/>
              <a:gd name="connsiteX78" fmla="*/ 2901310 w 7985267"/>
              <a:gd name="connsiteY78" fmla="*/ 3008333 h 3487140"/>
              <a:gd name="connsiteX79" fmla="*/ 2865462 w 7985267"/>
              <a:gd name="connsiteY79" fmla="*/ 3024053 h 3487140"/>
              <a:gd name="connsiteX80" fmla="*/ 2770436 w 7985267"/>
              <a:gd name="connsiteY80" fmla="*/ 3013989 h 3487140"/>
              <a:gd name="connsiteX81" fmla="*/ 2777339 w 7985267"/>
              <a:gd name="connsiteY81" fmla="*/ 2956724 h 3487140"/>
              <a:gd name="connsiteX82" fmla="*/ 2966102 w 7985267"/>
              <a:gd name="connsiteY82" fmla="*/ 2951068 h 3487140"/>
              <a:gd name="connsiteX83" fmla="*/ 3052312 w 7985267"/>
              <a:gd name="connsiteY83" fmla="*/ 2951068 h 3487140"/>
              <a:gd name="connsiteX84" fmla="*/ 3133490 w 7985267"/>
              <a:gd name="connsiteY84" fmla="*/ 2822066 h 3487140"/>
              <a:gd name="connsiteX85" fmla="*/ 3273804 w 7985267"/>
              <a:gd name="connsiteY85" fmla="*/ 2789337 h 3487140"/>
              <a:gd name="connsiteX86" fmla="*/ 3401517 w 7985267"/>
              <a:gd name="connsiteY86" fmla="*/ 2713815 h 3487140"/>
              <a:gd name="connsiteX87" fmla="*/ 3487727 w 7985267"/>
              <a:gd name="connsiteY87" fmla="*/ 2544556 h 3487140"/>
              <a:gd name="connsiteX88" fmla="*/ 3707306 w 7985267"/>
              <a:gd name="connsiteY88" fmla="*/ 2482883 h 3487140"/>
              <a:gd name="connsiteX89" fmla="*/ 4242280 w 7985267"/>
              <a:gd name="connsiteY89" fmla="*/ 2466831 h 3487140"/>
              <a:gd name="connsiteX90" fmla="*/ 4398022 w 7985267"/>
              <a:gd name="connsiteY90" fmla="*/ 2420918 h 3487140"/>
              <a:gd name="connsiteX91" fmla="*/ 4247935 w 7985267"/>
              <a:gd name="connsiteY91" fmla="*/ 2252907 h 3487140"/>
              <a:gd name="connsiteX92" fmla="*/ 3772556 w 7985267"/>
              <a:gd name="connsiteY92" fmla="*/ 1791709 h 3487140"/>
              <a:gd name="connsiteX93" fmla="*/ 3508437 w 7985267"/>
              <a:gd name="connsiteY93" fmla="*/ 1600118 h 3487140"/>
              <a:gd name="connsiteX94" fmla="*/ 3384467 w 7985267"/>
              <a:gd name="connsiteY94" fmla="*/ 1733529 h 3487140"/>
              <a:gd name="connsiteX95" fmla="*/ 3322169 w 7985267"/>
              <a:gd name="connsiteY95" fmla="*/ 1995900 h 3487140"/>
              <a:gd name="connsiteX96" fmla="*/ 3363049 w 7985267"/>
              <a:gd name="connsiteY96" fmla="*/ 2048133 h 3487140"/>
              <a:gd name="connsiteX97" fmla="*/ 3425970 w 7985267"/>
              <a:gd name="connsiteY97" fmla="*/ 1778817 h 3487140"/>
              <a:gd name="connsiteX98" fmla="*/ 3547737 w 7985267"/>
              <a:gd name="connsiteY98" fmla="*/ 1356918 h 3487140"/>
              <a:gd name="connsiteX99" fmla="*/ 3654074 w 7985267"/>
              <a:gd name="connsiteY99" fmla="*/ 986960 h 3487140"/>
              <a:gd name="connsiteX100" fmla="*/ 3624797 w 7985267"/>
              <a:gd name="connsiteY100" fmla="*/ 867107 h 3487140"/>
              <a:gd name="connsiteX101" fmla="*/ 3449883 w 7985267"/>
              <a:gd name="connsiteY101" fmla="*/ 840034 h 3487140"/>
              <a:gd name="connsiteX102" fmla="*/ 3305784 w 7985267"/>
              <a:gd name="connsiteY102" fmla="*/ 782769 h 3487140"/>
              <a:gd name="connsiteX103" fmla="*/ 3322128 w 7985267"/>
              <a:gd name="connsiteY103" fmla="*/ 714816 h 3487140"/>
              <a:gd name="connsiteX104" fmla="*/ 3495795 w 7985267"/>
              <a:gd name="connsiteY104" fmla="*/ 723008 h 3487140"/>
              <a:gd name="connsiteX105" fmla="*/ 3698406 w 7985267"/>
              <a:gd name="connsiteY105" fmla="*/ 729288 h 3487140"/>
              <a:gd name="connsiteX106" fmla="*/ 3865128 w 7985267"/>
              <a:gd name="connsiteY106" fmla="*/ 682087 h 3487140"/>
              <a:gd name="connsiteX107" fmla="*/ 3982777 w 7985267"/>
              <a:gd name="connsiteY107" fmla="*/ 703463 h 3487140"/>
              <a:gd name="connsiteX108" fmla="*/ 4005442 w 7985267"/>
              <a:gd name="connsiteY108" fmla="*/ 797199 h 3487140"/>
              <a:gd name="connsiteX109" fmla="*/ 3877729 w 7985267"/>
              <a:gd name="connsiteY109" fmla="*/ 890936 h 3487140"/>
              <a:gd name="connsiteX110" fmla="*/ 3707846 w 7985267"/>
              <a:gd name="connsiteY110" fmla="*/ 918009 h 3487140"/>
              <a:gd name="connsiteX111" fmla="*/ 3580133 w 7985267"/>
              <a:gd name="connsiteY111" fmla="*/ 1002306 h 3487140"/>
              <a:gd name="connsiteX112" fmla="*/ 3479243 w 7985267"/>
              <a:gd name="connsiteY112" fmla="*/ 1299902 h 3487140"/>
              <a:gd name="connsiteX113" fmla="*/ 3540293 w 7985267"/>
              <a:gd name="connsiteY113" fmla="*/ 1545930 h 3487140"/>
              <a:gd name="connsiteX114" fmla="*/ 3752968 w 7985267"/>
              <a:gd name="connsiteY114" fmla="*/ 1536490 h 3487140"/>
              <a:gd name="connsiteX115" fmla="*/ 3932499 w 7985267"/>
              <a:gd name="connsiteY115" fmla="*/ 1376048 h 3487140"/>
              <a:gd name="connsiteX116" fmla="*/ 3935660 w 7985267"/>
              <a:gd name="connsiteY116" fmla="*/ 1231949 h 3487140"/>
              <a:gd name="connsiteX117" fmla="*/ 3717619 w 7985267"/>
              <a:gd name="connsiteY117" fmla="*/ 1191693 h 3487140"/>
              <a:gd name="connsiteX118" fmla="*/ 3726103 w 7985267"/>
              <a:gd name="connsiteY118" fmla="*/ 1255238 h 3487140"/>
              <a:gd name="connsiteX119" fmla="*/ 4151121 w 7985267"/>
              <a:gd name="connsiteY119" fmla="*/ 1241722 h 3487140"/>
              <a:gd name="connsiteX120" fmla="*/ 4635941 w 7985267"/>
              <a:gd name="connsiteY120" fmla="*/ 1259646 h 3487140"/>
              <a:gd name="connsiteX121" fmla="*/ 4865293 w 7985267"/>
              <a:gd name="connsiteY121" fmla="*/ 1236981 h 3487140"/>
              <a:gd name="connsiteX122" fmla="*/ 4847037 w 7985267"/>
              <a:gd name="connsiteY122" fmla="*/ 1185995 h 3487140"/>
              <a:gd name="connsiteX123" fmla="*/ 4486519 w 7985267"/>
              <a:gd name="connsiteY123" fmla="*/ 1177512 h 3487140"/>
              <a:gd name="connsiteX124" fmla="*/ 4115939 w 7985267"/>
              <a:gd name="connsiteY124" fmla="*/ 1331342 h 3487140"/>
              <a:gd name="connsiteX125" fmla="*/ 3770185 w 7985267"/>
              <a:gd name="connsiteY125" fmla="*/ 1604110 h 3487140"/>
              <a:gd name="connsiteX126" fmla="*/ 3537382 w 7985267"/>
              <a:gd name="connsiteY126" fmla="*/ 1921252 h 3487140"/>
              <a:gd name="connsiteX127" fmla="*/ 3441732 w 7985267"/>
              <a:gd name="connsiteY127" fmla="*/ 2419255 h 3487140"/>
              <a:gd name="connsiteX128" fmla="*/ 3672040 w 7985267"/>
              <a:gd name="connsiteY128" fmla="*/ 3048465 h 3487140"/>
              <a:gd name="connsiteX129" fmla="*/ 4250265 w 7985267"/>
              <a:gd name="connsiteY129" fmla="*/ 3394510 h 3487140"/>
              <a:gd name="connsiteX130" fmla="*/ 4888914 w 7985267"/>
              <a:gd name="connsiteY130" fmla="*/ 3330632 h 3487140"/>
              <a:gd name="connsiteX131" fmla="*/ 5384089 w 7985267"/>
              <a:gd name="connsiteY131" fmla="*/ 2841404 h 3487140"/>
              <a:gd name="connsiteX132" fmla="*/ 5417442 w 7985267"/>
              <a:gd name="connsiteY132" fmla="*/ 2052999 h 3487140"/>
              <a:gd name="connsiteX133" fmla="*/ 4986435 w 7985267"/>
              <a:gd name="connsiteY133" fmla="*/ 1482011 h 3487140"/>
              <a:gd name="connsiteX134" fmla="*/ 4519581 w 7985267"/>
              <a:gd name="connsiteY134" fmla="*/ 1352717 h 3487140"/>
              <a:gd name="connsiteX135" fmla="*/ 4359139 w 7985267"/>
              <a:gd name="connsiteY135" fmla="*/ 1466624 h 3487140"/>
              <a:gd name="connsiteX136" fmla="*/ 4381180 w 7985267"/>
              <a:gd name="connsiteY136" fmla="*/ 2001140 h 3487140"/>
              <a:gd name="connsiteX137" fmla="*/ 4415156 w 7985267"/>
              <a:gd name="connsiteY137" fmla="*/ 2313208 h 3487140"/>
              <a:gd name="connsiteX138" fmla="*/ 4506856 w 7985267"/>
              <a:gd name="connsiteY138" fmla="*/ 2399085 h 3487140"/>
              <a:gd name="connsiteX139" fmla="*/ 4611322 w 7985267"/>
              <a:gd name="connsiteY139" fmla="*/ 2362905 h 3487140"/>
              <a:gd name="connsiteX140" fmla="*/ 4575931 w 7985267"/>
              <a:gd name="connsiteY140" fmla="*/ 2271372 h 3487140"/>
              <a:gd name="connsiteX141" fmla="*/ 4478327 w 7985267"/>
              <a:gd name="connsiteY141" fmla="*/ 2303394 h 3487140"/>
              <a:gd name="connsiteX142" fmla="*/ 4461941 w 7985267"/>
              <a:gd name="connsiteY142" fmla="*/ 2437262 h 3487140"/>
              <a:gd name="connsiteX143" fmla="*/ 4460860 w 7985267"/>
              <a:gd name="connsiteY143" fmla="*/ 2519521 h 3487140"/>
              <a:gd name="connsiteX144" fmla="*/ 4281746 w 7985267"/>
              <a:gd name="connsiteY144" fmla="*/ 2539400 h 3487140"/>
              <a:gd name="connsiteX145" fmla="*/ 3871491 w 7985267"/>
              <a:gd name="connsiteY145" fmla="*/ 2545679 h 3487140"/>
              <a:gd name="connsiteX146" fmla="*/ 3631119 w 7985267"/>
              <a:gd name="connsiteY146" fmla="*/ 2602944 h 3487140"/>
              <a:gd name="connsiteX147" fmla="*/ 3621512 w 7985267"/>
              <a:gd name="connsiteY147" fmla="*/ 2790460 h 3487140"/>
              <a:gd name="connsiteX148" fmla="*/ 3814849 w 7985267"/>
              <a:gd name="connsiteY148" fmla="*/ 3133385 h 3487140"/>
              <a:gd name="connsiteX149" fmla="*/ 4306739 w 7985267"/>
              <a:gd name="connsiteY149" fmla="*/ 3465290 h 3487140"/>
              <a:gd name="connsiteX150" fmla="*/ 5047485 w 7985267"/>
              <a:gd name="connsiteY150" fmla="*/ 3390434 h 3487140"/>
              <a:gd name="connsiteX151" fmla="*/ 5487308 w 7985267"/>
              <a:gd name="connsiteY151" fmla="*/ 3017940 h 3487140"/>
              <a:gd name="connsiteX152" fmla="*/ 5801289 w 7985267"/>
              <a:gd name="connsiteY152" fmla="*/ 2655510 h 3487140"/>
              <a:gd name="connsiteX153" fmla="*/ 6173783 w 7985267"/>
              <a:gd name="connsiteY153" fmla="*/ 3163577 h 3487140"/>
              <a:gd name="connsiteX154" fmla="*/ 6397770 w 7985267"/>
              <a:gd name="connsiteY154" fmla="*/ 3255443 h 3487140"/>
              <a:gd name="connsiteX155" fmla="*/ 6475787 w 7985267"/>
              <a:gd name="connsiteY155" fmla="*/ 2786675 h 3487140"/>
              <a:gd name="connsiteX156" fmla="*/ 6785360 w 7985267"/>
              <a:gd name="connsiteY156" fmla="*/ 2869724 h 3487140"/>
              <a:gd name="connsiteX157" fmla="*/ 7024152 w 7985267"/>
              <a:gd name="connsiteY157" fmla="*/ 3245046 h 3487140"/>
              <a:gd name="connsiteX158" fmla="*/ 7396645 w 7985267"/>
              <a:gd name="connsiteY158" fmla="*/ 3329676 h 3487140"/>
              <a:gd name="connsiteX159" fmla="*/ 7985267 w 7985267"/>
              <a:gd name="connsiteY159" fmla="*/ 3217682 h 3487140"/>
              <a:gd name="connsiteX0" fmla="*/ 0 w 7710919"/>
              <a:gd name="connsiteY0" fmla="*/ 2954187 h 3487140"/>
              <a:gd name="connsiteX1" fmla="*/ 347334 w 7710919"/>
              <a:gd name="connsiteY1" fmla="*/ 3339906 h 3487140"/>
              <a:gd name="connsiteX2" fmla="*/ 805456 w 7710919"/>
              <a:gd name="connsiteY2" fmla="*/ 3385485 h 3487140"/>
              <a:gd name="connsiteX3" fmla="*/ 884138 w 7710919"/>
              <a:gd name="connsiteY3" fmla="*/ 3295741 h 3487140"/>
              <a:gd name="connsiteX4" fmla="*/ 633036 w 7710919"/>
              <a:gd name="connsiteY4" fmla="*/ 3112384 h 3487140"/>
              <a:gd name="connsiteX5" fmla="*/ 326873 w 7710919"/>
              <a:gd name="connsiteY5" fmla="*/ 2750287 h 3487140"/>
              <a:gd name="connsiteX6" fmla="*/ 235341 w 7710919"/>
              <a:gd name="connsiteY6" fmla="*/ 2305432 h 3487140"/>
              <a:gd name="connsiteX7" fmla="*/ 362929 w 7710919"/>
              <a:gd name="connsiteY7" fmla="*/ 1919713 h 3487140"/>
              <a:gd name="connsiteX8" fmla="*/ 687141 w 7710919"/>
              <a:gd name="connsiteY8" fmla="*/ 1637837 h 3487140"/>
              <a:gd name="connsiteX9" fmla="*/ 1180445 w 7710919"/>
              <a:gd name="connsiteY9" fmla="*/ 1545972 h 3487140"/>
              <a:gd name="connsiteX10" fmla="*/ 1415120 w 7710919"/>
              <a:gd name="connsiteY10" fmla="*/ 1517651 h 3487140"/>
              <a:gd name="connsiteX11" fmla="*/ 1399857 w 7710919"/>
              <a:gd name="connsiteY11" fmla="*/ 1460718 h 3487140"/>
              <a:gd name="connsiteX12" fmla="*/ 1123803 w 7710919"/>
              <a:gd name="connsiteY12" fmla="*/ 1416969 h 3487140"/>
              <a:gd name="connsiteX13" fmla="*/ 604383 w 7710919"/>
              <a:gd name="connsiteY13" fmla="*/ 1517318 h 3487140"/>
              <a:gd name="connsiteX14" fmla="*/ 195085 w 7710919"/>
              <a:gd name="connsiteY14" fmla="*/ 1960593 h 3487140"/>
              <a:gd name="connsiteX15" fmla="*/ 135615 w 7710919"/>
              <a:gd name="connsiteY15" fmla="*/ 2569342 h 3487140"/>
              <a:gd name="connsiteX16" fmla="*/ 549322 w 7710919"/>
              <a:gd name="connsiteY16" fmla="*/ 3165532 h 3487140"/>
              <a:gd name="connsiteX17" fmla="*/ 1339307 w 7710919"/>
              <a:gd name="connsiteY17" fmla="*/ 3283181 h 3487140"/>
              <a:gd name="connsiteX18" fmla="*/ 1941943 w 7710919"/>
              <a:gd name="connsiteY18" fmla="*/ 2757481 h 3487140"/>
              <a:gd name="connsiteX19" fmla="*/ 1931712 w 7710919"/>
              <a:gd name="connsiteY19" fmla="*/ 1980430 h 3487140"/>
              <a:gd name="connsiteX20" fmla="*/ 1601678 w 7710919"/>
              <a:gd name="connsiteY20" fmla="*/ 1589139 h 3487140"/>
              <a:gd name="connsiteX21" fmla="*/ 1412624 w 7710919"/>
              <a:gd name="connsiteY21" fmla="*/ 1660710 h 3487140"/>
              <a:gd name="connsiteX22" fmla="*/ 1304207 w 7710919"/>
              <a:gd name="connsiteY22" fmla="*/ 2116627 h 3487140"/>
              <a:gd name="connsiteX23" fmla="*/ 1080844 w 7710919"/>
              <a:gd name="connsiteY23" fmla="*/ 2374258 h 3487140"/>
              <a:gd name="connsiteX24" fmla="*/ 1025908 w 7710919"/>
              <a:gd name="connsiteY24" fmla="*/ 2276986 h 3487140"/>
              <a:gd name="connsiteX25" fmla="*/ 1405180 w 7710919"/>
              <a:gd name="connsiteY25" fmla="*/ 2021601 h 3487140"/>
              <a:gd name="connsiteX26" fmla="*/ 1665099 w 7710919"/>
              <a:gd name="connsiteY26" fmla="*/ 1234153 h 3487140"/>
              <a:gd name="connsiteX27" fmla="*/ 1895199 w 7710919"/>
              <a:gd name="connsiteY27" fmla="*/ 725296 h 3487140"/>
              <a:gd name="connsiteX28" fmla="*/ 2003782 w 7710919"/>
              <a:gd name="connsiteY28" fmla="*/ 539984 h 3487140"/>
              <a:gd name="connsiteX29" fmla="*/ 1972634 w 7710919"/>
              <a:gd name="connsiteY29" fmla="*/ 435851 h 3487140"/>
              <a:gd name="connsiteX30" fmla="*/ 1866296 w 7710919"/>
              <a:gd name="connsiteY30" fmla="*/ 350265 h 3487140"/>
              <a:gd name="connsiteX31" fmla="*/ 1821008 w 7710919"/>
              <a:gd name="connsiteY31" fmla="*/ 209327 h 3487140"/>
              <a:gd name="connsiteX32" fmla="*/ 1865838 w 7710919"/>
              <a:gd name="connsiteY32" fmla="*/ 82237 h 3487140"/>
              <a:gd name="connsiteX33" fmla="*/ 2046118 w 7710919"/>
              <a:gd name="connsiteY33" fmla="*/ 6716 h 3487140"/>
              <a:gd name="connsiteX34" fmla="*/ 2314811 w 7710919"/>
              <a:gd name="connsiteY34" fmla="*/ 10167 h 3487140"/>
              <a:gd name="connsiteX35" fmla="*/ 2398484 w 7710919"/>
              <a:gd name="connsiteY35" fmla="*/ 49800 h 3487140"/>
              <a:gd name="connsiteX36" fmla="*/ 2351449 w 7710919"/>
              <a:gd name="connsiteY36" fmla="*/ 86812 h 3487140"/>
              <a:gd name="connsiteX37" fmla="*/ 2115526 w 7710919"/>
              <a:gd name="connsiteY37" fmla="*/ 91886 h 3487140"/>
              <a:gd name="connsiteX38" fmla="*/ 1871993 w 7710919"/>
              <a:gd name="connsiteY38" fmla="*/ 75833 h 3487140"/>
              <a:gd name="connsiteX39" fmla="*/ 1764242 w 7710919"/>
              <a:gd name="connsiteY39" fmla="*/ 176931 h 3487140"/>
              <a:gd name="connsiteX40" fmla="*/ 1779504 w 7710919"/>
              <a:gd name="connsiteY40" fmla="*/ 370393 h 3487140"/>
              <a:gd name="connsiteX41" fmla="*/ 1724277 w 7710919"/>
              <a:gd name="connsiteY41" fmla="*/ 589348 h 3487140"/>
              <a:gd name="connsiteX42" fmla="*/ 1567743 w 7710919"/>
              <a:gd name="connsiteY42" fmla="*/ 903953 h 3487140"/>
              <a:gd name="connsiteX43" fmla="*/ 1357272 w 7710919"/>
              <a:gd name="connsiteY43" fmla="*/ 922501 h 3487140"/>
              <a:gd name="connsiteX44" fmla="*/ 1162853 w 7710919"/>
              <a:gd name="connsiteY44" fmla="*/ 866816 h 3487140"/>
              <a:gd name="connsiteX45" fmla="*/ 1104008 w 7710919"/>
              <a:gd name="connsiteY45" fmla="*/ 751038 h 3487140"/>
              <a:gd name="connsiteX46" fmla="*/ 1115944 w 7710919"/>
              <a:gd name="connsiteY46" fmla="*/ 369436 h 3487140"/>
              <a:gd name="connsiteX47" fmla="*/ 1177617 w 7710919"/>
              <a:gd name="connsiteY47" fmla="*/ 155805 h 3487140"/>
              <a:gd name="connsiteX48" fmla="*/ 1378981 w 7710919"/>
              <a:gd name="connsiteY48" fmla="*/ 156761 h 3487140"/>
              <a:gd name="connsiteX49" fmla="*/ 1631912 w 7710919"/>
              <a:gd name="connsiteY49" fmla="*/ 245175 h 3487140"/>
              <a:gd name="connsiteX50" fmla="*/ 1801004 w 7710919"/>
              <a:gd name="connsiteY50" fmla="*/ 357792 h 3487140"/>
              <a:gd name="connsiteX51" fmla="*/ 1905595 w 7710919"/>
              <a:gd name="connsiteY51" fmla="*/ 483301 h 3487140"/>
              <a:gd name="connsiteX52" fmla="*/ 1929799 w 7710919"/>
              <a:gd name="connsiteY52" fmla="*/ 600951 h 3487140"/>
              <a:gd name="connsiteX53" fmla="*/ 1902268 w 7710919"/>
              <a:gd name="connsiteY53" fmla="*/ 761726 h 3487140"/>
              <a:gd name="connsiteX54" fmla="*/ 2074189 w 7710919"/>
              <a:gd name="connsiteY54" fmla="*/ 1160004 h 3487140"/>
              <a:gd name="connsiteX55" fmla="*/ 2497169 w 7710919"/>
              <a:gd name="connsiteY55" fmla="*/ 1793622 h 3487140"/>
              <a:gd name="connsiteX56" fmla="*/ 2914660 w 7710919"/>
              <a:gd name="connsiteY56" fmla="*/ 2087475 h 3487140"/>
              <a:gd name="connsiteX57" fmla="*/ 3024283 w 7710919"/>
              <a:gd name="connsiteY57" fmla="*/ 2185620 h 3487140"/>
              <a:gd name="connsiteX58" fmla="*/ 2911334 w 7710919"/>
              <a:gd name="connsiteY58" fmla="*/ 2468120 h 3487140"/>
              <a:gd name="connsiteX59" fmla="*/ 2745235 w 7710919"/>
              <a:gd name="connsiteY59" fmla="*/ 2505548 h 3487140"/>
              <a:gd name="connsiteX60" fmla="*/ 2436785 w 7710919"/>
              <a:gd name="connsiteY60" fmla="*/ 2278109 h 3487140"/>
              <a:gd name="connsiteX61" fmla="*/ 1992096 w 7710919"/>
              <a:gd name="connsiteY61" fmla="*/ 1678800 h 3487140"/>
              <a:gd name="connsiteX62" fmla="*/ 1872243 w 7710919"/>
              <a:gd name="connsiteY62" fmla="*/ 1175432 h 3487140"/>
              <a:gd name="connsiteX63" fmla="*/ 2026697 w 7710919"/>
              <a:gd name="connsiteY63" fmla="*/ 1377420 h 3487140"/>
              <a:gd name="connsiteX64" fmla="*/ 2388337 w 7710919"/>
              <a:gd name="connsiteY64" fmla="*/ 2268710 h 3487140"/>
              <a:gd name="connsiteX65" fmla="*/ 2708139 w 7710919"/>
              <a:gd name="connsiteY65" fmla="*/ 2693105 h 3487140"/>
              <a:gd name="connsiteX66" fmla="*/ 2941567 w 7710919"/>
              <a:gd name="connsiteY66" fmla="*/ 2746586 h 3487140"/>
              <a:gd name="connsiteX67" fmla="*/ 3108788 w 7710919"/>
              <a:gd name="connsiteY67" fmla="*/ 2631432 h 3487140"/>
              <a:gd name="connsiteX68" fmla="*/ 3119975 w 7710919"/>
              <a:gd name="connsiteY68" fmla="*/ 2436680 h 3487140"/>
              <a:gd name="connsiteX69" fmla="*/ 2966145 w 7710919"/>
              <a:gd name="connsiteY69" fmla="*/ 2309258 h 3487140"/>
              <a:gd name="connsiteX70" fmla="*/ 2758959 w 7710919"/>
              <a:gd name="connsiteY70" fmla="*/ 2375007 h 3487140"/>
              <a:gd name="connsiteX71" fmla="*/ 2736460 w 7710919"/>
              <a:gd name="connsiteY71" fmla="*/ 2581402 h 3487140"/>
              <a:gd name="connsiteX72" fmla="*/ 2879145 w 7710919"/>
              <a:gd name="connsiteY72" fmla="*/ 2671064 h 3487140"/>
              <a:gd name="connsiteX73" fmla="*/ 2975710 w 7710919"/>
              <a:gd name="connsiteY73" fmla="*/ 2596831 h 3487140"/>
              <a:gd name="connsiteX74" fmla="*/ 2942524 w 7710919"/>
              <a:gd name="connsiteY74" fmla="*/ 2530750 h 3487140"/>
              <a:gd name="connsiteX75" fmla="*/ 2820466 w 7710919"/>
              <a:gd name="connsiteY75" fmla="*/ 2615379 h 3487140"/>
              <a:gd name="connsiteX76" fmla="*/ 2674787 w 7710919"/>
              <a:gd name="connsiteY76" fmla="*/ 2907028 h 3487140"/>
              <a:gd name="connsiteX77" fmla="*/ 2626962 w 7710919"/>
              <a:gd name="connsiteY77" fmla="*/ 3008333 h 3487140"/>
              <a:gd name="connsiteX78" fmla="*/ 2591114 w 7710919"/>
              <a:gd name="connsiteY78" fmla="*/ 3024053 h 3487140"/>
              <a:gd name="connsiteX79" fmla="*/ 2496088 w 7710919"/>
              <a:gd name="connsiteY79" fmla="*/ 3013989 h 3487140"/>
              <a:gd name="connsiteX80" fmla="*/ 2502991 w 7710919"/>
              <a:gd name="connsiteY80" fmla="*/ 2956724 h 3487140"/>
              <a:gd name="connsiteX81" fmla="*/ 2691754 w 7710919"/>
              <a:gd name="connsiteY81" fmla="*/ 2951068 h 3487140"/>
              <a:gd name="connsiteX82" fmla="*/ 2777964 w 7710919"/>
              <a:gd name="connsiteY82" fmla="*/ 2951068 h 3487140"/>
              <a:gd name="connsiteX83" fmla="*/ 2859142 w 7710919"/>
              <a:gd name="connsiteY83" fmla="*/ 2822066 h 3487140"/>
              <a:gd name="connsiteX84" fmla="*/ 2999456 w 7710919"/>
              <a:gd name="connsiteY84" fmla="*/ 2789337 h 3487140"/>
              <a:gd name="connsiteX85" fmla="*/ 3127169 w 7710919"/>
              <a:gd name="connsiteY85" fmla="*/ 2713815 h 3487140"/>
              <a:gd name="connsiteX86" fmla="*/ 3213379 w 7710919"/>
              <a:gd name="connsiteY86" fmla="*/ 2544556 h 3487140"/>
              <a:gd name="connsiteX87" fmla="*/ 3432958 w 7710919"/>
              <a:gd name="connsiteY87" fmla="*/ 2482883 h 3487140"/>
              <a:gd name="connsiteX88" fmla="*/ 3967932 w 7710919"/>
              <a:gd name="connsiteY88" fmla="*/ 2466831 h 3487140"/>
              <a:gd name="connsiteX89" fmla="*/ 4123674 w 7710919"/>
              <a:gd name="connsiteY89" fmla="*/ 2420918 h 3487140"/>
              <a:gd name="connsiteX90" fmla="*/ 3973587 w 7710919"/>
              <a:gd name="connsiteY90" fmla="*/ 2252907 h 3487140"/>
              <a:gd name="connsiteX91" fmla="*/ 3498208 w 7710919"/>
              <a:gd name="connsiteY91" fmla="*/ 1791709 h 3487140"/>
              <a:gd name="connsiteX92" fmla="*/ 3234089 w 7710919"/>
              <a:gd name="connsiteY92" fmla="*/ 1600118 h 3487140"/>
              <a:gd name="connsiteX93" fmla="*/ 3110119 w 7710919"/>
              <a:gd name="connsiteY93" fmla="*/ 1733529 h 3487140"/>
              <a:gd name="connsiteX94" fmla="*/ 3047821 w 7710919"/>
              <a:gd name="connsiteY94" fmla="*/ 1995900 h 3487140"/>
              <a:gd name="connsiteX95" fmla="*/ 3088701 w 7710919"/>
              <a:gd name="connsiteY95" fmla="*/ 2048133 h 3487140"/>
              <a:gd name="connsiteX96" fmla="*/ 3151622 w 7710919"/>
              <a:gd name="connsiteY96" fmla="*/ 1778817 h 3487140"/>
              <a:gd name="connsiteX97" fmla="*/ 3273389 w 7710919"/>
              <a:gd name="connsiteY97" fmla="*/ 1356918 h 3487140"/>
              <a:gd name="connsiteX98" fmla="*/ 3379726 w 7710919"/>
              <a:gd name="connsiteY98" fmla="*/ 986960 h 3487140"/>
              <a:gd name="connsiteX99" fmla="*/ 3350449 w 7710919"/>
              <a:gd name="connsiteY99" fmla="*/ 867107 h 3487140"/>
              <a:gd name="connsiteX100" fmla="*/ 3175535 w 7710919"/>
              <a:gd name="connsiteY100" fmla="*/ 840034 h 3487140"/>
              <a:gd name="connsiteX101" fmla="*/ 3031436 w 7710919"/>
              <a:gd name="connsiteY101" fmla="*/ 782769 h 3487140"/>
              <a:gd name="connsiteX102" fmla="*/ 3047780 w 7710919"/>
              <a:gd name="connsiteY102" fmla="*/ 714816 h 3487140"/>
              <a:gd name="connsiteX103" fmla="*/ 3221447 w 7710919"/>
              <a:gd name="connsiteY103" fmla="*/ 723008 h 3487140"/>
              <a:gd name="connsiteX104" fmla="*/ 3424058 w 7710919"/>
              <a:gd name="connsiteY104" fmla="*/ 729288 h 3487140"/>
              <a:gd name="connsiteX105" fmla="*/ 3590780 w 7710919"/>
              <a:gd name="connsiteY105" fmla="*/ 682087 h 3487140"/>
              <a:gd name="connsiteX106" fmla="*/ 3708429 w 7710919"/>
              <a:gd name="connsiteY106" fmla="*/ 703463 h 3487140"/>
              <a:gd name="connsiteX107" fmla="*/ 3731094 w 7710919"/>
              <a:gd name="connsiteY107" fmla="*/ 797199 h 3487140"/>
              <a:gd name="connsiteX108" fmla="*/ 3603381 w 7710919"/>
              <a:gd name="connsiteY108" fmla="*/ 890936 h 3487140"/>
              <a:gd name="connsiteX109" fmla="*/ 3433498 w 7710919"/>
              <a:gd name="connsiteY109" fmla="*/ 918009 h 3487140"/>
              <a:gd name="connsiteX110" fmla="*/ 3305785 w 7710919"/>
              <a:gd name="connsiteY110" fmla="*/ 1002306 h 3487140"/>
              <a:gd name="connsiteX111" fmla="*/ 3204895 w 7710919"/>
              <a:gd name="connsiteY111" fmla="*/ 1299902 h 3487140"/>
              <a:gd name="connsiteX112" fmla="*/ 3265945 w 7710919"/>
              <a:gd name="connsiteY112" fmla="*/ 1545930 h 3487140"/>
              <a:gd name="connsiteX113" fmla="*/ 3478620 w 7710919"/>
              <a:gd name="connsiteY113" fmla="*/ 1536490 h 3487140"/>
              <a:gd name="connsiteX114" fmla="*/ 3658151 w 7710919"/>
              <a:gd name="connsiteY114" fmla="*/ 1376048 h 3487140"/>
              <a:gd name="connsiteX115" fmla="*/ 3661312 w 7710919"/>
              <a:gd name="connsiteY115" fmla="*/ 1231949 h 3487140"/>
              <a:gd name="connsiteX116" fmla="*/ 3443271 w 7710919"/>
              <a:gd name="connsiteY116" fmla="*/ 1191693 h 3487140"/>
              <a:gd name="connsiteX117" fmla="*/ 3451755 w 7710919"/>
              <a:gd name="connsiteY117" fmla="*/ 1255238 h 3487140"/>
              <a:gd name="connsiteX118" fmla="*/ 3876773 w 7710919"/>
              <a:gd name="connsiteY118" fmla="*/ 1241722 h 3487140"/>
              <a:gd name="connsiteX119" fmla="*/ 4361593 w 7710919"/>
              <a:gd name="connsiteY119" fmla="*/ 1259646 h 3487140"/>
              <a:gd name="connsiteX120" fmla="*/ 4590945 w 7710919"/>
              <a:gd name="connsiteY120" fmla="*/ 1236981 h 3487140"/>
              <a:gd name="connsiteX121" fmla="*/ 4572689 w 7710919"/>
              <a:gd name="connsiteY121" fmla="*/ 1185995 h 3487140"/>
              <a:gd name="connsiteX122" fmla="*/ 4212171 w 7710919"/>
              <a:gd name="connsiteY122" fmla="*/ 1177512 h 3487140"/>
              <a:gd name="connsiteX123" fmla="*/ 3841591 w 7710919"/>
              <a:gd name="connsiteY123" fmla="*/ 1331342 h 3487140"/>
              <a:gd name="connsiteX124" fmla="*/ 3495837 w 7710919"/>
              <a:gd name="connsiteY124" fmla="*/ 1604110 h 3487140"/>
              <a:gd name="connsiteX125" fmla="*/ 3263034 w 7710919"/>
              <a:gd name="connsiteY125" fmla="*/ 1921252 h 3487140"/>
              <a:gd name="connsiteX126" fmla="*/ 3167384 w 7710919"/>
              <a:gd name="connsiteY126" fmla="*/ 2419255 h 3487140"/>
              <a:gd name="connsiteX127" fmla="*/ 3397692 w 7710919"/>
              <a:gd name="connsiteY127" fmla="*/ 3048465 h 3487140"/>
              <a:gd name="connsiteX128" fmla="*/ 3975917 w 7710919"/>
              <a:gd name="connsiteY128" fmla="*/ 3394510 h 3487140"/>
              <a:gd name="connsiteX129" fmla="*/ 4614566 w 7710919"/>
              <a:gd name="connsiteY129" fmla="*/ 3330632 h 3487140"/>
              <a:gd name="connsiteX130" fmla="*/ 5109741 w 7710919"/>
              <a:gd name="connsiteY130" fmla="*/ 2841404 h 3487140"/>
              <a:gd name="connsiteX131" fmla="*/ 5143094 w 7710919"/>
              <a:gd name="connsiteY131" fmla="*/ 2052999 h 3487140"/>
              <a:gd name="connsiteX132" fmla="*/ 4712087 w 7710919"/>
              <a:gd name="connsiteY132" fmla="*/ 1482011 h 3487140"/>
              <a:gd name="connsiteX133" fmla="*/ 4245233 w 7710919"/>
              <a:gd name="connsiteY133" fmla="*/ 1352717 h 3487140"/>
              <a:gd name="connsiteX134" fmla="*/ 4084791 w 7710919"/>
              <a:gd name="connsiteY134" fmla="*/ 1466624 h 3487140"/>
              <a:gd name="connsiteX135" fmla="*/ 4106832 w 7710919"/>
              <a:gd name="connsiteY135" fmla="*/ 2001140 h 3487140"/>
              <a:gd name="connsiteX136" fmla="*/ 4140808 w 7710919"/>
              <a:gd name="connsiteY136" fmla="*/ 2313208 h 3487140"/>
              <a:gd name="connsiteX137" fmla="*/ 4232508 w 7710919"/>
              <a:gd name="connsiteY137" fmla="*/ 2399085 h 3487140"/>
              <a:gd name="connsiteX138" fmla="*/ 4336974 w 7710919"/>
              <a:gd name="connsiteY138" fmla="*/ 2362905 h 3487140"/>
              <a:gd name="connsiteX139" fmla="*/ 4301583 w 7710919"/>
              <a:gd name="connsiteY139" fmla="*/ 2271372 h 3487140"/>
              <a:gd name="connsiteX140" fmla="*/ 4203979 w 7710919"/>
              <a:gd name="connsiteY140" fmla="*/ 2303394 h 3487140"/>
              <a:gd name="connsiteX141" fmla="*/ 4187593 w 7710919"/>
              <a:gd name="connsiteY141" fmla="*/ 2437262 h 3487140"/>
              <a:gd name="connsiteX142" fmla="*/ 4186512 w 7710919"/>
              <a:gd name="connsiteY142" fmla="*/ 2519521 h 3487140"/>
              <a:gd name="connsiteX143" fmla="*/ 4007398 w 7710919"/>
              <a:gd name="connsiteY143" fmla="*/ 2539400 h 3487140"/>
              <a:gd name="connsiteX144" fmla="*/ 3597143 w 7710919"/>
              <a:gd name="connsiteY144" fmla="*/ 2545679 h 3487140"/>
              <a:gd name="connsiteX145" fmla="*/ 3356771 w 7710919"/>
              <a:gd name="connsiteY145" fmla="*/ 2602944 h 3487140"/>
              <a:gd name="connsiteX146" fmla="*/ 3347164 w 7710919"/>
              <a:gd name="connsiteY146" fmla="*/ 2790460 h 3487140"/>
              <a:gd name="connsiteX147" fmla="*/ 3540501 w 7710919"/>
              <a:gd name="connsiteY147" fmla="*/ 3133385 h 3487140"/>
              <a:gd name="connsiteX148" fmla="*/ 4032391 w 7710919"/>
              <a:gd name="connsiteY148" fmla="*/ 3465290 h 3487140"/>
              <a:gd name="connsiteX149" fmla="*/ 4773137 w 7710919"/>
              <a:gd name="connsiteY149" fmla="*/ 3390434 h 3487140"/>
              <a:gd name="connsiteX150" fmla="*/ 5212960 w 7710919"/>
              <a:gd name="connsiteY150" fmla="*/ 3017940 h 3487140"/>
              <a:gd name="connsiteX151" fmla="*/ 5526941 w 7710919"/>
              <a:gd name="connsiteY151" fmla="*/ 2655510 h 3487140"/>
              <a:gd name="connsiteX152" fmla="*/ 5899435 w 7710919"/>
              <a:gd name="connsiteY152" fmla="*/ 3163577 h 3487140"/>
              <a:gd name="connsiteX153" fmla="*/ 6123422 w 7710919"/>
              <a:gd name="connsiteY153" fmla="*/ 3255443 h 3487140"/>
              <a:gd name="connsiteX154" fmla="*/ 6201439 w 7710919"/>
              <a:gd name="connsiteY154" fmla="*/ 2786675 h 3487140"/>
              <a:gd name="connsiteX155" fmla="*/ 6511012 w 7710919"/>
              <a:gd name="connsiteY155" fmla="*/ 2869724 h 3487140"/>
              <a:gd name="connsiteX156" fmla="*/ 6749804 w 7710919"/>
              <a:gd name="connsiteY156" fmla="*/ 3245046 h 3487140"/>
              <a:gd name="connsiteX157" fmla="*/ 7122297 w 7710919"/>
              <a:gd name="connsiteY157" fmla="*/ 3329676 h 3487140"/>
              <a:gd name="connsiteX158" fmla="*/ 7710919 w 7710919"/>
              <a:gd name="connsiteY158" fmla="*/ 3217682 h 3487140"/>
              <a:gd name="connsiteX0" fmla="*/ 240411 w 7603996"/>
              <a:gd name="connsiteY0" fmla="*/ 3339906 h 3487140"/>
              <a:gd name="connsiteX1" fmla="*/ 698533 w 7603996"/>
              <a:gd name="connsiteY1" fmla="*/ 3385485 h 3487140"/>
              <a:gd name="connsiteX2" fmla="*/ 777215 w 7603996"/>
              <a:gd name="connsiteY2" fmla="*/ 3295741 h 3487140"/>
              <a:gd name="connsiteX3" fmla="*/ 526113 w 7603996"/>
              <a:gd name="connsiteY3" fmla="*/ 3112384 h 3487140"/>
              <a:gd name="connsiteX4" fmla="*/ 219950 w 7603996"/>
              <a:gd name="connsiteY4" fmla="*/ 2750287 h 3487140"/>
              <a:gd name="connsiteX5" fmla="*/ 128418 w 7603996"/>
              <a:gd name="connsiteY5" fmla="*/ 2305432 h 3487140"/>
              <a:gd name="connsiteX6" fmla="*/ 256006 w 7603996"/>
              <a:gd name="connsiteY6" fmla="*/ 1919713 h 3487140"/>
              <a:gd name="connsiteX7" fmla="*/ 580218 w 7603996"/>
              <a:gd name="connsiteY7" fmla="*/ 1637837 h 3487140"/>
              <a:gd name="connsiteX8" fmla="*/ 1073522 w 7603996"/>
              <a:gd name="connsiteY8" fmla="*/ 1545972 h 3487140"/>
              <a:gd name="connsiteX9" fmla="*/ 1308197 w 7603996"/>
              <a:gd name="connsiteY9" fmla="*/ 1517651 h 3487140"/>
              <a:gd name="connsiteX10" fmla="*/ 1292934 w 7603996"/>
              <a:gd name="connsiteY10" fmla="*/ 1460718 h 3487140"/>
              <a:gd name="connsiteX11" fmla="*/ 1016880 w 7603996"/>
              <a:gd name="connsiteY11" fmla="*/ 1416969 h 3487140"/>
              <a:gd name="connsiteX12" fmla="*/ 497460 w 7603996"/>
              <a:gd name="connsiteY12" fmla="*/ 1517318 h 3487140"/>
              <a:gd name="connsiteX13" fmla="*/ 88162 w 7603996"/>
              <a:gd name="connsiteY13" fmla="*/ 1960593 h 3487140"/>
              <a:gd name="connsiteX14" fmla="*/ 28692 w 7603996"/>
              <a:gd name="connsiteY14" fmla="*/ 2569342 h 3487140"/>
              <a:gd name="connsiteX15" fmla="*/ 442399 w 7603996"/>
              <a:gd name="connsiteY15" fmla="*/ 3165532 h 3487140"/>
              <a:gd name="connsiteX16" fmla="*/ 1232384 w 7603996"/>
              <a:gd name="connsiteY16" fmla="*/ 3283181 h 3487140"/>
              <a:gd name="connsiteX17" fmla="*/ 1835020 w 7603996"/>
              <a:gd name="connsiteY17" fmla="*/ 2757481 h 3487140"/>
              <a:gd name="connsiteX18" fmla="*/ 1824789 w 7603996"/>
              <a:gd name="connsiteY18" fmla="*/ 1980430 h 3487140"/>
              <a:gd name="connsiteX19" fmla="*/ 1494755 w 7603996"/>
              <a:gd name="connsiteY19" fmla="*/ 1589139 h 3487140"/>
              <a:gd name="connsiteX20" fmla="*/ 1305701 w 7603996"/>
              <a:gd name="connsiteY20" fmla="*/ 1660710 h 3487140"/>
              <a:gd name="connsiteX21" fmla="*/ 1197284 w 7603996"/>
              <a:gd name="connsiteY21" fmla="*/ 2116627 h 3487140"/>
              <a:gd name="connsiteX22" fmla="*/ 973921 w 7603996"/>
              <a:gd name="connsiteY22" fmla="*/ 2374258 h 3487140"/>
              <a:gd name="connsiteX23" fmla="*/ 918985 w 7603996"/>
              <a:gd name="connsiteY23" fmla="*/ 2276986 h 3487140"/>
              <a:gd name="connsiteX24" fmla="*/ 1298257 w 7603996"/>
              <a:gd name="connsiteY24" fmla="*/ 2021601 h 3487140"/>
              <a:gd name="connsiteX25" fmla="*/ 1558176 w 7603996"/>
              <a:gd name="connsiteY25" fmla="*/ 1234153 h 3487140"/>
              <a:gd name="connsiteX26" fmla="*/ 1788276 w 7603996"/>
              <a:gd name="connsiteY26" fmla="*/ 725296 h 3487140"/>
              <a:gd name="connsiteX27" fmla="*/ 1896859 w 7603996"/>
              <a:gd name="connsiteY27" fmla="*/ 539984 h 3487140"/>
              <a:gd name="connsiteX28" fmla="*/ 1865711 w 7603996"/>
              <a:gd name="connsiteY28" fmla="*/ 435851 h 3487140"/>
              <a:gd name="connsiteX29" fmla="*/ 1759373 w 7603996"/>
              <a:gd name="connsiteY29" fmla="*/ 350265 h 3487140"/>
              <a:gd name="connsiteX30" fmla="*/ 1714085 w 7603996"/>
              <a:gd name="connsiteY30" fmla="*/ 209327 h 3487140"/>
              <a:gd name="connsiteX31" fmla="*/ 1758915 w 7603996"/>
              <a:gd name="connsiteY31" fmla="*/ 82237 h 3487140"/>
              <a:gd name="connsiteX32" fmla="*/ 1939195 w 7603996"/>
              <a:gd name="connsiteY32" fmla="*/ 6716 h 3487140"/>
              <a:gd name="connsiteX33" fmla="*/ 2207888 w 7603996"/>
              <a:gd name="connsiteY33" fmla="*/ 10167 h 3487140"/>
              <a:gd name="connsiteX34" fmla="*/ 2291561 w 7603996"/>
              <a:gd name="connsiteY34" fmla="*/ 49800 h 3487140"/>
              <a:gd name="connsiteX35" fmla="*/ 2244526 w 7603996"/>
              <a:gd name="connsiteY35" fmla="*/ 86812 h 3487140"/>
              <a:gd name="connsiteX36" fmla="*/ 2008603 w 7603996"/>
              <a:gd name="connsiteY36" fmla="*/ 91886 h 3487140"/>
              <a:gd name="connsiteX37" fmla="*/ 1765070 w 7603996"/>
              <a:gd name="connsiteY37" fmla="*/ 75833 h 3487140"/>
              <a:gd name="connsiteX38" fmla="*/ 1657319 w 7603996"/>
              <a:gd name="connsiteY38" fmla="*/ 176931 h 3487140"/>
              <a:gd name="connsiteX39" fmla="*/ 1672581 w 7603996"/>
              <a:gd name="connsiteY39" fmla="*/ 370393 h 3487140"/>
              <a:gd name="connsiteX40" fmla="*/ 1617354 w 7603996"/>
              <a:gd name="connsiteY40" fmla="*/ 589348 h 3487140"/>
              <a:gd name="connsiteX41" fmla="*/ 1460820 w 7603996"/>
              <a:gd name="connsiteY41" fmla="*/ 903953 h 3487140"/>
              <a:gd name="connsiteX42" fmla="*/ 1250349 w 7603996"/>
              <a:gd name="connsiteY42" fmla="*/ 922501 h 3487140"/>
              <a:gd name="connsiteX43" fmla="*/ 1055930 w 7603996"/>
              <a:gd name="connsiteY43" fmla="*/ 866816 h 3487140"/>
              <a:gd name="connsiteX44" fmla="*/ 997085 w 7603996"/>
              <a:gd name="connsiteY44" fmla="*/ 751038 h 3487140"/>
              <a:gd name="connsiteX45" fmla="*/ 1009021 w 7603996"/>
              <a:gd name="connsiteY45" fmla="*/ 369436 h 3487140"/>
              <a:gd name="connsiteX46" fmla="*/ 1070694 w 7603996"/>
              <a:gd name="connsiteY46" fmla="*/ 155805 h 3487140"/>
              <a:gd name="connsiteX47" fmla="*/ 1272058 w 7603996"/>
              <a:gd name="connsiteY47" fmla="*/ 156761 h 3487140"/>
              <a:gd name="connsiteX48" fmla="*/ 1524989 w 7603996"/>
              <a:gd name="connsiteY48" fmla="*/ 245175 h 3487140"/>
              <a:gd name="connsiteX49" fmla="*/ 1694081 w 7603996"/>
              <a:gd name="connsiteY49" fmla="*/ 357792 h 3487140"/>
              <a:gd name="connsiteX50" fmla="*/ 1798672 w 7603996"/>
              <a:gd name="connsiteY50" fmla="*/ 483301 h 3487140"/>
              <a:gd name="connsiteX51" fmla="*/ 1822876 w 7603996"/>
              <a:gd name="connsiteY51" fmla="*/ 600951 h 3487140"/>
              <a:gd name="connsiteX52" fmla="*/ 1795345 w 7603996"/>
              <a:gd name="connsiteY52" fmla="*/ 761726 h 3487140"/>
              <a:gd name="connsiteX53" fmla="*/ 1967266 w 7603996"/>
              <a:gd name="connsiteY53" fmla="*/ 1160004 h 3487140"/>
              <a:gd name="connsiteX54" fmla="*/ 2390246 w 7603996"/>
              <a:gd name="connsiteY54" fmla="*/ 1793622 h 3487140"/>
              <a:gd name="connsiteX55" fmla="*/ 2807737 w 7603996"/>
              <a:gd name="connsiteY55" fmla="*/ 2087475 h 3487140"/>
              <a:gd name="connsiteX56" fmla="*/ 2917360 w 7603996"/>
              <a:gd name="connsiteY56" fmla="*/ 2185620 h 3487140"/>
              <a:gd name="connsiteX57" fmla="*/ 2804411 w 7603996"/>
              <a:gd name="connsiteY57" fmla="*/ 2468120 h 3487140"/>
              <a:gd name="connsiteX58" fmla="*/ 2638312 w 7603996"/>
              <a:gd name="connsiteY58" fmla="*/ 2505548 h 3487140"/>
              <a:gd name="connsiteX59" fmla="*/ 2329862 w 7603996"/>
              <a:gd name="connsiteY59" fmla="*/ 2278109 h 3487140"/>
              <a:gd name="connsiteX60" fmla="*/ 1885173 w 7603996"/>
              <a:gd name="connsiteY60" fmla="*/ 1678800 h 3487140"/>
              <a:gd name="connsiteX61" fmla="*/ 1765320 w 7603996"/>
              <a:gd name="connsiteY61" fmla="*/ 1175432 h 3487140"/>
              <a:gd name="connsiteX62" fmla="*/ 1919774 w 7603996"/>
              <a:gd name="connsiteY62" fmla="*/ 1377420 h 3487140"/>
              <a:gd name="connsiteX63" fmla="*/ 2281414 w 7603996"/>
              <a:gd name="connsiteY63" fmla="*/ 2268710 h 3487140"/>
              <a:gd name="connsiteX64" fmla="*/ 2601216 w 7603996"/>
              <a:gd name="connsiteY64" fmla="*/ 2693105 h 3487140"/>
              <a:gd name="connsiteX65" fmla="*/ 2834644 w 7603996"/>
              <a:gd name="connsiteY65" fmla="*/ 2746586 h 3487140"/>
              <a:gd name="connsiteX66" fmla="*/ 3001865 w 7603996"/>
              <a:gd name="connsiteY66" fmla="*/ 2631432 h 3487140"/>
              <a:gd name="connsiteX67" fmla="*/ 3013052 w 7603996"/>
              <a:gd name="connsiteY67" fmla="*/ 2436680 h 3487140"/>
              <a:gd name="connsiteX68" fmla="*/ 2859222 w 7603996"/>
              <a:gd name="connsiteY68" fmla="*/ 2309258 h 3487140"/>
              <a:gd name="connsiteX69" fmla="*/ 2652036 w 7603996"/>
              <a:gd name="connsiteY69" fmla="*/ 2375007 h 3487140"/>
              <a:gd name="connsiteX70" fmla="*/ 2629537 w 7603996"/>
              <a:gd name="connsiteY70" fmla="*/ 2581402 h 3487140"/>
              <a:gd name="connsiteX71" fmla="*/ 2772222 w 7603996"/>
              <a:gd name="connsiteY71" fmla="*/ 2671064 h 3487140"/>
              <a:gd name="connsiteX72" fmla="*/ 2868787 w 7603996"/>
              <a:gd name="connsiteY72" fmla="*/ 2596831 h 3487140"/>
              <a:gd name="connsiteX73" fmla="*/ 2835601 w 7603996"/>
              <a:gd name="connsiteY73" fmla="*/ 2530750 h 3487140"/>
              <a:gd name="connsiteX74" fmla="*/ 2713543 w 7603996"/>
              <a:gd name="connsiteY74" fmla="*/ 2615379 h 3487140"/>
              <a:gd name="connsiteX75" fmla="*/ 2567864 w 7603996"/>
              <a:gd name="connsiteY75" fmla="*/ 2907028 h 3487140"/>
              <a:gd name="connsiteX76" fmla="*/ 2520039 w 7603996"/>
              <a:gd name="connsiteY76" fmla="*/ 3008333 h 3487140"/>
              <a:gd name="connsiteX77" fmla="*/ 2484191 w 7603996"/>
              <a:gd name="connsiteY77" fmla="*/ 3024053 h 3487140"/>
              <a:gd name="connsiteX78" fmla="*/ 2389165 w 7603996"/>
              <a:gd name="connsiteY78" fmla="*/ 3013989 h 3487140"/>
              <a:gd name="connsiteX79" fmla="*/ 2396068 w 7603996"/>
              <a:gd name="connsiteY79" fmla="*/ 2956724 h 3487140"/>
              <a:gd name="connsiteX80" fmla="*/ 2584831 w 7603996"/>
              <a:gd name="connsiteY80" fmla="*/ 2951068 h 3487140"/>
              <a:gd name="connsiteX81" fmla="*/ 2671041 w 7603996"/>
              <a:gd name="connsiteY81" fmla="*/ 2951068 h 3487140"/>
              <a:gd name="connsiteX82" fmla="*/ 2752219 w 7603996"/>
              <a:gd name="connsiteY82" fmla="*/ 2822066 h 3487140"/>
              <a:gd name="connsiteX83" fmla="*/ 2892533 w 7603996"/>
              <a:gd name="connsiteY83" fmla="*/ 2789337 h 3487140"/>
              <a:gd name="connsiteX84" fmla="*/ 3020246 w 7603996"/>
              <a:gd name="connsiteY84" fmla="*/ 2713815 h 3487140"/>
              <a:gd name="connsiteX85" fmla="*/ 3106456 w 7603996"/>
              <a:gd name="connsiteY85" fmla="*/ 2544556 h 3487140"/>
              <a:gd name="connsiteX86" fmla="*/ 3326035 w 7603996"/>
              <a:gd name="connsiteY86" fmla="*/ 2482883 h 3487140"/>
              <a:gd name="connsiteX87" fmla="*/ 3861009 w 7603996"/>
              <a:gd name="connsiteY87" fmla="*/ 2466831 h 3487140"/>
              <a:gd name="connsiteX88" fmla="*/ 4016751 w 7603996"/>
              <a:gd name="connsiteY88" fmla="*/ 2420918 h 3487140"/>
              <a:gd name="connsiteX89" fmla="*/ 3866664 w 7603996"/>
              <a:gd name="connsiteY89" fmla="*/ 2252907 h 3487140"/>
              <a:gd name="connsiteX90" fmla="*/ 3391285 w 7603996"/>
              <a:gd name="connsiteY90" fmla="*/ 1791709 h 3487140"/>
              <a:gd name="connsiteX91" fmla="*/ 3127166 w 7603996"/>
              <a:gd name="connsiteY91" fmla="*/ 1600118 h 3487140"/>
              <a:gd name="connsiteX92" fmla="*/ 3003196 w 7603996"/>
              <a:gd name="connsiteY92" fmla="*/ 1733529 h 3487140"/>
              <a:gd name="connsiteX93" fmla="*/ 2940898 w 7603996"/>
              <a:gd name="connsiteY93" fmla="*/ 1995900 h 3487140"/>
              <a:gd name="connsiteX94" fmla="*/ 2981778 w 7603996"/>
              <a:gd name="connsiteY94" fmla="*/ 2048133 h 3487140"/>
              <a:gd name="connsiteX95" fmla="*/ 3044699 w 7603996"/>
              <a:gd name="connsiteY95" fmla="*/ 1778817 h 3487140"/>
              <a:gd name="connsiteX96" fmla="*/ 3166466 w 7603996"/>
              <a:gd name="connsiteY96" fmla="*/ 1356918 h 3487140"/>
              <a:gd name="connsiteX97" fmla="*/ 3272803 w 7603996"/>
              <a:gd name="connsiteY97" fmla="*/ 986960 h 3487140"/>
              <a:gd name="connsiteX98" fmla="*/ 3243526 w 7603996"/>
              <a:gd name="connsiteY98" fmla="*/ 867107 h 3487140"/>
              <a:gd name="connsiteX99" fmla="*/ 3068612 w 7603996"/>
              <a:gd name="connsiteY99" fmla="*/ 840034 h 3487140"/>
              <a:gd name="connsiteX100" fmla="*/ 2924513 w 7603996"/>
              <a:gd name="connsiteY100" fmla="*/ 782769 h 3487140"/>
              <a:gd name="connsiteX101" fmla="*/ 2940857 w 7603996"/>
              <a:gd name="connsiteY101" fmla="*/ 714816 h 3487140"/>
              <a:gd name="connsiteX102" fmla="*/ 3114524 w 7603996"/>
              <a:gd name="connsiteY102" fmla="*/ 723008 h 3487140"/>
              <a:gd name="connsiteX103" fmla="*/ 3317135 w 7603996"/>
              <a:gd name="connsiteY103" fmla="*/ 729288 h 3487140"/>
              <a:gd name="connsiteX104" fmla="*/ 3483857 w 7603996"/>
              <a:gd name="connsiteY104" fmla="*/ 682087 h 3487140"/>
              <a:gd name="connsiteX105" fmla="*/ 3601506 w 7603996"/>
              <a:gd name="connsiteY105" fmla="*/ 703463 h 3487140"/>
              <a:gd name="connsiteX106" fmla="*/ 3624171 w 7603996"/>
              <a:gd name="connsiteY106" fmla="*/ 797199 h 3487140"/>
              <a:gd name="connsiteX107" fmla="*/ 3496458 w 7603996"/>
              <a:gd name="connsiteY107" fmla="*/ 890936 h 3487140"/>
              <a:gd name="connsiteX108" fmla="*/ 3326575 w 7603996"/>
              <a:gd name="connsiteY108" fmla="*/ 918009 h 3487140"/>
              <a:gd name="connsiteX109" fmla="*/ 3198862 w 7603996"/>
              <a:gd name="connsiteY109" fmla="*/ 1002306 h 3487140"/>
              <a:gd name="connsiteX110" fmla="*/ 3097972 w 7603996"/>
              <a:gd name="connsiteY110" fmla="*/ 1299902 h 3487140"/>
              <a:gd name="connsiteX111" fmla="*/ 3159022 w 7603996"/>
              <a:gd name="connsiteY111" fmla="*/ 1545930 h 3487140"/>
              <a:gd name="connsiteX112" fmla="*/ 3371697 w 7603996"/>
              <a:gd name="connsiteY112" fmla="*/ 1536490 h 3487140"/>
              <a:gd name="connsiteX113" fmla="*/ 3551228 w 7603996"/>
              <a:gd name="connsiteY113" fmla="*/ 1376048 h 3487140"/>
              <a:gd name="connsiteX114" fmla="*/ 3554389 w 7603996"/>
              <a:gd name="connsiteY114" fmla="*/ 1231949 h 3487140"/>
              <a:gd name="connsiteX115" fmla="*/ 3336348 w 7603996"/>
              <a:gd name="connsiteY115" fmla="*/ 1191693 h 3487140"/>
              <a:gd name="connsiteX116" fmla="*/ 3344832 w 7603996"/>
              <a:gd name="connsiteY116" fmla="*/ 1255238 h 3487140"/>
              <a:gd name="connsiteX117" fmla="*/ 3769850 w 7603996"/>
              <a:gd name="connsiteY117" fmla="*/ 1241722 h 3487140"/>
              <a:gd name="connsiteX118" fmla="*/ 4254670 w 7603996"/>
              <a:gd name="connsiteY118" fmla="*/ 1259646 h 3487140"/>
              <a:gd name="connsiteX119" fmla="*/ 4484022 w 7603996"/>
              <a:gd name="connsiteY119" fmla="*/ 1236981 h 3487140"/>
              <a:gd name="connsiteX120" fmla="*/ 4465766 w 7603996"/>
              <a:gd name="connsiteY120" fmla="*/ 1185995 h 3487140"/>
              <a:gd name="connsiteX121" fmla="*/ 4105248 w 7603996"/>
              <a:gd name="connsiteY121" fmla="*/ 1177512 h 3487140"/>
              <a:gd name="connsiteX122" fmla="*/ 3734668 w 7603996"/>
              <a:gd name="connsiteY122" fmla="*/ 1331342 h 3487140"/>
              <a:gd name="connsiteX123" fmla="*/ 3388914 w 7603996"/>
              <a:gd name="connsiteY123" fmla="*/ 1604110 h 3487140"/>
              <a:gd name="connsiteX124" fmla="*/ 3156111 w 7603996"/>
              <a:gd name="connsiteY124" fmla="*/ 1921252 h 3487140"/>
              <a:gd name="connsiteX125" fmla="*/ 3060461 w 7603996"/>
              <a:gd name="connsiteY125" fmla="*/ 2419255 h 3487140"/>
              <a:gd name="connsiteX126" fmla="*/ 3290769 w 7603996"/>
              <a:gd name="connsiteY126" fmla="*/ 3048465 h 3487140"/>
              <a:gd name="connsiteX127" fmla="*/ 3868994 w 7603996"/>
              <a:gd name="connsiteY127" fmla="*/ 3394510 h 3487140"/>
              <a:gd name="connsiteX128" fmla="*/ 4507643 w 7603996"/>
              <a:gd name="connsiteY128" fmla="*/ 3330632 h 3487140"/>
              <a:gd name="connsiteX129" fmla="*/ 5002818 w 7603996"/>
              <a:gd name="connsiteY129" fmla="*/ 2841404 h 3487140"/>
              <a:gd name="connsiteX130" fmla="*/ 5036171 w 7603996"/>
              <a:gd name="connsiteY130" fmla="*/ 2052999 h 3487140"/>
              <a:gd name="connsiteX131" fmla="*/ 4605164 w 7603996"/>
              <a:gd name="connsiteY131" fmla="*/ 1482011 h 3487140"/>
              <a:gd name="connsiteX132" fmla="*/ 4138310 w 7603996"/>
              <a:gd name="connsiteY132" fmla="*/ 1352717 h 3487140"/>
              <a:gd name="connsiteX133" fmla="*/ 3977868 w 7603996"/>
              <a:gd name="connsiteY133" fmla="*/ 1466624 h 3487140"/>
              <a:gd name="connsiteX134" fmla="*/ 3999909 w 7603996"/>
              <a:gd name="connsiteY134" fmla="*/ 2001140 h 3487140"/>
              <a:gd name="connsiteX135" fmla="*/ 4033885 w 7603996"/>
              <a:gd name="connsiteY135" fmla="*/ 2313208 h 3487140"/>
              <a:gd name="connsiteX136" fmla="*/ 4125585 w 7603996"/>
              <a:gd name="connsiteY136" fmla="*/ 2399085 h 3487140"/>
              <a:gd name="connsiteX137" fmla="*/ 4230051 w 7603996"/>
              <a:gd name="connsiteY137" fmla="*/ 2362905 h 3487140"/>
              <a:gd name="connsiteX138" fmla="*/ 4194660 w 7603996"/>
              <a:gd name="connsiteY138" fmla="*/ 2271372 h 3487140"/>
              <a:gd name="connsiteX139" fmla="*/ 4097056 w 7603996"/>
              <a:gd name="connsiteY139" fmla="*/ 2303394 h 3487140"/>
              <a:gd name="connsiteX140" fmla="*/ 4080670 w 7603996"/>
              <a:gd name="connsiteY140" fmla="*/ 2437262 h 3487140"/>
              <a:gd name="connsiteX141" fmla="*/ 4079589 w 7603996"/>
              <a:gd name="connsiteY141" fmla="*/ 2519521 h 3487140"/>
              <a:gd name="connsiteX142" fmla="*/ 3900475 w 7603996"/>
              <a:gd name="connsiteY142" fmla="*/ 2539400 h 3487140"/>
              <a:gd name="connsiteX143" fmla="*/ 3490220 w 7603996"/>
              <a:gd name="connsiteY143" fmla="*/ 2545679 h 3487140"/>
              <a:gd name="connsiteX144" fmla="*/ 3249848 w 7603996"/>
              <a:gd name="connsiteY144" fmla="*/ 2602944 h 3487140"/>
              <a:gd name="connsiteX145" fmla="*/ 3240241 w 7603996"/>
              <a:gd name="connsiteY145" fmla="*/ 2790460 h 3487140"/>
              <a:gd name="connsiteX146" fmla="*/ 3433578 w 7603996"/>
              <a:gd name="connsiteY146" fmla="*/ 3133385 h 3487140"/>
              <a:gd name="connsiteX147" fmla="*/ 3925468 w 7603996"/>
              <a:gd name="connsiteY147" fmla="*/ 3465290 h 3487140"/>
              <a:gd name="connsiteX148" fmla="*/ 4666214 w 7603996"/>
              <a:gd name="connsiteY148" fmla="*/ 3390434 h 3487140"/>
              <a:gd name="connsiteX149" fmla="*/ 5106037 w 7603996"/>
              <a:gd name="connsiteY149" fmla="*/ 3017940 h 3487140"/>
              <a:gd name="connsiteX150" fmla="*/ 5420018 w 7603996"/>
              <a:gd name="connsiteY150" fmla="*/ 2655510 h 3487140"/>
              <a:gd name="connsiteX151" fmla="*/ 5792512 w 7603996"/>
              <a:gd name="connsiteY151" fmla="*/ 3163577 h 3487140"/>
              <a:gd name="connsiteX152" fmla="*/ 6016499 w 7603996"/>
              <a:gd name="connsiteY152" fmla="*/ 3255443 h 3487140"/>
              <a:gd name="connsiteX153" fmla="*/ 6094516 w 7603996"/>
              <a:gd name="connsiteY153" fmla="*/ 2786675 h 3487140"/>
              <a:gd name="connsiteX154" fmla="*/ 6404089 w 7603996"/>
              <a:gd name="connsiteY154" fmla="*/ 2869724 h 3487140"/>
              <a:gd name="connsiteX155" fmla="*/ 6642881 w 7603996"/>
              <a:gd name="connsiteY155" fmla="*/ 3245046 h 3487140"/>
              <a:gd name="connsiteX156" fmla="*/ 7015374 w 7603996"/>
              <a:gd name="connsiteY156" fmla="*/ 3329676 h 3487140"/>
              <a:gd name="connsiteX157" fmla="*/ 7603996 w 7603996"/>
              <a:gd name="connsiteY157" fmla="*/ 3217682 h 3487140"/>
              <a:gd name="connsiteX0" fmla="*/ 698533 w 7603996"/>
              <a:gd name="connsiteY0" fmla="*/ 3385485 h 3487140"/>
              <a:gd name="connsiteX1" fmla="*/ 777215 w 7603996"/>
              <a:gd name="connsiteY1" fmla="*/ 3295741 h 3487140"/>
              <a:gd name="connsiteX2" fmla="*/ 526113 w 7603996"/>
              <a:gd name="connsiteY2" fmla="*/ 3112384 h 3487140"/>
              <a:gd name="connsiteX3" fmla="*/ 219950 w 7603996"/>
              <a:gd name="connsiteY3" fmla="*/ 2750287 h 3487140"/>
              <a:gd name="connsiteX4" fmla="*/ 128418 w 7603996"/>
              <a:gd name="connsiteY4" fmla="*/ 2305432 h 3487140"/>
              <a:gd name="connsiteX5" fmla="*/ 256006 w 7603996"/>
              <a:gd name="connsiteY5" fmla="*/ 1919713 h 3487140"/>
              <a:gd name="connsiteX6" fmla="*/ 580218 w 7603996"/>
              <a:gd name="connsiteY6" fmla="*/ 1637837 h 3487140"/>
              <a:gd name="connsiteX7" fmla="*/ 1073522 w 7603996"/>
              <a:gd name="connsiteY7" fmla="*/ 1545972 h 3487140"/>
              <a:gd name="connsiteX8" fmla="*/ 1308197 w 7603996"/>
              <a:gd name="connsiteY8" fmla="*/ 1517651 h 3487140"/>
              <a:gd name="connsiteX9" fmla="*/ 1292934 w 7603996"/>
              <a:gd name="connsiteY9" fmla="*/ 1460718 h 3487140"/>
              <a:gd name="connsiteX10" fmla="*/ 1016880 w 7603996"/>
              <a:gd name="connsiteY10" fmla="*/ 1416969 h 3487140"/>
              <a:gd name="connsiteX11" fmla="*/ 497460 w 7603996"/>
              <a:gd name="connsiteY11" fmla="*/ 1517318 h 3487140"/>
              <a:gd name="connsiteX12" fmla="*/ 88162 w 7603996"/>
              <a:gd name="connsiteY12" fmla="*/ 1960593 h 3487140"/>
              <a:gd name="connsiteX13" fmla="*/ 28692 w 7603996"/>
              <a:gd name="connsiteY13" fmla="*/ 2569342 h 3487140"/>
              <a:gd name="connsiteX14" fmla="*/ 442399 w 7603996"/>
              <a:gd name="connsiteY14" fmla="*/ 3165532 h 3487140"/>
              <a:gd name="connsiteX15" fmla="*/ 1232384 w 7603996"/>
              <a:gd name="connsiteY15" fmla="*/ 3283181 h 3487140"/>
              <a:gd name="connsiteX16" fmla="*/ 1835020 w 7603996"/>
              <a:gd name="connsiteY16" fmla="*/ 2757481 h 3487140"/>
              <a:gd name="connsiteX17" fmla="*/ 1824789 w 7603996"/>
              <a:gd name="connsiteY17" fmla="*/ 1980430 h 3487140"/>
              <a:gd name="connsiteX18" fmla="*/ 1494755 w 7603996"/>
              <a:gd name="connsiteY18" fmla="*/ 1589139 h 3487140"/>
              <a:gd name="connsiteX19" fmla="*/ 1305701 w 7603996"/>
              <a:gd name="connsiteY19" fmla="*/ 1660710 h 3487140"/>
              <a:gd name="connsiteX20" fmla="*/ 1197284 w 7603996"/>
              <a:gd name="connsiteY20" fmla="*/ 2116627 h 3487140"/>
              <a:gd name="connsiteX21" fmla="*/ 973921 w 7603996"/>
              <a:gd name="connsiteY21" fmla="*/ 2374258 h 3487140"/>
              <a:gd name="connsiteX22" fmla="*/ 918985 w 7603996"/>
              <a:gd name="connsiteY22" fmla="*/ 2276986 h 3487140"/>
              <a:gd name="connsiteX23" fmla="*/ 1298257 w 7603996"/>
              <a:gd name="connsiteY23" fmla="*/ 2021601 h 3487140"/>
              <a:gd name="connsiteX24" fmla="*/ 1558176 w 7603996"/>
              <a:gd name="connsiteY24" fmla="*/ 1234153 h 3487140"/>
              <a:gd name="connsiteX25" fmla="*/ 1788276 w 7603996"/>
              <a:gd name="connsiteY25" fmla="*/ 725296 h 3487140"/>
              <a:gd name="connsiteX26" fmla="*/ 1896859 w 7603996"/>
              <a:gd name="connsiteY26" fmla="*/ 539984 h 3487140"/>
              <a:gd name="connsiteX27" fmla="*/ 1865711 w 7603996"/>
              <a:gd name="connsiteY27" fmla="*/ 435851 h 3487140"/>
              <a:gd name="connsiteX28" fmla="*/ 1759373 w 7603996"/>
              <a:gd name="connsiteY28" fmla="*/ 350265 h 3487140"/>
              <a:gd name="connsiteX29" fmla="*/ 1714085 w 7603996"/>
              <a:gd name="connsiteY29" fmla="*/ 209327 h 3487140"/>
              <a:gd name="connsiteX30" fmla="*/ 1758915 w 7603996"/>
              <a:gd name="connsiteY30" fmla="*/ 82237 h 3487140"/>
              <a:gd name="connsiteX31" fmla="*/ 1939195 w 7603996"/>
              <a:gd name="connsiteY31" fmla="*/ 6716 h 3487140"/>
              <a:gd name="connsiteX32" fmla="*/ 2207888 w 7603996"/>
              <a:gd name="connsiteY32" fmla="*/ 10167 h 3487140"/>
              <a:gd name="connsiteX33" fmla="*/ 2291561 w 7603996"/>
              <a:gd name="connsiteY33" fmla="*/ 49800 h 3487140"/>
              <a:gd name="connsiteX34" fmla="*/ 2244526 w 7603996"/>
              <a:gd name="connsiteY34" fmla="*/ 86812 h 3487140"/>
              <a:gd name="connsiteX35" fmla="*/ 2008603 w 7603996"/>
              <a:gd name="connsiteY35" fmla="*/ 91886 h 3487140"/>
              <a:gd name="connsiteX36" fmla="*/ 1765070 w 7603996"/>
              <a:gd name="connsiteY36" fmla="*/ 75833 h 3487140"/>
              <a:gd name="connsiteX37" fmla="*/ 1657319 w 7603996"/>
              <a:gd name="connsiteY37" fmla="*/ 176931 h 3487140"/>
              <a:gd name="connsiteX38" fmla="*/ 1672581 w 7603996"/>
              <a:gd name="connsiteY38" fmla="*/ 370393 h 3487140"/>
              <a:gd name="connsiteX39" fmla="*/ 1617354 w 7603996"/>
              <a:gd name="connsiteY39" fmla="*/ 589348 h 3487140"/>
              <a:gd name="connsiteX40" fmla="*/ 1460820 w 7603996"/>
              <a:gd name="connsiteY40" fmla="*/ 903953 h 3487140"/>
              <a:gd name="connsiteX41" fmla="*/ 1250349 w 7603996"/>
              <a:gd name="connsiteY41" fmla="*/ 922501 h 3487140"/>
              <a:gd name="connsiteX42" fmla="*/ 1055930 w 7603996"/>
              <a:gd name="connsiteY42" fmla="*/ 866816 h 3487140"/>
              <a:gd name="connsiteX43" fmla="*/ 997085 w 7603996"/>
              <a:gd name="connsiteY43" fmla="*/ 751038 h 3487140"/>
              <a:gd name="connsiteX44" fmla="*/ 1009021 w 7603996"/>
              <a:gd name="connsiteY44" fmla="*/ 369436 h 3487140"/>
              <a:gd name="connsiteX45" fmla="*/ 1070694 w 7603996"/>
              <a:gd name="connsiteY45" fmla="*/ 155805 h 3487140"/>
              <a:gd name="connsiteX46" fmla="*/ 1272058 w 7603996"/>
              <a:gd name="connsiteY46" fmla="*/ 156761 h 3487140"/>
              <a:gd name="connsiteX47" fmla="*/ 1524989 w 7603996"/>
              <a:gd name="connsiteY47" fmla="*/ 245175 h 3487140"/>
              <a:gd name="connsiteX48" fmla="*/ 1694081 w 7603996"/>
              <a:gd name="connsiteY48" fmla="*/ 357792 h 3487140"/>
              <a:gd name="connsiteX49" fmla="*/ 1798672 w 7603996"/>
              <a:gd name="connsiteY49" fmla="*/ 483301 h 3487140"/>
              <a:gd name="connsiteX50" fmla="*/ 1822876 w 7603996"/>
              <a:gd name="connsiteY50" fmla="*/ 600951 h 3487140"/>
              <a:gd name="connsiteX51" fmla="*/ 1795345 w 7603996"/>
              <a:gd name="connsiteY51" fmla="*/ 761726 h 3487140"/>
              <a:gd name="connsiteX52" fmla="*/ 1967266 w 7603996"/>
              <a:gd name="connsiteY52" fmla="*/ 1160004 h 3487140"/>
              <a:gd name="connsiteX53" fmla="*/ 2390246 w 7603996"/>
              <a:gd name="connsiteY53" fmla="*/ 1793622 h 3487140"/>
              <a:gd name="connsiteX54" fmla="*/ 2807737 w 7603996"/>
              <a:gd name="connsiteY54" fmla="*/ 2087475 h 3487140"/>
              <a:gd name="connsiteX55" fmla="*/ 2917360 w 7603996"/>
              <a:gd name="connsiteY55" fmla="*/ 2185620 h 3487140"/>
              <a:gd name="connsiteX56" fmla="*/ 2804411 w 7603996"/>
              <a:gd name="connsiteY56" fmla="*/ 2468120 h 3487140"/>
              <a:gd name="connsiteX57" fmla="*/ 2638312 w 7603996"/>
              <a:gd name="connsiteY57" fmla="*/ 2505548 h 3487140"/>
              <a:gd name="connsiteX58" fmla="*/ 2329862 w 7603996"/>
              <a:gd name="connsiteY58" fmla="*/ 2278109 h 3487140"/>
              <a:gd name="connsiteX59" fmla="*/ 1885173 w 7603996"/>
              <a:gd name="connsiteY59" fmla="*/ 1678800 h 3487140"/>
              <a:gd name="connsiteX60" fmla="*/ 1765320 w 7603996"/>
              <a:gd name="connsiteY60" fmla="*/ 1175432 h 3487140"/>
              <a:gd name="connsiteX61" fmla="*/ 1919774 w 7603996"/>
              <a:gd name="connsiteY61" fmla="*/ 1377420 h 3487140"/>
              <a:gd name="connsiteX62" fmla="*/ 2281414 w 7603996"/>
              <a:gd name="connsiteY62" fmla="*/ 2268710 h 3487140"/>
              <a:gd name="connsiteX63" fmla="*/ 2601216 w 7603996"/>
              <a:gd name="connsiteY63" fmla="*/ 2693105 h 3487140"/>
              <a:gd name="connsiteX64" fmla="*/ 2834644 w 7603996"/>
              <a:gd name="connsiteY64" fmla="*/ 2746586 h 3487140"/>
              <a:gd name="connsiteX65" fmla="*/ 3001865 w 7603996"/>
              <a:gd name="connsiteY65" fmla="*/ 2631432 h 3487140"/>
              <a:gd name="connsiteX66" fmla="*/ 3013052 w 7603996"/>
              <a:gd name="connsiteY66" fmla="*/ 2436680 h 3487140"/>
              <a:gd name="connsiteX67" fmla="*/ 2859222 w 7603996"/>
              <a:gd name="connsiteY67" fmla="*/ 2309258 h 3487140"/>
              <a:gd name="connsiteX68" fmla="*/ 2652036 w 7603996"/>
              <a:gd name="connsiteY68" fmla="*/ 2375007 h 3487140"/>
              <a:gd name="connsiteX69" fmla="*/ 2629537 w 7603996"/>
              <a:gd name="connsiteY69" fmla="*/ 2581402 h 3487140"/>
              <a:gd name="connsiteX70" fmla="*/ 2772222 w 7603996"/>
              <a:gd name="connsiteY70" fmla="*/ 2671064 h 3487140"/>
              <a:gd name="connsiteX71" fmla="*/ 2868787 w 7603996"/>
              <a:gd name="connsiteY71" fmla="*/ 2596831 h 3487140"/>
              <a:gd name="connsiteX72" fmla="*/ 2835601 w 7603996"/>
              <a:gd name="connsiteY72" fmla="*/ 2530750 h 3487140"/>
              <a:gd name="connsiteX73" fmla="*/ 2713543 w 7603996"/>
              <a:gd name="connsiteY73" fmla="*/ 2615379 h 3487140"/>
              <a:gd name="connsiteX74" fmla="*/ 2567864 w 7603996"/>
              <a:gd name="connsiteY74" fmla="*/ 2907028 h 3487140"/>
              <a:gd name="connsiteX75" fmla="*/ 2520039 w 7603996"/>
              <a:gd name="connsiteY75" fmla="*/ 3008333 h 3487140"/>
              <a:gd name="connsiteX76" fmla="*/ 2484191 w 7603996"/>
              <a:gd name="connsiteY76" fmla="*/ 3024053 h 3487140"/>
              <a:gd name="connsiteX77" fmla="*/ 2389165 w 7603996"/>
              <a:gd name="connsiteY77" fmla="*/ 3013989 h 3487140"/>
              <a:gd name="connsiteX78" fmla="*/ 2396068 w 7603996"/>
              <a:gd name="connsiteY78" fmla="*/ 2956724 h 3487140"/>
              <a:gd name="connsiteX79" fmla="*/ 2584831 w 7603996"/>
              <a:gd name="connsiteY79" fmla="*/ 2951068 h 3487140"/>
              <a:gd name="connsiteX80" fmla="*/ 2671041 w 7603996"/>
              <a:gd name="connsiteY80" fmla="*/ 2951068 h 3487140"/>
              <a:gd name="connsiteX81" fmla="*/ 2752219 w 7603996"/>
              <a:gd name="connsiteY81" fmla="*/ 2822066 h 3487140"/>
              <a:gd name="connsiteX82" fmla="*/ 2892533 w 7603996"/>
              <a:gd name="connsiteY82" fmla="*/ 2789337 h 3487140"/>
              <a:gd name="connsiteX83" fmla="*/ 3020246 w 7603996"/>
              <a:gd name="connsiteY83" fmla="*/ 2713815 h 3487140"/>
              <a:gd name="connsiteX84" fmla="*/ 3106456 w 7603996"/>
              <a:gd name="connsiteY84" fmla="*/ 2544556 h 3487140"/>
              <a:gd name="connsiteX85" fmla="*/ 3326035 w 7603996"/>
              <a:gd name="connsiteY85" fmla="*/ 2482883 h 3487140"/>
              <a:gd name="connsiteX86" fmla="*/ 3861009 w 7603996"/>
              <a:gd name="connsiteY86" fmla="*/ 2466831 h 3487140"/>
              <a:gd name="connsiteX87" fmla="*/ 4016751 w 7603996"/>
              <a:gd name="connsiteY87" fmla="*/ 2420918 h 3487140"/>
              <a:gd name="connsiteX88" fmla="*/ 3866664 w 7603996"/>
              <a:gd name="connsiteY88" fmla="*/ 2252907 h 3487140"/>
              <a:gd name="connsiteX89" fmla="*/ 3391285 w 7603996"/>
              <a:gd name="connsiteY89" fmla="*/ 1791709 h 3487140"/>
              <a:gd name="connsiteX90" fmla="*/ 3127166 w 7603996"/>
              <a:gd name="connsiteY90" fmla="*/ 1600118 h 3487140"/>
              <a:gd name="connsiteX91" fmla="*/ 3003196 w 7603996"/>
              <a:gd name="connsiteY91" fmla="*/ 1733529 h 3487140"/>
              <a:gd name="connsiteX92" fmla="*/ 2940898 w 7603996"/>
              <a:gd name="connsiteY92" fmla="*/ 1995900 h 3487140"/>
              <a:gd name="connsiteX93" fmla="*/ 2981778 w 7603996"/>
              <a:gd name="connsiteY93" fmla="*/ 2048133 h 3487140"/>
              <a:gd name="connsiteX94" fmla="*/ 3044699 w 7603996"/>
              <a:gd name="connsiteY94" fmla="*/ 1778817 h 3487140"/>
              <a:gd name="connsiteX95" fmla="*/ 3166466 w 7603996"/>
              <a:gd name="connsiteY95" fmla="*/ 1356918 h 3487140"/>
              <a:gd name="connsiteX96" fmla="*/ 3272803 w 7603996"/>
              <a:gd name="connsiteY96" fmla="*/ 986960 h 3487140"/>
              <a:gd name="connsiteX97" fmla="*/ 3243526 w 7603996"/>
              <a:gd name="connsiteY97" fmla="*/ 867107 h 3487140"/>
              <a:gd name="connsiteX98" fmla="*/ 3068612 w 7603996"/>
              <a:gd name="connsiteY98" fmla="*/ 840034 h 3487140"/>
              <a:gd name="connsiteX99" fmla="*/ 2924513 w 7603996"/>
              <a:gd name="connsiteY99" fmla="*/ 782769 h 3487140"/>
              <a:gd name="connsiteX100" fmla="*/ 2940857 w 7603996"/>
              <a:gd name="connsiteY100" fmla="*/ 714816 h 3487140"/>
              <a:gd name="connsiteX101" fmla="*/ 3114524 w 7603996"/>
              <a:gd name="connsiteY101" fmla="*/ 723008 h 3487140"/>
              <a:gd name="connsiteX102" fmla="*/ 3317135 w 7603996"/>
              <a:gd name="connsiteY102" fmla="*/ 729288 h 3487140"/>
              <a:gd name="connsiteX103" fmla="*/ 3483857 w 7603996"/>
              <a:gd name="connsiteY103" fmla="*/ 682087 h 3487140"/>
              <a:gd name="connsiteX104" fmla="*/ 3601506 w 7603996"/>
              <a:gd name="connsiteY104" fmla="*/ 703463 h 3487140"/>
              <a:gd name="connsiteX105" fmla="*/ 3624171 w 7603996"/>
              <a:gd name="connsiteY105" fmla="*/ 797199 h 3487140"/>
              <a:gd name="connsiteX106" fmla="*/ 3496458 w 7603996"/>
              <a:gd name="connsiteY106" fmla="*/ 890936 h 3487140"/>
              <a:gd name="connsiteX107" fmla="*/ 3326575 w 7603996"/>
              <a:gd name="connsiteY107" fmla="*/ 918009 h 3487140"/>
              <a:gd name="connsiteX108" fmla="*/ 3198862 w 7603996"/>
              <a:gd name="connsiteY108" fmla="*/ 1002306 h 3487140"/>
              <a:gd name="connsiteX109" fmla="*/ 3097972 w 7603996"/>
              <a:gd name="connsiteY109" fmla="*/ 1299902 h 3487140"/>
              <a:gd name="connsiteX110" fmla="*/ 3159022 w 7603996"/>
              <a:gd name="connsiteY110" fmla="*/ 1545930 h 3487140"/>
              <a:gd name="connsiteX111" fmla="*/ 3371697 w 7603996"/>
              <a:gd name="connsiteY111" fmla="*/ 1536490 h 3487140"/>
              <a:gd name="connsiteX112" fmla="*/ 3551228 w 7603996"/>
              <a:gd name="connsiteY112" fmla="*/ 1376048 h 3487140"/>
              <a:gd name="connsiteX113" fmla="*/ 3554389 w 7603996"/>
              <a:gd name="connsiteY113" fmla="*/ 1231949 h 3487140"/>
              <a:gd name="connsiteX114" fmla="*/ 3336348 w 7603996"/>
              <a:gd name="connsiteY114" fmla="*/ 1191693 h 3487140"/>
              <a:gd name="connsiteX115" fmla="*/ 3344832 w 7603996"/>
              <a:gd name="connsiteY115" fmla="*/ 1255238 h 3487140"/>
              <a:gd name="connsiteX116" fmla="*/ 3769850 w 7603996"/>
              <a:gd name="connsiteY116" fmla="*/ 1241722 h 3487140"/>
              <a:gd name="connsiteX117" fmla="*/ 4254670 w 7603996"/>
              <a:gd name="connsiteY117" fmla="*/ 1259646 h 3487140"/>
              <a:gd name="connsiteX118" fmla="*/ 4484022 w 7603996"/>
              <a:gd name="connsiteY118" fmla="*/ 1236981 h 3487140"/>
              <a:gd name="connsiteX119" fmla="*/ 4465766 w 7603996"/>
              <a:gd name="connsiteY119" fmla="*/ 1185995 h 3487140"/>
              <a:gd name="connsiteX120" fmla="*/ 4105248 w 7603996"/>
              <a:gd name="connsiteY120" fmla="*/ 1177512 h 3487140"/>
              <a:gd name="connsiteX121" fmla="*/ 3734668 w 7603996"/>
              <a:gd name="connsiteY121" fmla="*/ 1331342 h 3487140"/>
              <a:gd name="connsiteX122" fmla="*/ 3388914 w 7603996"/>
              <a:gd name="connsiteY122" fmla="*/ 1604110 h 3487140"/>
              <a:gd name="connsiteX123" fmla="*/ 3156111 w 7603996"/>
              <a:gd name="connsiteY123" fmla="*/ 1921252 h 3487140"/>
              <a:gd name="connsiteX124" fmla="*/ 3060461 w 7603996"/>
              <a:gd name="connsiteY124" fmla="*/ 2419255 h 3487140"/>
              <a:gd name="connsiteX125" fmla="*/ 3290769 w 7603996"/>
              <a:gd name="connsiteY125" fmla="*/ 3048465 h 3487140"/>
              <a:gd name="connsiteX126" fmla="*/ 3868994 w 7603996"/>
              <a:gd name="connsiteY126" fmla="*/ 3394510 h 3487140"/>
              <a:gd name="connsiteX127" fmla="*/ 4507643 w 7603996"/>
              <a:gd name="connsiteY127" fmla="*/ 3330632 h 3487140"/>
              <a:gd name="connsiteX128" fmla="*/ 5002818 w 7603996"/>
              <a:gd name="connsiteY128" fmla="*/ 2841404 h 3487140"/>
              <a:gd name="connsiteX129" fmla="*/ 5036171 w 7603996"/>
              <a:gd name="connsiteY129" fmla="*/ 2052999 h 3487140"/>
              <a:gd name="connsiteX130" fmla="*/ 4605164 w 7603996"/>
              <a:gd name="connsiteY130" fmla="*/ 1482011 h 3487140"/>
              <a:gd name="connsiteX131" fmla="*/ 4138310 w 7603996"/>
              <a:gd name="connsiteY131" fmla="*/ 1352717 h 3487140"/>
              <a:gd name="connsiteX132" fmla="*/ 3977868 w 7603996"/>
              <a:gd name="connsiteY132" fmla="*/ 1466624 h 3487140"/>
              <a:gd name="connsiteX133" fmla="*/ 3999909 w 7603996"/>
              <a:gd name="connsiteY133" fmla="*/ 2001140 h 3487140"/>
              <a:gd name="connsiteX134" fmla="*/ 4033885 w 7603996"/>
              <a:gd name="connsiteY134" fmla="*/ 2313208 h 3487140"/>
              <a:gd name="connsiteX135" fmla="*/ 4125585 w 7603996"/>
              <a:gd name="connsiteY135" fmla="*/ 2399085 h 3487140"/>
              <a:gd name="connsiteX136" fmla="*/ 4230051 w 7603996"/>
              <a:gd name="connsiteY136" fmla="*/ 2362905 h 3487140"/>
              <a:gd name="connsiteX137" fmla="*/ 4194660 w 7603996"/>
              <a:gd name="connsiteY137" fmla="*/ 2271372 h 3487140"/>
              <a:gd name="connsiteX138" fmla="*/ 4097056 w 7603996"/>
              <a:gd name="connsiteY138" fmla="*/ 2303394 h 3487140"/>
              <a:gd name="connsiteX139" fmla="*/ 4080670 w 7603996"/>
              <a:gd name="connsiteY139" fmla="*/ 2437262 h 3487140"/>
              <a:gd name="connsiteX140" fmla="*/ 4079589 w 7603996"/>
              <a:gd name="connsiteY140" fmla="*/ 2519521 h 3487140"/>
              <a:gd name="connsiteX141" fmla="*/ 3900475 w 7603996"/>
              <a:gd name="connsiteY141" fmla="*/ 2539400 h 3487140"/>
              <a:gd name="connsiteX142" fmla="*/ 3490220 w 7603996"/>
              <a:gd name="connsiteY142" fmla="*/ 2545679 h 3487140"/>
              <a:gd name="connsiteX143" fmla="*/ 3249848 w 7603996"/>
              <a:gd name="connsiteY143" fmla="*/ 2602944 h 3487140"/>
              <a:gd name="connsiteX144" fmla="*/ 3240241 w 7603996"/>
              <a:gd name="connsiteY144" fmla="*/ 2790460 h 3487140"/>
              <a:gd name="connsiteX145" fmla="*/ 3433578 w 7603996"/>
              <a:gd name="connsiteY145" fmla="*/ 3133385 h 3487140"/>
              <a:gd name="connsiteX146" fmla="*/ 3925468 w 7603996"/>
              <a:gd name="connsiteY146" fmla="*/ 3465290 h 3487140"/>
              <a:gd name="connsiteX147" fmla="*/ 4666214 w 7603996"/>
              <a:gd name="connsiteY147" fmla="*/ 3390434 h 3487140"/>
              <a:gd name="connsiteX148" fmla="*/ 5106037 w 7603996"/>
              <a:gd name="connsiteY148" fmla="*/ 3017940 h 3487140"/>
              <a:gd name="connsiteX149" fmla="*/ 5420018 w 7603996"/>
              <a:gd name="connsiteY149" fmla="*/ 2655510 h 3487140"/>
              <a:gd name="connsiteX150" fmla="*/ 5792512 w 7603996"/>
              <a:gd name="connsiteY150" fmla="*/ 3163577 h 3487140"/>
              <a:gd name="connsiteX151" fmla="*/ 6016499 w 7603996"/>
              <a:gd name="connsiteY151" fmla="*/ 3255443 h 3487140"/>
              <a:gd name="connsiteX152" fmla="*/ 6094516 w 7603996"/>
              <a:gd name="connsiteY152" fmla="*/ 2786675 h 3487140"/>
              <a:gd name="connsiteX153" fmla="*/ 6404089 w 7603996"/>
              <a:gd name="connsiteY153" fmla="*/ 2869724 h 3487140"/>
              <a:gd name="connsiteX154" fmla="*/ 6642881 w 7603996"/>
              <a:gd name="connsiteY154" fmla="*/ 3245046 h 3487140"/>
              <a:gd name="connsiteX155" fmla="*/ 7015374 w 7603996"/>
              <a:gd name="connsiteY155" fmla="*/ 3329676 h 3487140"/>
              <a:gd name="connsiteX156" fmla="*/ 7603996 w 7603996"/>
              <a:gd name="connsiteY156" fmla="*/ 3217682 h 3487140"/>
              <a:gd name="connsiteX0" fmla="*/ 777215 w 7603996"/>
              <a:gd name="connsiteY0" fmla="*/ 3295741 h 3487140"/>
              <a:gd name="connsiteX1" fmla="*/ 526113 w 7603996"/>
              <a:gd name="connsiteY1" fmla="*/ 3112384 h 3487140"/>
              <a:gd name="connsiteX2" fmla="*/ 219950 w 7603996"/>
              <a:gd name="connsiteY2" fmla="*/ 2750287 h 3487140"/>
              <a:gd name="connsiteX3" fmla="*/ 128418 w 7603996"/>
              <a:gd name="connsiteY3" fmla="*/ 2305432 h 3487140"/>
              <a:gd name="connsiteX4" fmla="*/ 256006 w 7603996"/>
              <a:gd name="connsiteY4" fmla="*/ 1919713 h 3487140"/>
              <a:gd name="connsiteX5" fmla="*/ 580218 w 7603996"/>
              <a:gd name="connsiteY5" fmla="*/ 1637837 h 3487140"/>
              <a:gd name="connsiteX6" fmla="*/ 1073522 w 7603996"/>
              <a:gd name="connsiteY6" fmla="*/ 1545972 h 3487140"/>
              <a:gd name="connsiteX7" fmla="*/ 1308197 w 7603996"/>
              <a:gd name="connsiteY7" fmla="*/ 1517651 h 3487140"/>
              <a:gd name="connsiteX8" fmla="*/ 1292934 w 7603996"/>
              <a:gd name="connsiteY8" fmla="*/ 1460718 h 3487140"/>
              <a:gd name="connsiteX9" fmla="*/ 1016880 w 7603996"/>
              <a:gd name="connsiteY9" fmla="*/ 1416969 h 3487140"/>
              <a:gd name="connsiteX10" fmla="*/ 497460 w 7603996"/>
              <a:gd name="connsiteY10" fmla="*/ 1517318 h 3487140"/>
              <a:gd name="connsiteX11" fmla="*/ 88162 w 7603996"/>
              <a:gd name="connsiteY11" fmla="*/ 1960593 h 3487140"/>
              <a:gd name="connsiteX12" fmla="*/ 28692 w 7603996"/>
              <a:gd name="connsiteY12" fmla="*/ 2569342 h 3487140"/>
              <a:gd name="connsiteX13" fmla="*/ 442399 w 7603996"/>
              <a:gd name="connsiteY13" fmla="*/ 3165532 h 3487140"/>
              <a:gd name="connsiteX14" fmla="*/ 1232384 w 7603996"/>
              <a:gd name="connsiteY14" fmla="*/ 3283181 h 3487140"/>
              <a:gd name="connsiteX15" fmla="*/ 1835020 w 7603996"/>
              <a:gd name="connsiteY15" fmla="*/ 2757481 h 3487140"/>
              <a:gd name="connsiteX16" fmla="*/ 1824789 w 7603996"/>
              <a:gd name="connsiteY16" fmla="*/ 1980430 h 3487140"/>
              <a:gd name="connsiteX17" fmla="*/ 1494755 w 7603996"/>
              <a:gd name="connsiteY17" fmla="*/ 1589139 h 3487140"/>
              <a:gd name="connsiteX18" fmla="*/ 1305701 w 7603996"/>
              <a:gd name="connsiteY18" fmla="*/ 1660710 h 3487140"/>
              <a:gd name="connsiteX19" fmla="*/ 1197284 w 7603996"/>
              <a:gd name="connsiteY19" fmla="*/ 2116627 h 3487140"/>
              <a:gd name="connsiteX20" fmla="*/ 973921 w 7603996"/>
              <a:gd name="connsiteY20" fmla="*/ 2374258 h 3487140"/>
              <a:gd name="connsiteX21" fmla="*/ 918985 w 7603996"/>
              <a:gd name="connsiteY21" fmla="*/ 2276986 h 3487140"/>
              <a:gd name="connsiteX22" fmla="*/ 1298257 w 7603996"/>
              <a:gd name="connsiteY22" fmla="*/ 2021601 h 3487140"/>
              <a:gd name="connsiteX23" fmla="*/ 1558176 w 7603996"/>
              <a:gd name="connsiteY23" fmla="*/ 1234153 h 3487140"/>
              <a:gd name="connsiteX24" fmla="*/ 1788276 w 7603996"/>
              <a:gd name="connsiteY24" fmla="*/ 725296 h 3487140"/>
              <a:gd name="connsiteX25" fmla="*/ 1896859 w 7603996"/>
              <a:gd name="connsiteY25" fmla="*/ 539984 h 3487140"/>
              <a:gd name="connsiteX26" fmla="*/ 1865711 w 7603996"/>
              <a:gd name="connsiteY26" fmla="*/ 435851 h 3487140"/>
              <a:gd name="connsiteX27" fmla="*/ 1759373 w 7603996"/>
              <a:gd name="connsiteY27" fmla="*/ 350265 h 3487140"/>
              <a:gd name="connsiteX28" fmla="*/ 1714085 w 7603996"/>
              <a:gd name="connsiteY28" fmla="*/ 209327 h 3487140"/>
              <a:gd name="connsiteX29" fmla="*/ 1758915 w 7603996"/>
              <a:gd name="connsiteY29" fmla="*/ 82237 h 3487140"/>
              <a:gd name="connsiteX30" fmla="*/ 1939195 w 7603996"/>
              <a:gd name="connsiteY30" fmla="*/ 6716 h 3487140"/>
              <a:gd name="connsiteX31" fmla="*/ 2207888 w 7603996"/>
              <a:gd name="connsiteY31" fmla="*/ 10167 h 3487140"/>
              <a:gd name="connsiteX32" fmla="*/ 2291561 w 7603996"/>
              <a:gd name="connsiteY32" fmla="*/ 49800 h 3487140"/>
              <a:gd name="connsiteX33" fmla="*/ 2244526 w 7603996"/>
              <a:gd name="connsiteY33" fmla="*/ 86812 h 3487140"/>
              <a:gd name="connsiteX34" fmla="*/ 2008603 w 7603996"/>
              <a:gd name="connsiteY34" fmla="*/ 91886 h 3487140"/>
              <a:gd name="connsiteX35" fmla="*/ 1765070 w 7603996"/>
              <a:gd name="connsiteY35" fmla="*/ 75833 h 3487140"/>
              <a:gd name="connsiteX36" fmla="*/ 1657319 w 7603996"/>
              <a:gd name="connsiteY36" fmla="*/ 176931 h 3487140"/>
              <a:gd name="connsiteX37" fmla="*/ 1672581 w 7603996"/>
              <a:gd name="connsiteY37" fmla="*/ 370393 h 3487140"/>
              <a:gd name="connsiteX38" fmla="*/ 1617354 w 7603996"/>
              <a:gd name="connsiteY38" fmla="*/ 589348 h 3487140"/>
              <a:gd name="connsiteX39" fmla="*/ 1460820 w 7603996"/>
              <a:gd name="connsiteY39" fmla="*/ 903953 h 3487140"/>
              <a:gd name="connsiteX40" fmla="*/ 1250349 w 7603996"/>
              <a:gd name="connsiteY40" fmla="*/ 922501 h 3487140"/>
              <a:gd name="connsiteX41" fmla="*/ 1055930 w 7603996"/>
              <a:gd name="connsiteY41" fmla="*/ 866816 h 3487140"/>
              <a:gd name="connsiteX42" fmla="*/ 997085 w 7603996"/>
              <a:gd name="connsiteY42" fmla="*/ 751038 h 3487140"/>
              <a:gd name="connsiteX43" fmla="*/ 1009021 w 7603996"/>
              <a:gd name="connsiteY43" fmla="*/ 369436 h 3487140"/>
              <a:gd name="connsiteX44" fmla="*/ 1070694 w 7603996"/>
              <a:gd name="connsiteY44" fmla="*/ 155805 h 3487140"/>
              <a:gd name="connsiteX45" fmla="*/ 1272058 w 7603996"/>
              <a:gd name="connsiteY45" fmla="*/ 156761 h 3487140"/>
              <a:gd name="connsiteX46" fmla="*/ 1524989 w 7603996"/>
              <a:gd name="connsiteY46" fmla="*/ 245175 h 3487140"/>
              <a:gd name="connsiteX47" fmla="*/ 1694081 w 7603996"/>
              <a:gd name="connsiteY47" fmla="*/ 357792 h 3487140"/>
              <a:gd name="connsiteX48" fmla="*/ 1798672 w 7603996"/>
              <a:gd name="connsiteY48" fmla="*/ 483301 h 3487140"/>
              <a:gd name="connsiteX49" fmla="*/ 1822876 w 7603996"/>
              <a:gd name="connsiteY49" fmla="*/ 600951 h 3487140"/>
              <a:gd name="connsiteX50" fmla="*/ 1795345 w 7603996"/>
              <a:gd name="connsiteY50" fmla="*/ 761726 h 3487140"/>
              <a:gd name="connsiteX51" fmla="*/ 1967266 w 7603996"/>
              <a:gd name="connsiteY51" fmla="*/ 1160004 h 3487140"/>
              <a:gd name="connsiteX52" fmla="*/ 2390246 w 7603996"/>
              <a:gd name="connsiteY52" fmla="*/ 1793622 h 3487140"/>
              <a:gd name="connsiteX53" fmla="*/ 2807737 w 7603996"/>
              <a:gd name="connsiteY53" fmla="*/ 2087475 h 3487140"/>
              <a:gd name="connsiteX54" fmla="*/ 2917360 w 7603996"/>
              <a:gd name="connsiteY54" fmla="*/ 2185620 h 3487140"/>
              <a:gd name="connsiteX55" fmla="*/ 2804411 w 7603996"/>
              <a:gd name="connsiteY55" fmla="*/ 2468120 h 3487140"/>
              <a:gd name="connsiteX56" fmla="*/ 2638312 w 7603996"/>
              <a:gd name="connsiteY56" fmla="*/ 2505548 h 3487140"/>
              <a:gd name="connsiteX57" fmla="*/ 2329862 w 7603996"/>
              <a:gd name="connsiteY57" fmla="*/ 2278109 h 3487140"/>
              <a:gd name="connsiteX58" fmla="*/ 1885173 w 7603996"/>
              <a:gd name="connsiteY58" fmla="*/ 1678800 h 3487140"/>
              <a:gd name="connsiteX59" fmla="*/ 1765320 w 7603996"/>
              <a:gd name="connsiteY59" fmla="*/ 1175432 h 3487140"/>
              <a:gd name="connsiteX60" fmla="*/ 1919774 w 7603996"/>
              <a:gd name="connsiteY60" fmla="*/ 1377420 h 3487140"/>
              <a:gd name="connsiteX61" fmla="*/ 2281414 w 7603996"/>
              <a:gd name="connsiteY61" fmla="*/ 2268710 h 3487140"/>
              <a:gd name="connsiteX62" fmla="*/ 2601216 w 7603996"/>
              <a:gd name="connsiteY62" fmla="*/ 2693105 h 3487140"/>
              <a:gd name="connsiteX63" fmla="*/ 2834644 w 7603996"/>
              <a:gd name="connsiteY63" fmla="*/ 2746586 h 3487140"/>
              <a:gd name="connsiteX64" fmla="*/ 3001865 w 7603996"/>
              <a:gd name="connsiteY64" fmla="*/ 2631432 h 3487140"/>
              <a:gd name="connsiteX65" fmla="*/ 3013052 w 7603996"/>
              <a:gd name="connsiteY65" fmla="*/ 2436680 h 3487140"/>
              <a:gd name="connsiteX66" fmla="*/ 2859222 w 7603996"/>
              <a:gd name="connsiteY66" fmla="*/ 2309258 h 3487140"/>
              <a:gd name="connsiteX67" fmla="*/ 2652036 w 7603996"/>
              <a:gd name="connsiteY67" fmla="*/ 2375007 h 3487140"/>
              <a:gd name="connsiteX68" fmla="*/ 2629537 w 7603996"/>
              <a:gd name="connsiteY68" fmla="*/ 2581402 h 3487140"/>
              <a:gd name="connsiteX69" fmla="*/ 2772222 w 7603996"/>
              <a:gd name="connsiteY69" fmla="*/ 2671064 h 3487140"/>
              <a:gd name="connsiteX70" fmla="*/ 2868787 w 7603996"/>
              <a:gd name="connsiteY70" fmla="*/ 2596831 h 3487140"/>
              <a:gd name="connsiteX71" fmla="*/ 2835601 w 7603996"/>
              <a:gd name="connsiteY71" fmla="*/ 2530750 h 3487140"/>
              <a:gd name="connsiteX72" fmla="*/ 2713543 w 7603996"/>
              <a:gd name="connsiteY72" fmla="*/ 2615379 h 3487140"/>
              <a:gd name="connsiteX73" fmla="*/ 2567864 w 7603996"/>
              <a:gd name="connsiteY73" fmla="*/ 2907028 h 3487140"/>
              <a:gd name="connsiteX74" fmla="*/ 2520039 w 7603996"/>
              <a:gd name="connsiteY74" fmla="*/ 3008333 h 3487140"/>
              <a:gd name="connsiteX75" fmla="*/ 2484191 w 7603996"/>
              <a:gd name="connsiteY75" fmla="*/ 3024053 h 3487140"/>
              <a:gd name="connsiteX76" fmla="*/ 2389165 w 7603996"/>
              <a:gd name="connsiteY76" fmla="*/ 3013989 h 3487140"/>
              <a:gd name="connsiteX77" fmla="*/ 2396068 w 7603996"/>
              <a:gd name="connsiteY77" fmla="*/ 2956724 h 3487140"/>
              <a:gd name="connsiteX78" fmla="*/ 2584831 w 7603996"/>
              <a:gd name="connsiteY78" fmla="*/ 2951068 h 3487140"/>
              <a:gd name="connsiteX79" fmla="*/ 2671041 w 7603996"/>
              <a:gd name="connsiteY79" fmla="*/ 2951068 h 3487140"/>
              <a:gd name="connsiteX80" fmla="*/ 2752219 w 7603996"/>
              <a:gd name="connsiteY80" fmla="*/ 2822066 h 3487140"/>
              <a:gd name="connsiteX81" fmla="*/ 2892533 w 7603996"/>
              <a:gd name="connsiteY81" fmla="*/ 2789337 h 3487140"/>
              <a:gd name="connsiteX82" fmla="*/ 3020246 w 7603996"/>
              <a:gd name="connsiteY82" fmla="*/ 2713815 h 3487140"/>
              <a:gd name="connsiteX83" fmla="*/ 3106456 w 7603996"/>
              <a:gd name="connsiteY83" fmla="*/ 2544556 h 3487140"/>
              <a:gd name="connsiteX84" fmla="*/ 3326035 w 7603996"/>
              <a:gd name="connsiteY84" fmla="*/ 2482883 h 3487140"/>
              <a:gd name="connsiteX85" fmla="*/ 3861009 w 7603996"/>
              <a:gd name="connsiteY85" fmla="*/ 2466831 h 3487140"/>
              <a:gd name="connsiteX86" fmla="*/ 4016751 w 7603996"/>
              <a:gd name="connsiteY86" fmla="*/ 2420918 h 3487140"/>
              <a:gd name="connsiteX87" fmla="*/ 3866664 w 7603996"/>
              <a:gd name="connsiteY87" fmla="*/ 2252907 h 3487140"/>
              <a:gd name="connsiteX88" fmla="*/ 3391285 w 7603996"/>
              <a:gd name="connsiteY88" fmla="*/ 1791709 h 3487140"/>
              <a:gd name="connsiteX89" fmla="*/ 3127166 w 7603996"/>
              <a:gd name="connsiteY89" fmla="*/ 1600118 h 3487140"/>
              <a:gd name="connsiteX90" fmla="*/ 3003196 w 7603996"/>
              <a:gd name="connsiteY90" fmla="*/ 1733529 h 3487140"/>
              <a:gd name="connsiteX91" fmla="*/ 2940898 w 7603996"/>
              <a:gd name="connsiteY91" fmla="*/ 1995900 h 3487140"/>
              <a:gd name="connsiteX92" fmla="*/ 2981778 w 7603996"/>
              <a:gd name="connsiteY92" fmla="*/ 2048133 h 3487140"/>
              <a:gd name="connsiteX93" fmla="*/ 3044699 w 7603996"/>
              <a:gd name="connsiteY93" fmla="*/ 1778817 h 3487140"/>
              <a:gd name="connsiteX94" fmla="*/ 3166466 w 7603996"/>
              <a:gd name="connsiteY94" fmla="*/ 1356918 h 3487140"/>
              <a:gd name="connsiteX95" fmla="*/ 3272803 w 7603996"/>
              <a:gd name="connsiteY95" fmla="*/ 986960 h 3487140"/>
              <a:gd name="connsiteX96" fmla="*/ 3243526 w 7603996"/>
              <a:gd name="connsiteY96" fmla="*/ 867107 h 3487140"/>
              <a:gd name="connsiteX97" fmla="*/ 3068612 w 7603996"/>
              <a:gd name="connsiteY97" fmla="*/ 840034 h 3487140"/>
              <a:gd name="connsiteX98" fmla="*/ 2924513 w 7603996"/>
              <a:gd name="connsiteY98" fmla="*/ 782769 h 3487140"/>
              <a:gd name="connsiteX99" fmla="*/ 2940857 w 7603996"/>
              <a:gd name="connsiteY99" fmla="*/ 714816 h 3487140"/>
              <a:gd name="connsiteX100" fmla="*/ 3114524 w 7603996"/>
              <a:gd name="connsiteY100" fmla="*/ 723008 h 3487140"/>
              <a:gd name="connsiteX101" fmla="*/ 3317135 w 7603996"/>
              <a:gd name="connsiteY101" fmla="*/ 729288 h 3487140"/>
              <a:gd name="connsiteX102" fmla="*/ 3483857 w 7603996"/>
              <a:gd name="connsiteY102" fmla="*/ 682087 h 3487140"/>
              <a:gd name="connsiteX103" fmla="*/ 3601506 w 7603996"/>
              <a:gd name="connsiteY103" fmla="*/ 703463 h 3487140"/>
              <a:gd name="connsiteX104" fmla="*/ 3624171 w 7603996"/>
              <a:gd name="connsiteY104" fmla="*/ 797199 h 3487140"/>
              <a:gd name="connsiteX105" fmla="*/ 3496458 w 7603996"/>
              <a:gd name="connsiteY105" fmla="*/ 890936 h 3487140"/>
              <a:gd name="connsiteX106" fmla="*/ 3326575 w 7603996"/>
              <a:gd name="connsiteY106" fmla="*/ 918009 h 3487140"/>
              <a:gd name="connsiteX107" fmla="*/ 3198862 w 7603996"/>
              <a:gd name="connsiteY107" fmla="*/ 1002306 h 3487140"/>
              <a:gd name="connsiteX108" fmla="*/ 3097972 w 7603996"/>
              <a:gd name="connsiteY108" fmla="*/ 1299902 h 3487140"/>
              <a:gd name="connsiteX109" fmla="*/ 3159022 w 7603996"/>
              <a:gd name="connsiteY109" fmla="*/ 1545930 h 3487140"/>
              <a:gd name="connsiteX110" fmla="*/ 3371697 w 7603996"/>
              <a:gd name="connsiteY110" fmla="*/ 1536490 h 3487140"/>
              <a:gd name="connsiteX111" fmla="*/ 3551228 w 7603996"/>
              <a:gd name="connsiteY111" fmla="*/ 1376048 h 3487140"/>
              <a:gd name="connsiteX112" fmla="*/ 3554389 w 7603996"/>
              <a:gd name="connsiteY112" fmla="*/ 1231949 h 3487140"/>
              <a:gd name="connsiteX113" fmla="*/ 3336348 w 7603996"/>
              <a:gd name="connsiteY113" fmla="*/ 1191693 h 3487140"/>
              <a:gd name="connsiteX114" fmla="*/ 3344832 w 7603996"/>
              <a:gd name="connsiteY114" fmla="*/ 1255238 h 3487140"/>
              <a:gd name="connsiteX115" fmla="*/ 3769850 w 7603996"/>
              <a:gd name="connsiteY115" fmla="*/ 1241722 h 3487140"/>
              <a:gd name="connsiteX116" fmla="*/ 4254670 w 7603996"/>
              <a:gd name="connsiteY116" fmla="*/ 1259646 h 3487140"/>
              <a:gd name="connsiteX117" fmla="*/ 4484022 w 7603996"/>
              <a:gd name="connsiteY117" fmla="*/ 1236981 h 3487140"/>
              <a:gd name="connsiteX118" fmla="*/ 4465766 w 7603996"/>
              <a:gd name="connsiteY118" fmla="*/ 1185995 h 3487140"/>
              <a:gd name="connsiteX119" fmla="*/ 4105248 w 7603996"/>
              <a:gd name="connsiteY119" fmla="*/ 1177512 h 3487140"/>
              <a:gd name="connsiteX120" fmla="*/ 3734668 w 7603996"/>
              <a:gd name="connsiteY120" fmla="*/ 1331342 h 3487140"/>
              <a:gd name="connsiteX121" fmla="*/ 3388914 w 7603996"/>
              <a:gd name="connsiteY121" fmla="*/ 1604110 h 3487140"/>
              <a:gd name="connsiteX122" fmla="*/ 3156111 w 7603996"/>
              <a:gd name="connsiteY122" fmla="*/ 1921252 h 3487140"/>
              <a:gd name="connsiteX123" fmla="*/ 3060461 w 7603996"/>
              <a:gd name="connsiteY123" fmla="*/ 2419255 h 3487140"/>
              <a:gd name="connsiteX124" fmla="*/ 3290769 w 7603996"/>
              <a:gd name="connsiteY124" fmla="*/ 3048465 h 3487140"/>
              <a:gd name="connsiteX125" fmla="*/ 3868994 w 7603996"/>
              <a:gd name="connsiteY125" fmla="*/ 3394510 h 3487140"/>
              <a:gd name="connsiteX126" fmla="*/ 4507643 w 7603996"/>
              <a:gd name="connsiteY126" fmla="*/ 3330632 h 3487140"/>
              <a:gd name="connsiteX127" fmla="*/ 5002818 w 7603996"/>
              <a:gd name="connsiteY127" fmla="*/ 2841404 h 3487140"/>
              <a:gd name="connsiteX128" fmla="*/ 5036171 w 7603996"/>
              <a:gd name="connsiteY128" fmla="*/ 2052999 h 3487140"/>
              <a:gd name="connsiteX129" fmla="*/ 4605164 w 7603996"/>
              <a:gd name="connsiteY129" fmla="*/ 1482011 h 3487140"/>
              <a:gd name="connsiteX130" fmla="*/ 4138310 w 7603996"/>
              <a:gd name="connsiteY130" fmla="*/ 1352717 h 3487140"/>
              <a:gd name="connsiteX131" fmla="*/ 3977868 w 7603996"/>
              <a:gd name="connsiteY131" fmla="*/ 1466624 h 3487140"/>
              <a:gd name="connsiteX132" fmla="*/ 3999909 w 7603996"/>
              <a:gd name="connsiteY132" fmla="*/ 2001140 h 3487140"/>
              <a:gd name="connsiteX133" fmla="*/ 4033885 w 7603996"/>
              <a:gd name="connsiteY133" fmla="*/ 2313208 h 3487140"/>
              <a:gd name="connsiteX134" fmla="*/ 4125585 w 7603996"/>
              <a:gd name="connsiteY134" fmla="*/ 2399085 h 3487140"/>
              <a:gd name="connsiteX135" fmla="*/ 4230051 w 7603996"/>
              <a:gd name="connsiteY135" fmla="*/ 2362905 h 3487140"/>
              <a:gd name="connsiteX136" fmla="*/ 4194660 w 7603996"/>
              <a:gd name="connsiteY136" fmla="*/ 2271372 h 3487140"/>
              <a:gd name="connsiteX137" fmla="*/ 4097056 w 7603996"/>
              <a:gd name="connsiteY137" fmla="*/ 2303394 h 3487140"/>
              <a:gd name="connsiteX138" fmla="*/ 4080670 w 7603996"/>
              <a:gd name="connsiteY138" fmla="*/ 2437262 h 3487140"/>
              <a:gd name="connsiteX139" fmla="*/ 4079589 w 7603996"/>
              <a:gd name="connsiteY139" fmla="*/ 2519521 h 3487140"/>
              <a:gd name="connsiteX140" fmla="*/ 3900475 w 7603996"/>
              <a:gd name="connsiteY140" fmla="*/ 2539400 h 3487140"/>
              <a:gd name="connsiteX141" fmla="*/ 3490220 w 7603996"/>
              <a:gd name="connsiteY141" fmla="*/ 2545679 h 3487140"/>
              <a:gd name="connsiteX142" fmla="*/ 3249848 w 7603996"/>
              <a:gd name="connsiteY142" fmla="*/ 2602944 h 3487140"/>
              <a:gd name="connsiteX143" fmla="*/ 3240241 w 7603996"/>
              <a:gd name="connsiteY143" fmla="*/ 2790460 h 3487140"/>
              <a:gd name="connsiteX144" fmla="*/ 3433578 w 7603996"/>
              <a:gd name="connsiteY144" fmla="*/ 3133385 h 3487140"/>
              <a:gd name="connsiteX145" fmla="*/ 3925468 w 7603996"/>
              <a:gd name="connsiteY145" fmla="*/ 3465290 h 3487140"/>
              <a:gd name="connsiteX146" fmla="*/ 4666214 w 7603996"/>
              <a:gd name="connsiteY146" fmla="*/ 3390434 h 3487140"/>
              <a:gd name="connsiteX147" fmla="*/ 5106037 w 7603996"/>
              <a:gd name="connsiteY147" fmla="*/ 3017940 h 3487140"/>
              <a:gd name="connsiteX148" fmla="*/ 5420018 w 7603996"/>
              <a:gd name="connsiteY148" fmla="*/ 2655510 h 3487140"/>
              <a:gd name="connsiteX149" fmla="*/ 5792512 w 7603996"/>
              <a:gd name="connsiteY149" fmla="*/ 3163577 h 3487140"/>
              <a:gd name="connsiteX150" fmla="*/ 6016499 w 7603996"/>
              <a:gd name="connsiteY150" fmla="*/ 3255443 h 3487140"/>
              <a:gd name="connsiteX151" fmla="*/ 6094516 w 7603996"/>
              <a:gd name="connsiteY151" fmla="*/ 2786675 h 3487140"/>
              <a:gd name="connsiteX152" fmla="*/ 6404089 w 7603996"/>
              <a:gd name="connsiteY152" fmla="*/ 2869724 h 3487140"/>
              <a:gd name="connsiteX153" fmla="*/ 6642881 w 7603996"/>
              <a:gd name="connsiteY153" fmla="*/ 3245046 h 3487140"/>
              <a:gd name="connsiteX154" fmla="*/ 7015374 w 7603996"/>
              <a:gd name="connsiteY154" fmla="*/ 3329676 h 3487140"/>
              <a:gd name="connsiteX155" fmla="*/ 7603996 w 7603996"/>
              <a:gd name="connsiteY155" fmla="*/ 3217682 h 3487140"/>
              <a:gd name="connsiteX0" fmla="*/ 777215 w 7015374"/>
              <a:gd name="connsiteY0" fmla="*/ 3295741 h 3487140"/>
              <a:gd name="connsiteX1" fmla="*/ 526113 w 7015374"/>
              <a:gd name="connsiteY1" fmla="*/ 3112384 h 3487140"/>
              <a:gd name="connsiteX2" fmla="*/ 219950 w 7015374"/>
              <a:gd name="connsiteY2" fmla="*/ 2750287 h 3487140"/>
              <a:gd name="connsiteX3" fmla="*/ 128418 w 7015374"/>
              <a:gd name="connsiteY3" fmla="*/ 2305432 h 3487140"/>
              <a:gd name="connsiteX4" fmla="*/ 256006 w 7015374"/>
              <a:gd name="connsiteY4" fmla="*/ 1919713 h 3487140"/>
              <a:gd name="connsiteX5" fmla="*/ 580218 w 7015374"/>
              <a:gd name="connsiteY5" fmla="*/ 1637837 h 3487140"/>
              <a:gd name="connsiteX6" fmla="*/ 1073522 w 7015374"/>
              <a:gd name="connsiteY6" fmla="*/ 1545972 h 3487140"/>
              <a:gd name="connsiteX7" fmla="*/ 1308197 w 7015374"/>
              <a:gd name="connsiteY7" fmla="*/ 1517651 h 3487140"/>
              <a:gd name="connsiteX8" fmla="*/ 1292934 w 7015374"/>
              <a:gd name="connsiteY8" fmla="*/ 1460718 h 3487140"/>
              <a:gd name="connsiteX9" fmla="*/ 1016880 w 7015374"/>
              <a:gd name="connsiteY9" fmla="*/ 1416969 h 3487140"/>
              <a:gd name="connsiteX10" fmla="*/ 497460 w 7015374"/>
              <a:gd name="connsiteY10" fmla="*/ 1517318 h 3487140"/>
              <a:gd name="connsiteX11" fmla="*/ 88162 w 7015374"/>
              <a:gd name="connsiteY11" fmla="*/ 1960593 h 3487140"/>
              <a:gd name="connsiteX12" fmla="*/ 28692 w 7015374"/>
              <a:gd name="connsiteY12" fmla="*/ 2569342 h 3487140"/>
              <a:gd name="connsiteX13" fmla="*/ 442399 w 7015374"/>
              <a:gd name="connsiteY13" fmla="*/ 3165532 h 3487140"/>
              <a:gd name="connsiteX14" fmla="*/ 1232384 w 7015374"/>
              <a:gd name="connsiteY14" fmla="*/ 3283181 h 3487140"/>
              <a:gd name="connsiteX15" fmla="*/ 1835020 w 7015374"/>
              <a:gd name="connsiteY15" fmla="*/ 2757481 h 3487140"/>
              <a:gd name="connsiteX16" fmla="*/ 1824789 w 7015374"/>
              <a:gd name="connsiteY16" fmla="*/ 1980430 h 3487140"/>
              <a:gd name="connsiteX17" fmla="*/ 1494755 w 7015374"/>
              <a:gd name="connsiteY17" fmla="*/ 1589139 h 3487140"/>
              <a:gd name="connsiteX18" fmla="*/ 1305701 w 7015374"/>
              <a:gd name="connsiteY18" fmla="*/ 1660710 h 3487140"/>
              <a:gd name="connsiteX19" fmla="*/ 1197284 w 7015374"/>
              <a:gd name="connsiteY19" fmla="*/ 2116627 h 3487140"/>
              <a:gd name="connsiteX20" fmla="*/ 973921 w 7015374"/>
              <a:gd name="connsiteY20" fmla="*/ 2374258 h 3487140"/>
              <a:gd name="connsiteX21" fmla="*/ 918985 w 7015374"/>
              <a:gd name="connsiteY21" fmla="*/ 2276986 h 3487140"/>
              <a:gd name="connsiteX22" fmla="*/ 1298257 w 7015374"/>
              <a:gd name="connsiteY22" fmla="*/ 2021601 h 3487140"/>
              <a:gd name="connsiteX23" fmla="*/ 1558176 w 7015374"/>
              <a:gd name="connsiteY23" fmla="*/ 1234153 h 3487140"/>
              <a:gd name="connsiteX24" fmla="*/ 1788276 w 7015374"/>
              <a:gd name="connsiteY24" fmla="*/ 725296 h 3487140"/>
              <a:gd name="connsiteX25" fmla="*/ 1896859 w 7015374"/>
              <a:gd name="connsiteY25" fmla="*/ 539984 h 3487140"/>
              <a:gd name="connsiteX26" fmla="*/ 1865711 w 7015374"/>
              <a:gd name="connsiteY26" fmla="*/ 435851 h 3487140"/>
              <a:gd name="connsiteX27" fmla="*/ 1759373 w 7015374"/>
              <a:gd name="connsiteY27" fmla="*/ 350265 h 3487140"/>
              <a:gd name="connsiteX28" fmla="*/ 1714085 w 7015374"/>
              <a:gd name="connsiteY28" fmla="*/ 209327 h 3487140"/>
              <a:gd name="connsiteX29" fmla="*/ 1758915 w 7015374"/>
              <a:gd name="connsiteY29" fmla="*/ 82237 h 3487140"/>
              <a:gd name="connsiteX30" fmla="*/ 1939195 w 7015374"/>
              <a:gd name="connsiteY30" fmla="*/ 6716 h 3487140"/>
              <a:gd name="connsiteX31" fmla="*/ 2207888 w 7015374"/>
              <a:gd name="connsiteY31" fmla="*/ 10167 h 3487140"/>
              <a:gd name="connsiteX32" fmla="*/ 2291561 w 7015374"/>
              <a:gd name="connsiteY32" fmla="*/ 49800 h 3487140"/>
              <a:gd name="connsiteX33" fmla="*/ 2244526 w 7015374"/>
              <a:gd name="connsiteY33" fmla="*/ 86812 h 3487140"/>
              <a:gd name="connsiteX34" fmla="*/ 2008603 w 7015374"/>
              <a:gd name="connsiteY34" fmla="*/ 91886 h 3487140"/>
              <a:gd name="connsiteX35" fmla="*/ 1765070 w 7015374"/>
              <a:gd name="connsiteY35" fmla="*/ 75833 h 3487140"/>
              <a:gd name="connsiteX36" fmla="*/ 1657319 w 7015374"/>
              <a:gd name="connsiteY36" fmla="*/ 176931 h 3487140"/>
              <a:gd name="connsiteX37" fmla="*/ 1672581 w 7015374"/>
              <a:gd name="connsiteY37" fmla="*/ 370393 h 3487140"/>
              <a:gd name="connsiteX38" fmla="*/ 1617354 w 7015374"/>
              <a:gd name="connsiteY38" fmla="*/ 589348 h 3487140"/>
              <a:gd name="connsiteX39" fmla="*/ 1460820 w 7015374"/>
              <a:gd name="connsiteY39" fmla="*/ 903953 h 3487140"/>
              <a:gd name="connsiteX40" fmla="*/ 1250349 w 7015374"/>
              <a:gd name="connsiteY40" fmla="*/ 922501 h 3487140"/>
              <a:gd name="connsiteX41" fmla="*/ 1055930 w 7015374"/>
              <a:gd name="connsiteY41" fmla="*/ 866816 h 3487140"/>
              <a:gd name="connsiteX42" fmla="*/ 997085 w 7015374"/>
              <a:gd name="connsiteY42" fmla="*/ 751038 h 3487140"/>
              <a:gd name="connsiteX43" fmla="*/ 1009021 w 7015374"/>
              <a:gd name="connsiteY43" fmla="*/ 369436 h 3487140"/>
              <a:gd name="connsiteX44" fmla="*/ 1070694 w 7015374"/>
              <a:gd name="connsiteY44" fmla="*/ 155805 h 3487140"/>
              <a:gd name="connsiteX45" fmla="*/ 1272058 w 7015374"/>
              <a:gd name="connsiteY45" fmla="*/ 156761 h 3487140"/>
              <a:gd name="connsiteX46" fmla="*/ 1524989 w 7015374"/>
              <a:gd name="connsiteY46" fmla="*/ 245175 h 3487140"/>
              <a:gd name="connsiteX47" fmla="*/ 1694081 w 7015374"/>
              <a:gd name="connsiteY47" fmla="*/ 357792 h 3487140"/>
              <a:gd name="connsiteX48" fmla="*/ 1798672 w 7015374"/>
              <a:gd name="connsiteY48" fmla="*/ 483301 h 3487140"/>
              <a:gd name="connsiteX49" fmla="*/ 1822876 w 7015374"/>
              <a:gd name="connsiteY49" fmla="*/ 600951 h 3487140"/>
              <a:gd name="connsiteX50" fmla="*/ 1795345 w 7015374"/>
              <a:gd name="connsiteY50" fmla="*/ 761726 h 3487140"/>
              <a:gd name="connsiteX51" fmla="*/ 1967266 w 7015374"/>
              <a:gd name="connsiteY51" fmla="*/ 1160004 h 3487140"/>
              <a:gd name="connsiteX52" fmla="*/ 2390246 w 7015374"/>
              <a:gd name="connsiteY52" fmla="*/ 1793622 h 3487140"/>
              <a:gd name="connsiteX53" fmla="*/ 2807737 w 7015374"/>
              <a:gd name="connsiteY53" fmla="*/ 2087475 h 3487140"/>
              <a:gd name="connsiteX54" fmla="*/ 2917360 w 7015374"/>
              <a:gd name="connsiteY54" fmla="*/ 2185620 h 3487140"/>
              <a:gd name="connsiteX55" fmla="*/ 2804411 w 7015374"/>
              <a:gd name="connsiteY55" fmla="*/ 2468120 h 3487140"/>
              <a:gd name="connsiteX56" fmla="*/ 2638312 w 7015374"/>
              <a:gd name="connsiteY56" fmla="*/ 2505548 h 3487140"/>
              <a:gd name="connsiteX57" fmla="*/ 2329862 w 7015374"/>
              <a:gd name="connsiteY57" fmla="*/ 2278109 h 3487140"/>
              <a:gd name="connsiteX58" fmla="*/ 1885173 w 7015374"/>
              <a:gd name="connsiteY58" fmla="*/ 1678800 h 3487140"/>
              <a:gd name="connsiteX59" fmla="*/ 1765320 w 7015374"/>
              <a:gd name="connsiteY59" fmla="*/ 1175432 h 3487140"/>
              <a:gd name="connsiteX60" fmla="*/ 1919774 w 7015374"/>
              <a:gd name="connsiteY60" fmla="*/ 1377420 h 3487140"/>
              <a:gd name="connsiteX61" fmla="*/ 2281414 w 7015374"/>
              <a:gd name="connsiteY61" fmla="*/ 2268710 h 3487140"/>
              <a:gd name="connsiteX62" fmla="*/ 2601216 w 7015374"/>
              <a:gd name="connsiteY62" fmla="*/ 2693105 h 3487140"/>
              <a:gd name="connsiteX63" fmla="*/ 2834644 w 7015374"/>
              <a:gd name="connsiteY63" fmla="*/ 2746586 h 3487140"/>
              <a:gd name="connsiteX64" fmla="*/ 3001865 w 7015374"/>
              <a:gd name="connsiteY64" fmla="*/ 2631432 h 3487140"/>
              <a:gd name="connsiteX65" fmla="*/ 3013052 w 7015374"/>
              <a:gd name="connsiteY65" fmla="*/ 2436680 h 3487140"/>
              <a:gd name="connsiteX66" fmla="*/ 2859222 w 7015374"/>
              <a:gd name="connsiteY66" fmla="*/ 2309258 h 3487140"/>
              <a:gd name="connsiteX67" fmla="*/ 2652036 w 7015374"/>
              <a:gd name="connsiteY67" fmla="*/ 2375007 h 3487140"/>
              <a:gd name="connsiteX68" fmla="*/ 2629537 w 7015374"/>
              <a:gd name="connsiteY68" fmla="*/ 2581402 h 3487140"/>
              <a:gd name="connsiteX69" fmla="*/ 2772222 w 7015374"/>
              <a:gd name="connsiteY69" fmla="*/ 2671064 h 3487140"/>
              <a:gd name="connsiteX70" fmla="*/ 2868787 w 7015374"/>
              <a:gd name="connsiteY70" fmla="*/ 2596831 h 3487140"/>
              <a:gd name="connsiteX71" fmla="*/ 2835601 w 7015374"/>
              <a:gd name="connsiteY71" fmla="*/ 2530750 h 3487140"/>
              <a:gd name="connsiteX72" fmla="*/ 2713543 w 7015374"/>
              <a:gd name="connsiteY72" fmla="*/ 2615379 h 3487140"/>
              <a:gd name="connsiteX73" fmla="*/ 2567864 w 7015374"/>
              <a:gd name="connsiteY73" fmla="*/ 2907028 h 3487140"/>
              <a:gd name="connsiteX74" fmla="*/ 2520039 w 7015374"/>
              <a:gd name="connsiteY74" fmla="*/ 3008333 h 3487140"/>
              <a:gd name="connsiteX75" fmla="*/ 2484191 w 7015374"/>
              <a:gd name="connsiteY75" fmla="*/ 3024053 h 3487140"/>
              <a:gd name="connsiteX76" fmla="*/ 2389165 w 7015374"/>
              <a:gd name="connsiteY76" fmla="*/ 3013989 h 3487140"/>
              <a:gd name="connsiteX77" fmla="*/ 2396068 w 7015374"/>
              <a:gd name="connsiteY77" fmla="*/ 2956724 h 3487140"/>
              <a:gd name="connsiteX78" fmla="*/ 2584831 w 7015374"/>
              <a:gd name="connsiteY78" fmla="*/ 2951068 h 3487140"/>
              <a:gd name="connsiteX79" fmla="*/ 2671041 w 7015374"/>
              <a:gd name="connsiteY79" fmla="*/ 2951068 h 3487140"/>
              <a:gd name="connsiteX80" fmla="*/ 2752219 w 7015374"/>
              <a:gd name="connsiteY80" fmla="*/ 2822066 h 3487140"/>
              <a:gd name="connsiteX81" fmla="*/ 2892533 w 7015374"/>
              <a:gd name="connsiteY81" fmla="*/ 2789337 h 3487140"/>
              <a:gd name="connsiteX82" fmla="*/ 3020246 w 7015374"/>
              <a:gd name="connsiteY82" fmla="*/ 2713815 h 3487140"/>
              <a:gd name="connsiteX83" fmla="*/ 3106456 w 7015374"/>
              <a:gd name="connsiteY83" fmla="*/ 2544556 h 3487140"/>
              <a:gd name="connsiteX84" fmla="*/ 3326035 w 7015374"/>
              <a:gd name="connsiteY84" fmla="*/ 2482883 h 3487140"/>
              <a:gd name="connsiteX85" fmla="*/ 3861009 w 7015374"/>
              <a:gd name="connsiteY85" fmla="*/ 2466831 h 3487140"/>
              <a:gd name="connsiteX86" fmla="*/ 4016751 w 7015374"/>
              <a:gd name="connsiteY86" fmla="*/ 2420918 h 3487140"/>
              <a:gd name="connsiteX87" fmla="*/ 3866664 w 7015374"/>
              <a:gd name="connsiteY87" fmla="*/ 2252907 h 3487140"/>
              <a:gd name="connsiteX88" fmla="*/ 3391285 w 7015374"/>
              <a:gd name="connsiteY88" fmla="*/ 1791709 h 3487140"/>
              <a:gd name="connsiteX89" fmla="*/ 3127166 w 7015374"/>
              <a:gd name="connsiteY89" fmla="*/ 1600118 h 3487140"/>
              <a:gd name="connsiteX90" fmla="*/ 3003196 w 7015374"/>
              <a:gd name="connsiteY90" fmla="*/ 1733529 h 3487140"/>
              <a:gd name="connsiteX91" fmla="*/ 2940898 w 7015374"/>
              <a:gd name="connsiteY91" fmla="*/ 1995900 h 3487140"/>
              <a:gd name="connsiteX92" fmla="*/ 2981778 w 7015374"/>
              <a:gd name="connsiteY92" fmla="*/ 2048133 h 3487140"/>
              <a:gd name="connsiteX93" fmla="*/ 3044699 w 7015374"/>
              <a:gd name="connsiteY93" fmla="*/ 1778817 h 3487140"/>
              <a:gd name="connsiteX94" fmla="*/ 3166466 w 7015374"/>
              <a:gd name="connsiteY94" fmla="*/ 1356918 h 3487140"/>
              <a:gd name="connsiteX95" fmla="*/ 3272803 w 7015374"/>
              <a:gd name="connsiteY95" fmla="*/ 986960 h 3487140"/>
              <a:gd name="connsiteX96" fmla="*/ 3243526 w 7015374"/>
              <a:gd name="connsiteY96" fmla="*/ 867107 h 3487140"/>
              <a:gd name="connsiteX97" fmla="*/ 3068612 w 7015374"/>
              <a:gd name="connsiteY97" fmla="*/ 840034 h 3487140"/>
              <a:gd name="connsiteX98" fmla="*/ 2924513 w 7015374"/>
              <a:gd name="connsiteY98" fmla="*/ 782769 h 3487140"/>
              <a:gd name="connsiteX99" fmla="*/ 2940857 w 7015374"/>
              <a:gd name="connsiteY99" fmla="*/ 714816 h 3487140"/>
              <a:gd name="connsiteX100" fmla="*/ 3114524 w 7015374"/>
              <a:gd name="connsiteY100" fmla="*/ 723008 h 3487140"/>
              <a:gd name="connsiteX101" fmla="*/ 3317135 w 7015374"/>
              <a:gd name="connsiteY101" fmla="*/ 729288 h 3487140"/>
              <a:gd name="connsiteX102" fmla="*/ 3483857 w 7015374"/>
              <a:gd name="connsiteY102" fmla="*/ 682087 h 3487140"/>
              <a:gd name="connsiteX103" fmla="*/ 3601506 w 7015374"/>
              <a:gd name="connsiteY103" fmla="*/ 703463 h 3487140"/>
              <a:gd name="connsiteX104" fmla="*/ 3624171 w 7015374"/>
              <a:gd name="connsiteY104" fmla="*/ 797199 h 3487140"/>
              <a:gd name="connsiteX105" fmla="*/ 3496458 w 7015374"/>
              <a:gd name="connsiteY105" fmla="*/ 890936 h 3487140"/>
              <a:gd name="connsiteX106" fmla="*/ 3326575 w 7015374"/>
              <a:gd name="connsiteY106" fmla="*/ 918009 h 3487140"/>
              <a:gd name="connsiteX107" fmla="*/ 3198862 w 7015374"/>
              <a:gd name="connsiteY107" fmla="*/ 1002306 h 3487140"/>
              <a:gd name="connsiteX108" fmla="*/ 3097972 w 7015374"/>
              <a:gd name="connsiteY108" fmla="*/ 1299902 h 3487140"/>
              <a:gd name="connsiteX109" fmla="*/ 3159022 w 7015374"/>
              <a:gd name="connsiteY109" fmla="*/ 1545930 h 3487140"/>
              <a:gd name="connsiteX110" fmla="*/ 3371697 w 7015374"/>
              <a:gd name="connsiteY110" fmla="*/ 1536490 h 3487140"/>
              <a:gd name="connsiteX111" fmla="*/ 3551228 w 7015374"/>
              <a:gd name="connsiteY111" fmla="*/ 1376048 h 3487140"/>
              <a:gd name="connsiteX112" fmla="*/ 3554389 w 7015374"/>
              <a:gd name="connsiteY112" fmla="*/ 1231949 h 3487140"/>
              <a:gd name="connsiteX113" fmla="*/ 3336348 w 7015374"/>
              <a:gd name="connsiteY113" fmla="*/ 1191693 h 3487140"/>
              <a:gd name="connsiteX114" fmla="*/ 3344832 w 7015374"/>
              <a:gd name="connsiteY114" fmla="*/ 1255238 h 3487140"/>
              <a:gd name="connsiteX115" fmla="*/ 3769850 w 7015374"/>
              <a:gd name="connsiteY115" fmla="*/ 1241722 h 3487140"/>
              <a:gd name="connsiteX116" fmla="*/ 4254670 w 7015374"/>
              <a:gd name="connsiteY116" fmla="*/ 1259646 h 3487140"/>
              <a:gd name="connsiteX117" fmla="*/ 4484022 w 7015374"/>
              <a:gd name="connsiteY117" fmla="*/ 1236981 h 3487140"/>
              <a:gd name="connsiteX118" fmla="*/ 4465766 w 7015374"/>
              <a:gd name="connsiteY118" fmla="*/ 1185995 h 3487140"/>
              <a:gd name="connsiteX119" fmla="*/ 4105248 w 7015374"/>
              <a:gd name="connsiteY119" fmla="*/ 1177512 h 3487140"/>
              <a:gd name="connsiteX120" fmla="*/ 3734668 w 7015374"/>
              <a:gd name="connsiteY120" fmla="*/ 1331342 h 3487140"/>
              <a:gd name="connsiteX121" fmla="*/ 3388914 w 7015374"/>
              <a:gd name="connsiteY121" fmla="*/ 1604110 h 3487140"/>
              <a:gd name="connsiteX122" fmla="*/ 3156111 w 7015374"/>
              <a:gd name="connsiteY122" fmla="*/ 1921252 h 3487140"/>
              <a:gd name="connsiteX123" fmla="*/ 3060461 w 7015374"/>
              <a:gd name="connsiteY123" fmla="*/ 2419255 h 3487140"/>
              <a:gd name="connsiteX124" fmla="*/ 3290769 w 7015374"/>
              <a:gd name="connsiteY124" fmla="*/ 3048465 h 3487140"/>
              <a:gd name="connsiteX125" fmla="*/ 3868994 w 7015374"/>
              <a:gd name="connsiteY125" fmla="*/ 3394510 h 3487140"/>
              <a:gd name="connsiteX126" fmla="*/ 4507643 w 7015374"/>
              <a:gd name="connsiteY126" fmla="*/ 3330632 h 3487140"/>
              <a:gd name="connsiteX127" fmla="*/ 5002818 w 7015374"/>
              <a:gd name="connsiteY127" fmla="*/ 2841404 h 3487140"/>
              <a:gd name="connsiteX128" fmla="*/ 5036171 w 7015374"/>
              <a:gd name="connsiteY128" fmla="*/ 2052999 h 3487140"/>
              <a:gd name="connsiteX129" fmla="*/ 4605164 w 7015374"/>
              <a:gd name="connsiteY129" fmla="*/ 1482011 h 3487140"/>
              <a:gd name="connsiteX130" fmla="*/ 4138310 w 7015374"/>
              <a:gd name="connsiteY130" fmla="*/ 1352717 h 3487140"/>
              <a:gd name="connsiteX131" fmla="*/ 3977868 w 7015374"/>
              <a:gd name="connsiteY131" fmla="*/ 1466624 h 3487140"/>
              <a:gd name="connsiteX132" fmla="*/ 3999909 w 7015374"/>
              <a:gd name="connsiteY132" fmla="*/ 2001140 h 3487140"/>
              <a:gd name="connsiteX133" fmla="*/ 4033885 w 7015374"/>
              <a:gd name="connsiteY133" fmla="*/ 2313208 h 3487140"/>
              <a:gd name="connsiteX134" fmla="*/ 4125585 w 7015374"/>
              <a:gd name="connsiteY134" fmla="*/ 2399085 h 3487140"/>
              <a:gd name="connsiteX135" fmla="*/ 4230051 w 7015374"/>
              <a:gd name="connsiteY135" fmla="*/ 2362905 h 3487140"/>
              <a:gd name="connsiteX136" fmla="*/ 4194660 w 7015374"/>
              <a:gd name="connsiteY136" fmla="*/ 2271372 h 3487140"/>
              <a:gd name="connsiteX137" fmla="*/ 4097056 w 7015374"/>
              <a:gd name="connsiteY137" fmla="*/ 2303394 h 3487140"/>
              <a:gd name="connsiteX138" fmla="*/ 4080670 w 7015374"/>
              <a:gd name="connsiteY138" fmla="*/ 2437262 h 3487140"/>
              <a:gd name="connsiteX139" fmla="*/ 4079589 w 7015374"/>
              <a:gd name="connsiteY139" fmla="*/ 2519521 h 3487140"/>
              <a:gd name="connsiteX140" fmla="*/ 3900475 w 7015374"/>
              <a:gd name="connsiteY140" fmla="*/ 2539400 h 3487140"/>
              <a:gd name="connsiteX141" fmla="*/ 3490220 w 7015374"/>
              <a:gd name="connsiteY141" fmla="*/ 2545679 h 3487140"/>
              <a:gd name="connsiteX142" fmla="*/ 3249848 w 7015374"/>
              <a:gd name="connsiteY142" fmla="*/ 2602944 h 3487140"/>
              <a:gd name="connsiteX143" fmla="*/ 3240241 w 7015374"/>
              <a:gd name="connsiteY143" fmla="*/ 2790460 h 3487140"/>
              <a:gd name="connsiteX144" fmla="*/ 3433578 w 7015374"/>
              <a:gd name="connsiteY144" fmla="*/ 3133385 h 3487140"/>
              <a:gd name="connsiteX145" fmla="*/ 3925468 w 7015374"/>
              <a:gd name="connsiteY145" fmla="*/ 3465290 h 3487140"/>
              <a:gd name="connsiteX146" fmla="*/ 4666214 w 7015374"/>
              <a:gd name="connsiteY146" fmla="*/ 3390434 h 3487140"/>
              <a:gd name="connsiteX147" fmla="*/ 5106037 w 7015374"/>
              <a:gd name="connsiteY147" fmla="*/ 3017940 h 3487140"/>
              <a:gd name="connsiteX148" fmla="*/ 5420018 w 7015374"/>
              <a:gd name="connsiteY148" fmla="*/ 2655510 h 3487140"/>
              <a:gd name="connsiteX149" fmla="*/ 5792512 w 7015374"/>
              <a:gd name="connsiteY149" fmla="*/ 3163577 h 3487140"/>
              <a:gd name="connsiteX150" fmla="*/ 6016499 w 7015374"/>
              <a:gd name="connsiteY150" fmla="*/ 3255443 h 3487140"/>
              <a:gd name="connsiteX151" fmla="*/ 6094516 w 7015374"/>
              <a:gd name="connsiteY151" fmla="*/ 2786675 h 3487140"/>
              <a:gd name="connsiteX152" fmla="*/ 6404089 w 7015374"/>
              <a:gd name="connsiteY152" fmla="*/ 2869724 h 3487140"/>
              <a:gd name="connsiteX153" fmla="*/ 6642881 w 7015374"/>
              <a:gd name="connsiteY153" fmla="*/ 3245046 h 3487140"/>
              <a:gd name="connsiteX154" fmla="*/ 7015374 w 7015374"/>
              <a:gd name="connsiteY154" fmla="*/ 3329676 h 3487140"/>
              <a:gd name="connsiteX0" fmla="*/ 777215 w 6642881"/>
              <a:gd name="connsiteY0" fmla="*/ 3295741 h 3487140"/>
              <a:gd name="connsiteX1" fmla="*/ 526113 w 6642881"/>
              <a:gd name="connsiteY1" fmla="*/ 3112384 h 3487140"/>
              <a:gd name="connsiteX2" fmla="*/ 219950 w 6642881"/>
              <a:gd name="connsiteY2" fmla="*/ 2750287 h 3487140"/>
              <a:gd name="connsiteX3" fmla="*/ 128418 w 6642881"/>
              <a:gd name="connsiteY3" fmla="*/ 2305432 h 3487140"/>
              <a:gd name="connsiteX4" fmla="*/ 256006 w 6642881"/>
              <a:gd name="connsiteY4" fmla="*/ 1919713 h 3487140"/>
              <a:gd name="connsiteX5" fmla="*/ 580218 w 6642881"/>
              <a:gd name="connsiteY5" fmla="*/ 1637837 h 3487140"/>
              <a:gd name="connsiteX6" fmla="*/ 1073522 w 6642881"/>
              <a:gd name="connsiteY6" fmla="*/ 1545972 h 3487140"/>
              <a:gd name="connsiteX7" fmla="*/ 1308197 w 6642881"/>
              <a:gd name="connsiteY7" fmla="*/ 1517651 h 3487140"/>
              <a:gd name="connsiteX8" fmla="*/ 1292934 w 6642881"/>
              <a:gd name="connsiteY8" fmla="*/ 1460718 h 3487140"/>
              <a:gd name="connsiteX9" fmla="*/ 1016880 w 6642881"/>
              <a:gd name="connsiteY9" fmla="*/ 1416969 h 3487140"/>
              <a:gd name="connsiteX10" fmla="*/ 497460 w 6642881"/>
              <a:gd name="connsiteY10" fmla="*/ 1517318 h 3487140"/>
              <a:gd name="connsiteX11" fmla="*/ 88162 w 6642881"/>
              <a:gd name="connsiteY11" fmla="*/ 1960593 h 3487140"/>
              <a:gd name="connsiteX12" fmla="*/ 28692 w 6642881"/>
              <a:gd name="connsiteY12" fmla="*/ 2569342 h 3487140"/>
              <a:gd name="connsiteX13" fmla="*/ 442399 w 6642881"/>
              <a:gd name="connsiteY13" fmla="*/ 3165532 h 3487140"/>
              <a:gd name="connsiteX14" fmla="*/ 1232384 w 6642881"/>
              <a:gd name="connsiteY14" fmla="*/ 3283181 h 3487140"/>
              <a:gd name="connsiteX15" fmla="*/ 1835020 w 6642881"/>
              <a:gd name="connsiteY15" fmla="*/ 2757481 h 3487140"/>
              <a:gd name="connsiteX16" fmla="*/ 1824789 w 6642881"/>
              <a:gd name="connsiteY16" fmla="*/ 1980430 h 3487140"/>
              <a:gd name="connsiteX17" fmla="*/ 1494755 w 6642881"/>
              <a:gd name="connsiteY17" fmla="*/ 1589139 h 3487140"/>
              <a:gd name="connsiteX18" fmla="*/ 1305701 w 6642881"/>
              <a:gd name="connsiteY18" fmla="*/ 1660710 h 3487140"/>
              <a:gd name="connsiteX19" fmla="*/ 1197284 w 6642881"/>
              <a:gd name="connsiteY19" fmla="*/ 2116627 h 3487140"/>
              <a:gd name="connsiteX20" fmla="*/ 973921 w 6642881"/>
              <a:gd name="connsiteY20" fmla="*/ 2374258 h 3487140"/>
              <a:gd name="connsiteX21" fmla="*/ 918985 w 6642881"/>
              <a:gd name="connsiteY21" fmla="*/ 2276986 h 3487140"/>
              <a:gd name="connsiteX22" fmla="*/ 1298257 w 6642881"/>
              <a:gd name="connsiteY22" fmla="*/ 2021601 h 3487140"/>
              <a:gd name="connsiteX23" fmla="*/ 1558176 w 6642881"/>
              <a:gd name="connsiteY23" fmla="*/ 1234153 h 3487140"/>
              <a:gd name="connsiteX24" fmla="*/ 1788276 w 6642881"/>
              <a:gd name="connsiteY24" fmla="*/ 725296 h 3487140"/>
              <a:gd name="connsiteX25" fmla="*/ 1896859 w 6642881"/>
              <a:gd name="connsiteY25" fmla="*/ 539984 h 3487140"/>
              <a:gd name="connsiteX26" fmla="*/ 1865711 w 6642881"/>
              <a:gd name="connsiteY26" fmla="*/ 435851 h 3487140"/>
              <a:gd name="connsiteX27" fmla="*/ 1759373 w 6642881"/>
              <a:gd name="connsiteY27" fmla="*/ 350265 h 3487140"/>
              <a:gd name="connsiteX28" fmla="*/ 1714085 w 6642881"/>
              <a:gd name="connsiteY28" fmla="*/ 209327 h 3487140"/>
              <a:gd name="connsiteX29" fmla="*/ 1758915 w 6642881"/>
              <a:gd name="connsiteY29" fmla="*/ 82237 h 3487140"/>
              <a:gd name="connsiteX30" fmla="*/ 1939195 w 6642881"/>
              <a:gd name="connsiteY30" fmla="*/ 6716 h 3487140"/>
              <a:gd name="connsiteX31" fmla="*/ 2207888 w 6642881"/>
              <a:gd name="connsiteY31" fmla="*/ 10167 h 3487140"/>
              <a:gd name="connsiteX32" fmla="*/ 2291561 w 6642881"/>
              <a:gd name="connsiteY32" fmla="*/ 49800 h 3487140"/>
              <a:gd name="connsiteX33" fmla="*/ 2244526 w 6642881"/>
              <a:gd name="connsiteY33" fmla="*/ 86812 h 3487140"/>
              <a:gd name="connsiteX34" fmla="*/ 2008603 w 6642881"/>
              <a:gd name="connsiteY34" fmla="*/ 91886 h 3487140"/>
              <a:gd name="connsiteX35" fmla="*/ 1765070 w 6642881"/>
              <a:gd name="connsiteY35" fmla="*/ 75833 h 3487140"/>
              <a:gd name="connsiteX36" fmla="*/ 1657319 w 6642881"/>
              <a:gd name="connsiteY36" fmla="*/ 176931 h 3487140"/>
              <a:gd name="connsiteX37" fmla="*/ 1672581 w 6642881"/>
              <a:gd name="connsiteY37" fmla="*/ 370393 h 3487140"/>
              <a:gd name="connsiteX38" fmla="*/ 1617354 w 6642881"/>
              <a:gd name="connsiteY38" fmla="*/ 589348 h 3487140"/>
              <a:gd name="connsiteX39" fmla="*/ 1460820 w 6642881"/>
              <a:gd name="connsiteY39" fmla="*/ 903953 h 3487140"/>
              <a:gd name="connsiteX40" fmla="*/ 1250349 w 6642881"/>
              <a:gd name="connsiteY40" fmla="*/ 922501 h 3487140"/>
              <a:gd name="connsiteX41" fmla="*/ 1055930 w 6642881"/>
              <a:gd name="connsiteY41" fmla="*/ 866816 h 3487140"/>
              <a:gd name="connsiteX42" fmla="*/ 997085 w 6642881"/>
              <a:gd name="connsiteY42" fmla="*/ 751038 h 3487140"/>
              <a:gd name="connsiteX43" fmla="*/ 1009021 w 6642881"/>
              <a:gd name="connsiteY43" fmla="*/ 369436 h 3487140"/>
              <a:gd name="connsiteX44" fmla="*/ 1070694 w 6642881"/>
              <a:gd name="connsiteY44" fmla="*/ 155805 h 3487140"/>
              <a:gd name="connsiteX45" fmla="*/ 1272058 w 6642881"/>
              <a:gd name="connsiteY45" fmla="*/ 156761 h 3487140"/>
              <a:gd name="connsiteX46" fmla="*/ 1524989 w 6642881"/>
              <a:gd name="connsiteY46" fmla="*/ 245175 h 3487140"/>
              <a:gd name="connsiteX47" fmla="*/ 1694081 w 6642881"/>
              <a:gd name="connsiteY47" fmla="*/ 357792 h 3487140"/>
              <a:gd name="connsiteX48" fmla="*/ 1798672 w 6642881"/>
              <a:gd name="connsiteY48" fmla="*/ 483301 h 3487140"/>
              <a:gd name="connsiteX49" fmla="*/ 1822876 w 6642881"/>
              <a:gd name="connsiteY49" fmla="*/ 600951 h 3487140"/>
              <a:gd name="connsiteX50" fmla="*/ 1795345 w 6642881"/>
              <a:gd name="connsiteY50" fmla="*/ 761726 h 3487140"/>
              <a:gd name="connsiteX51" fmla="*/ 1967266 w 6642881"/>
              <a:gd name="connsiteY51" fmla="*/ 1160004 h 3487140"/>
              <a:gd name="connsiteX52" fmla="*/ 2390246 w 6642881"/>
              <a:gd name="connsiteY52" fmla="*/ 1793622 h 3487140"/>
              <a:gd name="connsiteX53" fmla="*/ 2807737 w 6642881"/>
              <a:gd name="connsiteY53" fmla="*/ 2087475 h 3487140"/>
              <a:gd name="connsiteX54" fmla="*/ 2917360 w 6642881"/>
              <a:gd name="connsiteY54" fmla="*/ 2185620 h 3487140"/>
              <a:gd name="connsiteX55" fmla="*/ 2804411 w 6642881"/>
              <a:gd name="connsiteY55" fmla="*/ 2468120 h 3487140"/>
              <a:gd name="connsiteX56" fmla="*/ 2638312 w 6642881"/>
              <a:gd name="connsiteY56" fmla="*/ 2505548 h 3487140"/>
              <a:gd name="connsiteX57" fmla="*/ 2329862 w 6642881"/>
              <a:gd name="connsiteY57" fmla="*/ 2278109 h 3487140"/>
              <a:gd name="connsiteX58" fmla="*/ 1885173 w 6642881"/>
              <a:gd name="connsiteY58" fmla="*/ 1678800 h 3487140"/>
              <a:gd name="connsiteX59" fmla="*/ 1765320 w 6642881"/>
              <a:gd name="connsiteY59" fmla="*/ 1175432 h 3487140"/>
              <a:gd name="connsiteX60" fmla="*/ 1919774 w 6642881"/>
              <a:gd name="connsiteY60" fmla="*/ 1377420 h 3487140"/>
              <a:gd name="connsiteX61" fmla="*/ 2281414 w 6642881"/>
              <a:gd name="connsiteY61" fmla="*/ 2268710 h 3487140"/>
              <a:gd name="connsiteX62" fmla="*/ 2601216 w 6642881"/>
              <a:gd name="connsiteY62" fmla="*/ 2693105 h 3487140"/>
              <a:gd name="connsiteX63" fmla="*/ 2834644 w 6642881"/>
              <a:gd name="connsiteY63" fmla="*/ 2746586 h 3487140"/>
              <a:gd name="connsiteX64" fmla="*/ 3001865 w 6642881"/>
              <a:gd name="connsiteY64" fmla="*/ 2631432 h 3487140"/>
              <a:gd name="connsiteX65" fmla="*/ 3013052 w 6642881"/>
              <a:gd name="connsiteY65" fmla="*/ 2436680 h 3487140"/>
              <a:gd name="connsiteX66" fmla="*/ 2859222 w 6642881"/>
              <a:gd name="connsiteY66" fmla="*/ 2309258 h 3487140"/>
              <a:gd name="connsiteX67" fmla="*/ 2652036 w 6642881"/>
              <a:gd name="connsiteY67" fmla="*/ 2375007 h 3487140"/>
              <a:gd name="connsiteX68" fmla="*/ 2629537 w 6642881"/>
              <a:gd name="connsiteY68" fmla="*/ 2581402 h 3487140"/>
              <a:gd name="connsiteX69" fmla="*/ 2772222 w 6642881"/>
              <a:gd name="connsiteY69" fmla="*/ 2671064 h 3487140"/>
              <a:gd name="connsiteX70" fmla="*/ 2868787 w 6642881"/>
              <a:gd name="connsiteY70" fmla="*/ 2596831 h 3487140"/>
              <a:gd name="connsiteX71" fmla="*/ 2835601 w 6642881"/>
              <a:gd name="connsiteY71" fmla="*/ 2530750 h 3487140"/>
              <a:gd name="connsiteX72" fmla="*/ 2713543 w 6642881"/>
              <a:gd name="connsiteY72" fmla="*/ 2615379 h 3487140"/>
              <a:gd name="connsiteX73" fmla="*/ 2567864 w 6642881"/>
              <a:gd name="connsiteY73" fmla="*/ 2907028 h 3487140"/>
              <a:gd name="connsiteX74" fmla="*/ 2520039 w 6642881"/>
              <a:gd name="connsiteY74" fmla="*/ 3008333 h 3487140"/>
              <a:gd name="connsiteX75" fmla="*/ 2484191 w 6642881"/>
              <a:gd name="connsiteY75" fmla="*/ 3024053 h 3487140"/>
              <a:gd name="connsiteX76" fmla="*/ 2389165 w 6642881"/>
              <a:gd name="connsiteY76" fmla="*/ 3013989 h 3487140"/>
              <a:gd name="connsiteX77" fmla="*/ 2396068 w 6642881"/>
              <a:gd name="connsiteY77" fmla="*/ 2956724 h 3487140"/>
              <a:gd name="connsiteX78" fmla="*/ 2584831 w 6642881"/>
              <a:gd name="connsiteY78" fmla="*/ 2951068 h 3487140"/>
              <a:gd name="connsiteX79" fmla="*/ 2671041 w 6642881"/>
              <a:gd name="connsiteY79" fmla="*/ 2951068 h 3487140"/>
              <a:gd name="connsiteX80" fmla="*/ 2752219 w 6642881"/>
              <a:gd name="connsiteY80" fmla="*/ 2822066 h 3487140"/>
              <a:gd name="connsiteX81" fmla="*/ 2892533 w 6642881"/>
              <a:gd name="connsiteY81" fmla="*/ 2789337 h 3487140"/>
              <a:gd name="connsiteX82" fmla="*/ 3020246 w 6642881"/>
              <a:gd name="connsiteY82" fmla="*/ 2713815 h 3487140"/>
              <a:gd name="connsiteX83" fmla="*/ 3106456 w 6642881"/>
              <a:gd name="connsiteY83" fmla="*/ 2544556 h 3487140"/>
              <a:gd name="connsiteX84" fmla="*/ 3326035 w 6642881"/>
              <a:gd name="connsiteY84" fmla="*/ 2482883 h 3487140"/>
              <a:gd name="connsiteX85" fmla="*/ 3861009 w 6642881"/>
              <a:gd name="connsiteY85" fmla="*/ 2466831 h 3487140"/>
              <a:gd name="connsiteX86" fmla="*/ 4016751 w 6642881"/>
              <a:gd name="connsiteY86" fmla="*/ 2420918 h 3487140"/>
              <a:gd name="connsiteX87" fmla="*/ 3866664 w 6642881"/>
              <a:gd name="connsiteY87" fmla="*/ 2252907 h 3487140"/>
              <a:gd name="connsiteX88" fmla="*/ 3391285 w 6642881"/>
              <a:gd name="connsiteY88" fmla="*/ 1791709 h 3487140"/>
              <a:gd name="connsiteX89" fmla="*/ 3127166 w 6642881"/>
              <a:gd name="connsiteY89" fmla="*/ 1600118 h 3487140"/>
              <a:gd name="connsiteX90" fmla="*/ 3003196 w 6642881"/>
              <a:gd name="connsiteY90" fmla="*/ 1733529 h 3487140"/>
              <a:gd name="connsiteX91" fmla="*/ 2940898 w 6642881"/>
              <a:gd name="connsiteY91" fmla="*/ 1995900 h 3487140"/>
              <a:gd name="connsiteX92" fmla="*/ 2981778 w 6642881"/>
              <a:gd name="connsiteY92" fmla="*/ 2048133 h 3487140"/>
              <a:gd name="connsiteX93" fmla="*/ 3044699 w 6642881"/>
              <a:gd name="connsiteY93" fmla="*/ 1778817 h 3487140"/>
              <a:gd name="connsiteX94" fmla="*/ 3166466 w 6642881"/>
              <a:gd name="connsiteY94" fmla="*/ 1356918 h 3487140"/>
              <a:gd name="connsiteX95" fmla="*/ 3272803 w 6642881"/>
              <a:gd name="connsiteY95" fmla="*/ 986960 h 3487140"/>
              <a:gd name="connsiteX96" fmla="*/ 3243526 w 6642881"/>
              <a:gd name="connsiteY96" fmla="*/ 867107 h 3487140"/>
              <a:gd name="connsiteX97" fmla="*/ 3068612 w 6642881"/>
              <a:gd name="connsiteY97" fmla="*/ 840034 h 3487140"/>
              <a:gd name="connsiteX98" fmla="*/ 2924513 w 6642881"/>
              <a:gd name="connsiteY98" fmla="*/ 782769 h 3487140"/>
              <a:gd name="connsiteX99" fmla="*/ 2940857 w 6642881"/>
              <a:gd name="connsiteY99" fmla="*/ 714816 h 3487140"/>
              <a:gd name="connsiteX100" fmla="*/ 3114524 w 6642881"/>
              <a:gd name="connsiteY100" fmla="*/ 723008 h 3487140"/>
              <a:gd name="connsiteX101" fmla="*/ 3317135 w 6642881"/>
              <a:gd name="connsiteY101" fmla="*/ 729288 h 3487140"/>
              <a:gd name="connsiteX102" fmla="*/ 3483857 w 6642881"/>
              <a:gd name="connsiteY102" fmla="*/ 682087 h 3487140"/>
              <a:gd name="connsiteX103" fmla="*/ 3601506 w 6642881"/>
              <a:gd name="connsiteY103" fmla="*/ 703463 h 3487140"/>
              <a:gd name="connsiteX104" fmla="*/ 3624171 w 6642881"/>
              <a:gd name="connsiteY104" fmla="*/ 797199 h 3487140"/>
              <a:gd name="connsiteX105" fmla="*/ 3496458 w 6642881"/>
              <a:gd name="connsiteY105" fmla="*/ 890936 h 3487140"/>
              <a:gd name="connsiteX106" fmla="*/ 3326575 w 6642881"/>
              <a:gd name="connsiteY106" fmla="*/ 918009 h 3487140"/>
              <a:gd name="connsiteX107" fmla="*/ 3198862 w 6642881"/>
              <a:gd name="connsiteY107" fmla="*/ 1002306 h 3487140"/>
              <a:gd name="connsiteX108" fmla="*/ 3097972 w 6642881"/>
              <a:gd name="connsiteY108" fmla="*/ 1299902 h 3487140"/>
              <a:gd name="connsiteX109" fmla="*/ 3159022 w 6642881"/>
              <a:gd name="connsiteY109" fmla="*/ 1545930 h 3487140"/>
              <a:gd name="connsiteX110" fmla="*/ 3371697 w 6642881"/>
              <a:gd name="connsiteY110" fmla="*/ 1536490 h 3487140"/>
              <a:gd name="connsiteX111" fmla="*/ 3551228 w 6642881"/>
              <a:gd name="connsiteY111" fmla="*/ 1376048 h 3487140"/>
              <a:gd name="connsiteX112" fmla="*/ 3554389 w 6642881"/>
              <a:gd name="connsiteY112" fmla="*/ 1231949 h 3487140"/>
              <a:gd name="connsiteX113" fmla="*/ 3336348 w 6642881"/>
              <a:gd name="connsiteY113" fmla="*/ 1191693 h 3487140"/>
              <a:gd name="connsiteX114" fmla="*/ 3344832 w 6642881"/>
              <a:gd name="connsiteY114" fmla="*/ 1255238 h 3487140"/>
              <a:gd name="connsiteX115" fmla="*/ 3769850 w 6642881"/>
              <a:gd name="connsiteY115" fmla="*/ 1241722 h 3487140"/>
              <a:gd name="connsiteX116" fmla="*/ 4254670 w 6642881"/>
              <a:gd name="connsiteY116" fmla="*/ 1259646 h 3487140"/>
              <a:gd name="connsiteX117" fmla="*/ 4484022 w 6642881"/>
              <a:gd name="connsiteY117" fmla="*/ 1236981 h 3487140"/>
              <a:gd name="connsiteX118" fmla="*/ 4465766 w 6642881"/>
              <a:gd name="connsiteY118" fmla="*/ 1185995 h 3487140"/>
              <a:gd name="connsiteX119" fmla="*/ 4105248 w 6642881"/>
              <a:gd name="connsiteY119" fmla="*/ 1177512 h 3487140"/>
              <a:gd name="connsiteX120" fmla="*/ 3734668 w 6642881"/>
              <a:gd name="connsiteY120" fmla="*/ 1331342 h 3487140"/>
              <a:gd name="connsiteX121" fmla="*/ 3388914 w 6642881"/>
              <a:gd name="connsiteY121" fmla="*/ 1604110 h 3487140"/>
              <a:gd name="connsiteX122" fmla="*/ 3156111 w 6642881"/>
              <a:gd name="connsiteY122" fmla="*/ 1921252 h 3487140"/>
              <a:gd name="connsiteX123" fmla="*/ 3060461 w 6642881"/>
              <a:gd name="connsiteY123" fmla="*/ 2419255 h 3487140"/>
              <a:gd name="connsiteX124" fmla="*/ 3290769 w 6642881"/>
              <a:gd name="connsiteY124" fmla="*/ 3048465 h 3487140"/>
              <a:gd name="connsiteX125" fmla="*/ 3868994 w 6642881"/>
              <a:gd name="connsiteY125" fmla="*/ 3394510 h 3487140"/>
              <a:gd name="connsiteX126" fmla="*/ 4507643 w 6642881"/>
              <a:gd name="connsiteY126" fmla="*/ 3330632 h 3487140"/>
              <a:gd name="connsiteX127" fmla="*/ 5002818 w 6642881"/>
              <a:gd name="connsiteY127" fmla="*/ 2841404 h 3487140"/>
              <a:gd name="connsiteX128" fmla="*/ 5036171 w 6642881"/>
              <a:gd name="connsiteY128" fmla="*/ 2052999 h 3487140"/>
              <a:gd name="connsiteX129" fmla="*/ 4605164 w 6642881"/>
              <a:gd name="connsiteY129" fmla="*/ 1482011 h 3487140"/>
              <a:gd name="connsiteX130" fmla="*/ 4138310 w 6642881"/>
              <a:gd name="connsiteY130" fmla="*/ 1352717 h 3487140"/>
              <a:gd name="connsiteX131" fmla="*/ 3977868 w 6642881"/>
              <a:gd name="connsiteY131" fmla="*/ 1466624 h 3487140"/>
              <a:gd name="connsiteX132" fmla="*/ 3999909 w 6642881"/>
              <a:gd name="connsiteY132" fmla="*/ 2001140 h 3487140"/>
              <a:gd name="connsiteX133" fmla="*/ 4033885 w 6642881"/>
              <a:gd name="connsiteY133" fmla="*/ 2313208 h 3487140"/>
              <a:gd name="connsiteX134" fmla="*/ 4125585 w 6642881"/>
              <a:gd name="connsiteY134" fmla="*/ 2399085 h 3487140"/>
              <a:gd name="connsiteX135" fmla="*/ 4230051 w 6642881"/>
              <a:gd name="connsiteY135" fmla="*/ 2362905 h 3487140"/>
              <a:gd name="connsiteX136" fmla="*/ 4194660 w 6642881"/>
              <a:gd name="connsiteY136" fmla="*/ 2271372 h 3487140"/>
              <a:gd name="connsiteX137" fmla="*/ 4097056 w 6642881"/>
              <a:gd name="connsiteY137" fmla="*/ 2303394 h 3487140"/>
              <a:gd name="connsiteX138" fmla="*/ 4080670 w 6642881"/>
              <a:gd name="connsiteY138" fmla="*/ 2437262 h 3487140"/>
              <a:gd name="connsiteX139" fmla="*/ 4079589 w 6642881"/>
              <a:gd name="connsiteY139" fmla="*/ 2519521 h 3487140"/>
              <a:gd name="connsiteX140" fmla="*/ 3900475 w 6642881"/>
              <a:gd name="connsiteY140" fmla="*/ 2539400 h 3487140"/>
              <a:gd name="connsiteX141" fmla="*/ 3490220 w 6642881"/>
              <a:gd name="connsiteY141" fmla="*/ 2545679 h 3487140"/>
              <a:gd name="connsiteX142" fmla="*/ 3249848 w 6642881"/>
              <a:gd name="connsiteY142" fmla="*/ 2602944 h 3487140"/>
              <a:gd name="connsiteX143" fmla="*/ 3240241 w 6642881"/>
              <a:gd name="connsiteY143" fmla="*/ 2790460 h 3487140"/>
              <a:gd name="connsiteX144" fmla="*/ 3433578 w 6642881"/>
              <a:gd name="connsiteY144" fmla="*/ 3133385 h 3487140"/>
              <a:gd name="connsiteX145" fmla="*/ 3925468 w 6642881"/>
              <a:gd name="connsiteY145" fmla="*/ 3465290 h 3487140"/>
              <a:gd name="connsiteX146" fmla="*/ 4666214 w 6642881"/>
              <a:gd name="connsiteY146" fmla="*/ 3390434 h 3487140"/>
              <a:gd name="connsiteX147" fmla="*/ 5106037 w 6642881"/>
              <a:gd name="connsiteY147" fmla="*/ 3017940 h 3487140"/>
              <a:gd name="connsiteX148" fmla="*/ 5420018 w 6642881"/>
              <a:gd name="connsiteY148" fmla="*/ 2655510 h 3487140"/>
              <a:gd name="connsiteX149" fmla="*/ 5792512 w 6642881"/>
              <a:gd name="connsiteY149" fmla="*/ 3163577 h 3487140"/>
              <a:gd name="connsiteX150" fmla="*/ 6016499 w 6642881"/>
              <a:gd name="connsiteY150" fmla="*/ 3255443 h 3487140"/>
              <a:gd name="connsiteX151" fmla="*/ 6094516 w 6642881"/>
              <a:gd name="connsiteY151" fmla="*/ 2786675 h 3487140"/>
              <a:gd name="connsiteX152" fmla="*/ 6404089 w 6642881"/>
              <a:gd name="connsiteY152" fmla="*/ 2869724 h 3487140"/>
              <a:gd name="connsiteX153" fmla="*/ 6642881 w 6642881"/>
              <a:gd name="connsiteY153" fmla="*/ 3245046 h 3487140"/>
              <a:gd name="connsiteX0" fmla="*/ 777215 w 6404089"/>
              <a:gd name="connsiteY0" fmla="*/ 3295741 h 3487140"/>
              <a:gd name="connsiteX1" fmla="*/ 526113 w 6404089"/>
              <a:gd name="connsiteY1" fmla="*/ 3112384 h 3487140"/>
              <a:gd name="connsiteX2" fmla="*/ 219950 w 6404089"/>
              <a:gd name="connsiteY2" fmla="*/ 2750287 h 3487140"/>
              <a:gd name="connsiteX3" fmla="*/ 128418 w 6404089"/>
              <a:gd name="connsiteY3" fmla="*/ 2305432 h 3487140"/>
              <a:gd name="connsiteX4" fmla="*/ 256006 w 6404089"/>
              <a:gd name="connsiteY4" fmla="*/ 1919713 h 3487140"/>
              <a:gd name="connsiteX5" fmla="*/ 580218 w 6404089"/>
              <a:gd name="connsiteY5" fmla="*/ 1637837 h 3487140"/>
              <a:gd name="connsiteX6" fmla="*/ 1073522 w 6404089"/>
              <a:gd name="connsiteY6" fmla="*/ 1545972 h 3487140"/>
              <a:gd name="connsiteX7" fmla="*/ 1308197 w 6404089"/>
              <a:gd name="connsiteY7" fmla="*/ 1517651 h 3487140"/>
              <a:gd name="connsiteX8" fmla="*/ 1292934 w 6404089"/>
              <a:gd name="connsiteY8" fmla="*/ 1460718 h 3487140"/>
              <a:gd name="connsiteX9" fmla="*/ 1016880 w 6404089"/>
              <a:gd name="connsiteY9" fmla="*/ 1416969 h 3487140"/>
              <a:gd name="connsiteX10" fmla="*/ 497460 w 6404089"/>
              <a:gd name="connsiteY10" fmla="*/ 1517318 h 3487140"/>
              <a:gd name="connsiteX11" fmla="*/ 88162 w 6404089"/>
              <a:gd name="connsiteY11" fmla="*/ 1960593 h 3487140"/>
              <a:gd name="connsiteX12" fmla="*/ 28692 w 6404089"/>
              <a:gd name="connsiteY12" fmla="*/ 2569342 h 3487140"/>
              <a:gd name="connsiteX13" fmla="*/ 442399 w 6404089"/>
              <a:gd name="connsiteY13" fmla="*/ 3165532 h 3487140"/>
              <a:gd name="connsiteX14" fmla="*/ 1232384 w 6404089"/>
              <a:gd name="connsiteY14" fmla="*/ 3283181 h 3487140"/>
              <a:gd name="connsiteX15" fmla="*/ 1835020 w 6404089"/>
              <a:gd name="connsiteY15" fmla="*/ 2757481 h 3487140"/>
              <a:gd name="connsiteX16" fmla="*/ 1824789 w 6404089"/>
              <a:gd name="connsiteY16" fmla="*/ 1980430 h 3487140"/>
              <a:gd name="connsiteX17" fmla="*/ 1494755 w 6404089"/>
              <a:gd name="connsiteY17" fmla="*/ 1589139 h 3487140"/>
              <a:gd name="connsiteX18" fmla="*/ 1305701 w 6404089"/>
              <a:gd name="connsiteY18" fmla="*/ 1660710 h 3487140"/>
              <a:gd name="connsiteX19" fmla="*/ 1197284 w 6404089"/>
              <a:gd name="connsiteY19" fmla="*/ 2116627 h 3487140"/>
              <a:gd name="connsiteX20" fmla="*/ 973921 w 6404089"/>
              <a:gd name="connsiteY20" fmla="*/ 2374258 h 3487140"/>
              <a:gd name="connsiteX21" fmla="*/ 918985 w 6404089"/>
              <a:gd name="connsiteY21" fmla="*/ 2276986 h 3487140"/>
              <a:gd name="connsiteX22" fmla="*/ 1298257 w 6404089"/>
              <a:gd name="connsiteY22" fmla="*/ 2021601 h 3487140"/>
              <a:gd name="connsiteX23" fmla="*/ 1558176 w 6404089"/>
              <a:gd name="connsiteY23" fmla="*/ 1234153 h 3487140"/>
              <a:gd name="connsiteX24" fmla="*/ 1788276 w 6404089"/>
              <a:gd name="connsiteY24" fmla="*/ 725296 h 3487140"/>
              <a:gd name="connsiteX25" fmla="*/ 1896859 w 6404089"/>
              <a:gd name="connsiteY25" fmla="*/ 539984 h 3487140"/>
              <a:gd name="connsiteX26" fmla="*/ 1865711 w 6404089"/>
              <a:gd name="connsiteY26" fmla="*/ 435851 h 3487140"/>
              <a:gd name="connsiteX27" fmla="*/ 1759373 w 6404089"/>
              <a:gd name="connsiteY27" fmla="*/ 350265 h 3487140"/>
              <a:gd name="connsiteX28" fmla="*/ 1714085 w 6404089"/>
              <a:gd name="connsiteY28" fmla="*/ 209327 h 3487140"/>
              <a:gd name="connsiteX29" fmla="*/ 1758915 w 6404089"/>
              <a:gd name="connsiteY29" fmla="*/ 82237 h 3487140"/>
              <a:gd name="connsiteX30" fmla="*/ 1939195 w 6404089"/>
              <a:gd name="connsiteY30" fmla="*/ 6716 h 3487140"/>
              <a:gd name="connsiteX31" fmla="*/ 2207888 w 6404089"/>
              <a:gd name="connsiteY31" fmla="*/ 10167 h 3487140"/>
              <a:gd name="connsiteX32" fmla="*/ 2291561 w 6404089"/>
              <a:gd name="connsiteY32" fmla="*/ 49800 h 3487140"/>
              <a:gd name="connsiteX33" fmla="*/ 2244526 w 6404089"/>
              <a:gd name="connsiteY33" fmla="*/ 86812 h 3487140"/>
              <a:gd name="connsiteX34" fmla="*/ 2008603 w 6404089"/>
              <a:gd name="connsiteY34" fmla="*/ 91886 h 3487140"/>
              <a:gd name="connsiteX35" fmla="*/ 1765070 w 6404089"/>
              <a:gd name="connsiteY35" fmla="*/ 75833 h 3487140"/>
              <a:gd name="connsiteX36" fmla="*/ 1657319 w 6404089"/>
              <a:gd name="connsiteY36" fmla="*/ 176931 h 3487140"/>
              <a:gd name="connsiteX37" fmla="*/ 1672581 w 6404089"/>
              <a:gd name="connsiteY37" fmla="*/ 370393 h 3487140"/>
              <a:gd name="connsiteX38" fmla="*/ 1617354 w 6404089"/>
              <a:gd name="connsiteY38" fmla="*/ 589348 h 3487140"/>
              <a:gd name="connsiteX39" fmla="*/ 1460820 w 6404089"/>
              <a:gd name="connsiteY39" fmla="*/ 903953 h 3487140"/>
              <a:gd name="connsiteX40" fmla="*/ 1250349 w 6404089"/>
              <a:gd name="connsiteY40" fmla="*/ 922501 h 3487140"/>
              <a:gd name="connsiteX41" fmla="*/ 1055930 w 6404089"/>
              <a:gd name="connsiteY41" fmla="*/ 866816 h 3487140"/>
              <a:gd name="connsiteX42" fmla="*/ 997085 w 6404089"/>
              <a:gd name="connsiteY42" fmla="*/ 751038 h 3487140"/>
              <a:gd name="connsiteX43" fmla="*/ 1009021 w 6404089"/>
              <a:gd name="connsiteY43" fmla="*/ 369436 h 3487140"/>
              <a:gd name="connsiteX44" fmla="*/ 1070694 w 6404089"/>
              <a:gd name="connsiteY44" fmla="*/ 155805 h 3487140"/>
              <a:gd name="connsiteX45" fmla="*/ 1272058 w 6404089"/>
              <a:gd name="connsiteY45" fmla="*/ 156761 h 3487140"/>
              <a:gd name="connsiteX46" fmla="*/ 1524989 w 6404089"/>
              <a:gd name="connsiteY46" fmla="*/ 245175 h 3487140"/>
              <a:gd name="connsiteX47" fmla="*/ 1694081 w 6404089"/>
              <a:gd name="connsiteY47" fmla="*/ 357792 h 3487140"/>
              <a:gd name="connsiteX48" fmla="*/ 1798672 w 6404089"/>
              <a:gd name="connsiteY48" fmla="*/ 483301 h 3487140"/>
              <a:gd name="connsiteX49" fmla="*/ 1822876 w 6404089"/>
              <a:gd name="connsiteY49" fmla="*/ 600951 h 3487140"/>
              <a:gd name="connsiteX50" fmla="*/ 1795345 w 6404089"/>
              <a:gd name="connsiteY50" fmla="*/ 761726 h 3487140"/>
              <a:gd name="connsiteX51" fmla="*/ 1967266 w 6404089"/>
              <a:gd name="connsiteY51" fmla="*/ 1160004 h 3487140"/>
              <a:gd name="connsiteX52" fmla="*/ 2390246 w 6404089"/>
              <a:gd name="connsiteY52" fmla="*/ 1793622 h 3487140"/>
              <a:gd name="connsiteX53" fmla="*/ 2807737 w 6404089"/>
              <a:gd name="connsiteY53" fmla="*/ 2087475 h 3487140"/>
              <a:gd name="connsiteX54" fmla="*/ 2917360 w 6404089"/>
              <a:gd name="connsiteY54" fmla="*/ 2185620 h 3487140"/>
              <a:gd name="connsiteX55" fmla="*/ 2804411 w 6404089"/>
              <a:gd name="connsiteY55" fmla="*/ 2468120 h 3487140"/>
              <a:gd name="connsiteX56" fmla="*/ 2638312 w 6404089"/>
              <a:gd name="connsiteY56" fmla="*/ 2505548 h 3487140"/>
              <a:gd name="connsiteX57" fmla="*/ 2329862 w 6404089"/>
              <a:gd name="connsiteY57" fmla="*/ 2278109 h 3487140"/>
              <a:gd name="connsiteX58" fmla="*/ 1885173 w 6404089"/>
              <a:gd name="connsiteY58" fmla="*/ 1678800 h 3487140"/>
              <a:gd name="connsiteX59" fmla="*/ 1765320 w 6404089"/>
              <a:gd name="connsiteY59" fmla="*/ 1175432 h 3487140"/>
              <a:gd name="connsiteX60" fmla="*/ 1919774 w 6404089"/>
              <a:gd name="connsiteY60" fmla="*/ 1377420 h 3487140"/>
              <a:gd name="connsiteX61" fmla="*/ 2281414 w 6404089"/>
              <a:gd name="connsiteY61" fmla="*/ 2268710 h 3487140"/>
              <a:gd name="connsiteX62" fmla="*/ 2601216 w 6404089"/>
              <a:gd name="connsiteY62" fmla="*/ 2693105 h 3487140"/>
              <a:gd name="connsiteX63" fmla="*/ 2834644 w 6404089"/>
              <a:gd name="connsiteY63" fmla="*/ 2746586 h 3487140"/>
              <a:gd name="connsiteX64" fmla="*/ 3001865 w 6404089"/>
              <a:gd name="connsiteY64" fmla="*/ 2631432 h 3487140"/>
              <a:gd name="connsiteX65" fmla="*/ 3013052 w 6404089"/>
              <a:gd name="connsiteY65" fmla="*/ 2436680 h 3487140"/>
              <a:gd name="connsiteX66" fmla="*/ 2859222 w 6404089"/>
              <a:gd name="connsiteY66" fmla="*/ 2309258 h 3487140"/>
              <a:gd name="connsiteX67" fmla="*/ 2652036 w 6404089"/>
              <a:gd name="connsiteY67" fmla="*/ 2375007 h 3487140"/>
              <a:gd name="connsiteX68" fmla="*/ 2629537 w 6404089"/>
              <a:gd name="connsiteY68" fmla="*/ 2581402 h 3487140"/>
              <a:gd name="connsiteX69" fmla="*/ 2772222 w 6404089"/>
              <a:gd name="connsiteY69" fmla="*/ 2671064 h 3487140"/>
              <a:gd name="connsiteX70" fmla="*/ 2868787 w 6404089"/>
              <a:gd name="connsiteY70" fmla="*/ 2596831 h 3487140"/>
              <a:gd name="connsiteX71" fmla="*/ 2835601 w 6404089"/>
              <a:gd name="connsiteY71" fmla="*/ 2530750 h 3487140"/>
              <a:gd name="connsiteX72" fmla="*/ 2713543 w 6404089"/>
              <a:gd name="connsiteY72" fmla="*/ 2615379 h 3487140"/>
              <a:gd name="connsiteX73" fmla="*/ 2567864 w 6404089"/>
              <a:gd name="connsiteY73" fmla="*/ 2907028 h 3487140"/>
              <a:gd name="connsiteX74" fmla="*/ 2520039 w 6404089"/>
              <a:gd name="connsiteY74" fmla="*/ 3008333 h 3487140"/>
              <a:gd name="connsiteX75" fmla="*/ 2484191 w 6404089"/>
              <a:gd name="connsiteY75" fmla="*/ 3024053 h 3487140"/>
              <a:gd name="connsiteX76" fmla="*/ 2389165 w 6404089"/>
              <a:gd name="connsiteY76" fmla="*/ 3013989 h 3487140"/>
              <a:gd name="connsiteX77" fmla="*/ 2396068 w 6404089"/>
              <a:gd name="connsiteY77" fmla="*/ 2956724 h 3487140"/>
              <a:gd name="connsiteX78" fmla="*/ 2584831 w 6404089"/>
              <a:gd name="connsiteY78" fmla="*/ 2951068 h 3487140"/>
              <a:gd name="connsiteX79" fmla="*/ 2671041 w 6404089"/>
              <a:gd name="connsiteY79" fmla="*/ 2951068 h 3487140"/>
              <a:gd name="connsiteX80" fmla="*/ 2752219 w 6404089"/>
              <a:gd name="connsiteY80" fmla="*/ 2822066 h 3487140"/>
              <a:gd name="connsiteX81" fmla="*/ 2892533 w 6404089"/>
              <a:gd name="connsiteY81" fmla="*/ 2789337 h 3487140"/>
              <a:gd name="connsiteX82" fmla="*/ 3020246 w 6404089"/>
              <a:gd name="connsiteY82" fmla="*/ 2713815 h 3487140"/>
              <a:gd name="connsiteX83" fmla="*/ 3106456 w 6404089"/>
              <a:gd name="connsiteY83" fmla="*/ 2544556 h 3487140"/>
              <a:gd name="connsiteX84" fmla="*/ 3326035 w 6404089"/>
              <a:gd name="connsiteY84" fmla="*/ 2482883 h 3487140"/>
              <a:gd name="connsiteX85" fmla="*/ 3861009 w 6404089"/>
              <a:gd name="connsiteY85" fmla="*/ 2466831 h 3487140"/>
              <a:gd name="connsiteX86" fmla="*/ 4016751 w 6404089"/>
              <a:gd name="connsiteY86" fmla="*/ 2420918 h 3487140"/>
              <a:gd name="connsiteX87" fmla="*/ 3866664 w 6404089"/>
              <a:gd name="connsiteY87" fmla="*/ 2252907 h 3487140"/>
              <a:gd name="connsiteX88" fmla="*/ 3391285 w 6404089"/>
              <a:gd name="connsiteY88" fmla="*/ 1791709 h 3487140"/>
              <a:gd name="connsiteX89" fmla="*/ 3127166 w 6404089"/>
              <a:gd name="connsiteY89" fmla="*/ 1600118 h 3487140"/>
              <a:gd name="connsiteX90" fmla="*/ 3003196 w 6404089"/>
              <a:gd name="connsiteY90" fmla="*/ 1733529 h 3487140"/>
              <a:gd name="connsiteX91" fmla="*/ 2940898 w 6404089"/>
              <a:gd name="connsiteY91" fmla="*/ 1995900 h 3487140"/>
              <a:gd name="connsiteX92" fmla="*/ 2981778 w 6404089"/>
              <a:gd name="connsiteY92" fmla="*/ 2048133 h 3487140"/>
              <a:gd name="connsiteX93" fmla="*/ 3044699 w 6404089"/>
              <a:gd name="connsiteY93" fmla="*/ 1778817 h 3487140"/>
              <a:gd name="connsiteX94" fmla="*/ 3166466 w 6404089"/>
              <a:gd name="connsiteY94" fmla="*/ 1356918 h 3487140"/>
              <a:gd name="connsiteX95" fmla="*/ 3272803 w 6404089"/>
              <a:gd name="connsiteY95" fmla="*/ 986960 h 3487140"/>
              <a:gd name="connsiteX96" fmla="*/ 3243526 w 6404089"/>
              <a:gd name="connsiteY96" fmla="*/ 867107 h 3487140"/>
              <a:gd name="connsiteX97" fmla="*/ 3068612 w 6404089"/>
              <a:gd name="connsiteY97" fmla="*/ 840034 h 3487140"/>
              <a:gd name="connsiteX98" fmla="*/ 2924513 w 6404089"/>
              <a:gd name="connsiteY98" fmla="*/ 782769 h 3487140"/>
              <a:gd name="connsiteX99" fmla="*/ 2940857 w 6404089"/>
              <a:gd name="connsiteY99" fmla="*/ 714816 h 3487140"/>
              <a:gd name="connsiteX100" fmla="*/ 3114524 w 6404089"/>
              <a:gd name="connsiteY100" fmla="*/ 723008 h 3487140"/>
              <a:gd name="connsiteX101" fmla="*/ 3317135 w 6404089"/>
              <a:gd name="connsiteY101" fmla="*/ 729288 h 3487140"/>
              <a:gd name="connsiteX102" fmla="*/ 3483857 w 6404089"/>
              <a:gd name="connsiteY102" fmla="*/ 682087 h 3487140"/>
              <a:gd name="connsiteX103" fmla="*/ 3601506 w 6404089"/>
              <a:gd name="connsiteY103" fmla="*/ 703463 h 3487140"/>
              <a:gd name="connsiteX104" fmla="*/ 3624171 w 6404089"/>
              <a:gd name="connsiteY104" fmla="*/ 797199 h 3487140"/>
              <a:gd name="connsiteX105" fmla="*/ 3496458 w 6404089"/>
              <a:gd name="connsiteY105" fmla="*/ 890936 h 3487140"/>
              <a:gd name="connsiteX106" fmla="*/ 3326575 w 6404089"/>
              <a:gd name="connsiteY106" fmla="*/ 918009 h 3487140"/>
              <a:gd name="connsiteX107" fmla="*/ 3198862 w 6404089"/>
              <a:gd name="connsiteY107" fmla="*/ 1002306 h 3487140"/>
              <a:gd name="connsiteX108" fmla="*/ 3097972 w 6404089"/>
              <a:gd name="connsiteY108" fmla="*/ 1299902 h 3487140"/>
              <a:gd name="connsiteX109" fmla="*/ 3159022 w 6404089"/>
              <a:gd name="connsiteY109" fmla="*/ 1545930 h 3487140"/>
              <a:gd name="connsiteX110" fmla="*/ 3371697 w 6404089"/>
              <a:gd name="connsiteY110" fmla="*/ 1536490 h 3487140"/>
              <a:gd name="connsiteX111" fmla="*/ 3551228 w 6404089"/>
              <a:gd name="connsiteY111" fmla="*/ 1376048 h 3487140"/>
              <a:gd name="connsiteX112" fmla="*/ 3554389 w 6404089"/>
              <a:gd name="connsiteY112" fmla="*/ 1231949 h 3487140"/>
              <a:gd name="connsiteX113" fmla="*/ 3336348 w 6404089"/>
              <a:gd name="connsiteY113" fmla="*/ 1191693 h 3487140"/>
              <a:gd name="connsiteX114" fmla="*/ 3344832 w 6404089"/>
              <a:gd name="connsiteY114" fmla="*/ 1255238 h 3487140"/>
              <a:gd name="connsiteX115" fmla="*/ 3769850 w 6404089"/>
              <a:gd name="connsiteY115" fmla="*/ 1241722 h 3487140"/>
              <a:gd name="connsiteX116" fmla="*/ 4254670 w 6404089"/>
              <a:gd name="connsiteY116" fmla="*/ 1259646 h 3487140"/>
              <a:gd name="connsiteX117" fmla="*/ 4484022 w 6404089"/>
              <a:gd name="connsiteY117" fmla="*/ 1236981 h 3487140"/>
              <a:gd name="connsiteX118" fmla="*/ 4465766 w 6404089"/>
              <a:gd name="connsiteY118" fmla="*/ 1185995 h 3487140"/>
              <a:gd name="connsiteX119" fmla="*/ 4105248 w 6404089"/>
              <a:gd name="connsiteY119" fmla="*/ 1177512 h 3487140"/>
              <a:gd name="connsiteX120" fmla="*/ 3734668 w 6404089"/>
              <a:gd name="connsiteY120" fmla="*/ 1331342 h 3487140"/>
              <a:gd name="connsiteX121" fmla="*/ 3388914 w 6404089"/>
              <a:gd name="connsiteY121" fmla="*/ 1604110 h 3487140"/>
              <a:gd name="connsiteX122" fmla="*/ 3156111 w 6404089"/>
              <a:gd name="connsiteY122" fmla="*/ 1921252 h 3487140"/>
              <a:gd name="connsiteX123" fmla="*/ 3060461 w 6404089"/>
              <a:gd name="connsiteY123" fmla="*/ 2419255 h 3487140"/>
              <a:gd name="connsiteX124" fmla="*/ 3290769 w 6404089"/>
              <a:gd name="connsiteY124" fmla="*/ 3048465 h 3487140"/>
              <a:gd name="connsiteX125" fmla="*/ 3868994 w 6404089"/>
              <a:gd name="connsiteY125" fmla="*/ 3394510 h 3487140"/>
              <a:gd name="connsiteX126" fmla="*/ 4507643 w 6404089"/>
              <a:gd name="connsiteY126" fmla="*/ 3330632 h 3487140"/>
              <a:gd name="connsiteX127" fmla="*/ 5002818 w 6404089"/>
              <a:gd name="connsiteY127" fmla="*/ 2841404 h 3487140"/>
              <a:gd name="connsiteX128" fmla="*/ 5036171 w 6404089"/>
              <a:gd name="connsiteY128" fmla="*/ 2052999 h 3487140"/>
              <a:gd name="connsiteX129" fmla="*/ 4605164 w 6404089"/>
              <a:gd name="connsiteY129" fmla="*/ 1482011 h 3487140"/>
              <a:gd name="connsiteX130" fmla="*/ 4138310 w 6404089"/>
              <a:gd name="connsiteY130" fmla="*/ 1352717 h 3487140"/>
              <a:gd name="connsiteX131" fmla="*/ 3977868 w 6404089"/>
              <a:gd name="connsiteY131" fmla="*/ 1466624 h 3487140"/>
              <a:gd name="connsiteX132" fmla="*/ 3999909 w 6404089"/>
              <a:gd name="connsiteY132" fmla="*/ 2001140 h 3487140"/>
              <a:gd name="connsiteX133" fmla="*/ 4033885 w 6404089"/>
              <a:gd name="connsiteY133" fmla="*/ 2313208 h 3487140"/>
              <a:gd name="connsiteX134" fmla="*/ 4125585 w 6404089"/>
              <a:gd name="connsiteY134" fmla="*/ 2399085 h 3487140"/>
              <a:gd name="connsiteX135" fmla="*/ 4230051 w 6404089"/>
              <a:gd name="connsiteY135" fmla="*/ 2362905 h 3487140"/>
              <a:gd name="connsiteX136" fmla="*/ 4194660 w 6404089"/>
              <a:gd name="connsiteY136" fmla="*/ 2271372 h 3487140"/>
              <a:gd name="connsiteX137" fmla="*/ 4097056 w 6404089"/>
              <a:gd name="connsiteY137" fmla="*/ 2303394 h 3487140"/>
              <a:gd name="connsiteX138" fmla="*/ 4080670 w 6404089"/>
              <a:gd name="connsiteY138" fmla="*/ 2437262 h 3487140"/>
              <a:gd name="connsiteX139" fmla="*/ 4079589 w 6404089"/>
              <a:gd name="connsiteY139" fmla="*/ 2519521 h 3487140"/>
              <a:gd name="connsiteX140" fmla="*/ 3900475 w 6404089"/>
              <a:gd name="connsiteY140" fmla="*/ 2539400 h 3487140"/>
              <a:gd name="connsiteX141" fmla="*/ 3490220 w 6404089"/>
              <a:gd name="connsiteY141" fmla="*/ 2545679 h 3487140"/>
              <a:gd name="connsiteX142" fmla="*/ 3249848 w 6404089"/>
              <a:gd name="connsiteY142" fmla="*/ 2602944 h 3487140"/>
              <a:gd name="connsiteX143" fmla="*/ 3240241 w 6404089"/>
              <a:gd name="connsiteY143" fmla="*/ 2790460 h 3487140"/>
              <a:gd name="connsiteX144" fmla="*/ 3433578 w 6404089"/>
              <a:gd name="connsiteY144" fmla="*/ 3133385 h 3487140"/>
              <a:gd name="connsiteX145" fmla="*/ 3925468 w 6404089"/>
              <a:gd name="connsiteY145" fmla="*/ 3465290 h 3487140"/>
              <a:gd name="connsiteX146" fmla="*/ 4666214 w 6404089"/>
              <a:gd name="connsiteY146" fmla="*/ 3390434 h 3487140"/>
              <a:gd name="connsiteX147" fmla="*/ 5106037 w 6404089"/>
              <a:gd name="connsiteY147" fmla="*/ 3017940 h 3487140"/>
              <a:gd name="connsiteX148" fmla="*/ 5420018 w 6404089"/>
              <a:gd name="connsiteY148" fmla="*/ 2655510 h 3487140"/>
              <a:gd name="connsiteX149" fmla="*/ 5792512 w 6404089"/>
              <a:gd name="connsiteY149" fmla="*/ 3163577 h 3487140"/>
              <a:gd name="connsiteX150" fmla="*/ 6016499 w 6404089"/>
              <a:gd name="connsiteY150" fmla="*/ 3255443 h 3487140"/>
              <a:gd name="connsiteX151" fmla="*/ 6094516 w 6404089"/>
              <a:gd name="connsiteY151" fmla="*/ 2786675 h 3487140"/>
              <a:gd name="connsiteX152" fmla="*/ 6404089 w 6404089"/>
              <a:gd name="connsiteY152" fmla="*/ 2869724 h 3487140"/>
              <a:gd name="connsiteX0" fmla="*/ 777215 w 6094516"/>
              <a:gd name="connsiteY0" fmla="*/ 3295741 h 3487140"/>
              <a:gd name="connsiteX1" fmla="*/ 526113 w 6094516"/>
              <a:gd name="connsiteY1" fmla="*/ 3112384 h 3487140"/>
              <a:gd name="connsiteX2" fmla="*/ 219950 w 6094516"/>
              <a:gd name="connsiteY2" fmla="*/ 2750287 h 3487140"/>
              <a:gd name="connsiteX3" fmla="*/ 128418 w 6094516"/>
              <a:gd name="connsiteY3" fmla="*/ 2305432 h 3487140"/>
              <a:gd name="connsiteX4" fmla="*/ 256006 w 6094516"/>
              <a:gd name="connsiteY4" fmla="*/ 1919713 h 3487140"/>
              <a:gd name="connsiteX5" fmla="*/ 580218 w 6094516"/>
              <a:gd name="connsiteY5" fmla="*/ 1637837 h 3487140"/>
              <a:gd name="connsiteX6" fmla="*/ 1073522 w 6094516"/>
              <a:gd name="connsiteY6" fmla="*/ 1545972 h 3487140"/>
              <a:gd name="connsiteX7" fmla="*/ 1308197 w 6094516"/>
              <a:gd name="connsiteY7" fmla="*/ 1517651 h 3487140"/>
              <a:gd name="connsiteX8" fmla="*/ 1292934 w 6094516"/>
              <a:gd name="connsiteY8" fmla="*/ 1460718 h 3487140"/>
              <a:gd name="connsiteX9" fmla="*/ 1016880 w 6094516"/>
              <a:gd name="connsiteY9" fmla="*/ 1416969 h 3487140"/>
              <a:gd name="connsiteX10" fmla="*/ 497460 w 6094516"/>
              <a:gd name="connsiteY10" fmla="*/ 1517318 h 3487140"/>
              <a:gd name="connsiteX11" fmla="*/ 88162 w 6094516"/>
              <a:gd name="connsiteY11" fmla="*/ 1960593 h 3487140"/>
              <a:gd name="connsiteX12" fmla="*/ 28692 w 6094516"/>
              <a:gd name="connsiteY12" fmla="*/ 2569342 h 3487140"/>
              <a:gd name="connsiteX13" fmla="*/ 442399 w 6094516"/>
              <a:gd name="connsiteY13" fmla="*/ 3165532 h 3487140"/>
              <a:gd name="connsiteX14" fmla="*/ 1232384 w 6094516"/>
              <a:gd name="connsiteY14" fmla="*/ 3283181 h 3487140"/>
              <a:gd name="connsiteX15" fmla="*/ 1835020 w 6094516"/>
              <a:gd name="connsiteY15" fmla="*/ 2757481 h 3487140"/>
              <a:gd name="connsiteX16" fmla="*/ 1824789 w 6094516"/>
              <a:gd name="connsiteY16" fmla="*/ 1980430 h 3487140"/>
              <a:gd name="connsiteX17" fmla="*/ 1494755 w 6094516"/>
              <a:gd name="connsiteY17" fmla="*/ 1589139 h 3487140"/>
              <a:gd name="connsiteX18" fmla="*/ 1305701 w 6094516"/>
              <a:gd name="connsiteY18" fmla="*/ 1660710 h 3487140"/>
              <a:gd name="connsiteX19" fmla="*/ 1197284 w 6094516"/>
              <a:gd name="connsiteY19" fmla="*/ 2116627 h 3487140"/>
              <a:gd name="connsiteX20" fmla="*/ 973921 w 6094516"/>
              <a:gd name="connsiteY20" fmla="*/ 2374258 h 3487140"/>
              <a:gd name="connsiteX21" fmla="*/ 918985 w 6094516"/>
              <a:gd name="connsiteY21" fmla="*/ 2276986 h 3487140"/>
              <a:gd name="connsiteX22" fmla="*/ 1298257 w 6094516"/>
              <a:gd name="connsiteY22" fmla="*/ 2021601 h 3487140"/>
              <a:gd name="connsiteX23" fmla="*/ 1558176 w 6094516"/>
              <a:gd name="connsiteY23" fmla="*/ 1234153 h 3487140"/>
              <a:gd name="connsiteX24" fmla="*/ 1788276 w 6094516"/>
              <a:gd name="connsiteY24" fmla="*/ 725296 h 3487140"/>
              <a:gd name="connsiteX25" fmla="*/ 1896859 w 6094516"/>
              <a:gd name="connsiteY25" fmla="*/ 539984 h 3487140"/>
              <a:gd name="connsiteX26" fmla="*/ 1865711 w 6094516"/>
              <a:gd name="connsiteY26" fmla="*/ 435851 h 3487140"/>
              <a:gd name="connsiteX27" fmla="*/ 1759373 w 6094516"/>
              <a:gd name="connsiteY27" fmla="*/ 350265 h 3487140"/>
              <a:gd name="connsiteX28" fmla="*/ 1714085 w 6094516"/>
              <a:gd name="connsiteY28" fmla="*/ 209327 h 3487140"/>
              <a:gd name="connsiteX29" fmla="*/ 1758915 w 6094516"/>
              <a:gd name="connsiteY29" fmla="*/ 82237 h 3487140"/>
              <a:gd name="connsiteX30" fmla="*/ 1939195 w 6094516"/>
              <a:gd name="connsiteY30" fmla="*/ 6716 h 3487140"/>
              <a:gd name="connsiteX31" fmla="*/ 2207888 w 6094516"/>
              <a:gd name="connsiteY31" fmla="*/ 10167 h 3487140"/>
              <a:gd name="connsiteX32" fmla="*/ 2291561 w 6094516"/>
              <a:gd name="connsiteY32" fmla="*/ 49800 h 3487140"/>
              <a:gd name="connsiteX33" fmla="*/ 2244526 w 6094516"/>
              <a:gd name="connsiteY33" fmla="*/ 86812 h 3487140"/>
              <a:gd name="connsiteX34" fmla="*/ 2008603 w 6094516"/>
              <a:gd name="connsiteY34" fmla="*/ 91886 h 3487140"/>
              <a:gd name="connsiteX35" fmla="*/ 1765070 w 6094516"/>
              <a:gd name="connsiteY35" fmla="*/ 75833 h 3487140"/>
              <a:gd name="connsiteX36" fmla="*/ 1657319 w 6094516"/>
              <a:gd name="connsiteY36" fmla="*/ 176931 h 3487140"/>
              <a:gd name="connsiteX37" fmla="*/ 1672581 w 6094516"/>
              <a:gd name="connsiteY37" fmla="*/ 370393 h 3487140"/>
              <a:gd name="connsiteX38" fmla="*/ 1617354 w 6094516"/>
              <a:gd name="connsiteY38" fmla="*/ 589348 h 3487140"/>
              <a:gd name="connsiteX39" fmla="*/ 1460820 w 6094516"/>
              <a:gd name="connsiteY39" fmla="*/ 903953 h 3487140"/>
              <a:gd name="connsiteX40" fmla="*/ 1250349 w 6094516"/>
              <a:gd name="connsiteY40" fmla="*/ 922501 h 3487140"/>
              <a:gd name="connsiteX41" fmla="*/ 1055930 w 6094516"/>
              <a:gd name="connsiteY41" fmla="*/ 866816 h 3487140"/>
              <a:gd name="connsiteX42" fmla="*/ 997085 w 6094516"/>
              <a:gd name="connsiteY42" fmla="*/ 751038 h 3487140"/>
              <a:gd name="connsiteX43" fmla="*/ 1009021 w 6094516"/>
              <a:gd name="connsiteY43" fmla="*/ 369436 h 3487140"/>
              <a:gd name="connsiteX44" fmla="*/ 1070694 w 6094516"/>
              <a:gd name="connsiteY44" fmla="*/ 155805 h 3487140"/>
              <a:gd name="connsiteX45" fmla="*/ 1272058 w 6094516"/>
              <a:gd name="connsiteY45" fmla="*/ 156761 h 3487140"/>
              <a:gd name="connsiteX46" fmla="*/ 1524989 w 6094516"/>
              <a:gd name="connsiteY46" fmla="*/ 245175 h 3487140"/>
              <a:gd name="connsiteX47" fmla="*/ 1694081 w 6094516"/>
              <a:gd name="connsiteY47" fmla="*/ 357792 h 3487140"/>
              <a:gd name="connsiteX48" fmla="*/ 1798672 w 6094516"/>
              <a:gd name="connsiteY48" fmla="*/ 483301 h 3487140"/>
              <a:gd name="connsiteX49" fmla="*/ 1822876 w 6094516"/>
              <a:gd name="connsiteY49" fmla="*/ 600951 h 3487140"/>
              <a:gd name="connsiteX50" fmla="*/ 1795345 w 6094516"/>
              <a:gd name="connsiteY50" fmla="*/ 761726 h 3487140"/>
              <a:gd name="connsiteX51" fmla="*/ 1967266 w 6094516"/>
              <a:gd name="connsiteY51" fmla="*/ 1160004 h 3487140"/>
              <a:gd name="connsiteX52" fmla="*/ 2390246 w 6094516"/>
              <a:gd name="connsiteY52" fmla="*/ 1793622 h 3487140"/>
              <a:gd name="connsiteX53" fmla="*/ 2807737 w 6094516"/>
              <a:gd name="connsiteY53" fmla="*/ 2087475 h 3487140"/>
              <a:gd name="connsiteX54" fmla="*/ 2917360 w 6094516"/>
              <a:gd name="connsiteY54" fmla="*/ 2185620 h 3487140"/>
              <a:gd name="connsiteX55" fmla="*/ 2804411 w 6094516"/>
              <a:gd name="connsiteY55" fmla="*/ 2468120 h 3487140"/>
              <a:gd name="connsiteX56" fmla="*/ 2638312 w 6094516"/>
              <a:gd name="connsiteY56" fmla="*/ 2505548 h 3487140"/>
              <a:gd name="connsiteX57" fmla="*/ 2329862 w 6094516"/>
              <a:gd name="connsiteY57" fmla="*/ 2278109 h 3487140"/>
              <a:gd name="connsiteX58" fmla="*/ 1885173 w 6094516"/>
              <a:gd name="connsiteY58" fmla="*/ 1678800 h 3487140"/>
              <a:gd name="connsiteX59" fmla="*/ 1765320 w 6094516"/>
              <a:gd name="connsiteY59" fmla="*/ 1175432 h 3487140"/>
              <a:gd name="connsiteX60" fmla="*/ 1919774 w 6094516"/>
              <a:gd name="connsiteY60" fmla="*/ 1377420 h 3487140"/>
              <a:gd name="connsiteX61" fmla="*/ 2281414 w 6094516"/>
              <a:gd name="connsiteY61" fmla="*/ 2268710 h 3487140"/>
              <a:gd name="connsiteX62" fmla="*/ 2601216 w 6094516"/>
              <a:gd name="connsiteY62" fmla="*/ 2693105 h 3487140"/>
              <a:gd name="connsiteX63" fmla="*/ 2834644 w 6094516"/>
              <a:gd name="connsiteY63" fmla="*/ 2746586 h 3487140"/>
              <a:gd name="connsiteX64" fmla="*/ 3001865 w 6094516"/>
              <a:gd name="connsiteY64" fmla="*/ 2631432 h 3487140"/>
              <a:gd name="connsiteX65" fmla="*/ 3013052 w 6094516"/>
              <a:gd name="connsiteY65" fmla="*/ 2436680 h 3487140"/>
              <a:gd name="connsiteX66" fmla="*/ 2859222 w 6094516"/>
              <a:gd name="connsiteY66" fmla="*/ 2309258 h 3487140"/>
              <a:gd name="connsiteX67" fmla="*/ 2652036 w 6094516"/>
              <a:gd name="connsiteY67" fmla="*/ 2375007 h 3487140"/>
              <a:gd name="connsiteX68" fmla="*/ 2629537 w 6094516"/>
              <a:gd name="connsiteY68" fmla="*/ 2581402 h 3487140"/>
              <a:gd name="connsiteX69" fmla="*/ 2772222 w 6094516"/>
              <a:gd name="connsiteY69" fmla="*/ 2671064 h 3487140"/>
              <a:gd name="connsiteX70" fmla="*/ 2868787 w 6094516"/>
              <a:gd name="connsiteY70" fmla="*/ 2596831 h 3487140"/>
              <a:gd name="connsiteX71" fmla="*/ 2835601 w 6094516"/>
              <a:gd name="connsiteY71" fmla="*/ 2530750 h 3487140"/>
              <a:gd name="connsiteX72" fmla="*/ 2713543 w 6094516"/>
              <a:gd name="connsiteY72" fmla="*/ 2615379 h 3487140"/>
              <a:gd name="connsiteX73" fmla="*/ 2567864 w 6094516"/>
              <a:gd name="connsiteY73" fmla="*/ 2907028 h 3487140"/>
              <a:gd name="connsiteX74" fmla="*/ 2520039 w 6094516"/>
              <a:gd name="connsiteY74" fmla="*/ 3008333 h 3487140"/>
              <a:gd name="connsiteX75" fmla="*/ 2484191 w 6094516"/>
              <a:gd name="connsiteY75" fmla="*/ 3024053 h 3487140"/>
              <a:gd name="connsiteX76" fmla="*/ 2389165 w 6094516"/>
              <a:gd name="connsiteY76" fmla="*/ 3013989 h 3487140"/>
              <a:gd name="connsiteX77" fmla="*/ 2396068 w 6094516"/>
              <a:gd name="connsiteY77" fmla="*/ 2956724 h 3487140"/>
              <a:gd name="connsiteX78" fmla="*/ 2584831 w 6094516"/>
              <a:gd name="connsiteY78" fmla="*/ 2951068 h 3487140"/>
              <a:gd name="connsiteX79" fmla="*/ 2671041 w 6094516"/>
              <a:gd name="connsiteY79" fmla="*/ 2951068 h 3487140"/>
              <a:gd name="connsiteX80" fmla="*/ 2752219 w 6094516"/>
              <a:gd name="connsiteY80" fmla="*/ 2822066 h 3487140"/>
              <a:gd name="connsiteX81" fmla="*/ 2892533 w 6094516"/>
              <a:gd name="connsiteY81" fmla="*/ 2789337 h 3487140"/>
              <a:gd name="connsiteX82" fmla="*/ 3020246 w 6094516"/>
              <a:gd name="connsiteY82" fmla="*/ 2713815 h 3487140"/>
              <a:gd name="connsiteX83" fmla="*/ 3106456 w 6094516"/>
              <a:gd name="connsiteY83" fmla="*/ 2544556 h 3487140"/>
              <a:gd name="connsiteX84" fmla="*/ 3326035 w 6094516"/>
              <a:gd name="connsiteY84" fmla="*/ 2482883 h 3487140"/>
              <a:gd name="connsiteX85" fmla="*/ 3861009 w 6094516"/>
              <a:gd name="connsiteY85" fmla="*/ 2466831 h 3487140"/>
              <a:gd name="connsiteX86" fmla="*/ 4016751 w 6094516"/>
              <a:gd name="connsiteY86" fmla="*/ 2420918 h 3487140"/>
              <a:gd name="connsiteX87" fmla="*/ 3866664 w 6094516"/>
              <a:gd name="connsiteY87" fmla="*/ 2252907 h 3487140"/>
              <a:gd name="connsiteX88" fmla="*/ 3391285 w 6094516"/>
              <a:gd name="connsiteY88" fmla="*/ 1791709 h 3487140"/>
              <a:gd name="connsiteX89" fmla="*/ 3127166 w 6094516"/>
              <a:gd name="connsiteY89" fmla="*/ 1600118 h 3487140"/>
              <a:gd name="connsiteX90" fmla="*/ 3003196 w 6094516"/>
              <a:gd name="connsiteY90" fmla="*/ 1733529 h 3487140"/>
              <a:gd name="connsiteX91" fmla="*/ 2940898 w 6094516"/>
              <a:gd name="connsiteY91" fmla="*/ 1995900 h 3487140"/>
              <a:gd name="connsiteX92" fmla="*/ 2981778 w 6094516"/>
              <a:gd name="connsiteY92" fmla="*/ 2048133 h 3487140"/>
              <a:gd name="connsiteX93" fmla="*/ 3044699 w 6094516"/>
              <a:gd name="connsiteY93" fmla="*/ 1778817 h 3487140"/>
              <a:gd name="connsiteX94" fmla="*/ 3166466 w 6094516"/>
              <a:gd name="connsiteY94" fmla="*/ 1356918 h 3487140"/>
              <a:gd name="connsiteX95" fmla="*/ 3272803 w 6094516"/>
              <a:gd name="connsiteY95" fmla="*/ 986960 h 3487140"/>
              <a:gd name="connsiteX96" fmla="*/ 3243526 w 6094516"/>
              <a:gd name="connsiteY96" fmla="*/ 867107 h 3487140"/>
              <a:gd name="connsiteX97" fmla="*/ 3068612 w 6094516"/>
              <a:gd name="connsiteY97" fmla="*/ 840034 h 3487140"/>
              <a:gd name="connsiteX98" fmla="*/ 2924513 w 6094516"/>
              <a:gd name="connsiteY98" fmla="*/ 782769 h 3487140"/>
              <a:gd name="connsiteX99" fmla="*/ 2940857 w 6094516"/>
              <a:gd name="connsiteY99" fmla="*/ 714816 h 3487140"/>
              <a:gd name="connsiteX100" fmla="*/ 3114524 w 6094516"/>
              <a:gd name="connsiteY100" fmla="*/ 723008 h 3487140"/>
              <a:gd name="connsiteX101" fmla="*/ 3317135 w 6094516"/>
              <a:gd name="connsiteY101" fmla="*/ 729288 h 3487140"/>
              <a:gd name="connsiteX102" fmla="*/ 3483857 w 6094516"/>
              <a:gd name="connsiteY102" fmla="*/ 682087 h 3487140"/>
              <a:gd name="connsiteX103" fmla="*/ 3601506 w 6094516"/>
              <a:gd name="connsiteY103" fmla="*/ 703463 h 3487140"/>
              <a:gd name="connsiteX104" fmla="*/ 3624171 w 6094516"/>
              <a:gd name="connsiteY104" fmla="*/ 797199 h 3487140"/>
              <a:gd name="connsiteX105" fmla="*/ 3496458 w 6094516"/>
              <a:gd name="connsiteY105" fmla="*/ 890936 h 3487140"/>
              <a:gd name="connsiteX106" fmla="*/ 3326575 w 6094516"/>
              <a:gd name="connsiteY106" fmla="*/ 918009 h 3487140"/>
              <a:gd name="connsiteX107" fmla="*/ 3198862 w 6094516"/>
              <a:gd name="connsiteY107" fmla="*/ 1002306 h 3487140"/>
              <a:gd name="connsiteX108" fmla="*/ 3097972 w 6094516"/>
              <a:gd name="connsiteY108" fmla="*/ 1299902 h 3487140"/>
              <a:gd name="connsiteX109" fmla="*/ 3159022 w 6094516"/>
              <a:gd name="connsiteY109" fmla="*/ 1545930 h 3487140"/>
              <a:gd name="connsiteX110" fmla="*/ 3371697 w 6094516"/>
              <a:gd name="connsiteY110" fmla="*/ 1536490 h 3487140"/>
              <a:gd name="connsiteX111" fmla="*/ 3551228 w 6094516"/>
              <a:gd name="connsiteY111" fmla="*/ 1376048 h 3487140"/>
              <a:gd name="connsiteX112" fmla="*/ 3554389 w 6094516"/>
              <a:gd name="connsiteY112" fmla="*/ 1231949 h 3487140"/>
              <a:gd name="connsiteX113" fmla="*/ 3336348 w 6094516"/>
              <a:gd name="connsiteY113" fmla="*/ 1191693 h 3487140"/>
              <a:gd name="connsiteX114" fmla="*/ 3344832 w 6094516"/>
              <a:gd name="connsiteY114" fmla="*/ 1255238 h 3487140"/>
              <a:gd name="connsiteX115" fmla="*/ 3769850 w 6094516"/>
              <a:gd name="connsiteY115" fmla="*/ 1241722 h 3487140"/>
              <a:gd name="connsiteX116" fmla="*/ 4254670 w 6094516"/>
              <a:gd name="connsiteY116" fmla="*/ 1259646 h 3487140"/>
              <a:gd name="connsiteX117" fmla="*/ 4484022 w 6094516"/>
              <a:gd name="connsiteY117" fmla="*/ 1236981 h 3487140"/>
              <a:gd name="connsiteX118" fmla="*/ 4465766 w 6094516"/>
              <a:gd name="connsiteY118" fmla="*/ 1185995 h 3487140"/>
              <a:gd name="connsiteX119" fmla="*/ 4105248 w 6094516"/>
              <a:gd name="connsiteY119" fmla="*/ 1177512 h 3487140"/>
              <a:gd name="connsiteX120" fmla="*/ 3734668 w 6094516"/>
              <a:gd name="connsiteY120" fmla="*/ 1331342 h 3487140"/>
              <a:gd name="connsiteX121" fmla="*/ 3388914 w 6094516"/>
              <a:gd name="connsiteY121" fmla="*/ 1604110 h 3487140"/>
              <a:gd name="connsiteX122" fmla="*/ 3156111 w 6094516"/>
              <a:gd name="connsiteY122" fmla="*/ 1921252 h 3487140"/>
              <a:gd name="connsiteX123" fmla="*/ 3060461 w 6094516"/>
              <a:gd name="connsiteY123" fmla="*/ 2419255 h 3487140"/>
              <a:gd name="connsiteX124" fmla="*/ 3290769 w 6094516"/>
              <a:gd name="connsiteY124" fmla="*/ 3048465 h 3487140"/>
              <a:gd name="connsiteX125" fmla="*/ 3868994 w 6094516"/>
              <a:gd name="connsiteY125" fmla="*/ 3394510 h 3487140"/>
              <a:gd name="connsiteX126" fmla="*/ 4507643 w 6094516"/>
              <a:gd name="connsiteY126" fmla="*/ 3330632 h 3487140"/>
              <a:gd name="connsiteX127" fmla="*/ 5002818 w 6094516"/>
              <a:gd name="connsiteY127" fmla="*/ 2841404 h 3487140"/>
              <a:gd name="connsiteX128" fmla="*/ 5036171 w 6094516"/>
              <a:gd name="connsiteY128" fmla="*/ 2052999 h 3487140"/>
              <a:gd name="connsiteX129" fmla="*/ 4605164 w 6094516"/>
              <a:gd name="connsiteY129" fmla="*/ 1482011 h 3487140"/>
              <a:gd name="connsiteX130" fmla="*/ 4138310 w 6094516"/>
              <a:gd name="connsiteY130" fmla="*/ 1352717 h 3487140"/>
              <a:gd name="connsiteX131" fmla="*/ 3977868 w 6094516"/>
              <a:gd name="connsiteY131" fmla="*/ 1466624 h 3487140"/>
              <a:gd name="connsiteX132" fmla="*/ 3999909 w 6094516"/>
              <a:gd name="connsiteY132" fmla="*/ 2001140 h 3487140"/>
              <a:gd name="connsiteX133" fmla="*/ 4033885 w 6094516"/>
              <a:gd name="connsiteY133" fmla="*/ 2313208 h 3487140"/>
              <a:gd name="connsiteX134" fmla="*/ 4125585 w 6094516"/>
              <a:gd name="connsiteY134" fmla="*/ 2399085 h 3487140"/>
              <a:gd name="connsiteX135" fmla="*/ 4230051 w 6094516"/>
              <a:gd name="connsiteY135" fmla="*/ 2362905 h 3487140"/>
              <a:gd name="connsiteX136" fmla="*/ 4194660 w 6094516"/>
              <a:gd name="connsiteY136" fmla="*/ 2271372 h 3487140"/>
              <a:gd name="connsiteX137" fmla="*/ 4097056 w 6094516"/>
              <a:gd name="connsiteY137" fmla="*/ 2303394 h 3487140"/>
              <a:gd name="connsiteX138" fmla="*/ 4080670 w 6094516"/>
              <a:gd name="connsiteY138" fmla="*/ 2437262 h 3487140"/>
              <a:gd name="connsiteX139" fmla="*/ 4079589 w 6094516"/>
              <a:gd name="connsiteY139" fmla="*/ 2519521 h 3487140"/>
              <a:gd name="connsiteX140" fmla="*/ 3900475 w 6094516"/>
              <a:gd name="connsiteY140" fmla="*/ 2539400 h 3487140"/>
              <a:gd name="connsiteX141" fmla="*/ 3490220 w 6094516"/>
              <a:gd name="connsiteY141" fmla="*/ 2545679 h 3487140"/>
              <a:gd name="connsiteX142" fmla="*/ 3249848 w 6094516"/>
              <a:gd name="connsiteY142" fmla="*/ 2602944 h 3487140"/>
              <a:gd name="connsiteX143" fmla="*/ 3240241 w 6094516"/>
              <a:gd name="connsiteY143" fmla="*/ 2790460 h 3487140"/>
              <a:gd name="connsiteX144" fmla="*/ 3433578 w 6094516"/>
              <a:gd name="connsiteY144" fmla="*/ 3133385 h 3487140"/>
              <a:gd name="connsiteX145" fmla="*/ 3925468 w 6094516"/>
              <a:gd name="connsiteY145" fmla="*/ 3465290 h 3487140"/>
              <a:gd name="connsiteX146" fmla="*/ 4666214 w 6094516"/>
              <a:gd name="connsiteY146" fmla="*/ 3390434 h 3487140"/>
              <a:gd name="connsiteX147" fmla="*/ 5106037 w 6094516"/>
              <a:gd name="connsiteY147" fmla="*/ 3017940 h 3487140"/>
              <a:gd name="connsiteX148" fmla="*/ 5420018 w 6094516"/>
              <a:gd name="connsiteY148" fmla="*/ 2655510 h 3487140"/>
              <a:gd name="connsiteX149" fmla="*/ 5792512 w 6094516"/>
              <a:gd name="connsiteY149" fmla="*/ 3163577 h 3487140"/>
              <a:gd name="connsiteX150" fmla="*/ 6016499 w 6094516"/>
              <a:gd name="connsiteY150" fmla="*/ 3255443 h 3487140"/>
              <a:gd name="connsiteX151" fmla="*/ 6094516 w 6094516"/>
              <a:gd name="connsiteY151" fmla="*/ 2786675 h 3487140"/>
              <a:gd name="connsiteX0" fmla="*/ 777215 w 6016499"/>
              <a:gd name="connsiteY0" fmla="*/ 3295741 h 3487140"/>
              <a:gd name="connsiteX1" fmla="*/ 526113 w 6016499"/>
              <a:gd name="connsiteY1" fmla="*/ 3112384 h 3487140"/>
              <a:gd name="connsiteX2" fmla="*/ 219950 w 6016499"/>
              <a:gd name="connsiteY2" fmla="*/ 2750287 h 3487140"/>
              <a:gd name="connsiteX3" fmla="*/ 128418 w 6016499"/>
              <a:gd name="connsiteY3" fmla="*/ 2305432 h 3487140"/>
              <a:gd name="connsiteX4" fmla="*/ 256006 w 6016499"/>
              <a:gd name="connsiteY4" fmla="*/ 1919713 h 3487140"/>
              <a:gd name="connsiteX5" fmla="*/ 580218 w 6016499"/>
              <a:gd name="connsiteY5" fmla="*/ 1637837 h 3487140"/>
              <a:gd name="connsiteX6" fmla="*/ 1073522 w 6016499"/>
              <a:gd name="connsiteY6" fmla="*/ 1545972 h 3487140"/>
              <a:gd name="connsiteX7" fmla="*/ 1308197 w 6016499"/>
              <a:gd name="connsiteY7" fmla="*/ 1517651 h 3487140"/>
              <a:gd name="connsiteX8" fmla="*/ 1292934 w 6016499"/>
              <a:gd name="connsiteY8" fmla="*/ 1460718 h 3487140"/>
              <a:gd name="connsiteX9" fmla="*/ 1016880 w 6016499"/>
              <a:gd name="connsiteY9" fmla="*/ 1416969 h 3487140"/>
              <a:gd name="connsiteX10" fmla="*/ 497460 w 6016499"/>
              <a:gd name="connsiteY10" fmla="*/ 1517318 h 3487140"/>
              <a:gd name="connsiteX11" fmla="*/ 88162 w 6016499"/>
              <a:gd name="connsiteY11" fmla="*/ 1960593 h 3487140"/>
              <a:gd name="connsiteX12" fmla="*/ 28692 w 6016499"/>
              <a:gd name="connsiteY12" fmla="*/ 2569342 h 3487140"/>
              <a:gd name="connsiteX13" fmla="*/ 442399 w 6016499"/>
              <a:gd name="connsiteY13" fmla="*/ 3165532 h 3487140"/>
              <a:gd name="connsiteX14" fmla="*/ 1232384 w 6016499"/>
              <a:gd name="connsiteY14" fmla="*/ 3283181 h 3487140"/>
              <a:gd name="connsiteX15" fmla="*/ 1835020 w 6016499"/>
              <a:gd name="connsiteY15" fmla="*/ 2757481 h 3487140"/>
              <a:gd name="connsiteX16" fmla="*/ 1824789 w 6016499"/>
              <a:gd name="connsiteY16" fmla="*/ 1980430 h 3487140"/>
              <a:gd name="connsiteX17" fmla="*/ 1494755 w 6016499"/>
              <a:gd name="connsiteY17" fmla="*/ 1589139 h 3487140"/>
              <a:gd name="connsiteX18" fmla="*/ 1305701 w 6016499"/>
              <a:gd name="connsiteY18" fmla="*/ 1660710 h 3487140"/>
              <a:gd name="connsiteX19" fmla="*/ 1197284 w 6016499"/>
              <a:gd name="connsiteY19" fmla="*/ 2116627 h 3487140"/>
              <a:gd name="connsiteX20" fmla="*/ 973921 w 6016499"/>
              <a:gd name="connsiteY20" fmla="*/ 2374258 h 3487140"/>
              <a:gd name="connsiteX21" fmla="*/ 918985 w 6016499"/>
              <a:gd name="connsiteY21" fmla="*/ 2276986 h 3487140"/>
              <a:gd name="connsiteX22" fmla="*/ 1298257 w 6016499"/>
              <a:gd name="connsiteY22" fmla="*/ 2021601 h 3487140"/>
              <a:gd name="connsiteX23" fmla="*/ 1558176 w 6016499"/>
              <a:gd name="connsiteY23" fmla="*/ 1234153 h 3487140"/>
              <a:gd name="connsiteX24" fmla="*/ 1788276 w 6016499"/>
              <a:gd name="connsiteY24" fmla="*/ 725296 h 3487140"/>
              <a:gd name="connsiteX25" fmla="*/ 1896859 w 6016499"/>
              <a:gd name="connsiteY25" fmla="*/ 539984 h 3487140"/>
              <a:gd name="connsiteX26" fmla="*/ 1865711 w 6016499"/>
              <a:gd name="connsiteY26" fmla="*/ 435851 h 3487140"/>
              <a:gd name="connsiteX27" fmla="*/ 1759373 w 6016499"/>
              <a:gd name="connsiteY27" fmla="*/ 350265 h 3487140"/>
              <a:gd name="connsiteX28" fmla="*/ 1714085 w 6016499"/>
              <a:gd name="connsiteY28" fmla="*/ 209327 h 3487140"/>
              <a:gd name="connsiteX29" fmla="*/ 1758915 w 6016499"/>
              <a:gd name="connsiteY29" fmla="*/ 82237 h 3487140"/>
              <a:gd name="connsiteX30" fmla="*/ 1939195 w 6016499"/>
              <a:gd name="connsiteY30" fmla="*/ 6716 h 3487140"/>
              <a:gd name="connsiteX31" fmla="*/ 2207888 w 6016499"/>
              <a:gd name="connsiteY31" fmla="*/ 10167 h 3487140"/>
              <a:gd name="connsiteX32" fmla="*/ 2291561 w 6016499"/>
              <a:gd name="connsiteY32" fmla="*/ 49800 h 3487140"/>
              <a:gd name="connsiteX33" fmla="*/ 2244526 w 6016499"/>
              <a:gd name="connsiteY33" fmla="*/ 86812 h 3487140"/>
              <a:gd name="connsiteX34" fmla="*/ 2008603 w 6016499"/>
              <a:gd name="connsiteY34" fmla="*/ 91886 h 3487140"/>
              <a:gd name="connsiteX35" fmla="*/ 1765070 w 6016499"/>
              <a:gd name="connsiteY35" fmla="*/ 75833 h 3487140"/>
              <a:gd name="connsiteX36" fmla="*/ 1657319 w 6016499"/>
              <a:gd name="connsiteY36" fmla="*/ 176931 h 3487140"/>
              <a:gd name="connsiteX37" fmla="*/ 1672581 w 6016499"/>
              <a:gd name="connsiteY37" fmla="*/ 370393 h 3487140"/>
              <a:gd name="connsiteX38" fmla="*/ 1617354 w 6016499"/>
              <a:gd name="connsiteY38" fmla="*/ 589348 h 3487140"/>
              <a:gd name="connsiteX39" fmla="*/ 1460820 w 6016499"/>
              <a:gd name="connsiteY39" fmla="*/ 903953 h 3487140"/>
              <a:gd name="connsiteX40" fmla="*/ 1250349 w 6016499"/>
              <a:gd name="connsiteY40" fmla="*/ 922501 h 3487140"/>
              <a:gd name="connsiteX41" fmla="*/ 1055930 w 6016499"/>
              <a:gd name="connsiteY41" fmla="*/ 866816 h 3487140"/>
              <a:gd name="connsiteX42" fmla="*/ 997085 w 6016499"/>
              <a:gd name="connsiteY42" fmla="*/ 751038 h 3487140"/>
              <a:gd name="connsiteX43" fmla="*/ 1009021 w 6016499"/>
              <a:gd name="connsiteY43" fmla="*/ 369436 h 3487140"/>
              <a:gd name="connsiteX44" fmla="*/ 1070694 w 6016499"/>
              <a:gd name="connsiteY44" fmla="*/ 155805 h 3487140"/>
              <a:gd name="connsiteX45" fmla="*/ 1272058 w 6016499"/>
              <a:gd name="connsiteY45" fmla="*/ 156761 h 3487140"/>
              <a:gd name="connsiteX46" fmla="*/ 1524989 w 6016499"/>
              <a:gd name="connsiteY46" fmla="*/ 245175 h 3487140"/>
              <a:gd name="connsiteX47" fmla="*/ 1694081 w 6016499"/>
              <a:gd name="connsiteY47" fmla="*/ 357792 h 3487140"/>
              <a:gd name="connsiteX48" fmla="*/ 1798672 w 6016499"/>
              <a:gd name="connsiteY48" fmla="*/ 483301 h 3487140"/>
              <a:gd name="connsiteX49" fmla="*/ 1822876 w 6016499"/>
              <a:gd name="connsiteY49" fmla="*/ 600951 h 3487140"/>
              <a:gd name="connsiteX50" fmla="*/ 1795345 w 6016499"/>
              <a:gd name="connsiteY50" fmla="*/ 761726 h 3487140"/>
              <a:gd name="connsiteX51" fmla="*/ 1967266 w 6016499"/>
              <a:gd name="connsiteY51" fmla="*/ 1160004 h 3487140"/>
              <a:gd name="connsiteX52" fmla="*/ 2390246 w 6016499"/>
              <a:gd name="connsiteY52" fmla="*/ 1793622 h 3487140"/>
              <a:gd name="connsiteX53" fmla="*/ 2807737 w 6016499"/>
              <a:gd name="connsiteY53" fmla="*/ 2087475 h 3487140"/>
              <a:gd name="connsiteX54" fmla="*/ 2917360 w 6016499"/>
              <a:gd name="connsiteY54" fmla="*/ 2185620 h 3487140"/>
              <a:gd name="connsiteX55" fmla="*/ 2804411 w 6016499"/>
              <a:gd name="connsiteY55" fmla="*/ 2468120 h 3487140"/>
              <a:gd name="connsiteX56" fmla="*/ 2638312 w 6016499"/>
              <a:gd name="connsiteY56" fmla="*/ 2505548 h 3487140"/>
              <a:gd name="connsiteX57" fmla="*/ 2329862 w 6016499"/>
              <a:gd name="connsiteY57" fmla="*/ 2278109 h 3487140"/>
              <a:gd name="connsiteX58" fmla="*/ 1885173 w 6016499"/>
              <a:gd name="connsiteY58" fmla="*/ 1678800 h 3487140"/>
              <a:gd name="connsiteX59" fmla="*/ 1765320 w 6016499"/>
              <a:gd name="connsiteY59" fmla="*/ 1175432 h 3487140"/>
              <a:gd name="connsiteX60" fmla="*/ 1919774 w 6016499"/>
              <a:gd name="connsiteY60" fmla="*/ 1377420 h 3487140"/>
              <a:gd name="connsiteX61" fmla="*/ 2281414 w 6016499"/>
              <a:gd name="connsiteY61" fmla="*/ 2268710 h 3487140"/>
              <a:gd name="connsiteX62" fmla="*/ 2601216 w 6016499"/>
              <a:gd name="connsiteY62" fmla="*/ 2693105 h 3487140"/>
              <a:gd name="connsiteX63" fmla="*/ 2834644 w 6016499"/>
              <a:gd name="connsiteY63" fmla="*/ 2746586 h 3487140"/>
              <a:gd name="connsiteX64" fmla="*/ 3001865 w 6016499"/>
              <a:gd name="connsiteY64" fmla="*/ 2631432 h 3487140"/>
              <a:gd name="connsiteX65" fmla="*/ 3013052 w 6016499"/>
              <a:gd name="connsiteY65" fmla="*/ 2436680 h 3487140"/>
              <a:gd name="connsiteX66" fmla="*/ 2859222 w 6016499"/>
              <a:gd name="connsiteY66" fmla="*/ 2309258 h 3487140"/>
              <a:gd name="connsiteX67" fmla="*/ 2652036 w 6016499"/>
              <a:gd name="connsiteY67" fmla="*/ 2375007 h 3487140"/>
              <a:gd name="connsiteX68" fmla="*/ 2629537 w 6016499"/>
              <a:gd name="connsiteY68" fmla="*/ 2581402 h 3487140"/>
              <a:gd name="connsiteX69" fmla="*/ 2772222 w 6016499"/>
              <a:gd name="connsiteY69" fmla="*/ 2671064 h 3487140"/>
              <a:gd name="connsiteX70" fmla="*/ 2868787 w 6016499"/>
              <a:gd name="connsiteY70" fmla="*/ 2596831 h 3487140"/>
              <a:gd name="connsiteX71" fmla="*/ 2835601 w 6016499"/>
              <a:gd name="connsiteY71" fmla="*/ 2530750 h 3487140"/>
              <a:gd name="connsiteX72" fmla="*/ 2713543 w 6016499"/>
              <a:gd name="connsiteY72" fmla="*/ 2615379 h 3487140"/>
              <a:gd name="connsiteX73" fmla="*/ 2567864 w 6016499"/>
              <a:gd name="connsiteY73" fmla="*/ 2907028 h 3487140"/>
              <a:gd name="connsiteX74" fmla="*/ 2520039 w 6016499"/>
              <a:gd name="connsiteY74" fmla="*/ 3008333 h 3487140"/>
              <a:gd name="connsiteX75" fmla="*/ 2484191 w 6016499"/>
              <a:gd name="connsiteY75" fmla="*/ 3024053 h 3487140"/>
              <a:gd name="connsiteX76" fmla="*/ 2389165 w 6016499"/>
              <a:gd name="connsiteY76" fmla="*/ 3013989 h 3487140"/>
              <a:gd name="connsiteX77" fmla="*/ 2396068 w 6016499"/>
              <a:gd name="connsiteY77" fmla="*/ 2956724 h 3487140"/>
              <a:gd name="connsiteX78" fmla="*/ 2584831 w 6016499"/>
              <a:gd name="connsiteY78" fmla="*/ 2951068 h 3487140"/>
              <a:gd name="connsiteX79" fmla="*/ 2671041 w 6016499"/>
              <a:gd name="connsiteY79" fmla="*/ 2951068 h 3487140"/>
              <a:gd name="connsiteX80" fmla="*/ 2752219 w 6016499"/>
              <a:gd name="connsiteY80" fmla="*/ 2822066 h 3487140"/>
              <a:gd name="connsiteX81" fmla="*/ 2892533 w 6016499"/>
              <a:gd name="connsiteY81" fmla="*/ 2789337 h 3487140"/>
              <a:gd name="connsiteX82" fmla="*/ 3020246 w 6016499"/>
              <a:gd name="connsiteY82" fmla="*/ 2713815 h 3487140"/>
              <a:gd name="connsiteX83" fmla="*/ 3106456 w 6016499"/>
              <a:gd name="connsiteY83" fmla="*/ 2544556 h 3487140"/>
              <a:gd name="connsiteX84" fmla="*/ 3326035 w 6016499"/>
              <a:gd name="connsiteY84" fmla="*/ 2482883 h 3487140"/>
              <a:gd name="connsiteX85" fmla="*/ 3861009 w 6016499"/>
              <a:gd name="connsiteY85" fmla="*/ 2466831 h 3487140"/>
              <a:gd name="connsiteX86" fmla="*/ 4016751 w 6016499"/>
              <a:gd name="connsiteY86" fmla="*/ 2420918 h 3487140"/>
              <a:gd name="connsiteX87" fmla="*/ 3866664 w 6016499"/>
              <a:gd name="connsiteY87" fmla="*/ 2252907 h 3487140"/>
              <a:gd name="connsiteX88" fmla="*/ 3391285 w 6016499"/>
              <a:gd name="connsiteY88" fmla="*/ 1791709 h 3487140"/>
              <a:gd name="connsiteX89" fmla="*/ 3127166 w 6016499"/>
              <a:gd name="connsiteY89" fmla="*/ 1600118 h 3487140"/>
              <a:gd name="connsiteX90" fmla="*/ 3003196 w 6016499"/>
              <a:gd name="connsiteY90" fmla="*/ 1733529 h 3487140"/>
              <a:gd name="connsiteX91" fmla="*/ 2940898 w 6016499"/>
              <a:gd name="connsiteY91" fmla="*/ 1995900 h 3487140"/>
              <a:gd name="connsiteX92" fmla="*/ 2981778 w 6016499"/>
              <a:gd name="connsiteY92" fmla="*/ 2048133 h 3487140"/>
              <a:gd name="connsiteX93" fmla="*/ 3044699 w 6016499"/>
              <a:gd name="connsiteY93" fmla="*/ 1778817 h 3487140"/>
              <a:gd name="connsiteX94" fmla="*/ 3166466 w 6016499"/>
              <a:gd name="connsiteY94" fmla="*/ 1356918 h 3487140"/>
              <a:gd name="connsiteX95" fmla="*/ 3272803 w 6016499"/>
              <a:gd name="connsiteY95" fmla="*/ 986960 h 3487140"/>
              <a:gd name="connsiteX96" fmla="*/ 3243526 w 6016499"/>
              <a:gd name="connsiteY96" fmla="*/ 867107 h 3487140"/>
              <a:gd name="connsiteX97" fmla="*/ 3068612 w 6016499"/>
              <a:gd name="connsiteY97" fmla="*/ 840034 h 3487140"/>
              <a:gd name="connsiteX98" fmla="*/ 2924513 w 6016499"/>
              <a:gd name="connsiteY98" fmla="*/ 782769 h 3487140"/>
              <a:gd name="connsiteX99" fmla="*/ 2940857 w 6016499"/>
              <a:gd name="connsiteY99" fmla="*/ 714816 h 3487140"/>
              <a:gd name="connsiteX100" fmla="*/ 3114524 w 6016499"/>
              <a:gd name="connsiteY100" fmla="*/ 723008 h 3487140"/>
              <a:gd name="connsiteX101" fmla="*/ 3317135 w 6016499"/>
              <a:gd name="connsiteY101" fmla="*/ 729288 h 3487140"/>
              <a:gd name="connsiteX102" fmla="*/ 3483857 w 6016499"/>
              <a:gd name="connsiteY102" fmla="*/ 682087 h 3487140"/>
              <a:gd name="connsiteX103" fmla="*/ 3601506 w 6016499"/>
              <a:gd name="connsiteY103" fmla="*/ 703463 h 3487140"/>
              <a:gd name="connsiteX104" fmla="*/ 3624171 w 6016499"/>
              <a:gd name="connsiteY104" fmla="*/ 797199 h 3487140"/>
              <a:gd name="connsiteX105" fmla="*/ 3496458 w 6016499"/>
              <a:gd name="connsiteY105" fmla="*/ 890936 h 3487140"/>
              <a:gd name="connsiteX106" fmla="*/ 3326575 w 6016499"/>
              <a:gd name="connsiteY106" fmla="*/ 918009 h 3487140"/>
              <a:gd name="connsiteX107" fmla="*/ 3198862 w 6016499"/>
              <a:gd name="connsiteY107" fmla="*/ 1002306 h 3487140"/>
              <a:gd name="connsiteX108" fmla="*/ 3097972 w 6016499"/>
              <a:gd name="connsiteY108" fmla="*/ 1299902 h 3487140"/>
              <a:gd name="connsiteX109" fmla="*/ 3159022 w 6016499"/>
              <a:gd name="connsiteY109" fmla="*/ 1545930 h 3487140"/>
              <a:gd name="connsiteX110" fmla="*/ 3371697 w 6016499"/>
              <a:gd name="connsiteY110" fmla="*/ 1536490 h 3487140"/>
              <a:gd name="connsiteX111" fmla="*/ 3551228 w 6016499"/>
              <a:gd name="connsiteY111" fmla="*/ 1376048 h 3487140"/>
              <a:gd name="connsiteX112" fmla="*/ 3554389 w 6016499"/>
              <a:gd name="connsiteY112" fmla="*/ 1231949 h 3487140"/>
              <a:gd name="connsiteX113" fmla="*/ 3336348 w 6016499"/>
              <a:gd name="connsiteY113" fmla="*/ 1191693 h 3487140"/>
              <a:gd name="connsiteX114" fmla="*/ 3344832 w 6016499"/>
              <a:gd name="connsiteY114" fmla="*/ 1255238 h 3487140"/>
              <a:gd name="connsiteX115" fmla="*/ 3769850 w 6016499"/>
              <a:gd name="connsiteY115" fmla="*/ 1241722 h 3487140"/>
              <a:gd name="connsiteX116" fmla="*/ 4254670 w 6016499"/>
              <a:gd name="connsiteY116" fmla="*/ 1259646 h 3487140"/>
              <a:gd name="connsiteX117" fmla="*/ 4484022 w 6016499"/>
              <a:gd name="connsiteY117" fmla="*/ 1236981 h 3487140"/>
              <a:gd name="connsiteX118" fmla="*/ 4465766 w 6016499"/>
              <a:gd name="connsiteY118" fmla="*/ 1185995 h 3487140"/>
              <a:gd name="connsiteX119" fmla="*/ 4105248 w 6016499"/>
              <a:gd name="connsiteY119" fmla="*/ 1177512 h 3487140"/>
              <a:gd name="connsiteX120" fmla="*/ 3734668 w 6016499"/>
              <a:gd name="connsiteY120" fmla="*/ 1331342 h 3487140"/>
              <a:gd name="connsiteX121" fmla="*/ 3388914 w 6016499"/>
              <a:gd name="connsiteY121" fmla="*/ 1604110 h 3487140"/>
              <a:gd name="connsiteX122" fmla="*/ 3156111 w 6016499"/>
              <a:gd name="connsiteY122" fmla="*/ 1921252 h 3487140"/>
              <a:gd name="connsiteX123" fmla="*/ 3060461 w 6016499"/>
              <a:gd name="connsiteY123" fmla="*/ 2419255 h 3487140"/>
              <a:gd name="connsiteX124" fmla="*/ 3290769 w 6016499"/>
              <a:gd name="connsiteY124" fmla="*/ 3048465 h 3487140"/>
              <a:gd name="connsiteX125" fmla="*/ 3868994 w 6016499"/>
              <a:gd name="connsiteY125" fmla="*/ 3394510 h 3487140"/>
              <a:gd name="connsiteX126" fmla="*/ 4507643 w 6016499"/>
              <a:gd name="connsiteY126" fmla="*/ 3330632 h 3487140"/>
              <a:gd name="connsiteX127" fmla="*/ 5002818 w 6016499"/>
              <a:gd name="connsiteY127" fmla="*/ 2841404 h 3487140"/>
              <a:gd name="connsiteX128" fmla="*/ 5036171 w 6016499"/>
              <a:gd name="connsiteY128" fmla="*/ 2052999 h 3487140"/>
              <a:gd name="connsiteX129" fmla="*/ 4605164 w 6016499"/>
              <a:gd name="connsiteY129" fmla="*/ 1482011 h 3487140"/>
              <a:gd name="connsiteX130" fmla="*/ 4138310 w 6016499"/>
              <a:gd name="connsiteY130" fmla="*/ 1352717 h 3487140"/>
              <a:gd name="connsiteX131" fmla="*/ 3977868 w 6016499"/>
              <a:gd name="connsiteY131" fmla="*/ 1466624 h 3487140"/>
              <a:gd name="connsiteX132" fmla="*/ 3999909 w 6016499"/>
              <a:gd name="connsiteY132" fmla="*/ 2001140 h 3487140"/>
              <a:gd name="connsiteX133" fmla="*/ 4033885 w 6016499"/>
              <a:gd name="connsiteY133" fmla="*/ 2313208 h 3487140"/>
              <a:gd name="connsiteX134" fmla="*/ 4125585 w 6016499"/>
              <a:gd name="connsiteY134" fmla="*/ 2399085 h 3487140"/>
              <a:gd name="connsiteX135" fmla="*/ 4230051 w 6016499"/>
              <a:gd name="connsiteY135" fmla="*/ 2362905 h 3487140"/>
              <a:gd name="connsiteX136" fmla="*/ 4194660 w 6016499"/>
              <a:gd name="connsiteY136" fmla="*/ 2271372 h 3487140"/>
              <a:gd name="connsiteX137" fmla="*/ 4097056 w 6016499"/>
              <a:gd name="connsiteY137" fmla="*/ 2303394 h 3487140"/>
              <a:gd name="connsiteX138" fmla="*/ 4080670 w 6016499"/>
              <a:gd name="connsiteY138" fmla="*/ 2437262 h 3487140"/>
              <a:gd name="connsiteX139" fmla="*/ 4079589 w 6016499"/>
              <a:gd name="connsiteY139" fmla="*/ 2519521 h 3487140"/>
              <a:gd name="connsiteX140" fmla="*/ 3900475 w 6016499"/>
              <a:gd name="connsiteY140" fmla="*/ 2539400 h 3487140"/>
              <a:gd name="connsiteX141" fmla="*/ 3490220 w 6016499"/>
              <a:gd name="connsiteY141" fmla="*/ 2545679 h 3487140"/>
              <a:gd name="connsiteX142" fmla="*/ 3249848 w 6016499"/>
              <a:gd name="connsiteY142" fmla="*/ 2602944 h 3487140"/>
              <a:gd name="connsiteX143" fmla="*/ 3240241 w 6016499"/>
              <a:gd name="connsiteY143" fmla="*/ 2790460 h 3487140"/>
              <a:gd name="connsiteX144" fmla="*/ 3433578 w 6016499"/>
              <a:gd name="connsiteY144" fmla="*/ 3133385 h 3487140"/>
              <a:gd name="connsiteX145" fmla="*/ 3925468 w 6016499"/>
              <a:gd name="connsiteY145" fmla="*/ 3465290 h 3487140"/>
              <a:gd name="connsiteX146" fmla="*/ 4666214 w 6016499"/>
              <a:gd name="connsiteY146" fmla="*/ 3390434 h 3487140"/>
              <a:gd name="connsiteX147" fmla="*/ 5106037 w 6016499"/>
              <a:gd name="connsiteY147" fmla="*/ 3017940 h 3487140"/>
              <a:gd name="connsiteX148" fmla="*/ 5420018 w 6016499"/>
              <a:gd name="connsiteY148" fmla="*/ 2655510 h 3487140"/>
              <a:gd name="connsiteX149" fmla="*/ 5792512 w 6016499"/>
              <a:gd name="connsiteY149" fmla="*/ 3163577 h 3487140"/>
              <a:gd name="connsiteX150" fmla="*/ 6016499 w 6016499"/>
              <a:gd name="connsiteY150" fmla="*/ 3255443 h 3487140"/>
              <a:gd name="connsiteX0" fmla="*/ 777215 w 5792512"/>
              <a:gd name="connsiteY0" fmla="*/ 3295741 h 3487140"/>
              <a:gd name="connsiteX1" fmla="*/ 526113 w 5792512"/>
              <a:gd name="connsiteY1" fmla="*/ 3112384 h 3487140"/>
              <a:gd name="connsiteX2" fmla="*/ 219950 w 5792512"/>
              <a:gd name="connsiteY2" fmla="*/ 2750287 h 3487140"/>
              <a:gd name="connsiteX3" fmla="*/ 128418 w 5792512"/>
              <a:gd name="connsiteY3" fmla="*/ 2305432 h 3487140"/>
              <a:gd name="connsiteX4" fmla="*/ 256006 w 5792512"/>
              <a:gd name="connsiteY4" fmla="*/ 1919713 h 3487140"/>
              <a:gd name="connsiteX5" fmla="*/ 580218 w 5792512"/>
              <a:gd name="connsiteY5" fmla="*/ 1637837 h 3487140"/>
              <a:gd name="connsiteX6" fmla="*/ 1073522 w 5792512"/>
              <a:gd name="connsiteY6" fmla="*/ 1545972 h 3487140"/>
              <a:gd name="connsiteX7" fmla="*/ 1308197 w 5792512"/>
              <a:gd name="connsiteY7" fmla="*/ 1517651 h 3487140"/>
              <a:gd name="connsiteX8" fmla="*/ 1292934 w 5792512"/>
              <a:gd name="connsiteY8" fmla="*/ 1460718 h 3487140"/>
              <a:gd name="connsiteX9" fmla="*/ 1016880 w 5792512"/>
              <a:gd name="connsiteY9" fmla="*/ 1416969 h 3487140"/>
              <a:gd name="connsiteX10" fmla="*/ 497460 w 5792512"/>
              <a:gd name="connsiteY10" fmla="*/ 1517318 h 3487140"/>
              <a:gd name="connsiteX11" fmla="*/ 88162 w 5792512"/>
              <a:gd name="connsiteY11" fmla="*/ 1960593 h 3487140"/>
              <a:gd name="connsiteX12" fmla="*/ 28692 w 5792512"/>
              <a:gd name="connsiteY12" fmla="*/ 2569342 h 3487140"/>
              <a:gd name="connsiteX13" fmla="*/ 442399 w 5792512"/>
              <a:gd name="connsiteY13" fmla="*/ 3165532 h 3487140"/>
              <a:gd name="connsiteX14" fmla="*/ 1232384 w 5792512"/>
              <a:gd name="connsiteY14" fmla="*/ 3283181 h 3487140"/>
              <a:gd name="connsiteX15" fmla="*/ 1835020 w 5792512"/>
              <a:gd name="connsiteY15" fmla="*/ 2757481 h 3487140"/>
              <a:gd name="connsiteX16" fmla="*/ 1824789 w 5792512"/>
              <a:gd name="connsiteY16" fmla="*/ 1980430 h 3487140"/>
              <a:gd name="connsiteX17" fmla="*/ 1494755 w 5792512"/>
              <a:gd name="connsiteY17" fmla="*/ 1589139 h 3487140"/>
              <a:gd name="connsiteX18" fmla="*/ 1305701 w 5792512"/>
              <a:gd name="connsiteY18" fmla="*/ 1660710 h 3487140"/>
              <a:gd name="connsiteX19" fmla="*/ 1197284 w 5792512"/>
              <a:gd name="connsiteY19" fmla="*/ 2116627 h 3487140"/>
              <a:gd name="connsiteX20" fmla="*/ 973921 w 5792512"/>
              <a:gd name="connsiteY20" fmla="*/ 2374258 h 3487140"/>
              <a:gd name="connsiteX21" fmla="*/ 918985 w 5792512"/>
              <a:gd name="connsiteY21" fmla="*/ 2276986 h 3487140"/>
              <a:gd name="connsiteX22" fmla="*/ 1298257 w 5792512"/>
              <a:gd name="connsiteY22" fmla="*/ 2021601 h 3487140"/>
              <a:gd name="connsiteX23" fmla="*/ 1558176 w 5792512"/>
              <a:gd name="connsiteY23" fmla="*/ 1234153 h 3487140"/>
              <a:gd name="connsiteX24" fmla="*/ 1788276 w 5792512"/>
              <a:gd name="connsiteY24" fmla="*/ 725296 h 3487140"/>
              <a:gd name="connsiteX25" fmla="*/ 1896859 w 5792512"/>
              <a:gd name="connsiteY25" fmla="*/ 539984 h 3487140"/>
              <a:gd name="connsiteX26" fmla="*/ 1865711 w 5792512"/>
              <a:gd name="connsiteY26" fmla="*/ 435851 h 3487140"/>
              <a:gd name="connsiteX27" fmla="*/ 1759373 w 5792512"/>
              <a:gd name="connsiteY27" fmla="*/ 350265 h 3487140"/>
              <a:gd name="connsiteX28" fmla="*/ 1714085 w 5792512"/>
              <a:gd name="connsiteY28" fmla="*/ 209327 h 3487140"/>
              <a:gd name="connsiteX29" fmla="*/ 1758915 w 5792512"/>
              <a:gd name="connsiteY29" fmla="*/ 82237 h 3487140"/>
              <a:gd name="connsiteX30" fmla="*/ 1939195 w 5792512"/>
              <a:gd name="connsiteY30" fmla="*/ 6716 h 3487140"/>
              <a:gd name="connsiteX31" fmla="*/ 2207888 w 5792512"/>
              <a:gd name="connsiteY31" fmla="*/ 10167 h 3487140"/>
              <a:gd name="connsiteX32" fmla="*/ 2291561 w 5792512"/>
              <a:gd name="connsiteY32" fmla="*/ 49800 h 3487140"/>
              <a:gd name="connsiteX33" fmla="*/ 2244526 w 5792512"/>
              <a:gd name="connsiteY33" fmla="*/ 86812 h 3487140"/>
              <a:gd name="connsiteX34" fmla="*/ 2008603 w 5792512"/>
              <a:gd name="connsiteY34" fmla="*/ 91886 h 3487140"/>
              <a:gd name="connsiteX35" fmla="*/ 1765070 w 5792512"/>
              <a:gd name="connsiteY35" fmla="*/ 75833 h 3487140"/>
              <a:gd name="connsiteX36" fmla="*/ 1657319 w 5792512"/>
              <a:gd name="connsiteY36" fmla="*/ 176931 h 3487140"/>
              <a:gd name="connsiteX37" fmla="*/ 1672581 w 5792512"/>
              <a:gd name="connsiteY37" fmla="*/ 370393 h 3487140"/>
              <a:gd name="connsiteX38" fmla="*/ 1617354 w 5792512"/>
              <a:gd name="connsiteY38" fmla="*/ 589348 h 3487140"/>
              <a:gd name="connsiteX39" fmla="*/ 1460820 w 5792512"/>
              <a:gd name="connsiteY39" fmla="*/ 903953 h 3487140"/>
              <a:gd name="connsiteX40" fmla="*/ 1250349 w 5792512"/>
              <a:gd name="connsiteY40" fmla="*/ 922501 h 3487140"/>
              <a:gd name="connsiteX41" fmla="*/ 1055930 w 5792512"/>
              <a:gd name="connsiteY41" fmla="*/ 866816 h 3487140"/>
              <a:gd name="connsiteX42" fmla="*/ 997085 w 5792512"/>
              <a:gd name="connsiteY42" fmla="*/ 751038 h 3487140"/>
              <a:gd name="connsiteX43" fmla="*/ 1009021 w 5792512"/>
              <a:gd name="connsiteY43" fmla="*/ 369436 h 3487140"/>
              <a:gd name="connsiteX44" fmla="*/ 1070694 w 5792512"/>
              <a:gd name="connsiteY44" fmla="*/ 155805 h 3487140"/>
              <a:gd name="connsiteX45" fmla="*/ 1272058 w 5792512"/>
              <a:gd name="connsiteY45" fmla="*/ 156761 h 3487140"/>
              <a:gd name="connsiteX46" fmla="*/ 1524989 w 5792512"/>
              <a:gd name="connsiteY46" fmla="*/ 245175 h 3487140"/>
              <a:gd name="connsiteX47" fmla="*/ 1694081 w 5792512"/>
              <a:gd name="connsiteY47" fmla="*/ 357792 h 3487140"/>
              <a:gd name="connsiteX48" fmla="*/ 1798672 w 5792512"/>
              <a:gd name="connsiteY48" fmla="*/ 483301 h 3487140"/>
              <a:gd name="connsiteX49" fmla="*/ 1822876 w 5792512"/>
              <a:gd name="connsiteY49" fmla="*/ 600951 h 3487140"/>
              <a:gd name="connsiteX50" fmla="*/ 1795345 w 5792512"/>
              <a:gd name="connsiteY50" fmla="*/ 761726 h 3487140"/>
              <a:gd name="connsiteX51" fmla="*/ 1967266 w 5792512"/>
              <a:gd name="connsiteY51" fmla="*/ 1160004 h 3487140"/>
              <a:gd name="connsiteX52" fmla="*/ 2390246 w 5792512"/>
              <a:gd name="connsiteY52" fmla="*/ 1793622 h 3487140"/>
              <a:gd name="connsiteX53" fmla="*/ 2807737 w 5792512"/>
              <a:gd name="connsiteY53" fmla="*/ 2087475 h 3487140"/>
              <a:gd name="connsiteX54" fmla="*/ 2917360 w 5792512"/>
              <a:gd name="connsiteY54" fmla="*/ 2185620 h 3487140"/>
              <a:gd name="connsiteX55" fmla="*/ 2804411 w 5792512"/>
              <a:gd name="connsiteY55" fmla="*/ 2468120 h 3487140"/>
              <a:gd name="connsiteX56" fmla="*/ 2638312 w 5792512"/>
              <a:gd name="connsiteY56" fmla="*/ 2505548 h 3487140"/>
              <a:gd name="connsiteX57" fmla="*/ 2329862 w 5792512"/>
              <a:gd name="connsiteY57" fmla="*/ 2278109 h 3487140"/>
              <a:gd name="connsiteX58" fmla="*/ 1885173 w 5792512"/>
              <a:gd name="connsiteY58" fmla="*/ 1678800 h 3487140"/>
              <a:gd name="connsiteX59" fmla="*/ 1765320 w 5792512"/>
              <a:gd name="connsiteY59" fmla="*/ 1175432 h 3487140"/>
              <a:gd name="connsiteX60" fmla="*/ 1919774 w 5792512"/>
              <a:gd name="connsiteY60" fmla="*/ 1377420 h 3487140"/>
              <a:gd name="connsiteX61" fmla="*/ 2281414 w 5792512"/>
              <a:gd name="connsiteY61" fmla="*/ 2268710 h 3487140"/>
              <a:gd name="connsiteX62" fmla="*/ 2601216 w 5792512"/>
              <a:gd name="connsiteY62" fmla="*/ 2693105 h 3487140"/>
              <a:gd name="connsiteX63" fmla="*/ 2834644 w 5792512"/>
              <a:gd name="connsiteY63" fmla="*/ 2746586 h 3487140"/>
              <a:gd name="connsiteX64" fmla="*/ 3001865 w 5792512"/>
              <a:gd name="connsiteY64" fmla="*/ 2631432 h 3487140"/>
              <a:gd name="connsiteX65" fmla="*/ 3013052 w 5792512"/>
              <a:gd name="connsiteY65" fmla="*/ 2436680 h 3487140"/>
              <a:gd name="connsiteX66" fmla="*/ 2859222 w 5792512"/>
              <a:gd name="connsiteY66" fmla="*/ 2309258 h 3487140"/>
              <a:gd name="connsiteX67" fmla="*/ 2652036 w 5792512"/>
              <a:gd name="connsiteY67" fmla="*/ 2375007 h 3487140"/>
              <a:gd name="connsiteX68" fmla="*/ 2629537 w 5792512"/>
              <a:gd name="connsiteY68" fmla="*/ 2581402 h 3487140"/>
              <a:gd name="connsiteX69" fmla="*/ 2772222 w 5792512"/>
              <a:gd name="connsiteY69" fmla="*/ 2671064 h 3487140"/>
              <a:gd name="connsiteX70" fmla="*/ 2868787 w 5792512"/>
              <a:gd name="connsiteY70" fmla="*/ 2596831 h 3487140"/>
              <a:gd name="connsiteX71" fmla="*/ 2835601 w 5792512"/>
              <a:gd name="connsiteY71" fmla="*/ 2530750 h 3487140"/>
              <a:gd name="connsiteX72" fmla="*/ 2713543 w 5792512"/>
              <a:gd name="connsiteY72" fmla="*/ 2615379 h 3487140"/>
              <a:gd name="connsiteX73" fmla="*/ 2567864 w 5792512"/>
              <a:gd name="connsiteY73" fmla="*/ 2907028 h 3487140"/>
              <a:gd name="connsiteX74" fmla="*/ 2520039 w 5792512"/>
              <a:gd name="connsiteY74" fmla="*/ 3008333 h 3487140"/>
              <a:gd name="connsiteX75" fmla="*/ 2484191 w 5792512"/>
              <a:gd name="connsiteY75" fmla="*/ 3024053 h 3487140"/>
              <a:gd name="connsiteX76" fmla="*/ 2389165 w 5792512"/>
              <a:gd name="connsiteY76" fmla="*/ 3013989 h 3487140"/>
              <a:gd name="connsiteX77" fmla="*/ 2396068 w 5792512"/>
              <a:gd name="connsiteY77" fmla="*/ 2956724 h 3487140"/>
              <a:gd name="connsiteX78" fmla="*/ 2584831 w 5792512"/>
              <a:gd name="connsiteY78" fmla="*/ 2951068 h 3487140"/>
              <a:gd name="connsiteX79" fmla="*/ 2671041 w 5792512"/>
              <a:gd name="connsiteY79" fmla="*/ 2951068 h 3487140"/>
              <a:gd name="connsiteX80" fmla="*/ 2752219 w 5792512"/>
              <a:gd name="connsiteY80" fmla="*/ 2822066 h 3487140"/>
              <a:gd name="connsiteX81" fmla="*/ 2892533 w 5792512"/>
              <a:gd name="connsiteY81" fmla="*/ 2789337 h 3487140"/>
              <a:gd name="connsiteX82" fmla="*/ 3020246 w 5792512"/>
              <a:gd name="connsiteY82" fmla="*/ 2713815 h 3487140"/>
              <a:gd name="connsiteX83" fmla="*/ 3106456 w 5792512"/>
              <a:gd name="connsiteY83" fmla="*/ 2544556 h 3487140"/>
              <a:gd name="connsiteX84" fmla="*/ 3326035 w 5792512"/>
              <a:gd name="connsiteY84" fmla="*/ 2482883 h 3487140"/>
              <a:gd name="connsiteX85" fmla="*/ 3861009 w 5792512"/>
              <a:gd name="connsiteY85" fmla="*/ 2466831 h 3487140"/>
              <a:gd name="connsiteX86" fmla="*/ 4016751 w 5792512"/>
              <a:gd name="connsiteY86" fmla="*/ 2420918 h 3487140"/>
              <a:gd name="connsiteX87" fmla="*/ 3866664 w 5792512"/>
              <a:gd name="connsiteY87" fmla="*/ 2252907 h 3487140"/>
              <a:gd name="connsiteX88" fmla="*/ 3391285 w 5792512"/>
              <a:gd name="connsiteY88" fmla="*/ 1791709 h 3487140"/>
              <a:gd name="connsiteX89" fmla="*/ 3127166 w 5792512"/>
              <a:gd name="connsiteY89" fmla="*/ 1600118 h 3487140"/>
              <a:gd name="connsiteX90" fmla="*/ 3003196 w 5792512"/>
              <a:gd name="connsiteY90" fmla="*/ 1733529 h 3487140"/>
              <a:gd name="connsiteX91" fmla="*/ 2940898 w 5792512"/>
              <a:gd name="connsiteY91" fmla="*/ 1995900 h 3487140"/>
              <a:gd name="connsiteX92" fmla="*/ 2981778 w 5792512"/>
              <a:gd name="connsiteY92" fmla="*/ 2048133 h 3487140"/>
              <a:gd name="connsiteX93" fmla="*/ 3044699 w 5792512"/>
              <a:gd name="connsiteY93" fmla="*/ 1778817 h 3487140"/>
              <a:gd name="connsiteX94" fmla="*/ 3166466 w 5792512"/>
              <a:gd name="connsiteY94" fmla="*/ 1356918 h 3487140"/>
              <a:gd name="connsiteX95" fmla="*/ 3272803 w 5792512"/>
              <a:gd name="connsiteY95" fmla="*/ 986960 h 3487140"/>
              <a:gd name="connsiteX96" fmla="*/ 3243526 w 5792512"/>
              <a:gd name="connsiteY96" fmla="*/ 867107 h 3487140"/>
              <a:gd name="connsiteX97" fmla="*/ 3068612 w 5792512"/>
              <a:gd name="connsiteY97" fmla="*/ 840034 h 3487140"/>
              <a:gd name="connsiteX98" fmla="*/ 2924513 w 5792512"/>
              <a:gd name="connsiteY98" fmla="*/ 782769 h 3487140"/>
              <a:gd name="connsiteX99" fmla="*/ 2940857 w 5792512"/>
              <a:gd name="connsiteY99" fmla="*/ 714816 h 3487140"/>
              <a:gd name="connsiteX100" fmla="*/ 3114524 w 5792512"/>
              <a:gd name="connsiteY100" fmla="*/ 723008 h 3487140"/>
              <a:gd name="connsiteX101" fmla="*/ 3317135 w 5792512"/>
              <a:gd name="connsiteY101" fmla="*/ 729288 h 3487140"/>
              <a:gd name="connsiteX102" fmla="*/ 3483857 w 5792512"/>
              <a:gd name="connsiteY102" fmla="*/ 682087 h 3487140"/>
              <a:gd name="connsiteX103" fmla="*/ 3601506 w 5792512"/>
              <a:gd name="connsiteY103" fmla="*/ 703463 h 3487140"/>
              <a:gd name="connsiteX104" fmla="*/ 3624171 w 5792512"/>
              <a:gd name="connsiteY104" fmla="*/ 797199 h 3487140"/>
              <a:gd name="connsiteX105" fmla="*/ 3496458 w 5792512"/>
              <a:gd name="connsiteY105" fmla="*/ 890936 h 3487140"/>
              <a:gd name="connsiteX106" fmla="*/ 3326575 w 5792512"/>
              <a:gd name="connsiteY106" fmla="*/ 918009 h 3487140"/>
              <a:gd name="connsiteX107" fmla="*/ 3198862 w 5792512"/>
              <a:gd name="connsiteY107" fmla="*/ 1002306 h 3487140"/>
              <a:gd name="connsiteX108" fmla="*/ 3097972 w 5792512"/>
              <a:gd name="connsiteY108" fmla="*/ 1299902 h 3487140"/>
              <a:gd name="connsiteX109" fmla="*/ 3159022 w 5792512"/>
              <a:gd name="connsiteY109" fmla="*/ 1545930 h 3487140"/>
              <a:gd name="connsiteX110" fmla="*/ 3371697 w 5792512"/>
              <a:gd name="connsiteY110" fmla="*/ 1536490 h 3487140"/>
              <a:gd name="connsiteX111" fmla="*/ 3551228 w 5792512"/>
              <a:gd name="connsiteY111" fmla="*/ 1376048 h 3487140"/>
              <a:gd name="connsiteX112" fmla="*/ 3554389 w 5792512"/>
              <a:gd name="connsiteY112" fmla="*/ 1231949 h 3487140"/>
              <a:gd name="connsiteX113" fmla="*/ 3336348 w 5792512"/>
              <a:gd name="connsiteY113" fmla="*/ 1191693 h 3487140"/>
              <a:gd name="connsiteX114" fmla="*/ 3344832 w 5792512"/>
              <a:gd name="connsiteY114" fmla="*/ 1255238 h 3487140"/>
              <a:gd name="connsiteX115" fmla="*/ 3769850 w 5792512"/>
              <a:gd name="connsiteY115" fmla="*/ 1241722 h 3487140"/>
              <a:gd name="connsiteX116" fmla="*/ 4254670 w 5792512"/>
              <a:gd name="connsiteY116" fmla="*/ 1259646 h 3487140"/>
              <a:gd name="connsiteX117" fmla="*/ 4484022 w 5792512"/>
              <a:gd name="connsiteY117" fmla="*/ 1236981 h 3487140"/>
              <a:gd name="connsiteX118" fmla="*/ 4465766 w 5792512"/>
              <a:gd name="connsiteY118" fmla="*/ 1185995 h 3487140"/>
              <a:gd name="connsiteX119" fmla="*/ 4105248 w 5792512"/>
              <a:gd name="connsiteY119" fmla="*/ 1177512 h 3487140"/>
              <a:gd name="connsiteX120" fmla="*/ 3734668 w 5792512"/>
              <a:gd name="connsiteY120" fmla="*/ 1331342 h 3487140"/>
              <a:gd name="connsiteX121" fmla="*/ 3388914 w 5792512"/>
              <a:gd name="connsiteY121" fmla="*/ 1604110 h 3487140"/>
              <a:gd name="connsiteX122" fmla="*/ 3156111 w 5792512"/>
              <a:gd name="connsiteY122" fmla="*/ 1921252 h 3487140"/>
              <a:gd name="connsiteX123" fmla="*/ 3060461 w 5792512"/>
              <a:gd name="connsiteY123" fmla="*/ 2419255 h 3487140"/>
              <a:gd name="connsiteX124" fmla="*/ 3290769 w 5792512"/>
              <a:gd name="connsiteY124" fmla="*/ 3048465 h 3487140"/>
              <a:gd name="connsiteX125" fmla="*/ 3868994 w 5792512"/>
              <a:gd name="connsiteY125" fmla="*/ 3394510 h 3487140"/>
              <a:gd name="connsiteX126" fmla="*/ 4507643 w 5792512"/>
              <a:gd name="connsiteY126" fmla="*/ 3330632 h 3487140"/>
              <a:gd name="connsiteX127" fmla="*/ 5002818 w 5792512"/>
              <a:gd name="connsiteY127" fmla="*/ 2841404 h 3487140"/>
              <a:gd name="connsiteX128" fmla="*/ 5036171 w 5792512"/>
              <a:gd name="connsiteY128" fmla="*/ 2052999 h 3487140"/>
              <a:gd name="connsiteX129" fmla="*/ 4605164 w 5792512"/>
              <a:gd name="connsiteY129" fmla="*/ 1482011 h 3487140"/>
              <a:gd name="connsiteX130" fmla="*/ 4138310 w 5792512"/>
              <a:gd name="connsiteY130" fmla="*/ 1352717 h 3487140"/>
              <a:gd name="connsiteX131" fmla="*/ 3977868 w 5792512"/>
              <a:gd name="connsiteY131" fmla="*/ 1466624 h 3487140"/>
              <a:gd name="connsiteX132" fmla="*/ 3999909 w 5792512"/>
              <a:gd name="connsiteY132" fmla="*/ 2001140 h 3487140"/>
              <a:gd name="connsiteX133" fmla="*/ 4033885 w 5792512"/>
              <a:gd name="connsiteY133" fmla="*/ 2313208 h 3487140"/>
              <a:gd name="connsiteX134" fmla="*/ 4125585 w 5792512"/>
              <a:gd name="connsiteY134" fmla="*/ 2399085 h 3487140"/>
              <a:gd name="connsiteX135" fmla="*/ 4230051 w 5792512"/>
              <a:gd name="connsiteY135" fmla="*/ 2362905 h 3487140"/>
              <a:gd name="connsiteX136" fmla="*/ 4194660 w 5792512"/>
              <a:gd name="connsiteY136" fmla="*/ 2271372 h 3487140"/>
              <a:gd name="connsiteX137" fmla="*/ 4097056 w 5792512"/>
              <a:gd name="connsiteY137" fmla="*/ 2303394 h 3487140"/>
              <a:gd name="connsiteX138" fmla="*/ 4080670 w 5792512"/>
              <a:gd name="connsiteY138" fmla="*/ 2437262 h 3487140"/>
              <a:gd name="connsiteX139" fmla="*/ 4079589 w 5792512"/>
              <a:gd name="connsiteY139" fmla="*/ 2519521 h 3487140"/>
              <a:gd name="connsiteX140" fmla="*/ 3900475 w 5792512"/>
              <a:gd name="connsiteY140" fmla="*/ 2539400 h 3487140"/>
              <a:gd name="connsiteX141" fmla="*/ 3490220 w 5792512"/>
              <a:gd name="connsiteY141" fmla="*/ 2545679 h 3487140"/>
              <a:gd name="connsiteX142" fmla="*/ 3249848 w 5792512"/>
              <a:gd name="connsiteY142" fmla="*/ 2602944 h 3487140"/>
              <a:gd name="connsiteX143" fmla="*/ 3240241 w 5792512"/>
              <a:gd name="connsiteY143" fmla="*/ 2790460 h 3487140"/>
              <a:gd name="connsiteX144" fmla="*/ 3433578 w 5792512"/>
              <a:gd name="connsiteY144" fmla="*/ 3133385 h 3487140"/>
              <a:gd name="connsiteX145" fmla="*/ 3925468 w 5792512"/>
              <a:gd name="connsiteY145" fmla="*/ 3465290 h 3487140"/>
              <a:gd name="connsiteX146" fmla="*/ 4666214 w 5792512"/>
              <a:gd name="connsiteY146" fmla="*/ 3390434 h 3487140"/>
              <a:gd name="connsiteX147" fmla="*/ 5106037 w 5792512"/>
              <a:gd name="connsiteY147" fmla="*/ 3017940 h 3487140"/>
              <a:gd name="connsiteX148" fmla="*/ 5420018 w 5792512"/>
              <a:gd name="connsiteY148" fmla="*/ 2655510 h 3487140"/>
              <a:gd name="connsiteX149" fmla="*/ 5792512 w 5792512"/>
              <a:gd name="connsiteY149" fmla="*/ 3163577 h 3487140"/>
              <a:gd name="connsiteX0" fmla="*/ 777215 w 5420018"/>
              <a:gd name="connsiteY0" fmla="*/ 3295741 h 3487140"/>
              <a:gd name="connsiteX1" fmla="*/ 526113 w 5420018"/>
              <a:gd name="connsiteY1" fmla="*/ 3112384 h 3487140"/>
              <a:gd name="connsiteX2" fmla="*/ 219950 w 5420018"/>
              <a:gd name="connsiteY2" fmla="*/ 2750287 h 3487140"/>
              <a:gd name="connsiteX3" fmla="*/ 128418 w 5420018"/>
              <a:gd name="connsiteY3" fmla="*/ 2305432 h 3487140"/>
              <a:gd name="connsiteX4" fmla="*/ 256006 w 5420018"/>
              <a:gd name="connsiteY4" fmla="*/ 1919713 h 3487140"/>
              <a:gd name="connsiteX5" fmla="*/ 580218 w 5420018"/>
              <a:gd name="connsiteY5" fmla="*/ 1637837 h 3487140"/>
              <a:gd name="connsiteX6" fmla="*/ 1073522 w 5420018"/>
              <a:gd name="connsiteY6" fmla="*/ 1545972 h 3487140"/>
              <a:gd name="connsiteX7" fmla="*/ 1308197 w 5420018"/>
              <a:gd name="connsiteY7" fmla="*/ 1517651 h 3487140"/>
              <a:gd name="connsiteX8" fmla="*/ 1292934 w 5420018"/>
              <a:gd name="connsiteY8" fmla="*/ 1460718 h 3487140"/>
              <a:gd name="connsiteX9" fmla="*/ 1016880 w 5420018"/>
              <a:gd name="connsiteY9" fmla="*/ 1416969 h 3487140"/>
              <a:gd name="connsiteX10" fmla="*/ 497460 w 5420018"/>
              <a:gd name="connsiteY10" fmla="*/ 1517318 h 3487140"/>
              <a:gd name="connsiteX11" fmla="*/ 88162 w 5420018"/>
              <a:gd name="connsiteY11" fmla="*/ 1960593 h 3487140"/>
              <a:gd name="connsiteX12" fmla="*/ 28692 w 5420018"/>
              <a:gd name="connsiteY12" fmla="*/ 2569342 h 3487140"/>
              <a:gd name="connsiteX13" fmla="*/ 442399 w 5420018"/>
              <a:gd name="connsiteY13" fmla="*/ 3165532 h 3487140"/>
              <a:gd name="connsiteX14" fmla="*/ 1232384 w 5420018"/>
              <a:gd name="connsiteY14" fmla="*/ 3283181 h 3487140"/>
              <a:gd name="connsiteX15" fmla="*/ 1835020 w 5420018"/>
              <a:gd name="connsiteY15" fmla="*/ 2757481 h 3487140"/>
              <a:gd name="connsiteX16" fmla="*/ 1824789 w 5420018"/>
              <a:gd name="connsiteY16" fmla="*/ 1980430 h 3487140"/>
              <a:gd name="connsiteX17" fmla="*/ 1494755 w 5420018"/>
              <a:gd name="connsiteY17" fmla="*/ 1589139 h 3487140"/>
              <a:gd name="connsiteX18" fmla="*/ 1305701 w 5420018"/>
              <a:gd name="connsiteY18" fmla="*/ 1660710 h 3487140"/>
              <a:gd name="connsiteX19" fmla="*/ 1197284 w 5420018"/>
              <a:gd name="connsiteY19" fmla="*/ 2116627 h 3487140"/>
              <a:gd name="connsiteX20" fmla="*/ 973921 w 5420018"/>
              <a:gd name="connsiteY20" fmla="*/ 2374258 h 3487140"/>
              <a:gd name="connsiteX21" fmla="*/ 918985 w 5420018"/>
              <a:gd name="connsiteY21" fmla="*/ 2276986 h 3487140"/>
              <a:gd name="connsiteX22" fmla="*/ 1298257 w 5420018"/>
              <a:gd name="connsiteY22" fmla="*/ 2021601 h 3487140"/>
              <a:gd name="connsiteX23" fmla="*/ 1558176 w 5420018"/>
              <a:gd name="connsiteY23" fmla="*/ 1234153 h 3487140"/>
              <a:gd name="connsiteX24" fmla="*/ 1788276 w 5420018"/>
              <a:gd name="connsiteY24" fmla="*/ 725296 h 3487140"/>
              <a:gd name="connsiteX25" fmla="*/ 1896859 w 5420018"/>
              <a:gd name="connsiteY25" fmla="*/ 539984 h 3487140"/>
              <a:gd name="connsiteX26" fmla="*/ 1865711 w 5420018"/>
              <a:gd name="connsiteY26" fmla="*/ 435851 h 3487140"/>
              <a:gd name="connsiteX27" fmla="*/ 1759373 w 5420018"/>
              <a:gd name="connsiteY27" fmla="*/ 350265 h 3487140"/>
              <a:gd name="connsiteX28" fmla="*/ 1714085 w 5420018"/>
              <a:gd name="connsiteY28" fmla="*/ 209327 h 3487140"/>
              <a:gd name="connsiteX29" fmla="*/ 1758915 w 5420018"/>
              <a:gd name="connsiteY29" fmla="*/ 82237 h 3487140"/>
              <a:gd name="connsiteX30" fmla="*/ 1939195 w 5420018"/>
              <a:gd name="connsiteY30" fmla="*/ 6716 h 3487140"/>
              <a:gd name="connsiteX31" fmla="*/ 2207888 w 5420018"/>
              <a:gd name="connsiteY31" fmla="*/ 10167 h 3487140"/>
              <a:gd name="connsiteX32" fmla="*/ 2291561 w 5420018"/>
              <a:gd name="connsiteY32" fmla="*/ 49800 h 3487140"/>
              <a:gd name="connsiteX33" fmla="*/ 2244526 w 5420018"/>
              <a:gd name="connsiteY33" fmla="*/ 86812 h 3487140"/>
              <a:gd name="connsiteX34" fmla="*/ 2008603 w 5420018"/>
              <a:gd name="connsiteY34" fmla="*/ 91886 h 3487140"/>
              <a:gd name="connsiteX35" fmla="*/ 1765070 w 5420018"/>
              <a:gd name="connsiteY35" fmla="*/ 75833 h 3487140"/>
              <a:gd name="connsiteX36" fmla="*/ 1657319 w 5420018"/>
              <a:gd name="connsiteY36" fmla="*/ 176931 h 3487140"/>
              <a:gd name="connsiteX37" fmla="*/ 1672581 w 5420018"/>
              <a:gd name="connsiteY37" fmla="*/ 370393 h 3487140"/>
              <a:gd name="connsiteX38" fmla="*/ 1617354 w 5420018"/>
              <a:gd name="connsiteY38" fmla="*/ 589348 h 3487140"/>
              <a:gd name="connsiteX39" fmla="*/ 1460820 w 5420018"/>
              <a:gd name="connsiteY39" fmla="*/ 903953 h 3487140"/>
              <a:gd name="connsiteX40" fmla="*/ 1250349 w 5420018"/>
              <a:gd name="connsiteY40" fmla="*/ 922501 h 3487140"/>
              <a:gd name="connsiteX41" fmla="*/ 1055930 w 5420018"/>
              <a:gd name="connsiteY41" fmla="*/ 866816 h 3487140"/>
              <a:gd name="connsiteX42" fmla="*/ 997085 w 5420018"/>
              <a:gd name="connsiteY42" fmla="*/ 751038 h 3487140"/>
              <a:gd name="connsiteX43" fmla="*/ 1009021 w 5420018"/>
              <a:gd name="connsiteY43" fmla="*/ 369436 h 3487140"/>
              <a:gd name="connsiteX44" fmla="*/ 1070694 w 5420018"/>
              <a:gd name="connsiteY44" fmla="*/ 155805 h 3487140"/>
              <a:gd name="connsiteX45" fmla="*/ 1272058 w 5420018"/>
              <a:gd name="connsiteY45" fmla="*/ 156761 h 3487140"/>
              <a:gd name="connsiteX46" fmla="*/ 1524989 w 5420018"/>
              <a:gd name="connsiteY46" fmla="*/ 245175 h 3487140"/>
              <a:gd name="connsiteX47" fmla="*/ 1694081 w 5420018"/>
              <a:gd name="connsiteY47" fmla="*/ 357792 h 3487140"/>
              <a:gd name="connsiteX48" fmla="*/ 1798672 w 5420018"/>
              <a:gd name="connsiteY48" fmla="*/ 483301 h 3487140"/>
              <a:gd name="connsiteX49" fmla="*/ 1822876 w 5420018"/>
              <a:gd name="connsiteY49" fmla="*/ 600951 h 3487140"/>
              <a:gd name="connsiteX50" fmla="*/ 1795345 w 5420018"/>
              <a:gd name="connsiteY50" fmla="*/ 761726 h 3487140"/>
              <a:gd name="connsiteX51" fmla="*/ 1967266 w 5420018"/>
              <a:gd name="connsiteY51" fmla="*/ 1160004 h 3487140"/>
              <a:gd name="connsiteX52" fmla="*/ 2390246 w 5420018"/>
              <a:gd name="connsiteY52" fmla="*/ 1793622 h 3487140"/>
              <a:gd name="connsiteX53" fmla="*/ 2807737 w 5420018"/>
              <a:gd name="connsiteY53" fmla="*/ 2087475 h 3487140"/>
              <a:gd name="connsiteX54" fmla="*/ 2917360 w 5420018"/>
              <a:gd name="connsiteY54" fmla="*/ 2185620 h 3487140"/>
              <a:gd name="connsiteX55" fmla="*/ 2804411 w 5420018"/>
              <a:gd name="connsiteY55" fmla="*/ 2468120 h 3487140"/>
              <a:gd name="connsiteX56" fmla="*/ 2638312 w 5420018"/>
              <a:gd name="connsiteY56" fmla="*/ 2505548 h 3487140"/>
              <a:gd name="connsiteX57" fmla="*/ 2329862 w 5420018"/>
              <a:gd name="connsiteY57" fmla="*/ 2278109 h 3487140"/>
              <a:gd name="connsiteX58" fmla="*/ 1885173 w 5420018"/>
              <a:gd name="connsiteY58" fmla="*/ 1678800 h 3487140"/>
              <a:gd name="connsiteX59" fmla="*/ 1765320 w 5420018"/>
              <a:gd name="connsiteY59" fmla="*/ 1175432 h 3487140"/>
              <a:gd name="connsiteX60" fmla="*/ 1919774 w 5420018"/>
              <a:gd name="connsiteY60" fmla="*/ 1377420 h 3487140"/>
              <a:gd name="connsiteX61" fmla="*/ 2281414 w 5420018"/>
              <a:gd name="connsiteY61" fmla="*/ 2268710 h 3487140"/>
              <a:gd name="connsiteX62" fmla="*/ 2601216 w 5420018"/>
              <a:gd name="connsiteY62" fmla="*/ 2693105 h 3487140"/>
              <a:gd name="connsiteX63" fmla="*/ 2834644 w 5420018"/>
              <a:gd name="connsiteY63" fmla="*/ 2746586 h 3487140"/>
              <a:gd name="connsiteX64" fmla="*/ 3001865 w 5420018"/>
              <a:gd name="connsiteY64" fmla="*/ 2631432 h 3487140"/>
              <a:gd name="connsiteX65" fmla="*/ 3013052 w 5420018"/>
              <a:gd name="connsiteY65" fmla="*/ 2436680 h 3487140"/>
              <a:gd name="connsiteX66" fmla="*/ 2859222 w 5420018"/>
              <a:gd name="connsiteY66" fmla="*/ 2309258 h 3487140"/>
              <a:gd name="connsiteX67" fmla="*/ 2652036 w 5420018"/>
              <a:gd name="connsiteY67" fmla="*/ 2375007 h 3487140"/>
              <a:gd name="connsiteX68" fmla="*/ 2629537 w 5420018"/>
              <a:gd name="connsiteY68" fmla="*/ 2581402 h 3487140"/>
              <a:gd name="connsiteX69" fmla="*/ 2772222 w 5420018"/>
              <a:gd name="connsiteY69" fmla="*/ 2671064 h 3487140"/>
              <a:gd name="connsiteX70" fmla="*/ 2868787 w 5420018"/>
              <a:gd name="connsiteY70" fmla="*/ 2596831 h 3487140"/>
              <a:gd name="connsiteX71" fmla="*/ 2835601 w 5420018"/>
              <a:gd name="connsiteY71" fmla="*/ 2530750 h 3487140"/>
              <a:gd name="connsiteX72" fmla="*/ 2713543 w 5420018"/>
              <a:gd name="connsiteY72" fmla="*/ 2615379 h 3487140"/>
              <a:gd name="connsiteX73" fmla="*/ 2567864 w 5420018"/>
              <a:gd name="connsiteY73" fmla="*/ 2907028 h 3487140"/>
              <a:gd name="connsiteX74" fmla="*/ 2520039 w 5420018"/>
              <a:gd name="connsiteY74" fmla="*/ 3008333 h 3487140"/>
              <a:gd name="connsiteX75" fmla="*/ 2484191 w 5420018"/>
              <a:gd name="connsiteY75" fmla="*/ 3024053 h 3487140"/>
              <a:gd name="connsiteX76" fmla="*/ 2389165 w 5420018"/>
              <a:gd name="connsiteY76" fmla="*/ 3013989 h 3487140"/>
              <a:gd name="connsiteX77" fmla="*/ 2396068 w 5420018"/>
              <a:gd name="connsiteY77" fmla="*/ 2956724 h 3487140"/>
              <a:gd name="connsiteX78" fmla="*/ 2584831 w 5420018"/>
              <a:gd name="connsiteY78" fmla="*/ 2951068 h 3487140"/>
              <a:gd name="connsiteX79" fmla="*/ 2671041 w 5420018"/>
              <a:gd name="connsiteY79" fmla="*/ 2951068 h 3487140"/>
              <a:gd name="connsiteX80" fmla="*/ 2752219 w 5420018"/>
              <a:gd name="connsiteY80" fmla="*/ 2822066 h 3487140"/>
              <a:gd name="connsiteX81" fmla="*/ 2892533 w 5420018"/>
              <a:gd name="connsiteY81" fmla="*/ 2789337 h 3487140"/>
              <a:gd name="connsiteX82" fmla="*/ 3020246 w 5420018"/>
              <a:gd name="connsiteY82" fmla="*/ 2713815 h 3487140"/>
              <a:gd name="connsiteX83" fmla="*/ 3106456 w 5420018"/>
              <a:gd name="connsiteY83" fmla="*/ 2544556 h 3487140"/>
              <a:gd name="connsiteX84" fmla="*/ 3326035 w 5420018"/>
              <a:gd name="connsiteY84" fmla="*/ 2482883 h 3487140"/>
              <a:gd name="connsiteX85" fmla="*/ 3861009 w 5420018"/>
              <a:gd name="connsiteY85" fmla="*/ 2466831 h 3487140"/>
              <a:gd name="connsiteX86" fmla="*/ 4016751 w 5420018"/>
              <a:gd name="connsiteY86" fmla="*/ 2420918 h 3487140"/>
              <a:gd name="connsiteX87" fmla="*/ 3866664 w 5420018"/>
              <a:gd name="connsiteY87" fmla="*/ 2252907 h 3487140"/>
              <a:gd name="connsiteX88" fmla="*/ 3391285 w 5420018"/>
              <a:gd name="connsiteY88" fmla="*/ 1791709 h 3487140"/>
              <a:gd name="connsiteX89" fmla="*/ 3127166 w 5420018"/>
              <a:gd name="connsiteY89" fmla="*/ 1600118 h 3487140"/>
              <a:gd name="connsiteX90" fmla="*/ 3003196 w 5420018"/>
              <a:gd name="connsiteY90" fmla="*/ 1733529 h 3487140"/>
              <a:gd name="connsiteX91" fmla="*/ 2940898 w 5420018"/>
              <a:gd name="connsiteY91" fmla="*/ 1995900 h 3487140"/>
              <a:gd name="connsiteX92" fmla="*/ 2981778 w 5420018"/>
              <a:gd name="connsiteY92" fmla="*/ 2048133 h 3487140"/>
              <a:gd name="connsiteX93" fmla="*/ 3044699 w 5420018"/>
              <a:gd name="connsiteY93" fmla="*/ 1778817 h 3487140"/>
              <a:gd name="connsiteX94" fmla="*/ 3166466 w 5420018"/>
              <a:gd name="connsiteY94" fmla="*/ 1356918 h 3487140"/>
              <a:gd name="connsiteX95" fmla="*/ 3272803 w 5420018"/>
              <a:gd name="connsiteY95" fmla="*/ 986960 h 3487140"/>
              <a:gd name="connsiteX96" fmla="*/ 3243526 w 5420018"/>
              <a:gd name="connsiteY96" fmla="*/ 867107 h 3487140"/>
              <a:gd name="connsiteX97" fmla="*/ 3068612 w 5420018"/>
              <a:gd name="connsiteY97" fmla="*/ 840034 h 3487140"/>
              <a:gd name="connsiteX98" fmla="*/ 2924513 w 5420018"/>
              <a:gd name="connsiteY98" fmla="*/ 782769 h 3487140"/>
              <a:gd name="connsiteX99" fmla="*/ 2940857 w 5420018"/>
              <a:gd name="connsiteY99" fmla="*/ 714816 h 3487140"/>
              <a:gd name="connsiteX100" fmla="*/ 3114524 w 5420018"/>
              <a:gd name="connsiteY100" fmla="*/ 723008 h 3487140"/>
              <a:gd name="connsiteX101" fmla="*/ 3317135 w 5420018"/>
              <a:gd name="connsiteY101" fmla="*/ 729288 h 3487140"/>
              <a:gd name="connsiteX102" fmla="*/ 3483857 w 5420018"/>
              <a:gd name="connsiteY102" fmla="*/ 682087 h 3487140"/>
              <a:gd name="connsiteX103" fmla="*/ 3601506 w 5420018"/>
              <a:gd name="connsiteY103" fmla="*/ 703463 h 3487140"/>
              <a:gd name="connsiteX104" fmla="*/ 3624171 w 5420018"/>
              <a:gd name="connsiteY104" fmla="*/ 797199 h 3487140"/>
              <a:gd name="connsiteX105" fmla="*/ 3496458 w 5420018"/>
              <a:gd name="connsiteY105" fmla="*/ 890936 h 3487140"/>
              <a:gd name="connsiteX106" fmla="*/ 3326575 w 5420018"/>
              <a:gd name="connsiteY106" fmla="*/ 918009 h 3487140"/>
              <a:gd name="connsiteX107" fmla="*/ 3198862 w 5420018"/>
              <a:gd name="connsiteY107" fmla="*/ 1002306 h 3487140"/>
              <a:gd name="connsiteX108" fmla="*/ 3097972 w 5420018"/>
              <a:gd name="connsiteY108" fmla="*/ 1299902 h 3487140"/>
              <a:gd name="connsiteX109" fmla="*/ 3159022 w 5420018"/>
              <a:gd name="connsiteY109" fmla="*/ 1545930 h 3487140"/>
              <a:gd name="connsiteX110" fmla="*/ 3371697 w 5420018"/>
              <a:gd name="connsiteY110" fmla="*/ 1536490 h 3487140"/>
              <a:gd name="connsiteX111" fmla="*/ 3551228 w 5420018"/>
              <a:gd name="connsiteY111" fmla="*/ 1376048 h 3487140"/>
              <a:gd name="connsiteX112" fmla="*/ 3554389 w 5420018"/>
              <a:gd name="connsiteY112" fmla="*/ 1231949 h 3487140"/>
              <a:gd name="connsiteX113" fmla="*/ 3336348 w 5420018"/>
              <a:gd name="connsiteY113" fmla="*/ 1191693 h 3487140"/>
              <a:gd name="connsiteX114" fmla="*/ 3344832 w 5420018"/>
              <a:gd name="connsiteY114" fmla="*/ 1255238 h 3487140"/>
              <a:gd name="connsiteX115" fmla="*/ 3769850 w 5420018"/>
              <a:gd name="connsiteY115" fmla="*/ 1241722 h 3487140"/>
              <a:gd name="connsiteX116" fmla="*/ 4254670 w 5420018"/>
              <a:gd name="connsiteY116" fmla="*/ 1259646 h 3487140"/>
              <a:gd name="connsiteX117" fmla="*/ 4484022 w 5420018"/>
              <a:gd name="connsiteY117" fmla="*/ 1236981 h 3487140"/>
              <a:gd name="connsiteX118" fmla="*/ 4465766 w 5420018"/>
              <a:gd name="connsiteY118" fmla="*/ 1185995 h 3487140"/>
              <a:gd name="connsiteX119" fmla="*/ 4105248 w 5420018"/>
              <a:gd name="connsiteY119" fmla="*/ 1177512 h 3487140"/>
              <a:gd name="connsiteX120" fmla="*/ 3734668 w 5420018"/>
              <a:gd name="connsiteY120" fmla="*/ 1331342 h 3487140"/>
              <a:gd name="connsiteX121" fmla="*/ 3388914 w 5420018"/>
              <a:gd name="connsiteY121" fmla="*/ 1604110 h 3487140"/>
              <a:gd name="connsiteX122" fmla="*/ 3156111 w 5420018"/>
              <a:gd name="connsiteY122" fmla="*/ 1921252 h 3487140"/>
              <a:gd name="connsiteX123" fmla="*/ 3060461 w 5420018"/>
              <a:gd name="connsiteY123" fmla="*/ 2419255 h 3487140"/>
              <a:gd name="connsiteX124" fmla="*/ 3290769 w 5420018"/>
              <a:gd name="connsiteY124" fmla="*/ 3048465 h 3487140"/>
              <a:gd name="connsiteX125" fmla="*/ 3868994 w 5420018"/>
              <a:gd name="connsiteY125" fmla="*/ 3394510 h 3487140"/>
              <a:gd name="connsiteX126" fmla="*/ 4507643 w 5420018"/>
              <a:gd name="connsiteY126" fmla="*/ 3330632 h 3487140"/>
              <a:gd name="connsiteX127" fmla="*/ 5002818 w 5420018"/>
              <a:gd name="connsiteY127" fmla="*/ 2841404 h 3487140"/>
              <a:gd name="connsiteX128" fmla="*/ 5036171 w 5420018"/>
              <a:gd name="connsiteY128" fmla="*/ 2052999 h 3487140"/>
              <a:gd name="connsiteX129" fmla="*/ 4605164 w 5420018"/>
              <a:gd name="connsiteY129" fmla="*/ 1482011 h 3487140"/>
              <a:gd name="connsiteX130" fmla="*/ 4138310 w 5420018"/>
              <a:gd name="connsiteY130" fmla="*/ 1352717 h 3487140"/>
              <a:gd name="connsiteX131" fmla="*/ 3977868 w 5420018"/>
              <a:gd name="connsiteY131" fmla="*/ 1466624 h 3487140"/>
              <a:gd name="connsiteX132" fmla="*/ 3999909 w 5420018"/>
              <a:gd name="connsiteY132" fmla="*/ 2001140 h 3487140"/>
              <a:gd name="connsiteX133" fmla="*/ 4033885 w 5420018"/>
              <a:gd name="connsiteY133" fmla="*/ 2313208 h 3487140"/>
              <a:gd name="connsiteX134" fmla="*/ 4125585 w 5420018"/>
              <a:gd name="connsiteY134" fmla="*/ 2399085 h 3487140"/>
              <a:gd name="connsiteX135" fmla="*/ 4230051 w 5420018"/>
              <a:gd name="connsiteY135" fmla="*/ 2362905 h 3487140"/>
              <a:gd name="connsiteX136" fmla="*/ 4194660 w 5420018"/>
              <a:gd name="connsiteY136" fmla="*/ 2271372 h 3487140"/>
              <a:gd name="connsiteX137" fmla="*/ 4097056 w 5420018"/>
              <a:gd name="connsiteY137" fmla="*/ 2303394 h 3487140"/>
              <a:gd name="connsiteX138" fmla="*/ 4080670 w 5420018"/>
              <a:gd name="connsiteY138" fmla="*/ 2437262 h 3487140"/>
              <a:gd name="connsiteX139" fmla="*/ 4079589 w 5420018"/>
              <a:gd name="connsiteY139" fmla="*/ 2519521 h 3487140"/>
              <a:gd name="connsiteX140" fmla="*/ 3900475 w 5420018"/>
              <a:gd name="connsiteY140" fmla="*/ 2539400 h 3487140"/>
              <a:gd name="connsiteX141" fmla="*/ 3490220 w 5420018"/>
              <a:gd name="connsiteY141" fmla="*/ 2545679 h 3487140"/>
              <a:gd name="connsiteX142" fmla="*/ 3249848 w 5420018"/>
              <a:gd name="connsiteY142" fmla="*/ 2602944 h 3487140"/>
              <a:gd name="connsiteX143" fmla="*/ 3240241 w 5420018"/>
              <a:gd name="connsiteY143" fmla="*/ 2790460 h 3487140"/>
              <a:gd name="connsiteX144" fmla="*/ 3433578 w 5420018"/>
              <a:gd name="connsiteY144" fmla="*/ 3133385 h 3487140"/>
              <a:gd name="connsiteX145" fmla="*/ 3925468 w 5420018"/>
              <a:gd name="connsiteY145" fmla="*/ 3465290 h 3487140"/>
              <a:gd name="connsiteX146" fmla="*/ 4666214 w 5420018"/>
              <a:gd name="connsiteY146" fmla="*/ 3390434 h 3487140"/>
              <a:gd name="connsiteX147" fmla="*/ 5106037 w 5420018"/>
              <a:gd name="connsiteY147" fmla="*/ 3017940 h 3487140"/>
              <a:gd name="connsiteX148" fmla="*/ 5420018 w 5420018"/>
              <a:gd name="connsiteY148" fmla="*/ 2655510 h 3487140"/>
              <a:gd name="connsiteX0" fmla="*/ 777215 w 5106037"/>
              <a:gd name="connsiteY0" fmla="*/ 3295741 h 3487140"/>
              <a:gd name="connsiteX1" fmla="*/ 526113 w 5106037"/>
              <a:gd name="connsiteY1" fmla="*/ 3112384 h 3487140"/>
              <a:gd name="connsiteX2" fmla="*/ 219950 w 5106037"/>
              <a:gd name="connsiteY2" fmla="*/ 2750287 h 3487140"/>
              <a:gd name="connsiteX3" fmla="*/ 128418 w 5106037"/>
              <a:gd name="connsiteY3" fmla="*/ 2305432 h 3487140"/>
              <a:gd name="connsiteX4" fmla="*/ 256006 w 5106037"/>
              <a:gd name="connsiteY4" fmla="*/ 1919713 h 3487140"/>
              <a:gd name="connsiteX5" fmla="*/ 580218 w 5106037"/>
              <a:gd name="connsiteY5" fmla="*/ 1637837 h 3487140"/>
              <a:gd name="connsiteX6" fmla="*/ 1073522 w 5106037"/>
              <a:gd name="connsiteY6" fmla="*/ 1545972 h 3487140"/>
              <a:gd name="connsiteX7" fmla="*/ 1308197 w 5106037"/>
              <a:gd name="connsiteY7" fmla="*/ 1517651 h 3487140"/>
              <a:gd name="connsiteX8" fmla="*/ 1292934 w 5106037"/>
              <a:gd name="connsiteY8" fmla="*/ 1460718 h 3487140"/>
              <a:gd name="connsiteX9" fmla="*/ 1016880 w 5106037"/>
              <a:gd name="connsiteY9" fmla="*/ 1416969 h 3487140"/>
              <a:gd name="connsiteX10" fmla="*/ 497460 w 5106037"/>
              <a:gd name="connsiteY10" fmla="*/ 1517318 h 3487140"/>
              <a:gd name="connsiteX11" fmla="*/ 88162 w 5106037"/>
              <a:gd name="connsiteY11" fmla="*/ 1960593 h 3487140"/>
              <a:gd name="connsiteX12" fmla="*/ 28692 w 5106037"/>
              <a:gd name="connsiteY12" fmla="*/ 2569342 h 3487140"/>
              <a:gd name="connsiteX13" fmla="*/ 442399 w 5106037"/>
              <a:gd name="connsiteY13" fmla="*/ 3165532 h 3487140"/>
              <a:gd name="connsiteX14" fmla="*/ 1232384 w 5106037"/>
              <a:gd name="connsiteY14" fmla="*/ 3283181 h 3487140"/>
              <a:gd name="connsiteX15" fmla="*/ 1835020 w 5106037"/>
              <a:gd name="connsiteY15" fmla="*/ 2757481 h 3487140"/>
              <a:gd name="connsiteX16" fmla="*/ 1824789 w 5106037"/>
              <a:gd name="connsiteY16" fmla="*/ 1980430 h 3487140"/>
              <a:gd name="connsiteX17" fmla="*/ 1494755 w 5106037"/>
              <a:gd name="connsiteY17" fmla="*/ 1589139 h 3487140"/>
              <a:gd name="connsiteX18" fmla="*/ 1305701 w 5106037"/>
              <a:gd name="connsiteY18" fmla="*/ 1660710 h 3487140"/>
              <a:gd name="connsiteX19" fmla="*/ 1197284 w 5106037"/>
              <a:gd name="connsiteY19" fmla="*/ 2116627 h 3487140"/>
              <a:gd name="connsiteX20" fmla="*/ 973921 w 5106037"/>
              <a:gd name="connsiteY20" fmla="*/ 2374258 h 3487140"/>
              <a:gd name="connsiteX21" fmla="*/ 918985 w 5106037"/>
              <a:gd name="connsiteY21" fmla="*/ 2276986 h 3487140"/>
              <a:gd name="connsiteX22" fmla="*/ 1298257 w 5106037"/>
              <a:gd name="connsiteY22" fmla="*/ 2021601 h 3487140"/>
              <a:gd name="connsiteX23" fmla="*/ 1558176 w 5106037"/>
              <a:gd name="connsiteY23" fmla="*/ 1234153 h 3487140"/>
              <a:gd name="connsiteX24" fmla="*/ 1788276 w 5106037"/>
              <a:gd name="connsiteY24" fmla="*/ 725296 h 3487140"/>
              <a:gd name="connsiteX25" fmla="*/ 1896859 w 5106037"/>
              <a:gd name="connsiteY25" fmla="*/ 539984 h 3487140"/>
              <a:gd name="connsiteX26" fmla="*/ 1865711 w 5106037"/>
              <a:gd name="connsiteY26" fmla="*/ 435851 h 3487140"/>
              <a:gd name="connsiteX27" fmla="*/ 1759373 w 5106037"/>
              <a:gd name="connsiteY27" fmla="*/ 350265 h 3487140"/>
              <a:gd name="connsiteX28" fmla="*/ 1714085 w 5106037"/>
              <a:gd name="connsiteY28" fmla="*/ 209327 h 3487140"/>
              <a:gd name="connsiteX29" fmla="*/ 1758915 w 5106037"/>
              <a:gd name="connsiteY29" fmla="*/ 82237 h 3487140"/>
              <a:gd name="connsiteX30" fmla="*/ 1939195 w 5106037"/>
              <a:gd name="connsiteY30" fmla="*/ 6716 h 3487140"/>
              <a:gd name="connsiteX31" fmla="*/ 2207888 w 5106037"/>
              <a:gd name="connsiteY31" fmla="*/ 10167 h 3487140"/>
              <a:gd name="connsiteX32" fmla="*/ 2291561 w 5106037"/>
              <a:gd name="connsiteY32" fmla="*/ 49800 h 3487140"/>
              <a:gd name="connsiteX33" fmla="*/ 2244526 w 5106037"/>
              <a:gd name="connsiteY33" fmla="*/ 86812 h 3487140"/>
              <a:gd name="connsiteX34" fmla="*/ 2008603 w 5106037"/>
              <a:gd name="connsiteY34" fmla="*/ 91886 h 3487140"/>
              <a:gd name="connsiteX35" fmla="*/ 1765070 w 5106037"/>
              <a:gd name="connsiteY35" fmla="*/ 75833 h 3487140"/>
              <a:gd name="connsiteX36" fmla="*/ 1657319 w 5106037"/>
              <a:gd name="connsiteY36" fmla="*/ 176931 h 3487140"/>
              <a:gd name="connsiteX37" fmla="*/ 1672581 w 5106037"/>
              <a:gd name="connsiteY37" fmla="*/ 370393 h 3487140"/>
              <a:gd name="connsiteX38" fmla="*/ 1617354 w 5106037"/>
              <a:gd name="connsiteY38" fmla="*/ 589348 h 3487140"/>
              <a:gd name="connsiteX39" fmla="*/ 1460820 w 5106037"/>
              <a:gd name="connsiteY39" fmla="*/ 903953 h 3487140"/>
              <a:gd name="connsiteX40" fmla="*/ 1250349 w 5106037"/>
              <a:gd name="connsiteY40" fmla="*/ 922501 h 3487140"/>
              <a:gd name="connsiteX41" fmla="*/ 1055930 w 5106037"/>
              <a:gd name="connsiteY41" fmla="*/ 866816 h 3487140"/>
              <a:gd name="connsiteX42" fmla="*/ 997085 w 5106037"/>
              <a:gd name="connsiteY42" fmla="*/ 751038 h 3487140"/>
              <a:gd name="connsiteX43" fmla="*/ 1009021 w 5106037"/>
              <a:gd name="connsiteY43" fmla="*/ 369436 h 3487140"/>
              <a:gd name="connsiteX44" fmla="*/ 1070694 w 5106037"/>
              <a:gd name="connsiteY44" fmla="*/ 155805 h 3487140"/>
              <a:gd name="connsiteX45" fmla="*/ 1272058 w 5106037"/>
              <a:gd name="connsiteY45" fmla="*/ 156761 h 3487140"/>
              <a:gd name="connsiteX46" fmla="*/ 1524989 w 5106037"/>
              <a:gd name="connsiteY46" fmla="*/ 245175 h 3487140"/>
              <a:gd name="connsiteX47" fmla="*/ 1694081 w 5106037"/>
              <a:gd name="connsiteY47" fmla="*/ 357792 h 3487140"/>
              <a:gd name="connsiteX48" fmla="*/ 1798672 w 5106037"/>
              <a:gd name="connsiteY48" fmla="*/ 483301 h 3487140"/>
              <a:gd name="connsiteX49" fmla="*/ 1822876 w 5106037"/>
              <a:gd name="connsiteY49" fmla="*/ 600951 h 3487140"/>
              <a:gd name="connsiteX50" fmla="*/ 1795345 w 5106037"/>
              <a:gd name="connsiteY50" fmla="*/ 761726 h 3487140"/>
              <a:gd name="connsiteX51" fmla="*/ 1967266 w 5106037"/>
              <a:gd name="connsiteY51" fmla="*/ 1160004 h 3487140"/>
              <a:gd name="connsiteX52" fmla="*/ 2390246 w 5106037"/>
              <a:gd name="connsiteY52" fmla="*/ 1793622 h 3487140"/>
              <a:gd name="connsiteX53" fmla="*/ 2807737 w 5106037"/>
              <a:gd name="connsiteY53" fmla="*/ 2087475 h 3487140"/>
              <a:gd name="connsiteX54" fmla="*/ 2917360 w 5106037"/>
              <a:gd name="connsiteY54" fmla="*/ 2185620 h 3487140"/>
              <a:gd name="connsiteX55" fmla="*/ 2804411 w 5106037"/>
              <a:gd name="connsiteY55" fmla="*/ 2468120 h 3487140"/>
              <a:gd name="connsiteX56" fmla="*/ 2638312 w 5106037"/>
              <a:gd name="connsiteY56" fmla="*/ 2505548 h 3487140"/>
              <a:gd name="connsiteX57" fmla="*/ 2329862 w 5106037"/>
              <a:gd name="connsiteY57" fmla="*/ 2278109 h 3487140"/>
              <a:gd name="connsiteX58" fmla="*/ 1885173 w 5106037"/>
              <a:gd name="connsiteY58" fmla="*/ 1678800 h 3487140"/>
              <a:gd name="connsiteX59" fmla="*/ 1765320 w 5106037"/>
              <a:gd name="connsiteY59" fmla="*/ 1175432 h 3487140"/>
              <a:gd name="connsiteX60" fmla="*/ 1919774 w 5106037"/>
              <a:gd name="connsiteY60" fmla="*/ 1377420 h 3487140"/>
              <a:gd name="connsiteX61" fmla="*/ 2281414 w 5106037"/>
              <a:gd name="connsiteY61" fmla="*/ 2268710 h 3487140"/>
              <a:gd name="connsiteX62" fmla="*/ 2601216 w 5106037"/>
              <a:gd name="connsiteY62" fmla="*/ 2693105 h 3487140"/>
              <a:gd name="connsiteX63" fmla="*/ 2834644 w 5106037"/>
              <a:gd name="connsiteY63" fmla="*/ 2746586 h 3487140"/>
              <a:gd name="connsiteX64" fmla="*/ 3001865 w 5106037"/>
              <a:gd name="connsiteY64" fmla="*/ 2631432 h 3487140"/>
              <a:gd name="connsiteX65" fmla="*/ 3013052 w 5106037"/>
              <a:gd name="connsiteY65" fmla="*/ 2436680 h 3487140"/>
              <a:gd name="connsiteX66" fmla="*/ 2859222 w 5106037"/>
              <a:gd name="connsiteY66" fmla="*/ 2309258 h 3487140"/>
              <a:gd name="connsiteX67" fmla="*/ 2652036 w 5106037"/>
              <a:gd name="connsiteY67" fmla="*/ 2375007 h 3487140"/>
              <a:gd name="connsiteX68" fmla="*/ 2629537 w 5106037"/>
              <a:gd name="connsiteY68" fmla="*/ 2581402 h 3487140"/>
              <a:gd name="connsiteX69" fmla="*/ 2772222 w 5106037"/>
              <a:gd name="connsiteY69" fmla="*/ 2671064 h 3487140"/>
              <a:gd name="connsiteX70" fmla="*/ 2868787 w 5106037"/>
              <a:gd name="connsiteY70" fmla="*/ 2596831 h 3487140"/>
              <a:gd name="connsiteX71" fmla="*/ 2835601 w 5106037"/>
              <a:gd name="connsiteY71" fmla="*/ 2530750 h 3487140"/>
              <a:gd name="connsiteX72" fmla="*/ 2713543 w 5106037"/>
              <a:gd name="connsiteY72" fmla="*/ 2615379 h 3487140"/>
              <a:gd name="connsiteX73" fmla="*/ 2567864 w 5106037"/>
              <a:gd name="connsiteY73" fmla="*/ 2907028 h 3487140"/>
              <a:gd name="connsiteX74" fmla="*/ 2520039 w 5106037"/>
              <a:gd name="connsiteY74" fmla="*/ 3008333 h 3487140"/>
              <a:gd name="connsiteX75" fmla="*/ 2484191 w 5106037"/>
              <a:gd name="connsiteY75" fmla="*/ 3024053 h 3487140"/>
              <a:gd name="connsiteX76" fmla="*/ 2389165 w 5106037"/>
              <a:gd name="connsiteY76" fmla="*/ 3013989 h 3487140"/>
              <a:gd name="connsiteX77" fmla="*/ 2396068 w 5106037"/>
              <a:gd name="connsiteY77" fmla="*/ 2956724 h 3487140"/>
              <a:gd name="connsiteX78" fmla="*/ 2584831 w 5106037"/>
              <a:gd name="connsiteY78" fmla="*/ 2951068 h 3487140"/>
              <a:gd name="connsiteX79" fmla="*/ 2671041 w 5106037"/>
              <a:gd name="connsiteY79" fmla="*/ 2951068 h 3487140"/>
              <a:gd name="connsiteX80" fmla="*/ 2752219 w 5106037"/>
              <a:gd name="connsiteY80" fmla="*/ 2822066 h 3487140"/>
              <a:gd name="connsiteX81" fmla="*/ 2892533 w 5106037"/>
              <a:gd name="connsiteY81" fmla="*/ 2789337 h 3487140"/>
              <a:gd name="connsiteX82" fmla="*/ 3020246 w 5106037"/>
              <a:gd name="connsiteY82" fmla="*/ 2713815 h 3487140"/>
              <a:gd name="connsiteX83" fmla="*/ 3106456 w 5106037"/>
              <a:gd name="connsiteY83" fmla="*/ 2544556 h 3487140"/>
              <a:gd name="connsiteX84" fmla="*/ 3326035 w 5106037"/>
              <a:gd name="connsiteY84" fmla="*/ 2482883 h 3487140"/>
              <a:gd name="connsiteX85" fmla="*/ 3861009 w 5106037"/>
              <a:gd name="connsiteY85" fmla="*/ 2466831 h 3487140"/>
              <a:gd name="connsiteX86" fmla="*/ 4016751 w 5106037"/>
              <a:gd name="connsiteY86" fmla="*/ 2420918 h 3487140"/>
              <a:gd name="connsiteX87" fmla="*/ 3866664 w 5106037"/>
              <a:gd name="connsiteY87" fmla="*/ 2252907 h 3487140"/>
              <a:gd name="connsiteX88" fmla="*/ 3391285 w 5106037"/>
              <a:gd name="connsiteY88" fmla="*/ 1791709 h 3487140"/>
              <a:gd name="connsiteX89" fmla="*/ 3127166 w 5106037"/>
              <a:gd name="connsiteY89" fmla="*/ 1600118 h 3487140"/>
              <a:gd name="connsiteX90" fmla="*/ 3003196 w 5106037"/>
              <a:gd name="connsiteY90" fmla="*/ 1733529 h 3487140"/>
              <a:gd name="connsiteX91" fmla="*/ 2940898 w 5106037"/>
              <a:gd name="connsiteY91" fmla="*/ 1995900 h 3487140"/>
              <a:gd name="connsiteX92" fmla="*/ 2981778 w 5106037"/>
              <a:gd name="connsiteY92" fmla="*/ 2048133 h 3487140"/>
              <a:gd name="connsiteX93" fmla="*/ 3044699 w 5106037"/>
              <a:gd name="connsiteY93" fmla="*/ 1778817 h 3487140"/>
              <a:gd name="connsiteX94" fmla="*/ 3166466 w 5106037"/>
              <a:gd name="connsiteY94" fmla="*/ 1356918 h 3487140"/>
              <a:gd name="connsiteX95" fmla="*/ 3272803 w 5106037"/>
              <a:gd name="connsiteY95" fmla="*/ 986960 h 3487140"/>
              <a:gd name="connsiteX96" fmla="*/ 3243526 w 5106037"/>
              <a:gd name="connsiteY96" fmla="*/ 867107 h 3487140"/>
              <a:gd name="connsiteX97" fmla="*/ 3068612 w 5106037"/>
              <a:gd name="connsiteY97" fmla="*/ 840034 h 3487140"/>
              <a:gd name="connsiteX98" fmla="*/ 2924513 w 5106037"/>
              <a:gd name="connsiteY98" fmla="*/ 782769 h 3487140"/>
              <a:gd name="connsiteX99" fmla="*/ 2940857 w 5106037"/>
              <a:gd name="connsiteY99" fmla="*/ 714816 h 3487140"/>
              <a:gd name="connsiteX100" fmla="*/ 3114524 w 5106037"/>
              <a:gd name="connsiteY100" fmla="*/ 723008 h 3487140"/>
              <a:gd name="connsiteX101" fmla="*/ 3317135 w 5106037"/>
              <a:gd name="connsiteY101" fmla="*/ 729288 h 3487140"/>
              <a:gd name="connsiteX102" fmla="*/ 3483857 w 5106037"/>
              <a:gd name="connsiteY102" fmla="*/ 682087 h 3487140"/>
              <a:gd name="connsiteX103" fmla="*/ 3601506 w 5106037"/>
              <a:gd name="connsiteY103" fmla="*/ 703463 h 3487140"/>
              <a:gd name="connsiteX104" fmla="*/ 3624171 w 5106037"/>
              <a:gd name="connsiteY104" fmla="*/ 797199 h 3487140"/>
              <a:gd name="connsiteX105" fmla="*/ 3496458 w 5106037"/>
              <a:gd name="connsiteY105" fmla="*/ 890936 h 3487140"/>
              <a:gd name="connsiteX106" fmla="*/ 3326575 w 5106037"/>
              <a:gd name="connsiteY106" fmla="*/ 918009 h 3487140"/>
              <a:gd name="connsiteX107" fmla="*/ 3198862 w 5106037"/>
              <a:gd name="connsiteY107" fmla="*/ 1002306 h 3487140"/>
              <a:gd name="connsiteX108" fmla="*/ 3097972 w 5106037"/>
              <a:gd name="connsiteY108" fmla="*/ 1299902 h 3487140"/>
              <a:gd name="connsiteX109" fmla="*/ 3159022 w 5106037"/>
              <a:gd name="connsiteY109" fmla="*/ 1545930 h 3487140"/>
              <a:gd name="connsiteX110" fmla="*/ 3371697 w 5106037"/>
              <a:gd name="connsiteY110" fmla="*/ 1536490 h 3487140"/>
              <a:gd name="connsiteX111" fmla="*/ 3551228 w 5106037"/>
              <a:gd name="connsiteY111" fmla="*/ 1376048 h 3487140"/>
              <a:gd name="connsiteX112" fmla="*/ 3554389 w 5106037"/>
              <a:gd name="connsiteY112" fmla="*/ 1231949 h 3487140"/>
              <a:gd name="connsiteX113" fmla="*/ 3336348 w 5106037"/>
              <a:gd name="connsiteY113" fmla="*/ 1191693 h 3487140"/>
              <a:gd name="connsiteX114" fmla="*/ 3344832 w 5106037"/>
              <a:gd name="connsiteY114" fmla="*/ 1255238 h 3487140"/>
              <a:gd name="connsiteX115" fmla="*/ 3769850 w 5106037"/>
              <a:gd name="connsiteY115" fmla="*/ 1241722 h 3487140"/>
              <a:gd name="connsiteX116" fmla="*/ 4254670 w 5106037"/>
              <a:gd name="connsiteY116" fmla="*/ 1259646 h 3487140"/>
              <a:gd name="connsiteX117" fmla="*/ 4484022 w 5106037"/>
              <a:gd name="connsiteY117" fmla="*/ 1236981 h 3487140"/>
              <a:gd name="connsiteX118" fmla="*/ 4465766 w 5106037"/>
              <a:gd name="connsiteY118" fmla="*/ 1185995 h 3487140"/>
              <a:gd name="connsiteX119" fmla="*/ 4105248 w 5106037"/>
              <a:gd name="connsiteY119" fmla="*/ 1177512 h 3487140"/>
              <a:gd name="connsiteX120" fmla="*/ 3734668 w 5106037"/>
              <a:gd name="connsiteY120" fmla="*/ 1331342 h 3487140"/>
              <a:gd name="connsiteX121" fmla="*/ 3388914 w 5106037"/>
              <a:gd name="connsiteY121" fmla="*/ 1604110 h 3487140"/>
              <a:gd name="connsiteX122" fmla="*/ 3156111 w 5106037"/>
              <a:gd name="connsiteY122" fmla="*/ 1921252 h 3487140"/>
              <a:gd name="connsiteX123" fmla="*/ 3060461 w 5106037"/>
              <a:gd name="connsiteY123" fmla="*/ 2419255 h 3487140"/>
              <a:gd name="connsiteX124" fmla="*/ 3290769 w 5106037"/>
              <a:gd name="connsiteY124" fmla="*/ 3048465 h 3487140"/>
              <a:gd name="connsiteX125" fmla="*/ 3868994 w 5106037"/>
              <a:gd name="connsiteY125" fmla="*/ 3394510 h 3487140"/>
              <a:gd name="connsiteX126" fmla="*/ 4507643 w 5106037"/>
              <a:gd name="connsiteY126" fmla="*/ 3330632 h 3487140"/>
              <a:gd name="connsiteX127" fmla="*/ 5002818 w 5106037"/>
              <a:gd name="connsiteY127" fmla="*/ 2841404 h 3487140"/>
              <a:gd name="connsiteX128" fmla="*/ 5036171 w 5106037"/>
              <a:gd name="connsiteY128" fmla="*/ 2052999 h 3487140"/>
              <a:gd name="connsiteX129" fmla="*/ 4605164 w 5106037"/>
              <a:gd name="connsiteY129" fmla="*/ 1482011 h 3487140"/>
              <a:gd name="connsiteX130" fmla="*/ 4138310 w 5106037"/>
              <a:gd name="connsiteY130" fmla="*/ 1352717 h 3487140"/>
              <a:gd name="connsiteX131" fmla="*/ 3977868 w 5106037"/>
              <a:gd name="connsiteY131" fmla="*/ 1466624 h 3487140"/>
              <a:gd name="connsiteX132" fmla="*/ 3999909 w 5106037"/>
              <a:gd name="connsiteY132" fmla="*/ 2001140 h 3487140"/>
              <a:gd name="connsiteX133" fmla="*/ 4033885 w 5106037"/>
              <a:gd name="connsiteY133" fmla="*/ 2313208 h 3487140"/>
              <a:gd name="connsiteX134" fmla="*/ 4125585 w 5106037"/>
              <a:gd name="connsiteY134" fmla="*/ 2399085 h 3487140"/>
              <a:gd name="connsiteX135" fmla="*/ 4230051 w 5106037"/>
              <a:gd name="connsiteY135" fmla="*/ 2362905 h 3487140"/>
              <a:gd name="connsiteX136" fmla="*/ 4194660 w 5106037"/>
              <a:gd name="connsiteY136" fmla="*/ 2271372 h 3487140"/>
              <a:gd name="connsiteX137" fmla="*/ 4097056 w 5106037"/>
              <a:gd name="connsiteY137" fmla="*/ 2303394 h 3487140"/>
              <a:gd name="connsiteX138" fmla="*/ 4080670 w 5106037"/>
              <a:gd name="connsiteY138" fmla="*/ 2437262 h 3487140"/>
              <a:gd name="connsiteX139" fmla="*/ 4079589 w 5106037"/>
              <a:gd name="connsiteY139" fmla="*/ 2519521 h 3487140"/>
              <a:gd name="connsiteX140" fmla="*/ 3900475 w 5106037"/>
              <a:gd name="connsiteY140" fmla="*/ 2539400 h 3487140"/>
              <a:gd name="connsiteX141" fmla="*/ 3490220 w 5106037"/>
              <a:gd name="connsiteY141" fmla="*/ 2545679 h 3487140"/>
              <a:gd name="connsiteX142" fmla="*/ 3249848 w 5106037"/>
              <a:gd name="connsiteY142" fmla="*/ 2602944 h 3487140"/>
              <a:gd name="connsiteX143" fmla="*/ 3240241 w 5106037"/>
              <a:gd name="connsiteY143" fmla="*/ 2790460 h 3487140"/>
              <a:gd name="connsiteX144" fmla="*/ 3433578 w 5106037"/>
              <a:gd name="connsiteY144" fmla="*/ 3133385 h 3487140"/>
              <a:gd name="connsiteX145" fmla="*/ 3925468 w 5106037"/>
              <a:gd name="connsiteY145" fmla="*/ 3465290 h 3487140"/>
              <a:gd name="connsiteX146" fmla="*/ 4666214 w 5106037"/>
              <a:gd name="connsiteY146" fmla="*/ 3390434 h 3487140"/>
              <a:gd name="connsiteX147" fmla="*/ 5106037 w 5106037"/>
              <a:gd name="connsiteY147" fmla="*/ 3017940 h 3487140"/>
              <a:gd name="connsiteX0" fmla="*/ 777215 w 5088779"/>
              <a:gd name="connsiteY0" fmla="*/ 3295741 h 3487140"/>
              <a:gd name="connsiteX1" fmla="*/ 526113 w 5088779"/>
              <a:gd name="connsiteY1" fmla="*/ 3112384 h 3487140"/>
              <a:gd name="connsiteX2" fmla="*/ 219950 w 5088779"/>
              <a:gd name="connsiteY2" fmla="*/ 2750287 h 3487140"/>
              <a:gd name="connsiteX3" fmla="*/ 128418 w 5088779"/>
              <a:gd name="connsiteY3" fmla="*/ 2305432 h 3487140"/>
              <a:gd name="connsiteX4" fmla="*/ 256006 w 5088779"/>
              <a:gd name="connsiteY4" fmla="*/ 1919713 h 3487140"/>
              <a:gd name="connsiteX5" fmla="*/ 580218 w 5088779"/>
              <a:gd name="connsiteY5" fmla="*/ 1637837 h 3487140"/>
              <a:gd name="connsiteX6" fmla="*/ 1073522 w 5088779"/>
              <a:gd name="connsiteY6" fmla="*/ 1545972 h 3487140"/>
              <a:gd name="connsiteX7" fmla="*/ 1308197 w 5088779"/>
              <a:gd name="connsiteY7" fmla="*/ 1517651 h 3487140"/>
              <a:gd name="connsiteX8" fmla="*/ 1292934 w 5088779"/>
              <a:gd name="connsiteY8" fmla="*/ 1460718 h 3487140"/>
              <a:gd name="connsiteX9" fmla="*/ 1016880 w 5088779"/>
              <a:gd name="connsiteY9" fmla="*/ 1416969 h 3487140"/>
              <a:gd name="connsiteX10" fmla="*/ 497460 w 5088779"/>
              <a:gd name="connsiteY10" fmla="*/ 1517318 h 3487140"/>
              <a:gd name="connsiteX11" fmla="*/ 88162 w 5088779"/>
              <a:gd name="connsiteY11" fmla="*/ 1960593 h 3487140"/>
              <a:gd name="connsiteX12" fmla="*/ 28692 w 5088779"/>
              <a:gd name="connsiteY12" fmla="*/ 2569342 h 3487140"/>
              <a:gd name="connsiteX13" fmla="*/ 442399 w 5088779"/>
              <a:gd name="connsiteY13" fmla="*/ 3165532 h 3487140"/>
              <a:gd name="connsiteX14" fmla="*/ 1232384 w 5088779"/>
              <a:gd name="connsiteY14" fmla="*/ 3283181 h 3487140"/>
              <a:gd name="connsiteX15" fmla="*/ 1835020 w 5088779"/>
              <a:gd name="connsiteY15" fmla="*/ 2757481 h 3487140"/>
              <a:gd name="connsiteX16" fmla="*/ 1824789 w 5088779"/>
              <a:gd name="connsiteY16" fmla="*/ 1980430 h 3487140"/>
              <a:gd name="connsiteX17" fmla="*/ 1494755 w 5088779"/>
              <a:gd name="connsiteY17" fmla="*/ 1589139 h 3487140"/>
              <a:gd name="connsiteX18" fmla="*/ 1305701 w 5088779"/>
              <a:gd name="connsiteY18" fmla="*/ 1660710 h 3487140"/>
              <a:gd name="connsiteX19" fmla="*/ 1197284 w 5088779"/>
              <a:gd name="connsiteY19" fmla="*/ 2116627 h 3487140"/>
              <a:gd name="connsiteX20" fmla="*/ 973921 w 5088779"/>
              <a:gd name="connsiteY20" fmla="*/ 2374258 h 3487140"/>
              <a:gd name="connsiteX21" fmla="*/ 918985 w 5088779"/>
              <a:gd name="connsiteY21" fmla="*/ 2276986 h 3487140"/>
              <a:gd name="connsiteX22" fmla="*/ 1298257 w 5088779"/>
              <a:gd name="connsiteY22" fmla="*/ 2021601 h 3487140"/>
              <a:gd name="connsiteX23" fmla="*/ 1558176 w 5088779"/>
              <a:gd name="connsiteY23" fmla="*/ 1234153 h 3487140"/>
              <a:gd name="connsiteX24" fmla="*/ 1788276 w 5088779"/>
              <a:gd name="connsiteY24" fmla="*/ 725296 h 3487140"/>
              <a:gd name="connsiteX25" fmla="*/ 1896859 w 5088779"/>
              <a:gd name="connsiteY25" fmla="*/ 539984 h 3487140"/>
              <a:gd name="connsiteX26" fmla="*/ 1865711 w 5088779"/>
              <a:gd name="connsiteY26" fmla="*/ 435851 h 3487140"/>
              <a:gd name="connsiteX27" fmla="*/ 1759373 w 5088779"/>
              <a:gd name="connsiteY27" fmla="*/ 350265 h 3487140"/>
              <a:gd name="connsiteX28" fmla="*/ 1714085 w 5088779"/>
              <a:gd name="connsiteY28" fmla="*/ 209327 h 3487140"/>
              <a:gd name="connsiteX29" fmla="*/ 1758915 w 5088779"/>
              <a:gd name="connsiteY29" fmla="*/ 82237 h 3487140"/>
              <a:gd name="connsiteX30" fmla="*/ 1939195 w 5088779"/>
              <a:gd name="connsiteY30" fmla="*/ 6716 h 3487140"/>
              <a:gd name="connsiteX31" fmla="*/ 2207888 w 5088779"/>
              <a:gd name="connsiteY31" fmla="*/ 10167 h 3487140"/>
              <a:gd name="connsiteX32" fmla="*/ 2291561 w 5088779"/>
              <a:gd name="connsiteY32" fmla="*/ 49800 h 3487140"/>
              <a:gd name="connsiteX33" fmla="*/ 2244526 w 5088779"/>
              <a:gd name="connsiteY33" fmla="*/ 86812 h 3487140"/>
              <a:gd name="connsiteX34" fmla="*/ 2008603 w 5088779"/>
              <a:gd name="connsiteY34" fmla="*/ 91886 h 3487140"/>
              <a:gd name="connsiteX35" fmla="*/ 1765070 w 5088779"/>
              <a:gd name="connsiteY35" fmla="*/ 75833 h 3487140"/>
              <a:gd name="connsiteX36" fmla="*/ 1657319 w 5088779"/>
              <a:gd name="connsiteY36" fmla="*/ 176931 h 3487140"/>
              <a:gd name="connsiteX37" fmla="*/ 1672581 w 5088779"/>
              <a:gd name="connsiteY37" fmla="*/ 370393 h 3487140"/>
              <a:gd name="connsiteX38" fmla="*/ 1617354 w 5088779"/>
              <a:gd name="connsiteY38" fmla="*/ 589348 h 3487140"/>
              <a:gd name="connsiteX39" fmla="*/ 1460820 w 5088779"/>
              <a:gd name="connsiteY39" fmla="*/ 903953 h 3487140"/>
              <a:gd name="connsiteX40" fmla="*/ 1250349 w 5088779"/>
              <a:gd name="connsiteY40" fmla="*/ 922501 h 3487140"/>
              <a:gd name="connsiteX41" fmla="*/ 1055930 w 5088779"/>
              <a:gd name="connsiteY41" fmla="*/ 866816 h 3487140"/>
              <a:gd name="connsiteX42" fmla="*/ 997085 w 5088779"/>
              <a:gd name="connsiteY42" fmla="*/ 751038 h 3487140"/>
              <a:gd name="connsiteX43" fmla="*/ 1009021 w 5088779"/>
              <a:gd name="connsiteY43" fmla="*/ 369436 h 3487140"/>
              <a:gd name="connsiteX44" fmla="*/ 1070694 w 5088779"/>
              <a:gd name="connsiteY44" fmla="*/ 155805 h 3487140"/>
              <a:gd name="connsiteX45" fmla="*/ 1272058 w 5088779"/>
              <a:gd name="connsiteY45" fmla="*/ 156761 h 3487140"/>
              <a:gd name="connsiteX46" fmla="*/ 1524989 w 5088779"/>
              <a:gd name="connsiteY46" fmla="*/ 245175 h 3487140"/>
              <a:gd name="connsiteX47" fmla="*/ 1694081 w 5088779"/>
              <a:gd name="connsiteY47" fmla="*/ 357792 h 3487140"/>
              <a:gd name="connsiteX48" fmla="*/ 1798672 w 5088779"/>
              <a:gd name="connsiteY48" fmla="*/ 483301 h 3487140"/>
              <a:gd name="connsiteX49" fmla="*/ 1822876 w 5088779"/>
              <a:gd name="connsiteY49" fmla="*/ 600951 h 3487140"/>
              <a:gd name="connsiteX50" fmla="*/ 1795345 w 5088779"/>
              <a:gd name="connsiteY50" fmla="*/ 761726 h 3487140"/>
              <a:gd name="connsiteX51" fmla="*/ 1967266 w 5088779"/>
              <a:gd name="connsiteY51" fmla="*/ 1160004 h 3487140"/>
              <a:gd name="connsiteX52" fmla="*/ 2390246 w 5088779"/>
              <a:gd name="connsiteY52" fmla="*/ 1793622 h 3487140"/>
              <a:gd name="connsiteX53" fmla="*/ 2807737 w 5088779"/>
              <a:gd name="connsiteY53" fmla="*/ 2087475 h 3487140"/>
              <a:gd name="connsiteX54" fmla="*/ 2917360 w 5088779"/>
              <a:gd name="connsiteY54" fmla="*/ 2185620 h 3487140"/>
              <a:gd name="connsiteX55" fmla="*/ 2804411 w 5088779"/>
              <a:gd name="connsiteY55" fmla="*/ 2468120 h 3487140"/>
              <a:gd name="connsiteX56" fmla="*/ 2638312 w 5088779"/>
              <a:gd name="connsiteY56" fmla="*/ 2505548 h 3487140"/>
              <a:gd name="connsiteX57" fmla="*/ 2329862 w 5088779"/>
              <a:gd name="connsiteY57" fmla="*/ 2278109 h 3487140"/>
              <a:gd name="connsiteX58" fmla="*/ 1885173 w 5088779"/>
              <a:gd name="connsiteY58" fmla="*/ 1678800 h 3487140"/>
              <a:gd name="connsiteX59" fmla="*/ 1765320 w 5088779"/>
              <a:gd name="connsiteY59" fmla="*/ 1175432 h 3487140"/>
              <a:gd name="connsiteX60" fmla="*/ 1919774 w 5088779"/>
              <a:gd name="connsiteY60" fmla="*/ 1377420 h 3487140"/>
              <a:gd name="connsiteX61" fmla="*/ 2281414 w 5088779"/>
              <a:gd name="connsiteY61" fmla="*/ 2268710 h 3487140"/>
              <a:gd name="connsiteX62" fmla="*/ 2601216 w 5088779"/>
              <a:gd name="connsiteY62" fmla="*/ 2693105 h 3487140"/>
              <a:gd name="connsiteX63" fmla="*/ 2834644 w 5088779"/>
              <a:gd name="connsiteY63" fmla="*/ 2746586 h 3487140"/>
              <a:gd name="connsiteX64" fmla="*/ 3001865 w 5088779"/>
              <a:gd name="connsiteY64" fmla="*/ 2631432 h 3487140"/>
              <a:gd name="connsiteX65" fmla="*/ 3013052 w 5088779"/>
              <a:gd name="connsiteY65" fmla="*/ 2436680 h 3487140"/>
              <a:gd name="connsiteX66" fmla="*/ 2859222 w 5088779"/>
              <a:gd name="connsiteY66" fmla="*/ 2309258 h 3487140"/>
              <a:gd name="connsiteX67" fmla="*/ 2652036 w 5088779"/>
              <a:gd name="connsiteY67" fmla="*/ 2375007 h 3487140"/>
              <a:gd name="connsiteX68" fmla="*/ 2629537 w 5088779"/>
              <a:gd name="connsiteY68" fmla="*/ 2581402 h 3487140"/>
              <a:gd name="connsiteX69" fmla="*/ 2772222 w 5088779"/>
              <a:gd name="connsiteY69" fmla="*/ 2671064 h 3487140"/>
              <a:gd name="connsiteX70" fmla="*/ 2868787 w 5088779"/>
              <a:gd name="connsiteY70" fmla="*/ 2596831 h 3487140"/>
              <a:gd name="connsiteX71" fmla="*/ 2835601 w 5088779"/>
              <a:gd name="connsiteY71" fmla="*/ 2530750 h 3487140"/>
              <a:gd name="connsiteX72" fmla="*/ 2713543 w 5088779"/>
              <a:gd name="connsiteY72" fmla="*/ 2615379 h 3487140"/>
              <a:gd name="connsiteX73" fmla="*/ 2567864 w 5088779"/>
              <a:gd name="connsiteY73" fmla="*/ 2907028 h 3487140"/>
              <a:gd name="connsiteX74" fmla="*/ 2520039 w 5088779"/>
              <a:gd name="connsiteY74" fmla="*/ 3008333 h 3487140"/>
              <a:gd name="connsiteX75" fmla="*/ 2484191 w 5088779"/>
              <a:gd name="connsiteY75" fmla="*/ 3024053 h 3487140"/>
              <a:gd name="connsiteX76" fmla="*/ 2389165 w 5088779"/>
              <a:gd name="connsiteY76" fmla="*/ 3013989 h 3487140"/>
              <a:gd name="connsiteX77" fmla="*/ 2396068 w 5088779"/>
              <a:gd name="connsiteY77" fmla="*/ 2956724 h 3487140"/>
              <a:gd name="connsiteX78" fmla="*/ 2584831 w 5088779"/>
              <a:gd name="connsiteY78" fmla="*/ 2951068 h 3487140"/>
              <a:gd name="connsiteX79" fmla="*/ 2671041 w 5088779"/>
              <a:gd name="connsiteY79" fmla="*/ 2951068 h 3487140"/>
              <a:gd name="connsiteX80" fmla="*/ 2752219 w 5088779"/>
              <a:gd name="connsiteY80" fmla="*/ 2822066 h 3487140"/>
              <a:gd name="connsiteX81" fmla="*/ 2892533 w 5088779"/>
              <a:gd name="connsiteY81" fmla="*/ 2789337 h 3487140"/>
              <a:gd name="connsiteX82" fmla="*/ 3020246 w 5088779"/>
              <a:gd name="connsiteY82" fmla="*/ 2713815 h 3487140"/>
              <a:gd name="connsiteX83" fmla="*/ 3106456 w 5088779"/>
              <a:gd name="connsiteY83" fmla="*/ 2544556 h 3487140"/>
              <a:gd name="connsiteX84" fmla="*/ 3326035 w 5088779"/>
              <a:gd name="connsiteY84" fmla="*/ 2482883 h 3487140"/>
              <a:gd name="connsiteX85" fmla="*/ 3861009 w 5088779"/>
              <a:gd name="connsiteY85" fmla="*/ 2466831 h 3487140"/>
              <a:gd name="connsiteX86" fmla="*/ 4016751 w 5088779"/>
              <a:gd name="connsiteY86" fmla="*/ 2420918 h 3487140"/>
              <a:gd name="connsiteX87" fmla="*/ 3866664 w 5088779"/>
              <a:gd name="connsiteY87" fmla="*/ 2252907 h 3487140"/>
              <a:gd name="connsiteX88" fmla="*/ 3391285 w 5088779"/>
              <a:gd name="connsiteY88" fmla="*/ 1791709 h 3487140"/>
              <a:gd name="connsiteX89" fmla="*/ 3127166 w 5088779"/>
              <a:gd name="connsiteY89" fmla="*/ 1600118 h 3487140"/>
              <a:gd name="connsiteX90" fmla="*/ 3003196 w 5088779"/>
              <a:gd name="connsiteY90" fmla="*/ 1733529 h 3487140"/>
              <a:gd name="connsiteX91" fmla="*/ 2940898 w 5088779"/>
              <a:gd name="connsiteY91" fmla="*/ 1995900 h 3487140"/>
              <a:gd name="connsiteX92" fmla="*/ 2981778 w 5088779"/>
              <a:gd name="connsiteY92" fmla="*/ 2048133 h 3487140"/>
              <a:gd name="connsiteX93" fmla="*/ 3044699 w 5088779"/>
              <a:gd name="connsiteY93" fmla="*/ 1778817 h 3487140"/>
              <a:gd name="connsiteX94" fmla="*/ 3166466 w 5088779"/>
              <a:gd name="connsiteY94" fmla="*/ 1356918 h 3487140"/>
              <a:gd name="connsiteX95" fmla="*/ 3272803 w 5088779"/>
              <a:gd name="connsiteY95" fmla="*/ 986960 h 3487140"/>
              <a:gd name="connsiteX96" fmla="*/ 3243526 w 5088779"/>
              <a:gd name="connsiteY96" fmla="*/ 867107 h 3487140"/>
              <a:gd name="connsiteX97" fmla="*/ 3068612 w 5088779"/>
              <a:gd name="connsiteY97" fmla="*/ 840034 h 3487140"/>
              <a:gd name="connsiteX98" fmla="*/ 2924513 w 5088779"/>
              <a:gd name="connsiteY98" fmla="*/ 782769 h 3487140"/>
              <a:gd name="connsiteX99" fmla="*/ 2940857 w 5088779"/>
              <a:gd name="connsiteY99" fmla="*/ 714816 h 3487140"/>
              <a:gd name="connsiteX100" fmla="*/ 3114524 w 5088779"/>
              <a:gd name="connsiteY100" fmla="*/ 723008 h 3487140"/>
              <a:gd name="connsiteX101" fmla="*/ 3317135 w 5088779"/>
              <a:gd name="connsiteY101" fmla="*/ 729288 h 3487140"/>
              <a:gd name="connsiteX102" fmla="*/ 3483857 w 5088779"/>
              <a:gd name="connsiteY102" fmla="*/ 682087 h 3487140"/>
              <a:gd name="connsiteX103" fmla="*/ 3601506 w 5088779"/>
              <a:gd name="connsiteY103" fmla="*/ 703463 h 3487140"/>
              <a:gd name="connsiteX104" fmla="*/ 3624171 w 5088779"/>
              <a:gd name="connsiteY104" fmla="*/ 797199 h 3487140"/>
              <a:gd name="connsiteX105" fmla="*/ 3496458 w 5088779"/>
              <a:gd name="connsiteY105" fmla="*/ 890936 h 3487140"/>
              <a:gd name="connsiteX106" fmla="*/ 3326575 w 5088779"/>
              <a:gd name="connsiteY106" fmla="*/ 918009 h 3487140"/>
              <a:gd name="connsiteX107" fmla="*/ 3198862 w 5088779"/>
              <a:gd name="connsiteY107" fmla="*/ 1002306 h 3487140"/>
              <a:gd name="connsiteX108" fmla="*/ 3097972 w 5088779"/>
              <a:gd name="connsiteY108" fmla="*/ 1299902 h 3487140"/>
              <a:gd name="connsiteX109" fmla="*/ 3159022 w 5088779"/>
              <a:gd name="connsiteY109" fmla="*/ 1545930 h 3487140"/>
              <a:gd name="connsiteX110" fmla="*/ 3371697 w 5088779"/>
              <a:gd name="connsiteY110" fmla="*/ 1536490 h 3487140"/>
              <a:gd name="connsiteX111" fmla="*/ 3551228 w 5088779"/>
              <a:gd name="connsiteY111" fmla="*/ 1376048 h 3487140"/>
              <a:gd name="connsiteX112" fmla="*/ 3554389 w 5088779"/>
              <a:gd name="connsiteY112" fmla="*/ 1231949 h 3487140"/>
              <a:gd name="connsiteX113" fmla="*/ 3336348 w 5088779"/>
              <a:gd name="connsiteY113" fmla="*/ 1191693 h 3487140"/>
              <a:gd name="connsiteX114" fmla="*/ 3344832 w 5088779"/>
              <a:gd name="connsiteY114" fmla="*/ 1255238 h 3487140"/>
              <a:gd name="connsiteX115" fmla="*/ 3769850 w 5088779"/>
              <a:gd name="connsiteY115" fmla="*/ 1241722 h 3487140"/>
              <a:gd name="connsiteX116" fmla="*/ 4254670 w 5088779"/>
              <a:gd name="connsiteY116" fmla="*/ 1259646 h 3487140"/>
              <a:gd name="connsiteX117" fmla="*/ 4484022 w 5088779"/>
              <a:gd name="connsiteY117" fmla="*/ 1236981 h 3487140"/>
              <a:gd name="connsiteX118" fmla="*/ 4465766 w 5088779"/>
              <a:gd name="connsiteY118" fmla="*/ 1185995 h 3487140"/>
              <a:gd name="connsiteX119" fmla="*/ 4105248 w 5088779"/>
              <a:gd name="connsiteY119" fmla="*/ 1177512 h 3487140"/>
              <a:gd name="connsiteX120" fmla="*/ 3734668 w 5088779"/>
              <a:gd name="connsiteY120" fmla="*/ 1331342 h 3487140"/>
              <a:gd name="connsiteX121" fmla="*/ 3388914 w 5088779"/>
              <a:gd name="connsiteY121" fmla="*/ 1604110 h 3487140"/>
              <a:gd name="connsiteX122" fmla="*/ 3156111 w 5088779"/>
              <a:gd name="connsiteY122" fmla="*/ 1921252 h 3487140"/>
              <a:gd name="connsiteX123" fmla="*/ 3060461 w 5088779"/>
              <a:gd name="connsiteY123" fmla="*/ 2419255 h 3487140"/>
              <a:gd name="connsiteX124" fmla="*/ 3290769 w 5088779"/>
              <a:gd name="connsiteY124" fmla="*/ 3048465 h 3487140"/>
              <a:gd name="connsiteX125" fmla="*/ 3868994 w 5088779"/>
              <a:gd name="connsiteY125" fmla="*/ 3394510 h 3487140"/>
              <a:gd name="connsiteX126" fmla="*/ 4507643 w 5088779"/>
              <a:gd name="connsiteY126" fmla="*/ 3330632 h 3487140"/>
              <a:gd name="connsiteX127" fmla="*/ 5002818 w 5088779"/>
              <a:gd name="connsiteY127" fmla="*/ 2841404 h 3487140"/>
              <a:gd name="connsiteX128" fmla="*/ 5036171 w 5088779"/>
              <a:gd name="connsiteY128" fmla="*/ 2052999 h 3487140"/>
              <a:gd name="connsiteX129" fmla="*/ 4605164 w 5088779"/>
              <a:gd name="connsiteY129" fmla="*/ 1482011 h 3487140"/>
              <a:gd name="connsiteX130" fmla="*/ 4138310 w 5088779"/>
              <a:gd name="connsiteY130" fmla="*/ 1352717 h 3487140"/>
              <a:gd name="connsiteX131" fmla="*/ 3977868 w 5088779"/>
              <a:gd name="connsiteY131" fmla="*/ 1466624 h 3487140"/>
              <a:gd name="connsiteX132" fmla="*/ 3999909 w 5088779"/>
              <a:gd name="connsiteY132" fmla="*/ 2001140 h 3487140"/>
              <a:gd name="connsiteX133" fmla="*/ 4033885 w 5088779"/>
              <a:gd name="connsiteY133" fmla="*/ 2313208 h 3487140"/>
              <a:gd name="connsiteX134" fmla="*/ 4125585 w 5088779"/>
              <a:gd name="connsiteY134" fmla="*/ 2399085 h 3487140"/>
              <a:gd name="connsiteX135" fmla="*/ 4230051 w 5088779"/>
              <a:gd name="connsiteY135" fmla="*/ 2362905 h 3487140"/>
              <a:gd name="connsiteX136" fmla="*/ 4194660 w 5088779"/>
              <a:gd name="connsiteY136" fmla="*/ 2271372 h 3487140"/>
              <a:gd name="connsiteX137" fmla="*/ 4097056 w 5088779"/>
              <a:gd name="connsiteY137" fmla="*/ 2303394 h 3487140"/>
              <a:gd name="connsiteX138" fmla="*/ 4080670 w 5088779"/>
              <a:gd name="connsiteY138" fmla="*/ 2437262 h 3487140"/>
              <a:gd name="connsiteX139" fmla="*/ 4079589 w 5088779"/>
              <a:gd name="connsiteY139" fmla="*/ 2519521 h 3487140"/>
              <a:gd name="connsiteX140" fmla="*/ 3900475 w 5088779"/>
              <a:gd name="connsiteY140" fmla="*/ 2539400 h 3487140"/>
              <a:gd name="connsiteX141" fmla="*/ 3490220 w 5088779"/>
              <a:gd name="connsiteY141" fmla="*/ 2545679 h 3487140"/>
              <a:gd name="connsiteX142" fmla="*/ 3249848 w 5088779"/>
              <a:gd name="connsiteY142" fmla="*/ 2602944 h 3487140"/>
              <a:gd name="connsiteX143" fmla="*/ 3240241 w 5088779"/>
              <a:gd name="connsiteY143" fmla="*/ 2790460 h 3487140"/>
              <a:gd name="connsiteX144" fmla="*/ 3433578 w 5088779"/>
              <a:gd name="connsiteY144" fmla="*/ 3133385 h 3487140"/>
              <a:gd name="connsiteX145" fmla="*/ 3925468 w 5088779"/>
              <a:gd name="connsiteY145" fmla="*/ 3465290 h 3487140"/>
              <a:gd name="connsiteX146" fmla="*/ 4666214 w 5088779"/>
              <a:gd name="connsiteY146" fmla="*/ 3390434 h 3487140"/>
              <a:gd name="connsiteX0" fmla="*/ 777215 w 5088779"/>
              <a:gd name="connsiteY0" fmla="*/ 3295741 h 3465287"/>
              <a:gd name="connsiteX1" fmla="*/ 526113 w 5088779"/>
              <a:gd name="connsiteY1" fmla="*/ 3112384 h 3465287"/>
              <a:gd name="connsiteX2" fmla="*/ 219950 w 5088779"/>
              <a:gd name="connsiteY2" fmla="*/ 2750287 h 3465287"/>
              <a:gd name="connsiteX3" fmla="*/ 128418 w 5088779"/>
              <a:gd name="connsiteY3" fmla="*/ 2305432 h 3465287"/>
              <a:gd name="connsiteX4" fmla="*/ 256006 w 5088779"/>
              <a:gd name="connsiteY4" fmla="*/ 1919713 h 3465287"/>
              <a:gd name="connsiteX5" fmla="*/ 580218 w 5088779"/>
              <a:gd name="connsiteY5" fmla="*/ 1637837 h 3465287"/>
              <a:gd name="connsiteX6" fmla="*/ 1073522 w 5088779"/>
              <a:gd name="connsiteY6" fmla="*/ 1545972 h 3465287"/>
              <a:gd name="connsiteX7" fmla="*/ 1308197 w 5088779"/>
              <a:gd name="connsiteY7" fmla="*/ 1517651 h 3465287"/>
              <a:gd name="connsiteX8" fmla="*/ 1292934 w 5088779"/>
              <a:gd name="connsiteY8" fmla="*/ 1460718 h 3465287"/>
              <a:gd name="connsiteX9" fmla="*/ 1016880 w 5088779"/>
              <a:gd name="connsiteY9" fmla="*/ 1416969 h 3465287"/>
              <a:gd name="connsiteX10" fmla="*/ 497460 w 5088779"/>
              <a:gd name="connsiteY10" fmla="*/ 1517318 h 3465287"/>
              <a:gd name="connsiteX11" fmla="*/ 88162 w 5088779"/>
              <a:gd name="connsiteY11" fmla="*/ 1960593 h 3465287"/>
              <a:gd name="connsiteX12" fmla="*/ 28692 w 5088779"/>
              <a:gd name="connsiteY12" fmla="*/ 2569342 h 3465287"/>
              <a:gd name="connsiteX13" fmla="*/ 442399 w 5088779"/>
              <a:gd name="connsiteY13" fmla="*/ 3165532 h 3465287"/>
              <a:gd name="connsiteX14" fmla="*/ 1232384 w 5088779"/>
              <a:gd name="connsiteY14" fmla="*/ 3283181 h 3465287"/>
              <a:gd name="connsiteX15" fmla="*/ 1835020 w 5088779"/>
              <a:gd name="connsiteY15" fmla="*/ 2757481 h 3465287"/>
              <a:gd name="connsiteX16" fmla="*/ 1824789 w 5088779"/>
              <a:gd name="connsiteY16" fmla="*/ 1980430 h 3465287"/>
              <a:gd name="connsiteX17" fmla="*/ 1494755 w 5088779"/>
              <a:gd name="connsiteY17" fmla="*/ 1589139 h 3465287"/>
              <a:gd name="connsiteX18" fmla="*/ 1305701 w 5088779"/>
              <a:gd name="connsiteY18" fmla="*/ 1660710 h 3465287"/>
              <a:gd name="connsiteX19" fmla="*/ 1197284 w 5088779"/>
              <a:gd name="connsiteY19" fmla="*/ 2116627 h 3465287"/>
              <a:gd name="connsiteX20" fmla="*/ 973921 w 5088779"/>
              <a:gd name="connsiteY20" fmla="*/ 2374258 h 3465287"/>
              <a:gd name="connsiteX21" fmla="*/ 918985 w 5088779"/>
              <a:gd name="connsiteY21" fmla="*/ 2276986 h 3465287"/>
              <a:gd name="connsiteX22" fmla="*/ 1298257 w 5088779"/>
              <a:gd name="connsiteY22" fmla="*/ 2021601 h 3465287"/>
              <a:gd name="connsiteX23" fmla="*/ 1558176 w 5088779"/>
              <a:gd name="connsiteY23" fmla="*/ 1234153 h 3465287"/>
              <a:gd name="connsiteX24" fmla="*/ 1788276 w 5088779"/>
              <a:gd name="connsiteY24" fmla="*/ 725296 h 3465287"/>
              <a:gd name="connsiteX25" fmla="*/ 1896859 w 5088779"/>
              <a:gd name="connsiteY25" fmla="*/ 539984 h 3465287"/>
              <a:gd name="connsiteX26" fmla="*/ 1865711 w 5088779"/>
              <a:gd name="connsiteY26" fmla="*/ 435851 h 3465287"/>
              <a:gd name="connsiteX27" fmla="*/ 1759373 w 5088779"/>
              <a:gd name="connsiteY27" fmla="*/ 350265 h 3465287"/>
              <a:gd name="connsiteX28" fmla="*/ 1714085 w 5088779"/>
              <a:gd name="connsiteY28" fmla="*/ 209327 h 3465287"/>
              <a:gd name="connsiteX29" fmla="*/ 1758915 w 5088779"/>
              <a:gd name="connsiteY29" fmla="*/ 82237 h 3465287"/>
              <a:gd name="connsiteX30" fmla="*/ 1939195 w 5088779"/>
              <a:gd name="connsiteY30" fmla="*/ 6716 h 3465287"/>
              <a:gd name="connsiteX31" fmla="*/ 2207888 w 5088779"/>
              <a:gd name="connsiteY31" fmla="*/ 10167 h 3465287"/>
              <a:gd name="connsiteX32" fmla="*/ 2291561 w 5088779"/>
              <a:gd name="connsiteY32" fmla="*/ 49800 h 3465287"/>
              <a:gd name="connsiteX33" fmla="*/ 2244526 w 5088779"/>
              <a:gd name="connsiteY33" fmla="*/ 86812 h 3465287"/>
              <a:gd name="connsiteX34" fmla="*/ 2008603 w 5088779"/>
              <a:gd name="connsiteY34" fmla="*/ 91886 h 3465287"/>
              <a:gd name="connsiteX35" fmla="*/ 1765070 w 5088779"/>
              <a:gd name="connsiteY35" fmla="*/ 75833 h 3465287"/>
              <a:gd name="connsiteX36" fmla="*/ 1657319 w 5088779"/>
              <a:gd name="connsiteY36" fmla="*/ 176931 h 3465287"/>
              <a:gd name="connsiteX37" fmla="*/ 1672581 w 5088779"/>
              <a:gd name="connsiteY37" fmla="*/ 370393 h 3465287"/>
              <a:gd name="connsiteX38" fmla="*/ 1617354 w 5088779"/>
              <a:gd name="connsiteY38" fmla="*/ 589348 h 3465287"/>
              <a:gd name="connsiteX39" fmla="*/ 1460820 w 5088779"/>
              <a:gd name="connsiteY39" fmla="*/ 903953 h 3465287"/>
              <a:gd name="connsiteX40" fmla="*/ 1250349 w 5088779"/>
              <a:gd name="connsiteY40" fmla="*/ 922501 h 3465287"/>
              <a:gd name="connsiteX41" fmla="*/ 1055930 w 5088779"/>
              <a:gd name="connsiteY41" fmla="*/ 866816 h 3465287"/>
              <a:gd name="connsiteX42" fmla="*/ 997085 w 5088779"/>
              <a:gd name="connsiteY42" fmla="*/ 751038 h 3465287"/>
              <a:gd name="connsiteX43" fmla="*/ 1009021 w 5088779"/>
              <a:gd name="connsiteY43" fmla="*/ 369436 h 3465287"/>
              <a:gd name="connsiteX44" fmla="*/ 1070694 w 5088779"/>
              <a:gd name="connsiteY44" fmla="*/ 155805 h 3465287"/>
              <a:gd name="connsiteX45" fmla="*/ 1272058 w 5088779"/>
              <a:gd name="connsiteY45" fmla="*/ 156761 h 3465287"/>
              <a:gd name="connsiteX46" fmla="*/ 1524989 w 5088779"/>
              <a:gd name="connsiteY46" fmla="*/ 245175 h 3465287"/>
              <a:gd name="connsiteX47" fmla="*/ 1694081 w 5088779"/>
              <a:gd name="connsiteY47" fmla="*/ 357792 h 3465287"/>
              <a:gd name="connsiteX48" fmla="*/ 1798672 w 5088779"/>
              <a:gd name="connsiteY48" fmla="*/ 483301 h 3465287"/>
              <a:gd name="connsiteX49" fmla="*/ 1822876 w 5088779"/>
              <a:gd name="connsiteY49" fmla="*/ 600951 h 3465287"/>
              <a:gd name="connsiteX50" fmla="*/ 1795345 w 5088779"/>
              <a:gd name="connsiteY50" fmla="*/ 761726 h 3465287"/>
              <a:gd name="connsiteX51" fmla="*/ 1967266 w 5088779"/>
              <a:gd name="connsiteY51" fmla="*/ 1160004 h 3465287"/>
              <a:gd name="connsiteX52" fmla="*/ 2390246 w 5088779"/>
              <a:gd name="connsiteY52" fmla="*/ 1793622 h 3465287"/>
              <a:gd name="connsiteX53" fmla="*/ 2807737 w 5088779"/>
              <a:gd name="connsiteY53" fmla="*/ 2087475 h 3465287"/>
              <a:gd name="connsiteX54" fmla="*/ 2917360 w 5088779"/>
              <a:gd name="connsiteY54" fmla="*/ 2185620 h 3465287"/>
              <a:gd name="connsiteX55" fmla="*/ 2804411 w 5088779"/>
              <a:gd name="connsiteY55" fmla="*/ 2468120 h 3465287"/>
              <a:gd name="connsiteX56" fmla="*/ 2638312 w 5088779"/>
              <a:gd name="connsiteY56" fmla="*/ 2505548 h 3465287"/>
              <a:gd name="connsiteX57" fmla="*/ 2329862 w 5088779"/>
              <a:gd name="connsiteY57" fmla="*/ 2278109 h 3465287"/>
              <a:gd name="connsiteX58" fmla="*/ 1885173 w 5088779"/>
              <a:gd name="connsiteY58" fmla="*/ 1678800 h 3465287"/>
              <a:gd name="connsiteX59" fmla="*/ 1765320 w 5088779"/>
              <a:gd name="connsiteY59" fmla="*/ 1175432 h 3465287"/>
              <a:gd name="connsiteX60" fmla="*/ 1919774 w 5088779"/>
              <a:gd name="connsiteY60" fmla="*/ 1377420 h 3465287"/>
              <a:gd name="connsiteX61" fmla="*/ 2281414 w 5088779"/>
              <a:gd name="connsiteY61" fmla="*/ 2268710 h 3465287"/>
              <a:gd name="connsiteX62" fmla="*/ 2601216 w 5088779"/>
              <a:gd name="connsiteY62" fmla="*/ 2693105 h 3465287"/>
              <a:gd name="connsiteX63" fmla="*/ 2834644 w 5088779"/>
              <a:gd name="connsiteY63" fmla="*/ 2746586 h 3465287"/>
              <a:gd name="connsiteX64" fmla="*/ 3001865 w 5088779"/>
              <a:gd name="connsiteY64" fmla="*/ 2631432 h 3465287"/>
              <a:gd name="connsiteX65" fmla="*/ 3013052 w 5088779"/>
              <a:gd name="connsiteY65" fmla="*/ 2436680 h 3465287"/>
              <a:gd name="connsiteX66" fmla="*/ 2859222 w 5088779"/>
              <a:gd name="connsiteY66" fmla="*/ 2309258 h 3465287"/>
              <a:gd name="connsiteX67" fmla="*/ 2652036 w 5088779"/>
              <a:gd name="connsiteY67" fmla="*/ 2375007 h 3465287"/>
              <a:gd name="connsiteX68" fmla="*/ 2629537 w 5088779"/>
              <a:gd name="connsiteY68" fmla="*/ 2581402 h 3465287"/>
              <a:gd name="connsiteX69" fmla="*/ 2772222 w 5088779"/>
              <a:gd name="connsiteY69" fmla="*/ 2671064 h 3465287"/>
              <a:gd name="connsiteX70" fmla="*/ 2868787 w 5088779"/>
              <a:gd name="connsiteY70" fmla="*/ 2596831 h 3465287"/>
              <a:gd name="connsiteX71" fmla="*/ 2835601 w 5088779"/>
              <a:gd name="connsiteY71" fmla="*/ 2530750 h 3465287"/>
              <a:gd name="connsiteX72" fmla="*/ 2713543 w 5088779"/>
              <a:gd name="connsiteY72" fmla="*/ 2615379 h 3465287"/>
              <a:gd name="connsiteX73" fmla="*/ 2567864 w 5088779"/>
              <a:gd name="connsiteY73" fmla="*/ 2907028 h 3465287"/>
              <a:gd name="connsiteX74" fmla="*/ 2520039 w 5088779"/>
              <a:gd name="connsiteY74" fmla="*/ 3008333 h 3465287"/>
              <a:gd name="connsiteX75" fmla="*/ 2484191 w 5088779"/>
              <a:gd name="connsiteY75" fmla="*/ 3024053 h 3465287"/>
              <a:gd name="connsiteX76" fmla="*/ 2389165 w 5088779"/>
              <a:gd name="connsiteY76" fmla="*/ 3013989 h 3465287"/>
              <a:gd name="connsiteX77" fmla="*/ 2396068 w 5088779"/>
              <a:gd name="connsiteY77" fmla="*/ 2956724 h 3465287"/>
              <a:gd name="connsiteX78" fmla="*/ 2584831 w 5088779"/>
              <a:gd name="connsiteY78" fmla="*/ 2951068 h 3465287"/>
              <a:gd name="connsiteX79" fmla="*/ 2671041 w 5088779"/>
              <a:gd name="connsiteY79" fmla="*/ 2951068 h 3465287"/>
              <a:gd name="connsiteX80" fmla="*/ 2752219 w 5088779"/>
              <a:gd name="connsiteY80" fmla="*/ 2822066 h 3465287"/>
              <a:gd name="connsiteX81" fmla="*/ 2892533 w 5088779"/>
              <a:gd name="connsiteY81" fmla="*/ 2789337 h 3465287"/>
              <a:gd name="connsiteX82" fmla="*/ 3020246 w 5088779"/>
              <a:gd name="connsiteY82" fmla="*/ 2713815 h 3465287"/>
              <a:gd name="connsiteX83" fmla="*/ 3106456 w 5088779"/>
              <a:gd name="connsiteY83" fmla="*/ 2544556 h 3465287"/>
              <a:gd name="connsiteX84" fmla="*/ 3326035 w 5088779"/>
              <a:gd name="connsiteY84" fmla="*/ 2482883 h 3465287"/>
              <a:gd name="connsiteX85" fmla="*/ 3861009 w 5088779"/>
              <a:gd name="connsiteY85" fmla="*/ 2466831 h 3465287"/>
              <a:gd name="connsiteX86" fmla="*/ 4016751 w 5088779"/>
              <a:gd name="connsiteY86" fmla="*/ 2420918 h 3465287"/>
              <a:gd name="connsiteX87" fmla="*/ 3866664 w 5088779"/>
              <a:gd name="connsiteY87" fmla="*/ 2252907 h 3465287"/>
              <a:gd name="connsiteX88" fmla="*/ 3391285 w 5088779"/>
              <a:gd name="connsiteY88" fmla="*/ 1791709 h 3465287"/>
              <a:gd name="connsiteX89" fmla="*/ 3127166 w 5088779"/>
              <a:gd name="connsiteY89" fmla="*/ 1600118 h 3465287"/>
              <a:gd name="connsiteX90" fmla="*/ 3003196 w 5088779"/>
              <a:gd name="connsiteY90" fmla="*/ 1733529 h 3465287"/>
              <a:gd name="connsiteX91" fmla="*/ 2940898 w 5088779"/>
              <a:gd name="connsiteY91" fmla="*/ 1995900 h 3465287"/>
              <a:gd name="connsiteX92" fmla="*/ 2981778 w 5088779"/>
              <a:gd name="connsiteY92" fmla="*/ 2048133 h 3465287"/>
              <a:gd name="connsiteX93" fmla="*/ 3044699 w 5088779"/>
              <a:gd name="connsiteY93" fmla="*/ 1778817 h 3465287"/>
              <a:gd name="connsiteX94" fmla="*/ 3166466 w 5088779"/>
              <a:gd name="connsiteY94" fmla="*/ 1356918 h 3465287"/>
              <a:gd name="connsiteX95" fmla="*/ 3272803 w 5088779"/>
              <a:gd name="connsiteY95" fmla="*/ 986960 h 3465287"/>
              <a:gd name="connsiteX96" fmla="*/ 3243526 w 5088779"/>
              <a:gd name="connsiteY96" fmla="*/ 867107 h 3465287"/>
              <a:gd name="connsiteX97" fmla="*/ 3068612 w 5088779"/>
              <a:gd name="connsiteY97" fmla="*/ 840034 h 3465287"/>
              <a:gd name="connsiteX98" fmla="*/ 2924513 w 5088779"/>
              <a:gd name="connsiteY98" fmla="*/ 782769 h 3465287"/>
              <a:gd name="connsiteX99" fmla="*/ 2940857 w 5088779"/>
              <a:gd name="connsiteY99" fmla="*/ 714816 h 3465287"/>
              <a:gd name="connsiteX100" fmla="*/ 3114524 w 5088779"/>
              <a:gd name="connsiteY100" fmla="*/ 723008 h 3465287"/>
              <a:gd name="connsiteX101" fmla="*/ 3317135 w 5088779"/>
              <a:gd name="connsiteY101" fmla="*/ 729288 h 3465287"/>
              <a:gd name="connsiteX102" fmla="*/ 3483857 w 5088779"/>
              <a:gd name="connsiteY102" fmla="*/ 682087 h 3465287"/>
              <a:gd name="connsiteX103" fmla="*/ 3601506 w 5088779"/>
              <a:gd name="connsiteY103" fmla="*/ 703463 h 3465287"/>
              <a:gd name="connsiteX104" fmla="*/ 3624171 w 5088779"/>
              <a:gd name="connsiteY104" fmla="*/ 797199 h 3465287"/>
              <a:gd name="connsiteX105" fmla="*/ 3496458 w 5088779"/>
              <a:gd name="connsiteY105" fmla="*/ 890936 h 3465287"/>
              <a:gd name="connsiteX106" fmla="*/ 3326575 w 5088779"/>
              <a:gd name="connsiteY106" fmla="*/ 918009 h 3465287"/>
              <a:gd name="connsiteX107" fmla="*/ 3198862 w 5088779"/>
              <a:gd name="connsiteY107" fmla="*/ 1002306 h 3465287"/>
              <a:gd name="connsiteX108" fmla="*/ 3097972 w 5088779"/>
              <a:gd name="connsiteY108" fmla="*/ 1299902 h 3465287"/>
              <a:gd name="connsiteX109" fmla="*/ 3159022 w 5088779"/>
              <a:gd name="connsiteY109" fmla="*/ 1545930 h 3465287"/>
              <a:gd name="connsiteX110" fmla="*/ 3371697 w 5088779"/>
              <a:gd name="connsiteY110" fmla="*/ 1536490 h 3465287"/>
              <a:gd name="connsiteX111" fmla="*/ 3551228 w 5088779"/>
              <a:gd name="connsiteY111" fmla="*/ 1376048 h 3465287"/>
              <a:gd name="connsiteX112" fmla="*/ 3554389 w 5088779"/>
              <a:gd name="connsiteY112" fmla="*/ 1231949 h 3465287"/>
              <a:gd name="connsiteX113" fmla="*/ 3336348 w 5088779"/>
              <a:gd name="connsiteY113" fmla="*/ 1191693 h 3465287"/>
              <a:gd name="connsiteX114" fmla="*/ 3344832 w 5088779"/>
              <a:gd name="connsiteY114" fmla="*/ 1255238 h 3465287"/>
              <a:gd name="connsiteX115" fmla="*/ 3769850 w 5088779"/>
              <a:gd name="connsiteY115" fmla="*/ 1241722 h 3465287"/>
              <a:gd name="connsiteX116" fmla="*/ 4254670 w 5088779"/>
              <a:gd name="connsiteY116" fmla="*/ 1259646 h 3465287"/>
              <a:gd name="connsiteX117" fmla="*/ 4484022 w 5088779"/>
              <a:gd name="connsiteY117" fmla="*/ 1236981 h 3465287"/>
              <a:gd name="connsiteX118" fmla="*/ 4465766 w 5088779"/>
              <a:gd name="connsiteY118" fmla="*/ 1185995 h 3465287"/>
              <a:gd name="connsiteX119" fmla="*/ 4105248 w 5088779"/>
              <a:gd name="connsiteY119" fmla="*/ 1177512 h 3465287"/>
              <a:gd name="connsiteX120" fmla="*/ 3734668 w 5088779"/>
              <a:gd name="connsiteY120" fmla="*/ 1331342 h 3465287"/>
              <a:gd name="connsiteX121" fmla="*/ 3388914 w 5088779"/>
              <a:gd name="connsiteY121" fmla="*/ 1604110 h 3465287"/>
              <a:gd name="connsiteX122" fmla="*/ 3156111 w 5088779"/>
              <a:gd name="connsiteY122" fmla="*/ 1921252 h 3465287"/>
              <a:gd name="connsiteX123" fmla="*/ 3060461 w 5088779"/>
              <a:gd name="connsiteY123" fmla="*/ 2419255 h 3465287"/>
              <a:gd name="connsiteX124" fmla="*/ 3290769 w 5088779"/>
              <a:gd name="connsiteY124" fmla="*/ 3048465 h 3465287"/>
              <a:gd name="connsiteX125" fmla="*/ 3868994 w 5088779"/>
              <a:gd name="connsiteY125" fmla="*/ 3394510 h 3465287"/>
              <a:gd name="connsiteX126" fmla="*/ 4507643 w 5088779"/>
              <a:gd name="connsiteY126" fmla="*/ 3330632 h 3465287"/>
              <a:gd name="connsiteX127" fmla="*/ 5002818 w 5088779"/>
              <a:gd name="connsiteY127" fmla="*/ 2841404 h 3465287"/>
              <a:gd name="connsiteX128" fmla="*/ 5036171 w 5088779"/>
              <a:gd name="connsiteY128" fmla="*/ 2052999 h 3465287"/>
              <a:gd name="connsiteX129" fmla="*/ 4605164 w 5088779"/>
              <a:gd name="connsiteY129" fmla="*/ 1482011 h 3465287"/>
              <a:gd name="connsiteX130" fmla="*/ 4138310 w 5088779"/>
              <a:gd name="connsiteY130" fmla="*/ 1352717 h 3465287"/>
              <a:gd name="connsiteX131" fmla="*/ 3977868 w 5088779"/>
              <a:gd name="connsiteY131" fmla="*/ 1466624 h 3465287"/>
              <a:gd name="connsiteX132" fmla="*/ 3999909 w 5088779"/>
              <a:gd name="connsiteY132" fmla="*/ 2001140 h 3465287"/>
              <a:gd name="connsiteX133" fmla="*/ 4033885 w 5088779"/>
              <a:gd name="connsiteY133" fmla="*/ 2313208 h 3465287"/>
              <a:gd name="connsiteX134" fmla="*/ 4125585 w 5088779"/>
              <a:gd name="connsiteY134" fmla="*/ 2399085 h 3465287"/>
              <a:gd name="connsiteX135" fmla="*/ 4230051 w 5088779"/>
              <a:gd name="connsiteY135" fmla="*/ 2362905 h 3465287"/>
              <a:gd name="connsiteX136" fmla="*/ 4194660 w 5088779"/>
              <a:gd name="connsiteY136" fmla="*/ 2271372 h 3465287"/>
              <a:gd name="connsiteX137" fmla="*/ 4097056 w 5088779"/>
              <a:gd name="connsiteY137" fmla="*/ 2303394 h 3465287"/>
              <a:gd name="connsiteX138" fmla="*/ 4080670 w 5088779"/>
              <a:gd name="connsiteY138" fmla="*/ 2437262 h 3465287"/>
              <a:gd name="connsiteX139" fmla="*/ 4079589 w 5088779"/>
              <a:gd name="connsiteY139" fmla="*/ 2519521 h 3465287"/>
              <a:gd name="connsiteX140" fmla="*/ 3900475 w 5088779"/>
              <a:gd name="connsiteY140" fmla="*/ 2539400 h 3465287"/>
              <a:gd name="connsiteX141" fmla="*/ 3490220 w 5088779"/>
              <a:gd name="connsiteY141" fmla="*/ 2545679 h 3465287"/>
              <a:gd name="connsiteX142" fmla="*/ 3249848 w 5088779"/>
              <a:gd name="connsiteY142" fmla="*/ 2602944 h 3465287"/>
              <a:gd name="connsiteX143" fmla="*/ 3240241 w 5088779"/>
              <a:gd name="connsiteY143" fmla="*/ 2790460 h 3465287"/>
              <a:gd name="connsiteX144" fmla="*/ 3433578 w 5088779"/>
              <a:gd name="connsiteY144" fmla="*/ 3133385 h 3465287"/>
              <a:gd name="connsiteX145" fmla="*/ 3925468 w 5088779"/>
              <a:gd name="connsiteY145" fmla="*/ 3465290 h 3465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088779" h="3465287">
                <a:moveTo>
                  <a:pt x="777215" y="3295741"/>
                </a:moveTo>
                <a:cubicBezTo>
                  <a:pt x="734921" y="3254861"/>
                  <a:pt x="636277" y="3202669"/>
                  <a:pt x="526113" y="3112384"/>
                </a:cubicBezTo>
                <a:cubicBezTo>
                  <a:pt x="415950" y="3022099"/>
                  <a:pt x="294183" y="2893762"/>
                  <a:pt x="219950" y="2750287"/>
                </a:cubicBezTo>
                <a:cubicBezTo>
                  <a:pt x="145718" y="2606812"/>
                  <a:pt x="118978" y="2448283"/>
                  <a:pt x="128418" y="2305432"/>
                </a:cubicBezTo>
                <a:cubicBezTo>
                  <a:pt x="137858" y="2162622"/>
                  <a:pt x="183479" y="2035491"/>
                  <a:pt x="256006" y="1919713"/>
                </a:cubicBezTo>
                <a:cubicBezTo>
                  <a:pt x="328534" y="1803935"/>
                  <a:pt x="427927" y="1699510"/>
                  <a:pt x="580218" y="1637837"/>
                </a:cubicBezTo>
                <a:cubicBezTo>
                  <a:pt x="732468" y="1576164"/>
                  <a:pt x="937616" y="1557283"/>
                  <a:pt x="1073522" y="1545972"/>
                </a:cubicBezTo>
                <a:cubicBezTo>
                  <a:pt x="1209428" y="1534660"/>
                  <a:pt x="1276133" y="1530876"/>
                  <a:pt x="1308197" y="1517651"/>
                </a:cubicBezTo>
                <a:cubicBezTo>
                  <a:pt x="1340302" y="1504426"/>
                  <a:pt x="1337765" y="1481803"/>
                  <a:pt x="1292934" y="1460718"/>
                </a:cubicBezTo>
                <a:cubicBezTo>
                  <a:pt x="1248104" y="1439634"/>
                  <a:pt x="1160979" y="1420130"/>
                  <a:pt x="1016880" y="1416969"/>
                </a:cubicBezTo>
                <a:cubicBezTo>
                  <a:pt x="872782" y="1413808"/>
                  <a:pt x="671751" y="1427033"/>
                  <a:pt x="497460" y="1517318"/>
                </a:cubicBezTo>
                <a:cubicBezTo>
                  <a:pt x="323169" y="1607603"/>
                  <a:pt x="175619" y="1774991"/>
                  <a:pt x="88162" y="1960593"/>
                </a:cubicBezTo>
                <a:cubicBezTo>
                  <a:pt x="704" y="2146195"/>
                  <a:pt x="-26660" y="2350054"/>
                  <a:pt x="28692" y="2569342"/>
                </a:cubicBezTo>
                <a:cubicBezTo>
                  <a:pt x="84044" y="2788630"/>
                  <a:pt x="222155" y="3023305"/>
                  <a:pt x="442399" y="3165532"/>
                </a:cubicBezTo>
                <a:cubicBezTo>
                  <a:pt x="662601" y="3307718"/>
                  <a:pt x="964938" y="3357456"/>
                  <a:pt x="1232384" y="3283181"/>
                </a:cubicBezTo>
                <a:cubicBezTo>
                  <a:pt x="1499787" y="3208949"/>
                  <a:pt x="1732300" y="3010746"/>
                  <a:pt x="1835020" y="2757481"/>
                </a:cubicBezTo>
                <a:cubicBezTo>
                  <a:pt x="1937739" y="2504217"/>
                  <a:pt x="1910666" y="2195933"/>
                  <a:pt x="1824789" y="1980430"/>
                </a:cubicBezTo>
                <a:cubicBezTo>
                  <a:pt x="1738912" y="1764927"/>
                  <a:pt x="1594190" y="1642245"/>
                  <a:pt x="1494755" y="1589139"/>
                </a:cubicBezTo>
                <a:cubicBezTo>
                  <a:pt x="1395363" y="1536032"/>
                  <a:pt x="1341216" y="1552501"/>
                  <a:pt x="1305701" y="1660710"/>
                </a:cubicBezTo>
                <a:cubicBezTo>
                  <a:pt x="1270145" y="1768919"/>
                  <a:pt x="1253177" y="1968910"/>
                  <a:pt x="1197284" y="2116627"/>
                </a:cubicBezTo>
                <a:cubicBezTo>
                  <a:pt x="1141391" y="2264344"/>
                  <a:pt x="1046615" y="2359786"/>
                  <a:pt x="973921" y="2374258"/>
                </a:cubicBezTo>
                <a:cubicBezTo>
                  <a:pt x="901227" y="2388730"/>
                  <a:pt x="850658" y="2322191"/>
                  <a:pt x="918985" y="2276986"/>
                </a:cubicBezTo>
                <a:cubicBezTo>
                  <a:pt x="987312" y="2231781"/>
                  <a:pt x="1174495" y="2207910"/>
                  <a:pt x="1298257" y="2021601"/>
                </a:cubicBezTo>
                <a:cubicBezTo>
                  <a:pt x="1422020" y="1835292"/>
                  <a:pt x="1482321" y="1486544"/>
                  <a:pt x="1558176" y="1234153"/>
                </a:cubicBezTo>
                <a:cubicBezTo>
                  <a:pt x="1633988" y="981762"/>
                  <a:pt x="1725313" y="825686"/>
                  <a:pt x="1788276" y="725296"/>
                </a:cubicBezTo>
                <a:cubicBezTo>
                  <a:pt x="1851238" y="624905"/>
                  <a:pt x="1885839" y="580241"/>
                  <a:pt x="1896859" y="539984"/>
                </a:cubicBezTo>
                <a:cubicBezTo>
                  <a:pt x="1907880" y="499728"/>
                  <a:pt x="1895279" y="463839"/>
                  <a:pt x="1865711" y="435851"/>
                </a:cubicBezTo>
                <a:cubicBezTo>
                  <a:pt x="1836142" y="407863"/>
                  <a:pt x="1789565" y="387735"/>
                  <a:pt x="1759373" y="350265"/>
                </a:cubicBezTo>
                <a:cubicBezTo>
                  <a:pt x="1729181" y="312837"/>
                  <a:pt x="1715332" y="258067"/>
                  <a:pt x="1714085" y="209327"/>
                </a:cubicBezTo>
                <a:cubicBezTo>
                  <a:pt x="1712837" y="160545"/>
                  <a:pt x="1724149" y="117794"/>
                  <a:pt x="1758915" y="82237"/>
                </a:cubicBezTo>
                <a:cubicBezTo>
                  <a:pt x="1793682" y="46681"/>
                  <a:pt x="1851862" y="18360"/>
                  <a:pt x="1939195" y="6716"/>
                </a:cubicBezTo>
                <a:cubicBezTo>
                  <a:pt x="2026486" y="-4929"/>
                  <a:pt x="2142887" y="103"/>
                  <a:pt x="2207888" y="10167"/>
                </a:cubicBezTo>
                <a:cubicBezTo>
                  <a:pt x="2272846" y="20231"/>
                  <a:pt x="2286362" y="35327"/>
                  <a:pt x="2291561" y="49800"/>
                </a:cubicBezTo>
                <a:cubicBezTo>
                  <a:pt x="2296759" y="64272"/>
                  <a:pt x="2293598" y="78120"/>
                  <a:pt x="2244526" y="86812"/>
                </a:cubicBezTo>
                <a:cubicBezTo>
                  <a:pt x="2195453" y="95504"/>
                  <a:pt x="2100469" y="99122"/>
                  <a:pt x="2008603" y="91886"/>
                </a:cubicBezTo>
                <a:cubicBezTo>
                  <a:pt x="1916738" y="84649"/>
                  <a:pt x="1828033" y="66601"/>
                  <a:pt x="1765070" y="75833"/>
                </a:cubicBezTo>
                <a:cubicBezTo>
                  <a:pt x="1702149" y="85065"/>
                  <a:pt x="1665012" y="121537"/>
                  <a:pt x="1657319" y="176931"/>
                </a:cubicBezTo>
                <a:cubicBezTo>
                  <a:pt x="1649625" y="232283"/>
                  <a:pt x="1671333" y="306557"/>
                  <a:pt x="1672581" y="370393"/>
                </a:cubicBezTo>
                <a:cubicBezTo>
                  <a:pt x="1673829" y="434270"/>
                  <a:pt x="1654657" y="487751"/>
                  <a:pt x="1617354" y="589348"/>
                </a:cubicBezTo>
                <a:cubicBezTo>
                  <a:pt x="1580092" y="690945"/>
                  <a:pt x="1524698" y="840699"/>
                  <a:pt x="1460820" y="903953"/>
                </a:cubicBezTo>
                <a:cubicBezTo>
                  <a:pt x="1396943" y="967207"/>
                  <a:pt x="1324582" y="943918"/>
                  <a:pt x="1250349" y="922501"/>
                </a:cubicBezTo>
                <a:cubicBezTo>
                  <a:pt x="1176117" y="901125"/>
                  <a:pt x="1099971" y="881621"/>
                  <a:pt x="1055930" y="866816"/>
                </a:cubicBezTo>
                <a:cubicBezTo>
                  <a:pt x="1011890" y="852011"/>
                  <a:pt x="999913" y="841947"/>
                  <a:pt x="997085" y="751038"/>
                </a:cubicBezTo>
                <a:cubicBezTo>
                  <a:pt x="994257" y="660129"/>
                  <a:pt x="1000537" y="488333"/>
                  <a:pt x="1009021" y="369436"/>
                </a:cubicBezTo>
                <a:cubicBezTo>
                  <a:pt x="1017504" y="250498"/>
                  <a:pt x="1028192" y="184458"/>
                  <a:pt x="1070694" y="155805"/>
                </a:cubicBezTo>
                <a:cubicBezTo>
                  <a:pt x="1113154" y="127193"/>
                  <a:pt x="1187428" y="135968"/>
                  <a:pt x="1272058" y="156761"/>
                </a:cubicBezTo>
                <a:cubicBezTo>
                  <a:pt x="1356687" y="177513"/>
                  <a:pt x="1451713" y="210242"/>
                  <a:pt x="1524989" y="245175"/>
                </a:cubicBezTo>
                <a:cubicBezTo>
                  <a:pt x="1598307" y="280108"/>
                  <a:pt x="1649875" y="317203"/>
                  <a:pt x="1694081" y="357792"/>
                </a:cubicBezTo>
                <a:cubicBezTo>
                  <a:pt x="1738288" y="398381"/>
                  <a:pt x="1775093" y="442422"/>
                  <a:pt x="1798672" y="483301"/>
                </a:cubicBezTo>
                <a:cubicBezTo>
                  <a:pt x="1822252" y="524181"/>
                  <a:pt x="1832649" y="561942"/>
                  <a:pt x="1822876" y="600951"/>
                </a:cubicBezTo>
                <a:cubicBezTo>
                  <a:pt x="1813103" y="639959"/>
                  <a:pt x="1783244" y="680215"/>
                  <a:pt x="1795345" y="761726"/>
                </a:cubicBezTo>
                <a:cubicBezTo>
                  <a:pt x="1807447" y="843195"/>
                  <a:pt x="1861552" y="965917"/>
                  <a:pt x="1967266" y="1160004"/>
                </a:cubicBezTo>
                <a:cubicBezTo>
                  <a:pt x="2072980" y="1354131"/>
                  <a:pt x="2230261" y="1619622"/>
                  <a:pt x="2390246" y="1793622"/>
                </a:cubicBezTo>
                <a:cubicBezTo>
                  <a:pt x="2550231" y="1967580"/>
                  <a:pt x="2712878" y="2050005"/>
                  <a:pt x="2807737" y="2087475"/>
                </a:cubicBezTo>
                <a:cubicBezTo>
                  <a:pt x="2902597" y="2124903"/>
                  <a:pt x="2929629" y="2117376"/>
                  <a:pt x="2917360" y="2185620"/>
                </a:cubicBezTo>
                <a:cubicBezTo>
                  <a:pt x="2905092" y="2253906"/>
                  <a:pt x="2853483" y="2397963"/>
                  <a:pt x="2804411" y="2468120"/>
                </a:cubicBezTo>
                <a:cubicBezTo>
                  <a:pt x="2755338" y="2538277"/>
                  <a:pt x="2708761" y="2534492"/>
                  <a:pt x="2638312" y="2505548"/>
                </a:cubicBezTo>
                <a:cubicBezTo>
                  <a:pt x="2567823" y="2476603"/>
                  <a:pt x="2473462" y="2422499"/>
                  <a:pt x="2329862" y="2278109"/>
                </a:cubicBezTo>
                <a:cubicBezTo>
                  <a:pt x="2186263" y="2133719"/>
                  <a:pt x="1993383" y="1899003"/>
                  <a:pt x="1885173" y="1678800"/>
                </a:cubicBezTo>
                <a:cubicBezTo>
                  <a:pt x="1776964" y="1458598"/>
                  <a:pt x="1753343" y="1252826"/>
                  <a:pt x="1765320" y="1175432"/>
                </a:cubicBezTo>
                <a:cubicBezTo>
                  <a:pt x="1777255" y="1098039"/>
                  <a:pt x="1824789" y="1149025"/>
                  <a:pt x="1919774" y="1377420"/>
                </a:cubicBezTo>
                <a:cubicBezTo>
                  <a:pt x="2014800" y="1605815"/>
                  <a:pt x="2157318" y="2011662"/>
                  <a:pt x="2281414" y="2268710"/>
                </a:cubicBezTo>
                <a:cubicBezTo>
                  <a:pt x="2405509" y="2525759"/>
                  <a:pt x="2511223" y="2633968"/>
                  <a:pt x="2601216" y="2693105"/>
                </a:cubicBezTo>
                <a:cubicBezTo>
                  <a:pt x="2691211" y="2752241"/>
                  <a:pt x="2765443" y="2762305"/>
                  <a:pt x="2834644" y="2746586"/>
                </a:cubicBezTo>
                <a:cubicBezTo>
                  <a:pt x="2903844" y="2730866"/>
                  <a:pt x="2968055" y="2689320"/>
                  <a:pt x="3001865" y="2631432"/>
                </a:cubicBezTo>
                <a:cubicBezTo>
                  <a:pt x="3035675" y="2573542"/>
                  <a:pt x="3039127" y="2499310"/>
                  <a:pt x="3013052" y="2436680"/>
                </a:cubicBezTo>
                <a:cubicBezTo>
                  <a:pt x="2986935" y="2374092"/>
                  <a:pt x="2931251" y="2323106"/>
                  <a:pt x="2859222" y="2309258"/>
                </a:cubicBezTo>
                <a:cubicBezTo>
                  <a:pt x="2787193" y="2295409"/>
                  <a:pt x="2698780" y="2318698"/>
                  <a:pt x="2652036" y="2375007"/>
                </a:cubicBezTo>
                <a:cubicBezTo>
                  <a:pt x="2605334" y="2431315"/>
                  <a:pt x="2600302" y="2520686"/>
                  <a:pt x="2629537" y="2581402"/>
                </a:cubicBezTo>
                <a:cubicBezTo>
                  <a:pt x="2658773" y="2642119"/>
                  <a:pt x="2722359" y="2674224"/>
                  <a:pt x="2772222" y="2671064"/>
                </a:cubicBezTo>
                <a:cubicBezTo>
                  <a:pt x="2822085" y="2667903"/>
                  <a:pt x="2858265" y="2629518"/>
                  <a:pt x="2868787" y="2596831"/>
                </a:cubicBezTo>
                <a:cubicBezTo>
                  <a:pt x="2879308" y="2564144"/>
                  <a:pt x="2864212" y="2537071"/>
                  <a:pt x="2835601" y="2530750"/>
                </a:cubicBezTo>
                <a:cubicBezTo>
                  <a:pt x="2806989" y="2524470"/>
                  <a:pt x="2764820" y="2538942"/>
                  <a:pt x="2713543" y="2615379"/>
                </a:cubicBezTo>
                <a:cubicBezTo>
                  <a:pt x="2662266" y="2691816"/>
                  <a:pt x="2601840" y="2830259"/>
                  <a:pt x="2567864" y="2907028"/>
                </a:cubicBezTo>
                <a:cubicBezTo>
                  <a:pt x="2533888" y="2983797"/>
                  <a:pt x="2526318" y="2998893"/>
                  <a:pt x="2520039" y="3008333"/>
                </a:cubicBezTo>
                <a:cubicBezTo>
                  <a:pt x="2513760" y="3017774"/>
                  <a:pt x="2508727" y="3021558"/>
                  <a:pt x="2484191" y="3024053"/>
                </a:cubicBezTo>
                <a:cubicBezTo>
                  <a:pt x="2459655" y="3026590"/>
                  <a:pt x="2415614" y="3027838"/>
                  <a:pt x="2389165" y="3013989"/>
                </a:cubicBezTo>
                <a:cubicBezTo>
                  <a:pt x="2362757" y="3000141"/>
                  <a:pt x="2353941" y="2971196"/>
                  <a:pt x="2396068" y="2956724"/>
                </a:cubicBezTo>
                <a:cubicBezTo>
                  <a:pt x="2438238" y="2942252"/>
                  <a:pt x="2531351" y="2942252"/>
                  <a:pt x="2584831" y="2951068"/>
                </a:cubicBezTo>
                <a:cubicBezTo>
                  <a:pt x="2638312" y="2959885"/>
                  <a:pt x="2652160" y="2977476"/>
                  <a:pt x="2671041" y="2951068"/>
                </a:cubicBezTo>
                <a:cubicBezTo>
                  <a:pt x="2689922" y="2924661"/>
                  <a:pt x="2713834" y="2854171"/>
                  <a:pt x="2752219" y="2822066"/>
                </a:cubicBezTo>
                <a:cubicBezTo>
                  <a:pt x="2790603" y="2789961"/>
                  <a:pt x="2843460" y="2796282"/>
                  <a:pt x="2892533" y="2789337"/>
                </a:cubicBezTo>
                <a:cubicBezTo>
                  <a:pt x="2941606" y="2782434"/>
                  <a:pt x="2986935" y="2762264"/>
                  <a:pt x="3020246" y="2713815"/>
                </a:cubicBezTo>
                <a:cubicBezTo>
                  <a:pt x="3053599" y="2665366"/>
                  <a:pt x="3074975" y="2588597"/>
                  <a:pt x="3106456" y="2544556"/>
                </a:cubicBezTo>
                <a:cubicBezTo>
                  <a:pt x="3137896" y="2500516"/>
                  <a:pt x="3179441" y="2489204"/>
                  <a:pt x="3326035" y="2482883"/>
                </a:cubicBezTo>
                <a:cubicBezTo>
                  <a:pt x="3472629" y="2476603"/>
                  <a:pt x="3724313" y="2475314"/>
                  <a:pt x="3861009" y="2466831"/>
                </a:cubicBezTo>
                <a:cubicBezTo>
                  <a:pt x="3997705" y="2458347"/>
                  <a:pt x="4019413" y="2442627"/>
                  <a:pt x="4016751" y="2420918"/>
                </a:cubicBezTo>
                <a:cubicBezTo>
                  <a:pt x="4014090" y="2399210"/>
                  <a:pt x="3987017" y="2371513"/>
                  <a:pt x="3866664" y="2252907"/>
                </a:cubicBezTo>
                <a:cubicBezTo>
                  <a:pt x="3746312" y="2134302"/>
                  <a:pt x="3532721" y="1924787"/>
                  <a:pt x="3391285" y="1791709"/>
                </a:cubicBezTo>
                <a:cubicBezTo>
                  <a:pt x="3249889" y="1658631"/>
                  <a:pt x="3180647" y="1601989"/>
                  <a:pt x="3127166" y="1600118"/>
                </a:cubicBezTo>
                <a:cubicBezTo>
                  <a:pt x="3073686" y="1598246"/>
                  <a:pt x="3035924" y="1651103"/>
                  <a:pt x="3003196" y="1733529"/>
                </a:cubicBezTo>
                <a:cubicBezTo>
                  <a:pt x="2970467" y="1815954"/>
                  <a:pt x="2942811" y="1927947"/>
                  <a:pt x="2940898" y="1995900"/>
                </a:cubicBezTo>
                <a:cubicBezTo>
                  <a:pt x="2939027" y="2063853"/>
                  <a:pt x="2962940" y="2087766"/>
                  <a:pt x="2981778" y="2048133"/>
                </a:cubicBezTo>
                <a:cubicBezTo>
                  <a:pt x="3000659" y="2008501"/>
                  <a:pt x="3014507" y="1905324"/>
                  <a:pt x="3044699" y="1778817"/>
                </a:cubicBezTo>
                <a:cubicBezTo>
                  <a:pt x="3074891" y="1652351"/>
                  <a:pt x="3121469" y="1502596"/>
                  <a:pt x="3166466" y="1356918"/>
                </a:cubicBezTo>
                <a:cubicBezTo>
                  <a:pt x="3211463" y="1211239"/>
                  <a:pt x="3254880" y="1069677"/>
                  <a:pt x="3272803" y="986960"/>
                </a:cubicBezTo>
                <a:cubicBezTo>
                  <a:pt x="3290727" y="904202"/>
                  <a:pt x="3283200" y="880290"/>
                  <a:pt x="3243526" y="867107"/>
                </a:cubicBezTo>
                <a:cubicBezTo>
                  <a:pt x="3203894" y="853882"/>
                  <a:pt x="3132157" y="851387"/>
                  <a:pt x="3068612" y="840034"/>
                </a:cubicBezTo>
                <a:cubicBezTo>
                  <a:pt x="3005067" y="828722"/>
                  <a:pt x="2949673" y="808594"/>
                  <a:pt x="2924513" y="782769"/>
                </a:cubicBezTo>
                <a:cubicBezTo>
                  <a:pt x="2899353" y="756985"/>
                  <a:pt x="2904385" y="725504"/>
                  <a:pt x="2940857" y="714816"/>
                </a:cubicBezTo>
                <a:cubicBezTo>
                  <a:pt x="2977370" y="704128"/>
                  <a:pt x="3045323" y="714192"/>
                  <a:pt x="3114524" y="723008"/>
                </a:cubicBezTo>
                <a:cubicBezTo>
                  <a:pt x="3183724" y="731825"/>
                  <a:pt x="3254214" y="739352"/>
                  <a:pt x="3317135" y="729288"/>
                </a:cubicBezTo>
                <a:cubicBezTo>
                  <a:pt x="3380056" y="719224"/>
                  <a:pt x="3435408" y="691527"/>
                  <a:pt x="3483857" y="682087"/>
                </a:cubicBezTo>
                <a:cubicBezTo>
                  <a:pt x="3532306" y="672647"/>
                  <a:pt x="3573851" y="681463"/>
                  <a:pt x="3601506" y="703463"/>
                </a:cubicBezTo>
                <a:cubicBezTo>
                  <a:pt x="3629203" y="725504"/>
                  <a:pt x="3643052" y="760728"/>
                  <a:pt x="3624171" y="797199"/>
                </a:cubicBezTo>
                <a:cubicBezTo>
                  <a:pt x="3605291" y="833713"/>
                  <a:pt x="3553681" y="871432"/>
                  <a:pt x="3496458" y="890936"/>
                </a:cubicBezTo>
                <a:cubicBezTo>
                  <a:pt x="3439193" y="910441"/>
                  <a:pt x="3376272" y="911688"/>
                  <a:pt x="3326575" y="918009"/>
                </a:cubicBezTo>
                <a:cubicBezTo>
                  <a:pt x="3276879" y="924289"/>
                  <a:pt x="3240366" y="935642"/>
                  <a:pt x="3198862" y="1002306"/>
                </a:cubicBezTo>
                <a:cubicBezTo>
                  <a:pt x="3157317" y="1069011"/>
                  <a:pt x="3110781" y="1191069"/>
                  <a:pt x="3097972" y="1299902"/>
                </a:cubicBezTo>
                <a:cubicBezTo>
                  <a:pt x="3085163" y="1408735"/>
                  <a:pt x="3106165" y="1504385"/>
                  <a:pt x="3159022" y="1545930"/>
                </a:cubicBezTo>
                <a:cubicBezTo>
                  <a:pt x="3211879" y="1587475"/>
                  <a:pt x="3296591" y="1574875"/>
                  <a:pt x="3371697" y="1536490"/>
                </a:cubicBezTo>
                <a:cubicBezTo>
                  <a:pt x="3446803" y="1498105"/>
                  <a:pt x="3512219" y="1433937"/>
                  <a:pt x="3551228" y="1376048"/>
                </a:cubicBezTo>
                <a:cubicBezTo>
                  <a:pt x="3590236" y="1318159"/>
                  <a:pt x="3602837" y="1266549"/>
                  <a:pt x="3554389" y="1231949"/>
                </a:cubicBezTo>
                <a:cubicBezTo>
                  <a:pt x="3505940" y="1197349"/>
                  <a:pt x="3396442" y="1179716"/>
                  <a:pt x="3336348" y="1191693"/>
                </a:cubicBezTo>
                <a:cubicBezTo>
                  <a:pt x="3276255" y="1203628"/>
                  <a:pt x="3265567" y="1245174"/>
                  <a:pt x="3344832" y="1255238"/>
                </a:cubicBezTo>
                <a:cubicBezTo>
                  <a:pt x="3424096" y="1265302"/>
                  <a:pt x="3593355" y="1243926"/>
                  <a:pt x="3769850" y="1241722"/>
                </a:cubicBezTo>
                <a:cubicBezTo>
                  <a:pt x="3946345" y="1239518"/>
                  <a:pt x="4130076" y="1256527"/>
                  <a:pt x="4254670" y="1259646"/>
                </a:cubicBezTo>
                <a:cubicBezTo>
                  <a:pt x="4379265" y="1262806"/>
                  <a:pt x="4444681" y="1252077"/>
                  <a:pt x="4484022" y="1236981"/>
                </a:cubicBezTo>
                <a:cubicBezTo>
                  <a:pt x="4523363" y="1221885"/>
                  <a:pt x="4536546" y="1202381"/>
                  <a:pt x="4465766" y="1185995"/>
                </a:cubicBezTo>
                <a:cubicBezTo>
                  <a:pt x="4394985" y="1169652"/>
                  <a:pt x="4240198" y="1156427"/>
                  <a:pt x="4105248" y="1177512"/>
                </a:cubicBezTo>
                <a:cubicBezTo>
                  <a:pt x="3970299" y="1198596"/>
                  <a:pt x="3855145" y="1253948"/>
                  <a:pt x="3734668" y="1331342"/>
                </a:cubicBezTo>
                <a:cubicBezTo>
                  <a:pt x="3614191" y="1408735"/>
                  <a:pt x="3488349" y="1508128"/>
                  <a:pt x="3388914" y="1604110"/>
                </a:cubicBezTo>
                <a:cubicBezTo>
                  <a:pt x="3289480" y="1700051"/>
                  <a:pt x="3216495" y="1792540"/>
                  <a:pt x="3156111" y="1921252"/>
                </a:cubicBezTo>
                <a:cubicBezTo>
                  <a:pt x="3095726" y="2049922"/>
                  <a:pt x="3047902" y="2214772"/>
                  <a:pt x="3060461" y="2419255"/>
                </a:cubicBezTo>
                <a:cubicBezTo>
                  <a:pt x="3073062" y="2623738"/>
                  <a:pt x="3146046" y="2867895"/>
                  <a:pt x="3290769" y="3048465"/>
                </a:cubicBezTo>
                <a:cubicBezTo>
                  <a:pt x="3435492" y="3229035"/>
                  <a:pt x="3651951" y="3346061"/>
                  <a:pt x="3868994" y="3394510"/>
                </a:cubicBezTo>
                <a:cubicBezTo>
                  <a:pt x="4086077" y="3442958"/>
                  <a:pt x="4303784" y="3422830"/>
                  <a:pt x="4507643" y="3330632"/>
                </a:cubicBezTo>
                <a:cubicBezTo>
                  <a:pt x="4711502" y="3238434"/>
                  <a:pt x="4901513" y="3074249"/>
                  <a:pt x="5002818" y="2841404"/>
                </a:cubicBezTo>
                <a:cubicBezTo>
                  <a:pt x="5104125" y="2608600"/>
                  <a:pt x="5116725" y="2307220"/>
                  <a:pt x="5036171" y="2052999"/>
                </a:cubicBezTo>
                <a:cubicBezTo>
                  <a:pt x="4955617" y="1798820"/>
                  <a:pt x="4781992" y="1591800"/>
                  <a:pt x="4605164" y="1482011"/>
                </a:cubicBezTo>
                <a:cubicBezTo>
                  <a:pt x="4428379" y="1372221"/>
                  <a:pt x="4248391" y="1359621"/>
                  <a:pt x="4138310" y="1352717"/>
                </a:cubicBezTo>
                <a:cubicBezTo>
                  <a:pt x="4028188" y="1345814"/>
                  <a:pt x="3987932" y="1344525"/>
                  <a:pt x="3977868" y="1466624"/>
                </a:cubicBezTo>
                <a:cubicBezTo>
                  <a:pt x="3967804" y="1588681"/>
                  <a:pt x="3987932" y="1834086"/>
                  <a:pt x="3999909" y="2001140"/>
                </a:cubicBezTo>
                <a:cubicBezTo>
                  <a:pt x="4011844" y="2168195"/>
                  <a:pt x="4015629" y="2256900"/>
                  <a:pt x="4033885" y="2313208"/>
                </a:cubicBezTo>
                <a:cubicBezTo>
                  <a:pt x="4052142" y="2369517"/>
                  <a:pt x="4084871" y="2393430"/>
                  <a:pt x="4125585" y="2399085"/>
                </a:cubicBezTo>
                <a:cubicBezTo>
                  <a:pt x="4166340" y="2404741"/>
                  <a:pt x="4215080" y="2392182"/>
                  <a:pt x="4230051" y="2362905"/>
                </a:cubicBezTo>
                <a:cubicBezTo>
                  <a:pt x="4244980" y="2333628"/>
                  <a:pt x="4226100" y="2287716"/>
                  <a:pt x="4194660" y="2271372"/>
                </a:cubicBezTo>
                <a:cubicBezTo>
                  <a:pt x="4163179" y="2255028"/>
                  <a:pt x="4119138" y="2268211"/>
                  <a:pt x="4097056" y="2303394"/>
                </a:cubicBezTo>
                <a:cubicBezTo>
                  <a:pt x="4074973" y="2338576"/>
                  <a:pt x="4074849" y="2395758"/>
                  <a:pt x="4080670" y="2437262"/>
                </a:cubicBezTo>
                <a:cubicBezTo>
                  <a:pt x="4086493" y="2478808"/>
                  <a:pt x="4098262" y="2504675"/>
                  <a:pt x="4079589" y="2519521"/>
                </a:cubicBezTo>
                <a:cubicBezTo>
                  <a:pt x="4060917" y="2534368"/>
                  <a:pt x="4011844" y="2538152"/>
                  <a:pt x="3900475" y="2539400"/>
                </a:cubicBezTo>
                <a:cubicBezTo>
                  <a:pt x="3789105" y="2540647"/>
                  <a:pt x="3615438" y="2539400"/>
                  <a:pt x="3490220" y="2545679"/>
                </a:cubicBezTo>
                <a:cubicBezTo>
                  <a:pt x="3365002" y="2551959"/>
                  <a:pt x="3288232" y="2565807"/>
                  <a:pt x="3249848" y="2602944"/>
                </a:cubicBezTo>
                <a:cubicBezTo>
                  <a:pt x="3211463" y="2640081"/>
                  <a:pt x="3211463" y="2700466"/>
                  <a:pt x="3240241" y="2790460"/>
                </a:cubicBezTo>
                <a:cubicBezTo>
                  <a:pt x="3269019" y="2880454"/>
                  <a:pt x="3326617" y="2999975"/>
                  <a:pt x="3433578" y="3133385"/>
                </a:cubicBezTo>
                <a:cubicBezTo>
                  <a:pt x="3540540" y="3266796"/>
                  <a:pt x="3696907" y="3414014"/>
                  <a:pt x="3925468" y="3465290"/>
                </a:cubicBezTo>
              </a:path>
            </a:pathLst>
          </a:custGeom>
          <a:noFill/>
          <a:ln w="15875" cap="rnd">
            <a:solidFill>
              <a:schemeClr val="accent4"/>
            </a:solidFill>
            <a:prstDash val="solid"/>
            <a:miter/>
          </a:ln>
        </p:spPr>
        <p:txBody>
          <a:bodyPr rtlCol="0" anchor="ctr"/>
          <a:lstStyle/>
          <a:p>
            <a:endParaRPr lang="ja-JP" altLang="en-US"/>
          </a:p>
        </p:txBody>
      </p:sp>
      <p:sp>
        <p:nvSpPr>
          <p:cNvPr id="4" name="タイトル 1">
            <a:extLst>
              <a:ext uri="{FF2B5EF4-FFF2-40B4-BE49-F238E27FC236}">
                <a16:creationId xmlns:a16="http://schemas.microsoft.com/office/drawing/2014/main" id="{AAF9B853-877E-3ED0-4210-7B7520B5D07D}"/>
              </a:ext>
            </a:extLst>
          </p:cNvPr>
          <p:cNvSpPr>
            <a:spLocks noGrp="1"/>
          </p:cNvSpPr>
          <p:nvPr>
            <p:ph type="title"/>
          </p:nvPr>
        </p:nvSpPr>
        <p:spPr>
          <a:xfrm>
            <a:off x="352482" y="434305"/>
            <a:ext cx="5419467" cy="428400"/>
          </a:xfrm>
        </p:spPr>
        <p:txBody>
          <a:bodyPr wrap="none">
            <a:noAutofit/>
          </a:bodyPr>
          <a:lstStyle>
            <a:lvl1pPr>
              <a:defRPr lang="ja-JP" altLang="en-US" sz="2000" b="1" dirty="0"/>
            </a:lvl1pPr>
          </a:lstStyle>
          <a:p>
            <a:pPr lvl="0"/>
            <a:r>
              <a:rPr kumimoji="1" lang="ja-JP" altLang="en-US"/>
              <a:t>マスター タイトルの書式設定</a:t>
            </a:r>
          </a:p>
        </p:txBody>
      </p:sp>
      <p:sp>
        <p:nvSpPr>
          <p:cNvPr id="12" name="テキスト プレースホルダー 51">
            <a:extLst>
              <a:ext uri="{FF2B5EF4-FFF2-40B4-BE49-F238E27FC236}">
                <a16:creationId xmlns:a16="http://schemas.microsoft.com/office/drawing/2014/main" id="{CBE74BBC-C697-568F-1475-046F996FBECD}"/>
              </a:ext>
            </a:extLst>
          </p:cNvPr>
          <p:cNvSpPr>
            <a:spLocks noGrp="1"/>
          </p:cNvSpPr>
          <p:nvPr>
            <p:ph type="body" sz="quarter" idx="13"/>
          </p:nvPr>
        </p:nvSpPr>
        <p:spPr>
          <a:xfrm>
            <a:off x="383811" y="212725"/>
            <a:ext cx="2228495" cy="259815"/>
          </a:xfrm>
          <a:noFill/>
        </p:spPr>
        <p:txBody>
          <a:bodyPr wrap="none" rtlCol="0">
            <a:spAutoFit/>
          </a:bodyPr>
          <a:lstStyle>
            <a:lvl1pPr marL="0" indent="0">
              <a:buFontTx/>
              <a:buNone/>
              <a:defRPr lang="ja-JP" altLang="en-US" sz="1200" b="1" dirty="0">
                <a:latin typeface="+mj-ea"/>
                <a:ea typeface="+mj-ea"/>
              </a:defRPr>
            </a:lvl1pPr>
          </a:lstStyle>
          <a:p>
            <a:pPr lvl="0"/>
            <a:r>
              <a:rPr kumimoji="1" lang="ja-JP" altLang="en-US"/>
              <a:t>マスター テキストの書式設定</a:t>
            </a:r>
          </a:p>
        </p:txBody>
      </p:sp>
    </p:spTree>
    <p:extLst>
      <p:ext uri="{BB962C8B-B14F-4D97-AF65-F5344CB8AC3E}">
        <p14:creationId xmlns:p14="http://schemas.microsoft.com/office/powerpoint/2010/main" val="2738846380"/>
      </p:ext>
    </p:extLst>
  </p:cSld>
  <p:clrMapOvr>
    <a:masterClrMapping/>
  </p:clrMapOvr>
  <p:extLst mod="1">
    <p:ext uri="{DCECCB84-F9BA-43D5-87BE-67443E8EF086}">
      <p15:sldGuideLst xmlns:p15="http://schemas.microsoft.com/office/powerpoint/2012/main">
        <p15:guide id="1" orient="horz" pos="70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緑線_ヘッド文あり">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590CD8F7-B765-3CB6-9036-61B8EBDC7AD2}"/>
              </a:ext>
            </a:extLst>
          </p:cNvPr>
          <p:cNvSpPr>
            <a:spLocks noGrp="1"/>
          </p:cNvSpPr>
          <p:nvPr>
            <p:ph type="dt" sz="half" idx="10"/>
          </p:nvPr>
        </p:nvSpPr>
        <p:spPr/>
        <p:txBody>
          <a:bodyPr/>
          <a:lstStyle/>
          <a:p>
            <a:fld id="{9F481830-A42C-4C1A-A319-21B0ECC5A71C}" type="datetime1">
              <a:rPr kumimoji="1" lang="ja-JP" altLang="en-US" smtClean="0"/>
              <a:t>2024/7/1</a:t>
            </a:fld>
            <a:endParaRPr kumimoji="1" lang="ja-JP" altLang="en-US"/>
          </a:p>
        </p:txBody>
      </p:sp>
      <p:sp>
        <p:nvSpPr>
          <p:cNvPr id="3" name="フッター プレースホルダー 2">
            <a:extLst>
              <a:ext uri="{FF2B5EF4-FFF2-40B4-BE49-F238E27FC236}">
                <a16:creationId xmlns:a16="http://schemas.microsoft.com/office/drawing/2014/main" id="{D766499A-ED94-0F69-099E-87D5B933CB6F}"/>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5" name="スライド番号プレースホルダー 4">
            <a:extLst>
              <a:ext uri="{FF2B5EF4-FFF2-40B4-BE49-F238E27FC236}">
                <a16:creationId xmlns:a16="http://schemas.microsoft.com/office/drawing/2014/main" id="{3A43CC76-FD01-4D12-3976-5E659672B14F}"/>
              </a:ext>
            </a:extLst>
          </p:cNvPr>
          <p:cNvSpPr>
            <a:spLocks noGrp="1"/>
          </p:cNvSpPr>
          <p:nvPr>
            <p:ph type="sldNum" sz="quarter" idx="12"/>
          </p:nvPr>
        </p:nvSpPr>
        <p:spPr>
          <a:xfrm>
            <a:off x="7544584" y="6492875"/>
            <a:ext cx="2228850" cy="365125"/>
          </a:xfrm>
        </p:spPr>
        <p:txBody>
          <a:bodyPr/>
          <a:lstStyle>
            <a:lvl1pPr>
              <a:defRPr sz="1100" b="1">
                <a:solidFill>
                  <a:schemeClr val="tx1">
                    <a:lumMod val="50000"/>
                    <a:lumOff val="50000"/>
                  </a:schemeClr>
                </a:solidFill>
                <a:latin typeface="+mn-lt"/>
              </a:defRPr>
            </a:lvl1pPr>
          </a:lstStyle>
          <a:p>
            <a:fld id="{3DB74C4F-4DC2-4C31-8D08-159129179147}" type="slidenum">
              <a:rPr kumimoji="1" lang="ja-JP" altLang="en-US" smtClean="0"/>
              <a:pPr/>
              <a:t>‹#›</a:t>
            </a:fld>
            <a:endParaRPr kumimoji="1" lang="ja-JP" altLang="en-US"/>
          </a:p>
        </p:txBody>
      </p:sp>
      <p:sp>
        <p:nvSpPr>
          <p:cNvPr id="6" name="フリーフォーム: 図形 5">
            <a:extLst>
              <a:ext uri="{FF2B5EF4-FFF2-40B4-BE49-F238E27FC236}">
                <a16:creationId xmlns:a16="http://schemas.microsoft.com/office/drawing/2014/main" id="{7D8472CA-E133-8E30-FFBD-005A50E6BD3D}"/>
              </a:ext>
            </a:extLst>
          </p:cNvPr>
          <p:cNvSpPr/>
          <p:nvPr userDrawn="1"/>
        </p:nvSpPr>
        <p:spPr>
          <a:xfrm>
            <a:off x="0" y="724339"/>
            <a:ext cx="9956798" cy="179116"/>
          </a:xfrm>
          <a:custGeom>
            <a:avLst/>
            <a:gdLst>
              <a:gd name="connsiteX0" fmla="*/ 0 w 5915025"/>
              <a:gd name="connsiteY0" fmla="*/ 0 h 761742"/>
              <a:gd name="connsiteX1" fmla="*/ 2947987 w 5915025"/>
              <a:gd name="connsiteY1" fmla="*/ 733425 h 761742"/>
              <a:gd name="connsiteX2" fmla="*/ 5915025 w 5915025"/>
              <a:gd name="connsiteY2" fmla="*/ 552450 h 761742"/>
              <a:gd name="connsiteX0" fmla="*/ 0 w 8328025"/>
              <a:gd name="connsiteY0" fmla="*/ 0 h 733425"/>
              <a:gd name="connsiteX1" fmla="*/ 2947987 w 8328025"/>
              <a:gd name="connsiteY1" fmla="*/ 733425 h 733425"/>
              <a:gd name="connsiteX2" fmla="*/ 8328025 w 8328025"/>
              <a:gd name="connsiteY2" fmla="*/ 184150 h 733425"/>
              <a:gd name="connsiteX0" fmla="*/ 0 w 8328025"/>
              <a:gd name="connsiteY0" fmla="*/ 0 h 733425"/>
              <a:gd name="connsiteX1" fmla="*/ 2947987 w 8328025"/>
              <a:gd name="connsiteY1" fmla="*/ 733425 h 733425"/>
              <a:gd name="connsiteX2" fmla="*/ 8328025 w 8328025"/>
              <a:gd name="connsiteY2" fmla="*/ 184150 h 733425"/>
              <a:gd name="connsiteX0" fmla="*/ 0 w 8328025"/>
              <a:gd name="connsiteY0" fmla="*/ 0 h 755652"/>
              <a:gd name="connsiteX1" fmla="*/ 2947987 w 8328025"/>
              <a:gd name="connsiteY1" fmla="*/ 733425 h 755652"/>
              <a:gd name="connsiteX2" fmla="*/ 8328025 w 8328025"/>
              <a:gd name="connsiteY2" fmla="*/ 184150 h 755652"/>
              <a:gd name="connsiteX0" fmla="*/ 0 w 8328025"/>
              <a:gd name="connsiteY0" fmla="*/ 0 h 755652"/>
              <a:gd name="connsiteX1" fmla="*/ 2947987 w 8328025"/>
              <a:gd name="connsiteY1" fmla="*/ 733425 h 755652"/>
              <a:gd name="connsiteX2" fmla="*/ 8328025 w 8328025"/>
              <a:gd name="connsiteY2" fmla="*/ 184150 h 755652"/>
              <a:gd name="connsiteX0" fmla="*/ 0 w 10576775"/>
              <a:gd name="connsiteY0" fmla="*/ 332943 h 1069864"/>
              <a:gd name="connsiteX1" fmla="*/ 2947987 w 10576775"/>
              <a:gd name="connsiteY1" fmla="*/ 1066368 h 1069864"/>
              <a:gd name="connsiteX2" fmla="*/ 10576775 w 10576775"/>
              <a:gd name="connsiteY2" fmla="*/ 0 h 1069864"/>
              <a:gd name="connsiteX0" fmla="*/ 0 w 10576775"/>
              <a:gd name="connsiteY0" fmla="*/ 332943 h 1069865"/>
              <a:gd name="connsiteX1" fmla="*/ 2947987 w 10576775"/>
              <a:gd name="connsiteY1" fmla="*/ 1066368 h 1069865"/>
              <a:gd name="connsiteX2" fmla="*/ 10576775 w 10576775"/>
              <a:gd name="connsiteY2" fmla="*/ 0 h 1069865"/>
              <a:gd name="connsiteX0" fmla="*/ 0 w 10576775"/>
              <a:gd name="connsiteY0" fmla="*/ 332943 h 1237511"/>
              <a:gd name="connsiteX1" fmla="*/ 3669511 w 10576775"/>
              <a:gd name="connsiteY1" fmla="*/ 1234723 h 1237511"/>
              <a:gd name="connsiteX2" fmla="*/ 10576775 w 10576775"/>
              <a:gd name="connsiteY2" fmla="*/ 0 h 1237511"/>
              <a:gd name="connsiteX0" fmla="*/ 0 w 10576775"/>
              <a:gd name="connsiteY0" fmla="*/ 332943 h 1234776"/>
              <a:gd name="connsiteX1" fmla="*/ 3669511 w 10576775"/>
              <a:gd name="connsiteY1" fmla="*/ 1234723 h 1234776"/>
              <a:gd name="connsiteX2" fmla="*/ 10576775 w 10576775"/>
              <a:gd name="connsiteY2" fmla="*/ 0 h 1234776"/>
              <a:gd name="connsiteX0" fmla="*/ 0 w 10576775"/>
              <a:gd name="connsiteY0" fmla="*/ 332943 h 1251515"/>
              <a:gd name="connsiteX1" fmla="*/ 3669511 w 10576775"/>
              <a:gd name="connsiteY1" fmla="*/ 1234723 h 1251515"/>
              <a:gd name="connsiteX2" fmla="*/ 7221703 w 10576775"/>
              <a:gd name="connsiteY2" fmla="*/ 673308 h 1251515"/>
              <a:gd name="connsiteX3" fmla="*/ 10576775 w 10576775"/>
              <a:gd name="connsiteY3" fmla="*/ 0 h 1251515"/>
              <a:gd name="connsiteX0" fmla="*/ 0 w 10753148"/>
              <a:gd name="connsiteY0" fmla="*/ 0 h 918572"/>
              <a:gd name="connsiteX1" fmla="*/ 3669511 w 10753148"/>
              <a:gd name="connsiteY1" fmla="*/ 901780 h 918572"/>
              <a:gd name="connsiteX2" fmla="*/ 7221703 w 10753148"/>
              <a:gd name="connsiteY2" fmla="*/ 340365 h 918572"/>
              <a:gd name="connsiteX3" fmla="*/ 10753148 w 10753148"/>
              <a:gd name="connsiteY3" fmla="*/ 532873 h 918572"/>
              <a:gd name="connsiteX0" fmla="*/ 0 w 10753148"/>
              <a:gd name="connsiteY0" fmla="*/ 0 h 918572"/>
              <a:gd name="connsiteX1" fmla="*/ 3669511 w 10753148"/>
              <a:gd name="connsiteY1" fmla="*/ 901780 h 918572"/>
              <a:gd name="connsiteX2" fmla="*/ 7221703 w 10753148"/>
              <a:gd name="connsiteY2" fmla="*/ 340365 h 918572"/>
              <a:gd name="connsiteX3" fmla="*/ 10753148 w 10753148"/>
              <a:gd name="connsiteY3" fmla="*/ 532873 h 918572"/>
              <a:gd name="connsiteX0" fmla="*/ 0 w 10753148"/>
              <a:gd name="connsiteY0" fmla="*/ 0 h 918572"/>
              <a:gd name="connsiteX1" fmla="*/ 3669511 w 10753148"/>
              <a:gd name="connsiteY1" fmla="*/ 901780 h 918572"/>
              <a:gd name="connsiteX2" fmla="*/ 7221703 w 10753148"/>
              <a:gd name="connsiteY2" fmla="*/ 340365 h 918572"/>
              <a:gd name="connsiteX3" fmla="*/ 10753148 w 10753148"/>
              <a:gd name="connsiteY3" fmla="*/ 532873 h 918572"/>
              <a:gd name="connsiteX0" fmla="*/ 0 w 10753148"/>
              <a:gd name="connsiteY0" fmla="*/ 0 h 925735"/>
              <a:gd name="connsiteX1" fmla="*/ 3669511 w 10753148"/>
              <a:gd name="connsiteY1" fmla="*/ 901780 h 925735"/>
              <a:gd name="connsiteX2" fmla="*/ 7221703 w 10753148"/>
              <a:gd name="connsiteY2" fmla="*/ 340365 h 925735"/>
              <a:gd name="connsiteX3" fmla="*/ 10753148 w 10753148"/>
              <a:gd name="connsiteY3" fmla="*/ 532873 h 925735"/>
              <a:gd name="connsiteX0" fmla="*/ 0 w 10753148"/>
              <a:gd name="connsiteY0" fmla="*/ 0 h 1043474"/>
              <a:gd name="connsiteX1" fmla="*/ 3100309 w 10753148"/>
              <a:gd name="connsiteY1" fmla="*/ 1023536 h 1043474"/>
              <a:gd name="connsiteX2" fmla="*/ 7221703 w 10753148"/>
              <a:gd name="connsiteY2" fmla="*/ 340365 h 1043474"/>
              <a:gd name="connsiteX3" fmla="*/ 10753148 w 10753148"/>
              <a:gd name="connsiteY3" fmla="*/ 532873 h 1043474"/>
              <a:gd name="connsiteX0" fmla="*/ 0 w 10753148"/>
              <a:gd name="connsiteY0" fmla="*/ 0 h 1031142"/>
              <a:gd name="connsiteX1" fmla="*/ 3100309 w 10753148"/>
              <a:gd name="connsiteY1" fmla="*/ 1023536 h 1031142"/>
              <a:gd name="connsiteX2" fmla="*/ 7919177 w 10753148"/>
              <a:gd name="connsiteY2" fmla="*/ 432006 h 1031142"/>
              <a:gd name="connsiteX3" fmla="*/ 10753148 w 10753148"/>
              <a:gd name="connsiteY3" fmla="*/ 532873 h 1031142"/>
              <a:gd name="connsiteX0" fmla="*/ 0 w 10753148"/>
              <a:gd name="connsiteY0" fmla="*/ 0 h 1028248"/>
              <a:gd name="connsiteX1" fmla="*/ 3100309 w 10753148"/>
              <a:gd name="connsiteY1" fmla="*/ 1023536 h 1028248"/>
              <a:gd name="connsiteX2" fmla="*/ 7919177 w 10753148"/>
              <a:gd name="connsiteY2" fmla="*/ 432006 h 1028248"/>
              <a:gd name="connsiteX3" fmla="*/ 10753148 w 10753148"/>
              <a:gd name="connsiteY3" fmla="*/ 532873 h 1028248"/>
              <a:gd name="connsiteX0" fmla="*/ 0 w 10753148"/>
              <a:gd name="connsiteY0" fmla="*/ 0 h 1034490"/>
              <a:gd name="connsiteX1" fmla="*/ 3100309 w 10753148"/>
              <a:gd name="connsiteY1" fmla="*/ 1023536 h 1034490"/>
              <a:gd name="connsiteX2" fmla="*/ 10753148 w 10753148"/>
              <a:gd name="connsiteY2" fmla="*/ 532873 h 1034490"/>
              <a:gd name="connsiteX0" fmla="*/ 0 w 10945554"/>
              <a:gd name="connsiteY0" fmla="*/ 16986 h 1040530"/>
              <a:gd name="connsiteX1" fmla="*/ 3100309 w 10945554"/>
              <a:gd name="connsiteY1" fmla="*/ 1040522 h 1040530"/>
              <a:gd name="connsiteX2" fmla="*/ 10945554 w 10945554"/>
              <a:gd name="connsiteY2" fmla="*/ 0 h 1040530"/>
              <a:gd name="connsiteX0" fmla="*/ 0 w 10945554"/>
              <a:gd name="connsiteY0" fmla="*/ 16986 h 1055583"/>
              <a:gd name="connsiteX1" fmla="*/ 3100309 w 10945554"/>
              <a:gd name="connsiteY1" fmla="*/ 1040522 h 1055583"/>
              <a:gd name="connsiteX2" fmla="*/ 10945554 w 10945554"/>
              <a:gd name="connsiteY2" fmla="*/ 0 h 1055583"/>
              <a:gd name="connsiteX0" fmla="*/ 0 w 10945554"/>
              <a:gd name="connsiteY0" fmla="*/ 16986 h 1055577"/>
              <a:gd name="connsiteX1" fmla="*/ 3100309 w 10945554"/>
              <a:gd name="connsiteY1" fmla="*/ 1040522 h 1055577"/>
              <a:gd name="connsiteX2" fmla="*/ 10945554 w 10945554"/>
              <a:gd name="connsiteY2" fmla="*/ 0 h 1055577"/>
              <a:gd name="connsiteX0" fmla="*/ 0 w 10945554"/>
              <a:gd name="connsiteY0" fmla="*/ 16986 h 1055577"/>
              <a:gd name="connsiteX1" fmla="*/ 3100309 w 10945554"/>
              <a:gd name="connsiteY1" fmla="*/ 1040522 h 1055577"/>
              <a:gd name="connsiteX2" fmla="*/ 10945554 w 10945554"/>
              <a:gd name="connsiteY2" fmla="*/ 0 h 1055577"/>
              <a:gd name="connsiteX0" fmla="*/ 0 w 10945554"/>
              <a:gd name="connsiteY0" fmla="*/ 16986 h 1055577"/>
              <a:gd name="connsiteX1" fmla="*/ 3100309 w 10945554"/>
              <a:gd name="connsiteY1" fmla="*/ 1040522 h 1055577"/>
              <a:gd name="connsiteX2" fmla="*/ 10945554 w 10945554"/>
              <a:gd name="connsiteY2" fmla="*/ 0 h 1055577"/>
              <a:gd name="connsiteX0" fmla="*/ 0 w 10945554"/>
              <a:gd name="connsiteY0" fmla="*/ 16986 h 1055577"/>
              <a:gd name="connsiteX1" fmla="*/ 3100309 w 10945554"/>
              <a:gd name="connsiteY1" fmla="*/ 1040522 h 1055577"/>
              <a:gd name="connsiteX2" fmla="*/ 10945554 w 10945554"/>
              <a:gd name="connsiteY2" fmla="*/ 0 h 1055577"/>
            </a:gdLst>
            <a:ahLst/>
            <a:cxnLst>
              <a:cxn ang="0">
                <a:pos x="connsiteX0" y="connsiteY0"/>
              </a:cxn>
              <a:cxn ang="0">
                <a:pos x="connsiteX1" y="connsiteY1"/>
              </a:cxn>
              <a:cxn ang="0">
                <a:pos x="connsiteX2" y="connsiteY2"/>
              </a:cxn>
            </a:cxnLst>
            <a:rect l="l" t="t" r="r" b="b"/>
            <a:pathLst>
              <a:path w="10945554" h="1055577">
                <a:moveTo>
                  <a:pt x="0" y="16986"/>
                </a:moveTo>
                <a:cubicBezTo>
                  <a:pt x="135247" y="1083393"/>
                  <a:pt x="1276050" y="1043353"/>
                  <a:pt x="3100309" y="1040522"/>
                </a:cubicBezTo>
                <a:cubicBezTo>
                  <a:pt x="4924568" y="1037691"/>
                  <a:pt x="8786019" y="1270669"/>
                  <a:pt x="10945554" y="0"/>
                </a:cubicBezTo>
              </a:path>
            </a:pathLst>
          </a:cu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7" name="グラフィックス 6">
            <a:extLst>
              <a:ext uri="{FF2B5EF4-FFF2-40B4-BE49-F238E27FC236}">
                <a16:creationId xmlns:a16="http://schemas.microsoft.com/office/drawing/2014/main" id="{9DC6F92E-6B8C-02C2-AB94-5BEFD506C8D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8406818" y="210781"/>
            <a:ext cx="1026676" cy="233049"/>
          </a:xfrm>
          <a:prstGeom prst="rect">
            <a:avLst/>
          </a:prstGeom>
        </p:spPr>
      </p:pic>
      <p:sp>
        <p:nvSpPr>
          <p:cNvPr id="8" name="フリーフォーム: 図形 7">
            <a:extLst>
              <a:ext uri="{FF2B5EF4-FFF2-40B4-BE49-F238E27FC236}">
                <a16:creationId xmlns:a16="http://schemas.microsoft.com/office/drawing/2014/main" id="{04770AE3-DA02-7881-6B6C-A46E455CFE0C}"/>
              </a:ext>
            </a:extLst>
          </p:cNvPr>
          <p:cNvSpPr/>
          <p:nvPr userDrawn="1"/>
        </p:nvSpPr>
        <p:spPr>
          <a:xfrm rot="650446">
            <a:off x="11520" y="611212"/>
            <a:ext cx="81972" cy="130278"/>
          </a:xfrm>
          <a:custGeom>
            <a:avLst/>
            <a:gdLst>
              <a:gd name="connsiteX0" fmla="*/ 6253 w 177898"/>
              <a:gd name="connsiteY0" fmla="*/ 282666 h 282735"/>
              <a:gd name="connsiteX1" fmla="*/ 50703 w 177898"/>
              <a:gd name="connsiteY1" fmla="*/ 22316 h 282735"/>
              <a:gd name="connsiteX2" fmla="*/ 177703 w 177898"/>
              <a:gd name="connsiteY2" fmla="*/ 47716 h 282735"/>
              <a:gd name="connsiteX3" fmla="*/ 6253 w 177898"/>
              <a:gd name="connsiteY3" fmla="*/ 282666 h 282735"/>
            </a:gdLst>
            <a:ahLst/>
            <a:cxnLst>
              <a:cxn ang="0">
                <a:pos x="connsiteX0" y="connsiteY0"/>
              </a:cxn>
              <a:cxn ang="0">
                <a:pos x="connsiteX1" y="connsiteY1"/>
              </a:cxn>
              <a:cxn ang="0">
                <a:pos x="connsiteX2" y="connsiteY2"/>
              </a:cxn>
              <a:cxn ang="0">
                <a:pos x="connsiteX3" y="connsiteY3"/>
              </a:cxn>
            </a:cxnLst>
            <a:rect l="l" t="t" r="r" b="b"/>
            <a:pathLst>
              <a:path w="177898" h="282735">
                <a:moveTo>
                  <a:pt x="6253" y="282666"/>
                </a:moveTo>
                <a:cubicBezTo>
                  <a:pt x="-14914" y="278433"/>
                  <a:pt x="22128" y="61474"/>
                  <a:pt x="50703" y="22316"/>
                </a:cubicBezTo>
                <a:cubicBezTo>
                  <a:pt x="79278" y="-16842"/>
                  <a:pt x="182995" y="-2026"/>
                  <a:pt x="177703" y="47716"/>
                </a:cubicBezTo>
                <a:cubicBezTo>
                  <a:pt x="172411" y="97458"/>
                  <a:pt x="27420" y="286899"/>
                  <a:pt x="6253" y="282666"/>
                </a:cubicBezTo>
                <a:close/>
              </a:path>
            </a:pathLst>
          </a:cu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グラフィックス 6">
            <a:extLst>
              <a:ext uri="{FF2B5EF4-FFF2-40B4-BE49-F238E27FC236}">
                <a16:creationId xmlns:a16="http://schemas.microsoft.com/office/drawing/2014/main" id="{45D729C5-C88C-0BFC-FA56-B1B325E1D3CD}"/>
              </a:ext>
            </a:extLst>
          </p:cNvPr>
          <p:cNvSpPr/>
          <p:nvPr userDrawn="1"/>
        </p:nvSpPr>
        <p:spPr>
          <a:xfrm flipH="1">
            <a:off x="7538926" y="387159"/>
            <a:ext cx="690674" cy="470326"/>
          </a:xfrm>
          <a:custGeom>
            <a:avLst/>
            <a:gdLst>
              <a:gd name="connsiteX0" fmla="*/ 0 w 9875100"/>
              <a:gd name="connsiteY0" fmla="*/ 3339656 h 3487140"/>
              <a:gd name="connsiteX1" fmla="*/ 659859 w 9875100"/>
              <a:gd name="connsiteY1" fmla="*/ 3395424 h 3487140"/>
              <a:gd name="connsiteX2" fmla="*/ 984944 w 9875100"/>
              <a:gd name="connsiteY2" fmla="*/ 2916759 h 3487140"/>
              <a:gd name="connsiteX3" fmla="*/ 1241411 w 9875100"/>
              <a:gd name="connsiteY3" fmla="*/ 2898295 h 3487140"/>
              <a:gd name="connsiteX4" fmla="*/ 1470762 w 9875100"/>
              <a:gd name="connsiteY4" fmla="*/ 3416675 h 3487140"/>
              <a:gd name="connsiteX5" fmla="*/ 1630581 w 9875100"/>
              <a:gd name="connsiteY5" fmla="*/ 3205871 h 3487140"/>
              <a:gd name="connsiteX6" fmla="*/ 1889834 w 9875100"/>
              <a:gd name="connsiteY6" fmla="*/ 2696848 h 3487140"/>
              <a:gd name="connsiteX7" fmla="*/ 2164182 w 9875100"/>
              <a:gd name="connsiteY7" fmla="*/ 2954187 h 3487140"/>
              <a:gd name="connsiteX8" fmla="*/ 2511516 w 9875100"/>
              <a:gd name="connsiteY8" fmla="*/ 3339906 h 3487140"/>
              <a:gd name="connsiteX9" fmla="*/ 2969638 w 9875100"/>
              <a:gd name="connsiteY9" fmla="*/ 3385485 h 3487140"/>
              <a:gd name="connsiteX10" fmla="*/ 3048320 w 9875100"/>
              <a:gd name="connsiteY10" fmla="*/ 3295741 h 3487140"/>
              <a:gd name="connsiteX11" fmla="*/ 2797218 w 9875100"/>
              <a:gd name="connsiteY11" fmla="*/ 3112384 h 3487140"/>
              <a:gd name="connsiteX12" fmla="*/ 2491055 w 9875100"/>
              <a:gd name="connsiteY12" fmla="*/ 2750287 h 3487140"/>
              <a:gd name="connsiteX13" fmla="*/ 2399523 w 9875100"/>
              <a:gd name="connsiteY13" fmla="*/ 2305432 h 3487140"/>
              <a:gd name="connsiteX14" fmla="*/ 2527111 w 9875100"/>
              <a:gd name="connsiteY14" fmla="*/ 1919713 h 3487140"/>
              <a:gd name="connsiteX15" fmla="*/ 2851323 w 9875100"/>
              <a:gd name="connsiteY15" fmla="*/ 1637837 h 3487140"/>
              <a:gd name="connsiteX16" fmla="*/ 3344627 w 9875100"/>
              <a:gd name="connsiteY16" fmla="*/ 1545972 h 3487140"/>
              <a:gd name="connsiteX17" fmla="*/ 3579302 w 9875100"/>
              <a:gd name="connsiteY17" fmla="*/ 1517651 h 3487140"/>
              <a:gd name="connsiteX18" fmla="*/ 3564039 w 9875100"/>
              <a:gd name="connsiteY18" fmla="*/ 1460718 h 3487140"/>
              <a:gd name="connsiteX19" fmla="*/ 3287985 w 9875100"/>
              <a:gd name="connsiteY19" fmla="*/ 1416969 h 3487140"/>
              <a:gd name="connsiteX20" fmla="*/ 2768565 w 9875100"/>
              <a:gd name="connsiteY20" fmla="*/ 1517318 h 3487140"/>
              <a:gd name="connsiteX21" fmla="*/ 2359267 w 9875100"/>
              <a:gd name="connsiteY21" fmla="*/ 1960593 h 3487140"/>
              <a:gd name="connsiteX22" fmla="*/ 2299797 w 9875100"/>
              <a:gd name="connsiteY22" fmla="*/ 2569342 h 3487140"/>
              <a:gd name="connsiteX23" fmla="*/ 2713504 w 9875100"/>
              <a:gd name="connsiteY23" fmla="*/ 3165532 h 3487140"/>
              <a:gd name="connsiteX24" fmla="*/ 3503489 w 9875100"/>
              <a:gd name="connsiteY24" fmla="*/ 3283181 h 3487140"/>
              <a:gd name="connsiteX25" fmla="*/ 4106125 w 9875100"/>
              <a:gd name="connsiteY25" fmla="*/ 2757481 h 3487140"/>
              <a:gd name="connsiteX26" fmla="*/ 4095894 w 9875100"/>
              <a:gd name="connsiteY26" fmla="*/ 1980430 h 3487140"/>
              <a:gd name="connsiteX27" fmla="*/ 3765860 w 9875100"/>
              <a:gd name="connsiteY27" fmla="*/ 1589139 h 3487140"/>
              <a:gd name="connsiteX28" fmla="*/ 3576806 w 9875100"/>
              <a:gd name="connsiteY28" fmla="*/ 1660710 h 3487140"/>
              <a:gd name="connsiteX29" fmla="*/ 3468389 w 9875100"/>
              <a:gd name="connsiteY29" fmla="*/ 2116627 h 3487140"/>
              <a:gd name="connsiteX30" fmla="*/ 3245026 w 9875100"/>
              <a:gd name="connsiteY30" fmla="*/ 2374258 h 3487140"/>
              <a:gd name="connsiteX31" fmla="*/ 3190090 w 9875100"/>
              <a:gd name="connsiteY31" fmla="*/ 2276986 h 3487140"/>
              <a:gd name="connsiteX32" fmla="*/ 3569362 w 9875100"/>
              <a:gd name="connsiteY32" fmla="*/ 2021601 h 3487140"/>
              <a:gd name="connsiteX33" fmla="*/ 3829281 w 9875100"/>
              <a:gd name="connsiteY33" fmla="*/ 1234153 h 3487140"/>
              <a:gd name="connsiteX34" fmla="*/ 4059381 w 9875100"/>
              <a:gd name="connsiteY34" fmla="*/ 725296 h 3487140"/>
              <a:gd name="connsiteX35" fmla="*/ 4167964 w 9875100"/>
              <a:gd name="connsiteY35" fmla="*/ 539984 h 3487140"/>
              <a:gd name="connsiteX36" fmla="*/ 4136816 w 9875100"/>
              <a:gd name="connsiteY36" fmla="*/ 435851 h 3487140"/>
              <a:gd name="connsiteX37" fmla="*/ 4030478 w 9875100"/>
              <a:gd name="connsiteY37" fmla="*/ 350265 h 3487140"/>
              <a:gd name="connsiteX38" fmla="*/ 3985190 w 9875100"/>
              <a:gd name="connsiteY38" fmla="*/ 209327 h 3487140"/>
              <a:gd name="connsiteX39" fmla="*/ 4030020 w 9875100"/>
              <a:gd name="connsiteY39" fmla="*/ 82237 h 3487140"/>
              <a:gd name="connsiteX40" fmla="*/ 4210300 w 9875100"/>
              <a:gd name="connsiteY40" fmla="*/ 6716 h 3487140"/>
              <a:gd name="connsiteX41" fmla="*/ 4478993 w 9875100"/>
              <a:gd name="connsiteY41" fmla="*/ 10167 h 3487140"/>
              <a:gd name="connsiteX42" fmla="*/ 4562666 w 9875100"/>
              <a:gd name="connsiteY42" fmla="*/ 49800 h 3487140"/>
              <a:gd name="connsiteX43" fmla="*/ 4515631 w 9875100"/>
              <a:gd name="connsiteY43" fmla="*/ 86812 h 3487140"/>
              <a:gd name="connsiteX44" fmla="*/ 4279708 w 9875100"/>
              <a:gd name="connsiteY44" fmla="*/ 91886 h 3487140"/>
              <a:gd name="connsiteX45" fmla="*/ 4036175 w 9875100"/>
              <a:gd name="connsiteY45" fmla="*/ 75833 h 3487140"/>
              <a:gd name="connsiteX46" fmla="*/ 3928424 w 9875100"/>
              <a:gd name="connsiteY46" fmla="*/ 176931 h 3487140"/>
              <a:gd name="connsiteX47" fmla="*/ 3943686 w 9875100"/>
              <a:gd name="connsiteY47" fmla="*/ 370393 h 3487140"/>
              <a:gd name="connsiteX48" fmla="*/ 3888459 w 9875100"/>
              <a:gd name="connsiteY48" fmla="*/ 589348 h 3487140"/>
              <a:gd name="connsiteX49" fmla="*/ 3731925 w 9875100"/>
              <a:gd name="connsiteY49" fmla="*/ 903953 h 3487140"/>
              <a:gd name="connsiteX50" fmla="*/ 3521454 w 9875100"/>
              <a:gd name="connsiteY50" fmla="*/ 922501 h 3487140"/>
              <a:gd name="connsiteX51" fmla="*/ 3327035 w 9875100"/>
              <a:gd name="connsiteY51" fmla="*/ 866816 h 3487140"/>
              <a:gd name="connsiteX52" fmla="*/ 3268190 w 9875100"/>
              <a:gd name="connsiteY52" fmla="*/ 751038 h 3487140"/>
              <a:gd name="connsiteX53" fmla="*/ 3280126 w 9875100"/>
              <a:gd name="connsiteY53" fmla="*/ 369436 h 3487140"/>
              <a:gd name="connsiteX54" fmla="*/ 3341799 w 9875100"/>
              <a:gd name="connsiteY54" fmla="*/ 155805 h 3487140"/>
              <a:gd name="connsiteX55" fmla="*/ 3543163 w 9875100"/>
              <a:gd name="connsiteY55" fmla="*/ 156761 h 3487140"/>
              <a:gd name="connsiteX56" fmla="*/ 3796094 w 9875100"/>
              <a:gd name="connsiteY56" fmla="*/ 245175 h 3487140"/>
              <a:gd name="connsiteX57" fmla="*/ 3965186 w 9875100"/>
              <a:gd name="connsiteY57" fmla="*/ 357792 h 3487140"/>
              <a:gd name="connsiteX58" fmla="*/ 4069777 w 9875100"/>
              <a:gd name="connsiteY58" fmla="*/ 483301 h 3487140"/>
              <a:gd name="connsiteX59" fmla="*/ 4093981 w 9875100"/>
              <a:gd name="connsiteY59" fmla="*/ 600951 h 3487140"/>
              <a:gd name="connsiteX60" fmla="*/ 4066450 w 9875100"/>
              <a:gd name="connsiteY60" fmla="*/ 761726 h 3487140"/>
              <a:gd name="connsiteX61" fmla="*/ 4238371 w 9875100"/>
              <a:gd name="connsiteY61" fmla="*/ 1160004 h 3487140"/>
              <a:gd name="connsiteX62" fmla="*/ 4661351 w 9875100"/>
              <a:gd name="connsiteY62" fmla="*/ 1793622 h 3487140"/>
              <a:gd name="connsiteX63" fmla="*/ 5078842 w 9875100"/>
              <a:gd name="connsiteY63" fmla="*/ 2087475 h 3487140"/>
              <a:gd name="connsiteX64" fmla="*/ 5188465 w 9875100"/>
              <a:gd name="connsiteY64" fmla="*/ 2185620 h 3487140"/>
              <a:gd name="connsiteX65" fmla="*/ 5075516 w 9875100"/>
              <a:gd name="connsiteY65" fmla="*/ 2468120 h 3487140"/>
              <a:gd name="connsiteX66" fmla="*/ 4909417 w 9875100"/>
              <a:gd name="connsiteY66" fmla="*/ 2505548 h 3487140"/>
              <a:gd name="connsiteX67" fmla="*/ 4600967 w 9875100"/>
              <a:gd name="connsiteY67" fmla="*/ 2278109 h 3487140"/>
              <a:gd name="connsiteX68" fmla="*/ 4156278 w 9875100"/>
              <a:gd name="connsiteY68" fmla="*/ 1678800 h 3487140"/>
              <a:gd name="connsiteX69" fmla="*/ 4036425 w 9875100"/>
              <a:gd name="connsiteY69" fmla="*/ 1175432 h 3487140"/>
              <a:gd name="connsiteX70" fmla="*/ 4190879 w 9875100"/>
              <a:gd name="connsiteY70" fmla="*/ 1377420 h 3487140"/>
              <a:gd name="connsiteX71" fmla="*/ 4552519 w 9875100"/>
              <a:gd name="connsiteY71" fmla="*/ 2268710 h 3487140"/>
              <a:gd name="connsiteX72" fmla="*/ 4872321 w 9875100"/>
              <a:gd name="connsiteY72" fmla="*/ 2693105 h 3487140"/>
              <a:gd name="connsiteX73" fmla="*/ 5105749 w 9875100"/>
              <a:gd name="connsiteY73" fmla="*/ 2746586 h 3487140"/>
              <a:gd name="connsiteX74" fmla="*/ 5272970 w 9875100"/>
              <a:gd name="connsiteY74" fmla="*/ 2631432 h 3487140"/>
              <a:gd name="connsiteX75" fmla="*/ 5284157 w 9875100"/>
              <a:gd name="connsiteY75" fmla="*/ 2436680 h 3487140"/>
              <a:gd name="connsiteX76" fmla="*/ 5130327 w 9875100"/>
              <a:gd name="connsiteY76" fmla="*/ 2309258 h 3487140"/>
              <a:gd name="connsiteX77" fmla="*/ 4923141 w 9875100"/>
              <a:gd name="connsiteY77" fmla="*/ 2375007 h 3487140"/>
              <a:gd name="connsiteX78" fmla="*/ 4900642 w 9875100"/>
              <a:gd name="connsiteY78" fmla="*/ 2581402 h 3487140"/>
              <a:gd name="connsiteX79" fmla="*/ 5043327 w 9875100"/>
              <a:gd name="connsiteY79" fmla="*/ 2671064 h 3487140"/>
              <a:gd name="connsiteX80" fmla="*/ 5139892 w 9875100"/>
              <a:gd name="connsiteY80" fmla="*/ 2596831 h 3487140"/>
              <a:gd name="connsiteX81" fmla="*/ 5106706 w 9875100"/>
              <a:gd name="connsiteY81" fmla="*/ 2530750 h 3487140"/>
              <a:gd name="connsiteX82" fmla="*/ 4984648 w 9875100"/>
              <a:gd name="connsiteY82" fmla="*/ 2615379 h 3487140"/>
              <a:gd name="connsiteX83" fmla="*/ 4838969 w 9875100"/>
              <a:gd name="connsiteY83" fmla="*/ 2907028 h 3487140"/>
              <a:gd name="connsiteX84" fmla="*/ 4791144 w 9875100"/>
              <a:gd name="connsiteY84" fmla="*/ 3008333 h 3487140"/>
              <a:gd name="connsiteX85" fmla="*/ 4755296 w 9875100"/>
              <a:gd name="connsiteY85" fmla="*/ 3024053 h 3487140"/>
              <a:gd name="connsiteX86" fmla="*/ 4660270 w 9875100"/>
              <a:gd name="connsiteY86" fmla="*/ 3013989 h 3487140"/>
              <a:gd name="connsiteX87" fmla="*/ 4667173 w 9875100"/>
              <a:gd name="connsiteY87" fmla="*/ 2956724 h 3487140"/>
              <a:gd name="connsiteX88" fmla="*/ 4855936 w 9875100"/>
              <a:gd name="connsiteY88" fmla="*/ 2951068 h 3487140"/>
              <a:gd name="connsiteX89" fmla="*/ 4942146 w 9875100"/>
              <a:gd name="connsiteY89" fmla="*/ 2951068 h 3487140"/>
              <a:gd name="connsiteX90" fmla="*/ 5023324 w 9875100"/>
              <a:gd name="connsiteY90" fmla="*/ 2822066 h 3487140"/>
              <a:gd name="connsiteX91" fmla="*/ 5163638 w 9875100"/>
              <a:gd name="connsiteY91" fmla="*/ 2789337 h 3487140"/>
              <a:gd name="connsiteX92" fmla="*/ 5291351 w 9875100"/>
              <a:gd name="connsiteY92" fmla="*/ 2713815 h 3487140"/>
              <a:gd name="connsiteX93" fmla="*/ 5377561 w 9875100"/>
              <a:gd name="connsiteY93" fmla="*/ 2544556 h 3487140"/>
              <a:gd name="connsiteX94" fmla="*/ 5597140 w 9875100"/>
              <a:gd name="connsiteY94" fmla="*/ 2482883 h 3487140"/>
              <a:gd name="connsiteX95" fmla="*/ 6132114 w 9875100"/>
              <a:gd name="connsiteY95" fmla="*/ 2466831 h 3487140"/>
              <a:gd name="connsiteX96" fmla="*/ 6287856 w 9875100"/>
              <a:gd name="connsiteY96" fmla="*/ 2420918 h 3487140"/>
              <a:gd name="connsiteX97" fmla="*/ 6137769 w 9875100"/>
              <a:gd name="connsiteY97" fmla="*/ 2252907 h 3487140"/>
              <a:gd name="connsiteX98" fmla="*/ 5662390 w 9875100"/>
              <a:gd name="connsiteY98" fmla="*/ 1791709 h 3487140"/>
              <a:gd name="connsiteX99" fmla="*/ 5398271 w 9875100"/>
              <a:gd name="connsiteY99" fmla="*/ 1600118 h 3487140"/>
              <a:gd name="connsiteX100" fmla="*/ 5274301 w 9875100"/>
              <a:gd name="connsiteY100" fmla="*/ 1733529 h 3487140"/>
              <a:gd name="connsiteX101" fmla="*/ 5212003 w 9875100"/>
              <a:gd name="connsiteY101" fmla="*/ 1995900 h 3487140"/>
              <a:gd name="connsiteX102" fmla="*/ 5252883 w 9875100"/>
              <a:gd name="connsiteY102" fmla="*/ 2048133 h 3487140"/>
              <a:gd name="connsiteX103" fmla="*/ 5315804 w 9875100"/>
              <a:gd name="connsiteY103" fmla="*/ 1778817 h 3487140"/>
              <a:gd name="connsiteX104" fmla="*/ 5437571 w 9875100"/>
              <a:gd name="connsiteY104" fmla="*/ 1356918 h 3487140"/>
              <a:gd name="connsiteX105" fmla="*/ 5543908 w 9875100"/>
              <a:gd name="connsiteY105" fmla="*/ 986960 h 3487140"/>
              <a:gd name="connsiteX106" fmla="*/ 5514631 w 9875100"/>
              <a:gd name="connsiteY106" fmla="*/ 867107 h 3487140"/>
              <a:gd name="connsiteX107" fmla="*/ 5339717 w 9875100"/>
              <a:gd name="connsiteY107" fmla="*/ 840034 h 3487140"/>
              <a:gd name="connsiteX108" fmla="*/ 5195618 w 9875100"/>
              <a:gd name="connsiteY108" fmla="*/ 782769 h 3487140"/>
              <a:gd name="connsiteX109" fmla="*/ 5211962 w 9875100"/>
              <a:gd name="connsiteY109" fmla="*/ 714816 h 3487140"/>
              <a:gd name="connsiteX110" fmla="*/ 5385629 w 9875100"/>
              <a:gd name="connsiteY110" fmla="*/ 723008 h 3487140"/>
              <a:gd name="connsiteX111" fmla="*/ 5588240 w 9875100"/>
              <a:gd name="connsiteY111" fmla="*/ 729288 h 3487140"/>
              <a:gd name="connsiteX112" fmla="*/ 5754962 w 9875100"/>
              <a:gd name="connsiteY112" fmla="*/ 682087 h 3487140"/>
              <a:gd name="connsiteX113" fmla="*/ 5872611 w 9875100"/>
              <a:gd name="connsiteY113" fmla="*/ 703463 h 3487140"/>
              <a:gd name="connsiteX114" fmla="*/ 5895276 w 9875100"/>
              <a:gd name="connsiteY114" fmla="*/ 797199 h 3487140"/>
              <a:gd name="connsiteX115" fmla="*/ 5767563 w 9875100"/>
              <a:gd name="connsiteY115" fmla="*/ 890936 h 3487140"/>
              <a:gd name="connsiteX116" fmla="*/ 5597680 w 9875100"/>
              <a:gd name="connsiteY116" fmla="*/ 918009 h 3487140"/>
              <a:gd name="connsiteX117" fmla="*/ 5469967 w 9875100"/>
              <a:gd name="connsiteY117" fmla="*/ 1002306 h 3487140"/>
              <a:gd name="connsiteX118" fmla="*/ 5369077 w 9875100"/>
              <a:gd name="connsiteY118" fmla="*/ 1299902 h 3487140"/>
              <a:gd name="connsiteX119" fmla="*/ 5430127 w 9875100"/>
              <a:gd name="connsiteY119" fmla="*/ 1545930 h 3487140"/>
              <a:gd name="connsiteX120" fmla="*/ 5642802 w 9875100"/>
              <a:gd name="connsiteY120" fmla="*/ 1536490 h 3487140"/>
              <a:gd name="connsiteX121" fmla="*/ 5822333 w 9875100"/>
              <a:gd name="connsiteY121" fmla="*/ 1376048 h 3487140"/>
              <a:gd name="connsiteX122" fmla="*/ 5825494 w 9875100"/>
              <a:gd name="connsiteY122" fmla="*/ 1231949 h 3487140"/>
              <a:gd name="connsiteX123" fmla="*/ 5607453 w 9875100"/>
              <a:gd name="connsiteY123" fmla="*/ 1191693 h 3487140"/>
              <a:gd name="connsiteX124" fmla="*/ 5615937 w 9875100"/>
              <a:gd name="connsiteY124" fmla="*/ 1255238 h 3487140"/>
              <a:gd name="connsiteX125" fmla="*/ 6040955 w 9875100"/>
              <a:gd name="connsiteY125" fmla="*/ 1241722 h 3487140"/>
              <a:gd name="connsiteX126" fmla="*/ 6525775 w 9875100"/>
              <a:gd name="connsiteY126" fmla="*/ 1259646 h 3487140"/>
              <a:gd name="connsiteX127" fmla="*/ 6755127 w 9875100"/>
              <a:gd name="connsiteY127" fmla="*/ 1236981 h 3487140"/>
              <a:gd name="connsiteX128" fmla="*/ 6736871 w 9875100"/>
              <a:gd name="connsiteY128" fmla="*/ 1185995 h 3487140"/>
              <a:gd name="connsiteX129" fmla="*/ 6376353 w 9875100"/>
              <a:gd name="connsiteY129" fmla="*/ 1177512 h 3487140"/>
              <a:gd name="connsiteX130" fmla="*/ 6005773 w 9875100"/>
              <a:gd name="connsiteY130" fmla="*/ 1331342 h 3487140"/>
              <a:gd name="connsiteX131" fmla="*/ 5660019 w 9875100"/>
              <a:gd name="connsiteY131" fmla="*/ 1604110 h 3487140"/>
              <a:gd name="connsiteX132" fmla="*/ 5427216 w 9875100"/>
              <a:gd name="connsiteY132" fmla="*/ 1921252 h 3487140"/>
              <a:gd name="connsiteX133" fmla="*/ 5331566 w 9875100"/>
              <a:gd name="connsiteY133" fmla="*/ 2419255 h 3487140"/>
              <a:gd name="connsiteX134" fmla="*/ 5561874 w 9875100"/>
              <a:gd name="connsiteY134" fmla="*/ 3048465 h 3487140"/>
              <a:gd name="connsiteX135" fmla="*/ 6140099 w 9875100"/>
              <a:gd name="connsiteY135" fmla="*/ 3394510 h 3487140"/>
              <a:gd name="connsiteX136" fmla="*/ 6778748 w 9875100"/>
              <a:gd name="connsiteY136" fmla="*/ 3330632 h 3487140"/>
              <a:gd name="connsiteX137" fmla="*/ 7273923 w 9875100"/>
              <a:gd name="connsiteY137" fmla="*/ 2841404 h 3487140"/>
              <a:gd name="connsiteX138" fmla="*/ 7307276 w 9875100"/>
              <a:gd name="connsiteY138" fmla="*/ 2052999 h 3487140"/>
              <a:gd name="connsiteX139" fmla="*/ 6876269 w 9875100"/>
              <a:gd name="connsiteY139" fmla="*/ 1482011 h 3487140"/>
              <a:gd name="connsiteX140" fmla="*/ 6409415 w 9875100"/>
              <a:gd name="connsiteY140" fmla="*/ 1352717 h 3487140"/>
              <a:gd name="connsiteX141" fmla="*/ 6248973 w 9875100"/>
              <a:gd name="connsiteY141" fmla="*/ 1466624 h 3487140"/>
              <a:gd name="connsiteX142" fmla="*/ 6271014 w 9875100"/>
              <a:gd name="connsiteY142" fmla="*/ 2001140 h 3487140"/>
              <a:gd name="connsiteX143" fmla="*/ 6304990 w 9875100"/>
              <a:gd name="connsiteY143" fmla="*/ 2313208 h 3487140"/>
              <a:gd name="connsiteX144" fmla="*/ 6396690 w 9875100"/>
              <a:gd name="connsiteY144" fmla="*/ 2399085 h 3487140"/>
              <a:gd name="connsiteX145" fmla="*/ 6501156 w 9875100"/>
              <a:gd name="connsiteY145" fmla="*/ 2362905 h 3487140"/>
              <a:gd name="connsiteX146" fmla="*/ 6465765 w 9875100"/>
              <a:gd name="connsiteY146" fmla="*/ 2271372 h 3487140"/>
              <a:gd name="connsiteX147" fmla="*/ 6368161 w 9875100"/>
              <a:gd name="connsiteY147" fmla="*/ 2303394 h 3487140"/>
              <a:gd name="connsiteX148" fmla="*/ 6351775 w 9875100"/>
              <a:gd name="connsiteY148" fmla="*/ 2437262 h 3487140"/>
              <a:gd name="connsiteX149" fmla="*/ 6350694 w 9875100"/>
              <a:gd name="connsiteY149" fmla="*/ 2519521 h 3487140"/>
              <a:gd name="connsiteX150" fmla="*/ 6171580 w 9875100"/>
              <a:gd name="connsiteY150" fmla="*/ 2539400 h 3487140"/>
              <a:gd name="connsiteX151" fmla="*/ 5761325 w 9875100"/>
              <a:gd name="connsiteY151" fmla="*/ 2545679 h 3487140"/>
              <a:gd name="connsiteX152" fmla="*/ 5520953 w 9875100"/>
              <a:gd name="connsiteY152" fmla="*/ 2602944 h 3487140"/>
              <a:gd name="connsiteX153" fmla="*/ 5511346 w 9875100"/>
              <a:gd name="connsiteY153" fmla="*/ 2790460 h 3487140"/>
              <a:gd name="connsiteX154" fmla="*/ 5704683 w 9875100"/>
              <a:gd name="connsiteY154" fmla="*/ 3133385 h 3487140"/>
              <a:gd name="connsiteX155" fmla="*/ 6196573 w 9875100"/>
              <a:gd name="connsiteY155" fmla="*/ 3465290 h 3487140"/>
              <a:gd name="connsiteX156" fmla="*/ 6937319 w 9875100"/>
              <a:gd name="connsiteY156" fmla="*/ 3390434 h 3487140"/>
              <a:gd name="connsiteX157" fmla="*/ 7377142 w 9875100"/>
              <a:gd name="connsiteY157" fmla="*/ 3017940 h 3487140"/>
              <a:gd name="connsiteX158" fmla="*/ 7691123 w 9875100"/>
              <a:gd name="connsiteY158" fmla="*/ 2655510 h 3487140"/>
              <a:gd name="connsiteX159" fmla="*/ 8063617 w 9875100"/>
              <a:gd name="connsiteY159" fmla="*/ 3163577 h 3487140"/>
              <a:gd name="connsiteX160" fmla="*/ 8287604 w 9875100"/>
              <a:gd name="connsiteY160" fmla="*/ 3255443 h 3487140"/>
              <a:gd name="connsiteX161" fmla="*/ 8365621 w 9875100"/>
              <a:gd name="connsiteY161" fmla="*/ 2786675 h 3487140"/>
              <a:gd name="connsiteX162" fmla="*/ 8675194 w 9875100"/>
              <a:gd name="connsiteY162" fmla="*/ 2869724 h 3487140"/>
              <a:gd name="connsiteX163" fmla="*/ 8913986 w 9875100"/>
              <a:gd name="connsiteY163" fmla="*/ 3245046 h 3487140"/>
              <a:gd name="connsiteX164" fmla="*/ 9286479 w 9875100"/>
              <a:gd name="connsiteY164" fmla="*/ 3329676 h 3487140"/>
              <a:gd name="connsiteX165" fmla="*/ 9875101 w 9875100"/>
              <a:gd name="connsiteY165" fmla="*/ 3217682 h 3487140"/>
              <a:gd name="connsiteX0" fmla="*/ 0 w 9215242"/>
              <a:gd name="connsiteY0" fmla="*/ 3395424 h 3487140"/>
              <a:gd name="connsiteX1" fmla="*/ 325085 w 9215242"/>
              <a:gd name="connsiteY1" fmla="*/ 2916759 h 3487140"/>
              <a:gd name="connsiteX2" fmla="*/ 581552 w 9215242"/>
              <a:gd name="connsiteY2" fmla="*/ 2898295 h 3487140"/>
              <a:gd name="connsiteX3" fmla="*/ 810903 w 9215242"/>
              <a:gd name="connsiteY3" fmla="*/ 3416675 h 3487140"/>
              <a:gd name="connsiteX4" fmla="*/ 970722 w 9215242"/>
              <a:gd name="connsiteY4" fmla="*/ 3205871 h 3487140"/>
              <a:gd name="connsiteX5" fmla="*/ 1229975 w 9215242"/>
              <a:gd name="connsiteY5" fmla="*/ 2696848 h 3487140"/>
              <a:gd name="connsiteX6" fmla="*/ 1504323 w 9215242"/>
              <a:gd name="connsiteY6" fmla="*/ 2954187 h 3487140"/>
              <a:gd name="connsiteX7" fmla="*/ 1851657 w 9215242"/>
              <a:gd name="connsiteY7" fmla="*/ 3339906 h 3487140"/>
              <a:gd name="connsiteX8" fmla="*/ 2309779 w 9215242"/>
              <a:gd name="connsiteY8" fmla="*/ 3385485 h 3487140"/>
              <a:gd name="connsiteX9" fmla="*/ 2388461 w 9215242"/>
              <a:gd name="connsiteY9" fmla="*/ 3295741 h 3487140"/>
              <a:gd name="connsiteX10" fmla="*/ 2137359 w 9215242"/>
              <a:gd name="connsiteY10" fmla="*/ 3112384 h 3487140"/>
              <a:gd name="connsiteX11" fmla="*/ 1831196 w 9215242"/>
              <a:gd name="connsiteY11" fmla="*/ 2750287 h 3487140"/>
              <a:gd name="connsiteX12" fmla="*/ 1739664 w 9215242"/>
              <a:gd name="connsiteY12" fmla="*/ 2305432 h 3487140"/>
              <a:gd name="connsiteX13" fmla="*/ 1867252 w 9215242"/>
              <a:gd name="connsiteY13" fmla="*/ 1919713 h 3487140"/>
              <a:gd name="connsiteX14" fmla="*/ 2191464 w 9215242"/>
              <a:gd name="connsiteY14" fmla="*/ 1637837 h 3487140"/>
              <a:gd name="connsiteX15" fmla="*/ 2684768 w 9215242"/>
              <a:gd name="connsiteY15" fmla="*/ 1545972 h 3487140"/>
              <a:gd name="connsiteX16" fmla="*/ 2919443 w 9215242"/>
              <a:gd name="connsiteY16" fmla="*/ 1517651 h 3487140"/>
              <a:gd name="connsiteX17" fmla="*/ 2904180 w 9215242"/>
              <a:gd name="connsiteY17" fmla="*/ 1460718 h 3487140"/>
              <a:gd name="connsiteX18" fmla="*/ 2628126 w 9215242"/>
              <a:gd name="connsiteY18" fmla="*/ 1416969 h 3487140"/>
              <a:gd name="connsiteX19" fmla="*/ 2108706 w 9215242"/>
              <a:gd name="connsiteY19" fmla="*/ 1517318 h 3487140"/>
              <a:gd name="connsiteX20" fmla="*/ 1699408 w 9215242"/>
              <a:gd name="connsiteY20" fmla="*/ 1960593 h 3487140"/>
              <a:gd name="connsiteX21" fmla="*/ 1639938 w 9215242"/>
              <a:gd name="connsiteY21" fmla="*/ 2569342 h 3487140"/>
              <a:gd name="connsiteX22" fmla="*/ 2053645 w 9215242"/>
              <a:gd name="connsiteY22" fmla="*/ 3165532 h 3487140"/>
              <a:gd name="connsiteX23" fmla="*/ 2843630 w 9215242"/>
              <a:gd name="connsiteY23" fmla="*/ 3283181 h 3487140"/>
              <a:gd name="connsiteX24" fmla="*/ 3446266 w 9215242"/>
              <a:gd name="connsiteY24" fmla="*/ 2757481 h 3487140"/>
              <a:gd name="connsiteX25" fmla="*/ 3436035 w 9215242"/>
              <a:gd name="connsiteY25" fmla="*/ 1980430 h 3487140"/>
              <a:gd name="connsiteX26" fmla="*/ 3106001 w 9215242"/>
              <a:gd name="connsiteY26" fmla="*/ 1589139 h 3487140"/>
              <a:gd name="connsiteX27" fmla="*/ 2916947 w 9215242"/>
              <a:gd name="connsiteY27" fmla="*/ 1660710 h 3487140"/>
              <a:gd name="connsiteX28" fmla="*/ 2808530 w 9215242"/>
              <a:gd name="connsiteY28" fmla="*/ 2116627 h 3487140"/>
              <a:gd name="connsiteX29" fmla="*/ 2585167 w 9215242"/>
              <a:gd name="connsiteY29" fmla="*/ 2374258 h 3487140"/>
              <a:gd name="connsiteX30" fmla="*/ 2530231 w 9215242"/>
              <a:gd name="connsiteY30" fmla="*/ 2276986 h 3487140"/>
              <a:gd name="connsiteX31" fmla="*/ 2909503 w 9215242"/>
              <a:gd name="connsiteY31" fmla="*/ 2021601 h 3487140"/>
              <a:gd name="connsiteX32" fmla="*/ 3169422 w 9215242"/>
              <a:gd name="connsiteY32" fmla="*/ 1234153 h 3487140"/>
              <a:gd name="connsiteX33" fmla="*/ 3399522 w 9215242"/>
              <a:gd name="connsiteY33" fmla="*/ 725296 h 3487140"/>
              <a:gd name="connsiteX34" fmla="*/ 3508105 w 9215242"/>
              <a:gd name="connsiteY34" fmla="*/ 539984 h 3487140"/>
              <a:gd name="connsiteX35" fmla="*/ 3476957 w 9215242"/>
              <a:gd name="connsiteY35" fmla="*/ 435851 h 3487140"/>
              <a:gd name="connsiteX36" fmla="*/ 3370619 w 9215242"/>
              <a:gd name="connsiteY36" fmla="*/ 350265 h 3487140"/>
              <a:gd name="connsiteX37" fmla="*/ 3325331 w 9215242"/>
              <a:gd name="connsiteY37" fmla="*/ 209327 h 3487140"/>
              <a:gd name="connsiteX38" fmla="*/ 3370161 w 9215242"/>
              <a:gd name="connsiteY38" fmla="*/ 82237 h 3487140"/>
              <a:gd name="connsiteX39" fmla="*/ 3550441 w 9215242"/>
              <a:gd name="connsiteY39" fmla="*/ 6716 h 3487140"/>
              <a:gd name="connsiteX40" fmla="*/ 3819134 w 9215242"/>
              <a:gd name="connsiteY40" fmla="*/ 10167 h 3487140"/>
              <a:gd name="connsiteX41" fmla="*/ 3902807 w 9215242"/>
              <a:gd name="connsiteY41" fmla="*/ 49800 h 3487140"/>
              <a:gd name="connsiteX42" fmla="*/ 3855772 w 9215242"/>
              <a:gd name="connsiteY42" fmla="*/ 86812 h 3487140"/>
              <a:gd name="connsiteX43" fmla="*/ 3619849 w 9215242"/>
              <a:gd name="connsiteY43" fmla="*/ 91886 h 3487140"/>
              <a:gd name="connsiteX44" fmla="*/ 3376316 w 9215242"/>
              <a:gd name="connsiteY44" fmla="*/ 75833 h 3487140"/>
              <a:gd name="connsiteX45" fmla="*/ 3268565 w 9215242"/>
              <a:gd name="connsiteY45" fmla="*/ 176931 h 3487140"/>
              <a:gd name="connsiteX46" fmla="*/ 3283827 w 9215242"/>
              <a:gd name="connsiteY46" fmla="*/ 370393 h 3487140"/>
              <a:gd name="connsiteX47" fmla="*/ 3228600 w 9215242"/>
              <a:gd name="connsiteY47" fmla="*/ 589348 h 3487140"/>
              <a:gd name="connsiteX48" fmla="*/ 3072066 w 9215242"/>
              <a:gd name="connsiteY48" fmla="*/ 903953 h 3487140"/>
              <a:gd name="connsiteX49" fmla="*/ 2861595 w 9215242"/>
              <a:gd name="connsiteY49" fmla="*/ 922501 h 3487140"/>
              <a:gd name="connsiteX50" fmla="*/ 2667176 w 9215242"/>
              <a:gd name="connsiteY50" fmla="*/ 866816 h 3487140"/>
              <a:gd name="connsiteX51" fmla="*/ 2608331 w 9215242"/>
              <a:gd name="connsiteY51" fmla="*/ 751038 h 3487140"/>
              <a:gd name="connsiteX52" fmla="*/ 2620267 w 9215242"/>
              <a:gd name="connsiteY52" fmla="*/ 369436 h 3487140"/>
              <a:gd name="connsiteX53" fmla="*/ 2681940 w 9215242"/>
              <a:gd name="connsiteY53" fmla="*/ 155805 h 3487140"/>
              <a:gd name="connsiteX54" fmla="*/ 2883304 w 9215242"/>
              <a:gd name="connsiteY54" fmla="*/ 156761 h 3487140"/>
              <a:gd name="connsiteX55" fmla="*/ 3136235 w 9215242"/>
              <a:gd name="connsiteY55" fmla="*/ 245175 h 3487140"/>
              <a:gd name="connsiteX56" fmla="*/ 3305327 w 9215242"/>
              <a:gd name="connsiteY56" fmla="*/ 357792 h 3487140"/>
              <a:gd name="connsiteX57" fmla="*/ 3409918 w 9215242"/>
              <a:gd name="connsiteY57" fmla="*/ 483301 h 3487140"/>
              <a:gd name="connsiteX58" fmla="*/ 3434122 w 9215242"/>
              <a:gd name="connsiteY58" fmla="*/ 600951 h 3487140"/>
              <a:gd name="connsiteX59" fmla="*/ 3406591 w 9215242"/>
              <a:gd name="connsiteY59" fmla="*/ 761726 h 3487140"/>
              <a:gd name="connsiteX60" fmla="*/ 3578512 w 9215242"/>
              <a:gd name="connsiteY60" fmla="*/ 1160004 h 3487140"/>
              <a:gd name="connsiteX61" fmla="*/ 4001492 w 9215242"/>
              <a:gd name="connsiteY61" fmla="*/ 1793622 h 3487140"/>
              <a:gd name="connsiteX62" fmla="*/ 4418983 w 9215242"/>
              <a:gd name="connsiteY62" fmla="*/ 2087475 h 3487140"/>
              <a:gd name="connsiteX63" fmla="*/ 4528606 w 9215242"/>
              <a:gd name="connsiteY63" fmla="*/ 2185620 h 3487140"/>
              <a:gd name="connsiteX64" fmla="*/ 4415657 w 9215242"/>
              <a:gd name="connsiteY64" fmla="*/ 2468120 h 3487140"/>
              <a:gd name="connsiteX65" fmla="*/ 4249558 w 9215242"/>
              <a:gd name="connsiteY65" fmla="*/ 2505548 h 3487140"/>
              <a:gd name="connsiteX66" fmla="*/ 3941108 w 9215242"/>
              <a:gd name="connsiteY66" fmla="*/ 2278109 h 3487140"/>
              <a:gd name="connsiteX67" fmla="*/ 3496419 w 9215242"/>
              <a:gd name="connsiteY67" fmla="*/ 1678800 h 3487140"/>
              <a:gd name="connsiteX68" fmla="*/ 3376566 w 9215242"/>
              <a:gd name="connsiteY68" fmla="*/ 1175432 h 3487140"/>
              <a:gd name="connsiteX69" fmla="*/ 3531020 w 9215242"/>
              <a:gd name="connsiteY69" fmla="*/ 1377420 h 3487140"/>
              <a:gd name="connsiteX70" fmla="*/ 3892660 w 9215242"/>
              <a:gd name="connsiteY70" fmla="*/ 2268710 h 3487140"/>
              <a:gd name="connsiteX71" fmla="*/ 4212462 w 9215242"/>
              <a:gd name="connsiteY71" fmla="*/ 2693105 h 3487140"/>
              <a:gd name="connsiteX72" fmla="*/ 4445890 w 9215242"/>
              <a:gd name="connsiteY72" fmla="*/ 2746586 h 3487140"/>
              <a:gd name="connsiteX73" fmla="*/ 4613111 w 9215242"/>
              <a:gd name="connsiteY73" fmla="*/ 2631432 h 3487140"/>
              <a:gd name="connsiteX74" fmla="*/ 4624298 w 9215242"/>
              <a:gd name="connsiteY74" fmla="*/ 2436680 h 3487140"/>
              <a:gd name="connsiteX75" fmla="*/ 4470468 w 9215242"/>
              <a:gd name="connsiteY75" fmla="*/ 2309258 h 3487140"/>
              <a:gd name="connsiteX76" fmla="*/ 4263282 w 9215242"/>
              <a:gd name="connsiteY76" fmla="*/ 2375007 h 3487140"/>
              <a:gd name="connsiteX77" fmla="*/ 4240783 w 9215242"/>
              <a:gd name="connsiteY77" fmla="*/ 2581402 h 3487140"/>
              <a:gd name="connsiteX78" fmla="*/ 4383468 w 9215242"/>
              <a:gd name="connsiteY78" fmla="*/ 2671064 h 3487140"/>
              <a:gd name="connsiteX79" fmla="*/ 4480033 w 9215242"/>
              <a:gd name="connsiteY79" fmla="*/ 2596831 h 3487140"/>
              <a:gd name="connsiteX80" fmla="*/ 4446847 w 9215242"/>
              <a:gd name="connsiteY80" fmla="*/ 2530750 h 3487140"/>
              <a:gd name="connsiteX81" fmla="*/ 4324789 w 9215242"/>
              <a:gd name="connsiteY81" fmla="*/ 2615379 h 3487140"/>
              <a:gd name="connsiteX82" fmla="*/ 4179110 w 9215242"/>
              <a:gd name="connsiteY82" fmla="*/ 2907028 h 3487140"/>
              <a:gd name="connsiteX83" fmla="*/ 4131285 w 9215242"/>
              <a:gd name="connsiteY83" fmla="*/ 3008333 h 3487140"/>
              <a:gd name="connsiteX84" fmla="*/ 4095437 w 9215242"/>
              <a:gd name="connsiteY84" fmla="*/ 3024053 h 3487140"/>
              <a:gd name="connsiteX85" fmla="*/ 4000411 w 9215242"/>
              <a:gd name="connsiteY85" fmla="*/ 3013989 h 3487140"/>
              <a:gd name="connsiteX86" fmla="*/ 4007314 w 9215242"/>
              <a:gd name="connsiteY86" fmla="*/ 2956724 h 3487140"/>
              <a:gd name="connsiteX87" fmla="*/ 4196077 w 9215242"/>
              <a:gd name="connsiteY87" fmla="*/ 2951068 h 3487140"/>
              <a:gd name="connsiteX88" fmla="*/ 4282287 w 9215242"/>
              <a:gd name="connsiteY88" fmla="*/ 2951068 h 3487140"/>
              <a:gd name="connsiteX89" fmla="*/ 4363465 w 9215242"/>
              <a:gd name="connsiteY89" fmla="*/ 2822066 h 3487140"/>
              <a:gd name="connsiteX90" fmla="*/ 4503779 w 9215242"/>
              <a:gd name="connsiteY90" fmla="*/ 2789337 h 3487140"/>
              <a:gd name="connsiteX91" fmla="*/ 4631492 w 9215242"/>
              <a:gd name="connsiteY91" fmla="*/ 2713815 h 3487140"/>
              <a:gd name="connsiteX92" fmla="*/ 4717702 w 9215242"/>
              <a:gd name="connsiteY92" fmla="*/ 2544556 h 3487140"/>
              <a:gd name="connsiteX93" fmla="*/ 4937281 w 9215242"/>
              <a:gd name="connsiteY93" fmla="*/ 2482883 h 3487140"/>
              <a:gd name="connsiteX94" fmla="*/ 5472255 w 9215242"/>
              <a:gd name="connsiteY94" fmla="*/ 2466831 h 3487140"/>
              <a:gd name="connsiteX95" fmla="*/ 5627997 w 9215242"/>
              <a:gd name="connsiteY95" fmla="*/ 2420918 h 3487140"/>
              <a:gd name="connsiteX96" fmla="*/ 5477910 w 9215242"/>
              <a:gd name="connsiteY96" fmla="*/ 2252907 h 3487140"/>
              <a:gd name="connsiteX97" fmla="*/ 5002531 w 9215242"/>
              <a:gd name="connsiteY97" fmla="*/ 1791709 h 3487140"/>
              <a:gd name="connsiteX98" fmla="*/ 4738412 w 9215242"/>
              <a:gd name="connsiteY98" fmla="*/ 1600118 h 3487140"/>
              <a:gd name="connsiteX99" fmla="*/ 4614442 w 9215242"/>
              <a:gd name="connsiteY99" fmla="*/ 1733529 h 3487140"/>
              <a:gd name="connsiteX100" fmla="*/ 4552144 w 9215242"/>
              <a:gd name="connsiteY100" fmla="*/ 1995900 h 3487140"/>
              <a:gd name="connsiteX101" fmla="*/ 4593024 w 9215242"/>
              <a:gd name="connsiteY101" fmla="*/ 2048133 h 3487140"/>
              <a:gd name="connsiteX102" fmla="*/ 4655945 w 9215242"/>
              <a:gd name="connsiteY102" fmla="*/ 1778817 h 3487140"/>
              <a:gd name="connsiteX103" fmla="*/ 4777712 w 9215242"/>
              <a:gd name="connsiteY103" fmla="*/ 1356918 h 3487140"/>
              <a:gd name="connsiteX104" fmla="*/ 4884049 w 9215242"/>
              <a:gd name="connsiteY104" fmla="*/ 986960 h 3487140"/>
              <a:gd name="connsiteX105" fmla="*/ 4854772 w 9215242"/>
              <a:gd name="connsiteY105" fmla="*/ 867107 h 3487140"/>
              <a:gd name="connsiteX106" fmla="*/ 4679858 w 9215242"/>
              <a:gd name="connsiteY106" fmla="*/ 840034 h 3487140"/>
              <a:gd name="connsiteX107" fmla="*/ 4535759 w 9215242"/>
              <a:gd name="connsiteY107" fmla="*/ 782769 h 3487140"/>
              <a:gd name="connsiteX108" fmla="*/ 4552103 w 9215242"/>
              <a:gd name="connsiteY108" fmla="*/ 714816 h 3487140"/>
              <a:gd name="connsiteX109" fmla="*/ 4725770 w 9215242"/>
              <a:gd name="connsiteY109" fmla="*/ 723008 h 3487140"/>
              <a:gd name="connsiteX110" fmla="*/ 4928381 w 9215242"/>
              <a:gd name="connsiteY110" fmla="*/ 729288 h 3487140"/>
              <a:gd name="connsiteX111" fmla="*/ 5095103 w 9215242"/>
              <a:gd name="connsiteY111" fmla="*/ 682087 h 3487140"/>
              <a:gd name="connsiteX112" fmla="*/ 5212752 w 9215242"/>
              <a:gd name="connsiteY112" fmla="*/ 703463 h 3487140"/>
              <a:gd name="connsiteX113" fmla="*/ 5235417 w 9215242"/>
              <a:gd name="connsiteY113" fmla="*/ 797199 h 3487140"/>
              <a:gd name="connsiteX114" fmla="*/ 5107704 w 9215242"/>
              <a:gd name="connsiteY114" fmla="*/ 890936 h 3487140"/>
              <a:gd name="connsiteX115" fmla="*/ 4937821 w 9215242"/>
              <a:gd name="connsiteY115" fmla="*/ 918009 h 3487140"/>
              <a:gd name="connsiteX116" fmla="*/ 4810108 w 9215242"/>
              <a:gd name="connsiteY116" fmla="*/ 1002306 h 3487140"/>
              <a:gd name="connsiteX117" fmla="*/ 4709218 w 9215242"/>
              <a:gd name="connsiteY117" fmla="*/ 1299902 h 3487140"/>
              <a:gd name="connsiteX118" fmla="*/ 4770268 w 9215242"/>
              <a:gd name="connsiteY118" fmla="*/ 1545930 h 3487140"/>
              <a:gd name="connsiteX119" fmla="*/ 4982943 w 9215242"/>
              <a:gd name="connsiteY119" fmla="*/ 1536490 h 3487140"/>
              <a:gd name="connsiteX120" fmla="*/ 5162474 w 9215242"/>
              <a:gd name="connsiteY120" fmla="*/ 1376048 h 3487140"/>
              <a:gd name="connsiteX121" fmla="*/ 5165635 w 9215242"/>
              <a:gd name="connsiteY121" fmla="*/ 1231949 h 3487140"/>
              <a:gd name="connsiteX122" fmla="*/ 4947594 w 9215242"/>
              <a:gd name="connsiteY122" fmla="*/ 1191693 h 3487140"/>
              <a:gd name="connsiteX123" fmla="*/ 4956078 w 9215242"/>
              <a:gd name="connsiteY123" fmla="*/ 1255238 h 3487140"/>
              <a:gd name="connsiteX124" fmla="*/ 5381096 w 9215242"/>
              <a:gd name="connsiteY124" fmla="*/ 1241722 h 3487140"/>
              <a:gd name="connsiteX125" fmla="*/ 5865916 w 9215242"/>
              <a:gd name="connsiteY125" fmla="*/ 1259646 h 3487140"/>
              <a:gd name="connsiteX126" fmla="*/ 6095268 w 9215242"/>
              <a:gd name="connsiteY126" fmla="*/ 1236981 h 3487140"/>
              <a:gd name="connsiteX127" fmla="*/ 6077012 w 9215242"/>
              <a:gd name="connsiteY127" fmla="*/ 1185995 h 3487140"/>
              <a:gd name="connsiteX128" fmla="*/ 5716494 w 9215242"/>
              <a:gd name="connsiteY128" fmla="*/ 1177512 h 3487140"/>
              <a:gd name="connsiteX129" fmla="*/ 5345914 w 9215242"/>
              <a:gd name="connsiteY129" fmla="*/ 1331342 h 3487140"/>
              <a:gd name="connsiteX130" fmla="*/ 5000160 w 9215242"/>
              <a:gd name="connsiteY130" fmla="*/ 1604110 h 3487140"/>
              <a:gd name="connsiteX131" fmla="*/ 4767357 w 9215242"/>
              <a:gd name="connsiteY131" fmla="*/ 1921252 h 3487140"/>
              <a:gd name="connsiteX132" fmla="*/ 4671707 w 9215242"/>
              <a:gd name="connsiteY132" fmla="*/ 2419255 h 3487140"/>
              <a:gd name="connsiteX133" fmla="*/ 4902015 w 9215242"/>
              <a:gd name="connsiteY133" fmla="*/ 3048465 h 3487140"/>
              <a:gd name="connsiteX134" fmla="*/ 5480240 w 9215242"/>
              <a:gd name="connsiteY134" fmla="*/ 3394510 h 3487140"/>
              <a:gd name="connsiteX135" fmla="*/ 6118889 w 9215242"/>
              <a:gd name="connsiteY135" fmla="*/ 3330632 h 3487140"/>
              <a:gd name="connsiteX136" fmla="*/ 6614064 w 9215242"/>
              <a:gd name="connsiteY136" fmla="*/ 2841404 h 3487140"/>
              <a:gd name="connsiteX137" fmla="*/ 6647417 w 9215242"/>
              <a:gd name="connsiteY137" fmla="*/ 2052999 h 3487140"/>
              <a:gd name="connsiteX138" fmla="*/ 6216410 w 9215242"/>
              <a:gd name="connsiteY138" fmla="*/ 1482011 h 3487140"/>
              <a:gd name="connsiteX139" fmla="*/ 5749556 w 9215242"/>
              <a:gd name="connsiteY139" fmla="*/ 1352717 h 3487140"/>
              <a:gd name="connsiteX140" fmla="*/ 5589114 w 9215242"/>
              <a:gd name="connsiteY140" fmla="*/ 1466624 h 3487140"/>
              <a:gd name="connsiteX141" fmla="*/ 5611155 w 9215242"/>
              <a:gd name="connsiteY141" fmla="*/ 2001140 h 3487140"/>
              <a:gd name="connsiteX142" fmla="*/ 5645131 w 9215242"/>
              <a:gd name="connsiteY142" fmla="*/ 2313208 h 3487140"/>
              <a:gd name="connsiteX143" fmla="*/ 5736831 w 9215242"/>
              <a:gd name="connsiteY143" fmla="*/ 2399085 h 3487140"/>
              <a:gd name="connsiteX144" fmla="*/ 5841297 w 9215242"/>
              <a:gd name="connsiteY144" fmla="*/ 2362905 h 3487140"/>
              <a:gd name="connsiteX145" fmla="*/ 5805906 w 9215242"/>
              <a:gd name="connsiteY145" fmla="*/ 2271372 h 3487140"/>
              <a:gd name="connsiteX146" fmla="*/ 5708302 w 9215242"/>
              <a:gd name="connsiteY146" fmla="*/ 2303394 h 3487140"/>
              <a:gd name="connsiteX147" fmla="*/ 5691916 w 9215242"/>
              <a:gd name="connsiteY147" fmla="*/ 2437262 h 3487140"/>
              <a:gd name="connsiteX148" fmla="*/ 5690835 w 9215242"/>
              <a:gd name="connsiteY148" fmla="*/ 2519521 h 3487140"/>
              <a:gd name="connsiteX149" fmla="*/ 5511721 w 9215242"/>
              <a:gd name="connsiteY149" fmla="*/ 2539400 h 3487140"/>
              <a:gd name="connsiteX150" fmla="*/ 5101466 w 9215242"/>
              <a:gd name="connsiteY150" fmla="*/ 2545679 h 3487140"/>
              <a:gd name="connsiteX151" fmla="*/ 4861094 w 9215242"/>
              <a:gd name="connsiteY151" fmla="*/ 2602944 h 3487140"/>
              <a:gd name="connsiteX152" fmla="*/ 4851487 w 9215242"/>
              <a:gd name="connsiteY152" fmla="*/ 2790460 h 3487140"/>
              <a:gd name="connsiteX153" fmla="*/ 5044824 w 9215242"/>
              <a:gd name="connsiteY153" fmla="*/ 3133385 h 3487140"/>
              <a:gd name="connsiteX154" fmla="*/ 5536714 w 9215242"/>
              <a:gd name="connsiteY154" fmla="*/ 3465290 h 3487140"/>
              <a:gd name="connsiteX155" fmla="*/ 6277460 w 9215242"/>
              <a:gd name="connsiteY155" fmla="*/ 3390434 h 3487140"/>
              <a:gd name="connsiteX156" fmla="*/ 6717283 w 9215242"/>
              <a:gd name="connsiteY156" fmla="*/ 3017940 h 3487140"/>
              <a:gd name="connsiteX157" fmla="*/ 7031264 w 9215242"/>
              <a:gd name="connsiteY157" fmla="*/ 2655510 h 3487140"/>
              <a:gd name="connsiteX158" fmla="*/ 7403758 w 9215242"/>
              <a:gd name="connsiteY158" fmla="*/ 3163577 h 3487140"/>
              <a:gd name="connsiteX159" fmla="*/ 7627745 w 9215242"/>
              <a:gd name="connsiteY159" fmla="*/ 3255443 h 3487140"/>
              <a:gd name="connsiteX160" fmla="*/ 7705762 w 9215242"/>
              <a:gd name="connsiteY160" fmla="*/ 2786675 h 3487140"/>
              <a:gd name="connsiteX161" fmla="*/ 8015335 w 9215242"/>
              <a:gd name="connsiteY161" fmla="*/ 2869724 h 3487140"/>
              <a:gd name="connsiteX162" fmla="*/ 8254127 w 9215242"/>
              <a:gd name="connsiteY162" fmla="*/ 3245046 h 3487140"/>
              <a:gd name="connsiteX163" fmla="*/ 8626620 w 9215242"/>
              <a:gd name="connsiteY163" fmla="*/ 3329676 h 3487140"/>
              <a:gd name="connsiteX164" fmla="*/ 9215242 w 9215242"/>
              <a:gd name="connsiteY164" fmla="*/ 3217682 h 3487140"/>
              <a:gd name="connsiteX0" fmla="*/ 0 w 8890157"/>
              <a:gd name="connsiteY0" fmla="*/ 2916759 h 3487140"/>
              <a:gd name="connsiteX1" fmla="*/ 256467 w 8890157"/>
              <a:gd name="connsiteY1" fmla="*/ 2898295 h 3487140"/>
              <a:gd name="connsiteX2" fmla="*/ 485818 w 8890157"/>
              <a:gd name="connsiteY2" fmla="*/ 3416675 h 3487140"/>
              <a:gd name="connsiteX3" fmla="*/ 645637 w 8890157"/>
              <a:gd name="connsiteY3" fmla="*/ 3205871 h 3487140"/>
              <a:gd name="connsiteX4" fmla="*/ 904890 w 8890157"/>
              <a:gd name="connsiteY4" fmla="*/ 2696848 h 3487140"/>
              <a:gd name="connsiteX5" fmla="*/ 1179238 w 8890157"/>
              <a:gd name="connsiteY5" fmla="*/ 2954187 h 3487140"/>
              <a:gd name="connsiteX6" fmla="*/ 1526572 w 8890157"/>
              <a:gd name="connsiteY6" fmla="*/ 3339906 h 3487140"/>
              <a:gd name="connsiteX7" fmla="*/ 1984694 w 8890157"/>
              <a:gd name="connsiteY7" fmla="*/ 3385485 h 3487140"/>
              <a:gd name="connsiteX8" fmla="*/ 2063376 w 8890157"/>
              <a:gd name="connsiteY8" fmla="*/ 3295741 h 3487140"/>
              <a:gd name="connsiteX9" fmla="*/ 1812274 w 8890157"/>
              <a:gd name="connsiteY9" fmla="*/ 3112384 h 3487140"/>
              <a:gd name="connsiteX10" fmla="*/ 1506111 w 8890157"/>
              <a:gd name="connsiteY10" fmla="*/ 2750287 h 3487140"/>
              <a:gd name="connsiteX11" fmla="*/ 1414579 w 8890157"/>
              <a:gd name="connsiteY11" fmla="*/ 2305432 h 3487140"/>
              <a:gd name="connsiteX12" fmla="*/ 1542167 w 8890157"/>
              <a:gd name="connsiteY12" fmla="*/ 1919713 h 3487140"/>
              <a:gd name="connsiteX13" fmla="*/ 1866379 w 8890157"/>
              <a:gd name="connsiteY13" fmla="*/ 1637837 h 3487140"/>
              <a:gd name="connsiteX14" fmla="*/ 2359683 w 8890157"/>
              <a:gd name="connsiteY14" fmla="*/ 1545972 h 3487140"/>
              <a:gd name="connsiteX15" fmla="*/ 2594358 w 8890157"/>
              <a:gd name="connsiteY15" fmla="*/ 1517651 h 3487140"/>
              <a:gd name="connsiteX16" fmla="*/ 2579095 w 8890157"/>
              <a:gd name="connsiteY16" fmla="*/ 1460718 h 3487140"/>
              <a:gd name="connsiteX17" fmla="*/ 2303041 w 8890157"/>
              <a:gd name="connsiteY17" fmla="*/ 1416969 h 3487140"/>
              <a:gd name="connsiteX18" fmla="*/ 1783621 w 8890157"/>
              <a:gd name="connsiteY18" fmla="*/ 1517318 h 3487140"/>
              <a:gd name="connsiteX19" fmla="*/ 1374323 w 8890157"/>
              <a:gd name="connsiteY19" fmla="*/ 1960593 h 3487140"/>
              <a:gd name="connsiteX20" fmla="*/ 1314853 w 8890157"/>
              <a:gd name="connsiteY20" fmla="*/ 2569342 h 3487140"/>
              <a:gd name="connsiteX21" fmla="*/ 1728560 w 8890157"/>
              <a:gd name="connsiteY21" fmla="*/ 3165532 h 3487140"/>
              <a:gd name="connsiteX22" fmla="*/ 2518545 w 8890157"/>
              <a:gd name="connsiteY22" fmla="*/ 3283181 h 3487140"/>
              <a:gd name="connsiteX23" fmla="*/ 3121181 w 8890157"/>
              <a:gd name="connsiteY23" fmla="*/ 2757481 h 3487140"/>
              <a:gd name="connsiteX24" fmla="*/ 3110950 w 8890157"/>
              <a:gd name="connsiteY24" fmla="*/ 1980430 h 3487140"/>
              <a:gd name="connsiteX25" fmla="*/ 2780916 w 8890157"/>
              <a:gd name="connsiteY25" fmla="*/ 1589139 h 3487140"/>
              <a:gd name="connsiteX26" fmla="*/ 2591862 w 8890157"/>
              <a:gd name="connsiteY26" fmla="*/ 1660710 h 3487140"/>
              <a:gd name="connsiteX27" fmla="*/ 2483445 w 8890157"/>
              <a:gd name="connsiteY27" fmla="*/ 2116627 h 3487140"/>
              <a:gd name="connsiteX28" fmla="*/ 2260082 w 8890157"/>
              <a:gd name="connsiteY28" fmla="*/ 2374258 h 3487140"/>
              <a:gd name="connsiteX29" fmla="*/ 2205146 w 8890157"/>
              <a:gd name="connsiteY29" fmla="*/ 2276986 h 3487140"/>
              <a:gd name="connsiteX30" fmla="*/ 2584418 w 8890157"/>
              <a:gd name="connsiteY30" fmla="*/ 2021601 h 3487140"/>
              <a:gd name="connsiteX31" fmla="*/ 2844337 w 8890157"/>
              <a:gd name="connsiteY31" fmla="*/ 1234153 h 3487140"/>
              <a:gd name="connsiteX32" fmla="*/ 3074437 w 8890157"/>
              <a:gd name="connsiteY32" fmla="*/ 725296 h 3487140"/>
              <a:gd name="connsiteX33" fmla="*/ 3183020 w 8890157"/>
              <a:gd name="connsiteY33" fmla="*/ 539984 h 3487140"/>
              <a:gd name="connsiteX34" fmla="*/ 3151872 w 8890157"/>
              <a:gd name="connsiteY34" fmla="*/ 435851 h 3487140"/>
              <a:gd name="connsiteX35" fmla="*/ 3045534 w 8890157"/>
              <a:gd name="connsiteY35" fmla="*/ 350265 h 3487140"/>
              <a:gd name="connsiteX36" fmla="*/ 3000246 w 8890157"/>
              <a:gd name="connsiteY36" fmla="*/ 209327 h 3487140"/>
              <a:gd name="connsiteX37" fmla="*/ 3045076 w 8890157"/>
              <a:gd name="connsiteY37" fmla="*/ 82237 h 3487140"/>
              <a:gd name="connsiteX38" fmla="*/ 3225356 w 8890157"/>
              <a:gd name="connsiteY38" fmla="*/ 6716 h 3487140"/>
              <a:gd name="connsiteX39" fmla="*/ 3494049 w 8890157"/>
              <a:gd name="connsiteY39" fmla="*/ 10167 h 3487140"/>
              <a:gd name="connsiteX40" fmla="*/ 3577722 w 8890157"/>
              <a:gd name="connsiteY40" fmla="*/ 49800 h 3487140"/>
              <a:gd name="connsiteX41" fmla="*/ 3530687 w 8890157"/>
              <a:gd name="connsiteY41" fmla="*/ 86812 h 3487140"/>
              <a:gd name="connsiteX42" fmla="*/ 3294764 w 8890157"/>
              <a:gd name="connsiteY42" fmla="*/ 91886 h 3487140"/>
              <a:gd name="connsiteX43" fmla="*/ 3051231 w 8890157"/>
              <a:gd name="connsiteY43" fmla="*/ 75833 h 3487140"/>
              <a:gd name="connsiteX44" fmla="*/ 2943480 w 8890157"/>
              <a:gd name="connsiteY44" fmla="*/ 176931 h 3487140"/>
              <a:gd name="connsiteX45" fmla="*/ 2958742 w 8890157"/>
              <a:gd name="connsiteY45" fmla="*/ 370393 h 3487140"/>
              <a:gd name="connsiteX46" fmla="*/ 2903515 w 8890157"/>
              <a:gd name="connsiteY46" fmla="*/ 589348 h 3487140"/>
              <a:gd name="connsiteX47" fmla="*/ 2746981 w 8890157"/>
              <a:gd name="connsiteY47" fmla="*/ 903953 h 3487140"/>
              <a:gd name="connsiteX48" fmla="*/ 2536510 w 8890157"/>
              <a:gd name="connsiteY48" fmla="*/ 922501 h 3487140"/>
              <a:gd name="connsiteX49" fmla="*/ 2342091 w 8890157"/>
              <a:gd name="connsiteY49" fmla="*/ 866816 h 3487140"/>
              <a:gd name="connsiteX50" fmla="*/ 2283246 w 8890157"/>
              <a:gd name="connsiteY50" fmla="*/ 751038 h 3487140"/>
              <a:gd name="connsiteX51" fmla="*/ 2295182 w 8890157"/>
              <a:gd name="connsiteY51" fmla="*/ 369436 h 3487140"/>
              <a:gd name="connsiteX52" fmla="*/ 2356855 w 8890157"/>
              <a:gd name="connsiteY52" fmla="*/ 155805 h 3487140"/>
              <a:gd name="connsiteX53" fmla="*/ 2558219 w 8890157"/>
              <a:gd name="connsiteY53" fmla="*/ 156761 h 3487140"/>
              <a:gd name="connsiteX54" fmla="*/ 2811150 w 8890157"/>
              <a:gd name="connsiteY54" fmla="*/ 245175 h 3487140"/>
              <a:gd name="connsiteX55" fmla="*/ 2980242 w 8890157"/>
              <a:gd name="connsiteY55" fmla="*/ 357792 h 3487140"/>
              <a:gd name="connsiteX56" fmla="*/ 3084833 w 8890157"/>
              <a:gd name="connsiteY56" fmla="*/ 483301 h 3487140"/>
              <a:gd name="connsiteX57" fmla="*/ 3109037 w 8890157"/>
              <a:gd name="connsiteY57" fmla="*/ 600951 h 3487140"/>
              <a:gd name="connsiteX58" fmla="*/ 3081506 w 8890157"/>
              <a:gd name="connsiteY58" fmla="*/ 761726 h 3487140"/>
              <a:gd name="connsiteX59" fmla="*/ 3253427 w 8890157"/>
              <a:gd name="connsiteY59" fmla="*/ 1160004 h 3487140"/>
              <a:gd name="connsiteX60" fmla="*/ 3676407 w 8890157"/>
              <a:gd name="connsiteY60" fmla="*/ 1793622 h 3487140"/>
              <a:gd name="connsiteX61" fmla="*/ 4093898 w 8890157"/>
              <a:gd name="connsiteY61" fmla="*/ 2087475 h 3487140"/>
              <a:gd name="connsiteX62" fmla="*/ 4203521 w 8890157"/>
              <a:gd name="connsiteY62" fmla="*/ 2185620 h 3487140"/>
              <a:gd name="connsiteX63" fmla="*/ 4090572 w 8890157"/>
              <a:gd name="connsiteY63" fmla="*/ 2468120 h 3487140"/>
              <a:gd name="connsiteX64" fmla="*/ 3924473 w 8890157"/>
              <a:gd name="connsiteY64" fmla="*/ 2505548 h 3487140"/>
              <a:gd name="connsiteX65" fmla="*/ 3616023 w 8890157"/>
              <a:gd name="connsiteY65" fmla="*/ 2278109 h 3487140"/>
              <a:gd name="connsiteX66" fmla="*/ 3171334 w 8890157"/>
              <a:gd name="connsiteY66" fmla="*/ 1678800 h 3487140"/>
              <a:gd name="connsiteX67" fmla="*/ 3051481 w 8890157"/>
              <a:gd name="connsiteY67" fmla="*/ 1175432 h 3487140"/>
              <a:gd name="connsiteX68" fmla="*/ 3205935 w 8890157"/>
              <a:gd name="connsiteY68" fmla="*/ 1377420 h 3487140"/>
              <a:gd name="connsiteX69" fmla="*/ 3567575 w 8890157"/>
              <a:gd name="connsiteY69" fmla="*/ 2268710 h 3487140"/>
              <a:gd name="connsiteX70" fmla="*/ 3887377 w 8890157"/>
              <a:gd name="connsiteY70" fmla="*/ 2693105 h 3487140"/>
              <a:gd name="connsiteX71" fmla="*/ 4120805 w 8890157"/>
              <a:gd name="connsiteY71" fmla="*/ 2746586 h 3487140"/>
              <a:gd name="connsiteX72" fmla="*/ 4288026 w 8890157"/>
              <a:gd name="connsiteY72" fmla="*/ 2631432 h 3487140"/>
              <a:gd name="connsiteX73" fmla="*/ 4299213 w 8890157"/>
              <a:gd name="connsiteY73" fmla="*/ 2436680 h 3487140"/>
              <a:gd name="connsiteX74" fmla="*/ 4145383 w 8890157"/>
              <a:gd name="connsiteY74" fmla="*/ 2309258 h 3487140"/>
              <a:gd name="connsiteX75" fmla="*/ 3938197 w 8890157"/>
              <a:gd name="connsiteY75" fmla="*/ 2375007 h 3487140"/>
              <a:gd name="connsiteX76" fmla="*/ 3915698 w 8890157"/>
              <a:gd name="connsiteY76" fmla="*/ 2581402 h 3487140"/>
              <a:gd name="connsiteX77" fmla="*/ 4058383 w 8890157"/>
              <a:gd name="connsiteY77" fmla="*/ 2671064 h 3487140"/>
              <a:gd name="connsiteX78" fmla="*/ 4154948 w 8890157"/>
              <a:gd name="connsiteY78" fmla="*/ 2596831 h 3487140"/>
              <a:gd name="connsiteX79" fmla="*/ 4121762 w 8890157"/>
              <a:gd name="connsiteY79" fmla="*/ 2530750 h 3487140"/>
              <a:gd name="connsiteX80" fmla="*/ 3999704 w 8890157"/>
              <a:gd name="connsiteY80" fmla="*/ 2615379 h 3487140"/>
              <a:gd name="connsiteX81" fmla="*/ 3854025 w 8890157"/>
              <a:gd name="connsiteY81" fmla="*/ 2907028 h 3487140"/>
              <a:gd name="connsiteX82" fmla="*/ 3806200 w 8890157"/>
              <a:gd name="connsiteY82" fmla="*/ 3008333 h 3487140"/>
              <a:gd name="connsiteX83" fmla="*/ 3770352 w 8890157"/>
              <a:gd name="connsiteY83" fmla="*/ 3024053 h 3487140"/>
              <a:gd name="connsiteX84" fmla="*/ 3675326 w 8890157"/>
              <a:gd name="connsiteY84" fmla="*/ 3013989 h 3487140"/>
              <a:gd name="connsiteX85" fmla="*/ 3682229 w 8890157"/>
              <a:gd name="connsiteY85" fmla="*/ 2956724 h 3487140"/>
              <a:gd name="connsiteX86" fmla="*/ 3870992 w 8890157"/>
              <a:gd name="connsiteY86" fmla="*/ 2951068 h 3487140"/>
              <a:gd name="connsiteX87" fmla="*/ 3957202 w 8890157"/>
              <a:gd name="connsiteY87" fmla="*/ 2951068 h 3487140"/>
              <a:gd name="connsiteX88" fmla="*/ 4038380 w 8890157"/>
              <a:gd name="connsiteY88" fmla="*/ 2822066 h 3487140"/>
              <a:gd name="connsiteX89" fmla="*/ 4178694 w 8890157"/>
              <a:gd name="connsiteY89" fmla="*/ 2789337 h 3487140"/>
              <a:gd name="connsiteX90" fmla="*/ 4306407 w 8890157"/>
              <a:gd name="connsiteY90" fmla="*/ 2713815 h 3487140"/>
              <a:gd name="connsiteX91" fmla="*/ 4392617 w 8890157"/>
              <a:gd name="connsiteY91" fmla="*/ 2544556 h 3487140"/>
              <a:gd name="connsiteX92" fmla="*/ 4612196 w 8890157"/>
              <a:gd name="connsiteY92" fmla="*/ 2482883 h 3487140"/>
              <a:gd name="connsiteX93" fmla="*/ 5147170 w 8890157"/>
              <a:gd name="connsiteY93" fmla="*/ 2466831 h 3487140"/>
              <a:gd name="connsiteX94" fmla="*/ 5302912 w 8890157"/>
              <a:gd name="connsiteY94" fmla="*/ 2420918 h 3487140"/>
              <a:gd name="connsiteX95" fmla="*/ 5152825 w 8890157"/>
              <a:gd name="connsiteY95" fmla="*/ 2252907 h 3487140"/>
              <a:gd name="connsiteX96" fmla="*/ 4677446 w 8890157"/>
              <a:gd name="connsiteY96" fmla="*/ 1791709 h 3487140"/>
              <a:gd name="connsiteX97" fmla="*/ 4413327 w 8890157"/>
              <a:gd name="connsiteY97" fmla="*/ 1600118 h 3487140"/>
              <a:gd name="connsiteX98" fmla="*/ 4289357 w 8890157"/>
              <a:gd name="connsiteY98" fmla="*/ 1733529 h 3487140"/>
              <a:gd name="connsiteX99" fmla="*/ 4227059 w 8890157"/>
              <a:gd name="connsiteY99" fmla="*/ 1995900 h 3487140"/>
              <a:gd name="connsiteX100" fmla="*/ 4267939 w 8890157"/>
              <a:gd name="connsiteY100" fmla="*/ 2048133 h 3487140"/>
              <a:gd name="connsiteX101" fmla="*/ 4330860 w 8890157"/>
              <a:gd name="connsiteY101" fmla="*/ 1778817 h 3487140"/>
              <a:gd name="connsiteX102" fmla="*/ 4452627 w 8890157"/>
              <a:gd name="connsiteY102" fmla="*/ 1356918 h 3487140"/>
              <a:gd name="connsiteX103" fmla="*/ 4558964 w 8890157"/>
              <a:gd name="connsiteY103" fmla="*/ 986960 h 3487140"/>
              <a:gd name="connsiteX104" fmla="*/ 4529687 w 8890157"/>
              <a:gd name="connsiteY104" fmla="*/ 867107 h 3487140"/>
              <a:gd name="connsiteX105" fmla="*/ 4354773 w 8890157"/>
              <a:gd name="connsiteY105" fmla="*/ 840034 h 3487140"/>
              <a:gd name="connsiteX106" fmla="*/ 4210674 w 8890157"/>
              <a:gd name="connsiteY106" fmla="*/ 782769 h 3487140"/>
              <a:gd name="connsiteX107" fmla="*/ 4227018 w 8890157"/>
              <a:gd name="connsiteY107" fmla="*/ 714816 h 3487140"/>
              <a:gd name="connsiteX108" fmla="*/ 4400685 w 8890157"/>
              <a:gd name="connsiteY108" fmla="*/ 723008 h 3487140"/>
              <a:gd name="connsiteX109" fmla="*/ 4603296 w 8890157"/>
              <a:gd name="connsiteY109" fmla="*/ 729288 h 3487140"/>
              <a:gd name="connsiteX110" fmla="*/ 4770018 w 8890157"/>
              <a:gd name="connsiteY110" fmla="*/ 682087 h 3487140"/>
              <a:gd name="connsiteX111" fmla="*/ 4887667 w 8890157"/>
              <a:gd name="connsiteY111" fmla="*/ 703463 h 3487140"/>
              <a:gd name="connsiteX112" fmla="*/ 4910332 w 8890157"/>
              <a:gd name="connsiteY112" fmla="*/ 797199 h 3487140"/>
              <a:gd name="connsiteX113" fmla="*/ 4782619 w 8890157"/>
              <a:gd name="connsiteY113" fmla="*/ 890936 h 3487140"/>
              <a:gd name="connsiteX114" fmla="*/ 4612736 w 8890157"/>
              <a:gd name="connsiteY114" fmla="*/ 918009 h 3487140"/>
              <a:gd name="connsiteX115" fmla="*/ 4485023 w 8890157"/>
              <a:gd name="connsiteY115" fmla="*/ 1002306 h 3487140"/>
              <a:gd name="connsiteX116" fmla="*/ 4384133 w 8890157"/>
              <a:gd name="connsiteY116" fmla="*/ 1299902 h 3487140"/>
              <a:gd name="connsiteX117" fmla="*/ 4445183 w 8890157"/>
              <a:gd name="connsiteY117" fmla="*/ 1545930 h 3487140"/>
              <a:gd name="connsiteX118" fmla="*/ 4657858 w 8890157"/>
              <a:gd name="connsiteY118" fmla="*/ 1536490 h 3487140"/>
              <a:gd name="connsiteX119" fmla="*/ 4837389 w 8890157"/>
              <a:gd name="connsiteY119" fmla="*/ 1376048 h 3487140"/>
              <a:gd name="connsiteX120" fmla="*/ 4840550 w 8890157"/>
              <a:gd name="connsiteY120" fmla="*/ 1231949 h 3487140"/>
              <a:gd name="connsiteX121" fmla="*/ 4622509 w 8890157"/>
              <a:gd name="connsiteY121" fmla="*/ 1191693 h 3487140"/>
              <a:gd name="connsiteX122" fmla="*/ 4630993 w 8890157"/>
              <a:gd name="connsiteY122" fmla="*/ 1255238 h 3487140"/>
              <a:gd name="connsiteX123" fmla="*/ 5056011 w 8890157"/>
              <a:gd name="connsiteY123" fmla="*/ 1241722 h 3487140"/>
              <a:gd name="connsiteX124" fmla="*/ 5540831 w 8890157"/>
              <a:gd name="connsiteY124" fmla="*/ 1259646 h 3487140"/>
              <a:gd name="connsiteX125" fmla="*/ 5770183 w 8890157"/>
              <a:gd name="connsiteY125" fmla="*/ 1236981 h 3487140"/>
              <a:gd name="connsiteX126" fmla="*/ 5751927 w 8890157"/>
              <a:gd name="connsiteY126" fmla="*/ 1185995 h 3487140"/>
              <a:gd name="connsiteX127" fmla="*/ 5391409 w 8890157"/>
              <a:gd name="connsiteY127" fmla="*/ 1177512 h 3487140"/>
              <a:gd name="connsiteX128" fmla="*/ 5020829 w 8890157"/>
              <a:gd name="connsiteY128" fmla="*/ 1331342 h 3487140"/>
              <a:gd name="connsiteX129" fmla="*/ 4675075 w 8890157"/>
              <a:gd name="connsiteY129" fmla="*/ 1604110 h 3487140"/>
              <a:gd name="connsiteX130" fmla="*/ 4442272 w 8890157"/>
              <a:gd name="connsiteY130" fmla="*/ 1921252 h 3487140"/>
              <a:gd name="connsiteX131" fmla="*/ 4346622 w 8890157"/>
              <a:gd name="connsiteY131" fmla="*/ 2419255 h 3487140"/>
              <a:gd name="connsiteX132" fmla="*/ 4576930 w 8890157"/>
              <a:gd name="connsiteY132" fmla="*/ 3048465 h 3487140"/>
              <a:gd name="connsiteX133" fmla="*/ 5155155 w 8890157"/>
              <a:gd name="connsiteY133" fmla="*/ 3394510 h 3487140"/>
              <a:gd name="connsiteX134" fmla="*/ 5793804 w 8890157"/>
              <a:gd name="connsiteY134" fmla="*/ 3330632 h 3487140"/>
              <a:gd name="connsiteX135" fmla="*/ 6288979 w 8890157"/>
              <a:gd name="connsiteY135" fmla="*/ 2841404 h 3487140"/>
              <a:gd name="connsiteX136" fmla="*/ 6322332 w 8890157"/>
              <a:gd name="connsiteY136" fmla="*/ 2052999 h 3487140"/>
              <a:gd name="connsiteX137" fmla="*/ 5891325 w 8890157"/>
              <a:gd name="connsiteY137" fmla="*/ 1482011 h 3487140"/>
              <a:gd name="connsiteX138" fmla="*/ 5424471 w 8890157"/>
              <a:gd name="connsiteY138" fmla="*/ 1352717 h 3487140"/>
              <a:gd name="connsiteX139" fmla="*/ 5264029 w 8890157"/>
              <a:gd name="connsiteY139" fmla="*/ 1466624 h 3487140"/>
              <a:gd name="connsiteX140" fmla="*/ 5286070 w 8890157"/>
              <a:gd name="connsiteY140" fmla="*/ 2001140 h 3487140"/>
              <a:gd name="connsiteX141" fmla="*/ 5320046 w 8890157"/>
              <a:gd name="connsiteY141" fmla="*/ 2313208 h 3487140"/>
              <a:gd name="connsiteX142" fmla="*/ 5411746 w 8890157"/>
              <a:gd name="connsiteY142" fmla="*/ 2399085 h 3487140"/>
              <a:gd name="connsiteX143" fmla="*/ 5516212 w 8890157"/>
              <a:gd name="connsiteY143" fmla="*/ 2362905 h 3487140"/>
              <a:gd name="connsiteX144" fmla="*/ 5480821 w 8890157"/>
              <a:gd name="connsiteY144" fmla="*/ 2271372 h 3487140"/>
              <a:gd name="connsiteX145" fmla="*/ 5383217 w 8890157"/>
              <a:gd name="connsiteY145" fmla="*/ 2303394 h 3487140"/>
              <a:gd name="connsiteX146" fmla="*/ 5366831 w 8890157"/>
              <a:gd name="connsiteY146" fmla="*/ 2437262 h 3487140"/>
              <a:gd name="connsiteX147" fmla="*/ 5365750 w 8890157"/>
              <a:gd name="connsiteY147" fmla="*/ 2519521 h 3487140"/>
              <a:gd name="connsiteX148" fmla="*/ 5186636 w 8890157"/>
              <a:gd name="connsiteY148" fmla="*/ 2539400 h 3487140"/>
              <a:gd name="connsiteX149" fmla="*/ 4776381 w 8890157"/>
              <a:gd name="connsiteY149" fmla="*/ 2545679 h 3487140"/>
              <a:gd name="connsiteX150" fmla="*/ 4536009 w 8890157"/>
              <a:gd name="connsiteY150" fmla="*/ 2602944 h 3487140"/>
              <a:gd name="connsiteX151" fmla="*/ 4526402 w 8890157"/>
              <a:gd name="connsiteY151" fmla="*/ 2790460 h 3487140"/>
              <a:gd name="connsiteX152" fmla="*/ 4719739 w 8890157"/>
              <a:gd name="connsiteY152" fmla="*/ 3133385 h 3487140"/>
              <a:gd name="connsiteX153" fmla="*/ 5211629 w 8890157"/>
              <a:gd name="connsiteY153" fmla="*/ 3465290 h 3487140"/>
              <a:gd name="connsiteX154" fmla="*/ 5952375 w 8890157"/>
              <a:gd name="connsiteY154" fmla="*/ 3390434 h 3487140"/>
              <a:gd name="connsiteX155" fmla="*/ 6392198 w 8890157"/>
              <a:gd name="connsiteY155" fmla="*/ 3017940 h 3487140"/>
              <a:gd name="connsiteX156" fmla="*/ 6706179 w 8890157"/>
              <a:gd name="connsiteY156" fmla="*/ 2655510 h 3487140"/>
              <a:gd name="connsiteX157" fmla="*/ 7078673 w 8890157"/>
              <a:gd name="connsiteY157" fmla="*/ 3163577 h 3487140"/>
              <a:gd name="connsiteX158" fmla="*/ 7302660 w 8890157"/>
              <a:gd name="connsiteY158" fmla="*/ 3255443 h 3487140"/>
              <a:gd name="connsiteX159" fmla="*/ 7380677 w 8890157"/>
              <a:gd name="connsiteY159" fmla="*/ 2786675 h 3487140"/>
              <a:gd name="connsiteX160" fmla="*/ 7690250 w 8890157"/>
              <a:gd name="connsiteY160" fmla="*/ 2869724 h 3487140"/>
              <a:gd name="connsiteX161" fmla="*/ 7929042 w 8890157"/>
              <a:gd name="connsiteY161" fmla="*/ 3245046 h 3487140"/>
              <a:gd name="connsiteX162" fmla="*/ 8301535 w 8890157"/>
              <a:gd name="connsiteY162" fmla="*/ 3329676 h 3487140"/>
              <a:gd name="connsiteX163" fmla="*/ 8890157 w 8890157"/>
              <a:gd name="connsiteY163" fmla="*/ 3217682 h 3487140"/>
              <a:gd name="connsiteX0" fmla="*/ 0 w 8633690"/>
              <a:gd name="connsiteY0" fmla="*/ 2898295 h 3487140"/>
              <a:gd name="connsiteX1" fmla="*/ 229351 w 8633690"/>
              <a:gd name="connsiteY1" fmla="*/ 3416675 h 3487140"/>
              <a:gd name="connsiteX2" fmla="*/ 389170 w 8633690"/>
              <a:gd name="connsiteY2" fmla="*/ 3205871 h 3487140"/>
              <a:gd name="connsiteX3" fmla="*/ 648423 w 8633690"/>
              <a:gd name="connsiteY3" fmla="*/ 2696848 h 3487140"/>
              <a:gd name="connsiteX4" fmla="*/ 922771 w 8633690"/>
              <a:gd name="connsiteY4" fmla="*/ 2954187 h 3487140"/>
              <a:gd name="connsiteX5" fmla="*/ 1270105 w 8633690"/>
              <a:gd name="connsiteY5" fmla="*/ 3339906 h 3487140"/>
              <a:gd name="connsiteX6" fmla="*/ 1728227 w 8633690"/>
              <a:gd name="connsiteY6" fmla="*/ 3385485 h 3487140"/>
              <a:gd name="connsiteX7" fmla="*/ 1806909 w 8633690"/>
              <a:gd name="connsiteY7" fmla="*/ 3295741 h 3487140"/>
              <a:gd name="connsiteX8" fmla="*/ 1555807 w 8633690"/>
              <a:gd name="connsiteY8" fmla="*/ 3112384 h 3487140"/>
              <a:gd name="connsiteX9" fmla="*/ 1249644 w 8633690"/>
              <a:gd name="connsiteY9" fmla="*/ 2750287 h 3487140"/>
              <a:gd name="connsiteX10" fmla="*/ 1158112 w 8633690"/>
              <a:gd name="connsiteY10" fmla="*/ 2305432 h 3487140"/>
              <a:gd name="connsiteX11" fmla="*/ 1285700 w 8633690"/>
              <a:gd name="connsiteY11" fmla="*/ 1919713 h 3487140"/>
              <a:gd name="connsiteX12" fmla="*/ 1609912 w 8633690"/>
              <a:gd name="connsiteY12" fmla="*/ 1637837 h 3487140"/>
              <a:gd name="connsiteX13" fmla="*/ 2103216 w 8633690"/>
              <a:gd name="connsiteY13" fmla="*/ 1545972 h 3487140"/>
              <a:gd name="connsiteX14" fmla="*/ 2337891 w 8633690"/>
              <a:gd name="connsiteY14" fmla="*/ 1517651 h 3487140"/>
              <a:gd name="connsiteX15" fmla="*/ 2322628 w 8633690"/>
              <a:gd name="connsiteY15" fmla="*/ 1460718 h 3487140"/>
              <a:gd name="connsiteX16" fmla="*/ 2046574 w 8633690"/>
              <a:gd name="connsiteY16" fmla="*/ 1416969 h 3487140"/>
              <a:gd name="connsiteX17" fmla="*/ 1527154 w 8633690"/>
              <a:gd name="connsiteY17" fmla="*/ 1517318 h 3487140"/>
              <a:gd name="connsiteX18" fmla="*/ 1117856 w 8633690"/>
              <a:gd name="connsiteY18" fmla="*/ 1960593 h 3487140"/>
              <a:gd name="connsiteX19" fmla="*/ 1058386 w 8633690"/>
              <a:gd name="connsiteY19" fmla="*/ 2569342 h 3487140"/>
              <a:gd name="connsiteX20" fmla="*/ 1472093 w 8633690"/>
              <a:gd name="connsiteY20" fmla="*/ 3165532 h 3487140"/>
              <a:gd name="connsiteX21" fmla="*/ 2262078 w 8633690"/>
              <a:gd name="connsiteY21" fmla="*/ 3283181 h 3487140"/>
              <a:gd name="connsiteX22" fmla="*/ 2864714 w 8633690"/>
              <a:gd name="connsiteY22" fmla="*/ 2757481 h 3487140"/>
              <a:gd name="connsiteX23" fmla="*/ 2854483 w 8633690"/>
              <a:gd name="connsiteY23" fmla="*/ 1980430 h 3487140"/>
              <a:gd name="connsiteX24" fmla="*/ 2524449 w 8633690"/>
              <a:gd name="connsiteY24" fmla="*/ 1589139 h 3487140"/>
              <a:gd name="connsiteX25" fmla="*/ 2335395 w 8633690"/>
              <a:gd name="connsiteY25" fmla="*/ 1660710 h 3487140"/>
              <a:gd name="connsiteX26" fmla="*/ 2226978 w 8633690"/>
              <a:gd name="connsiteY26" fmla="*/ 2116627 h 3487140"/>
              <a:gd name="connsiteX27" fmla="*/ 2003615 w 8633690"/>
              <a:gd name="connsiteY27" fmla="*/ 2374258 h 3487140"/>
              <a:gd name="connsiteX28" fmla="*/ 1948679 w 8633690"/>
              <a:gd name="connsiteY28" fmla="*/ 2276986 h 3487140"/>
              <a:gd name="connsiteX29" fmla="*/ 2327951 w 8633690"/>
              <a:gd name="connsiteY29" fmla="*/ 2021601 h 3487140"/>
              <a:gd name="connsiteX30" fmla="*/ 2587870 w 8633690"/>
              <a:gd name="connsiteY30" fmla="*/ 1234153 h 3487140"/>
              <a:gd name="connsiteX31" fmla="*/ 2817970 w 8633690"/>
              <a:gd name="connsiteY31" fmla="*/ 725296 h 3487140"/>
              <a:gd name="connsiteX32" fmla="*/ 2926553 w 8633690"/>
              <a:gd name="connsiteY32" fmla="*/ 539984 h 3487140"/>
              <a:gd name="connsiteX33" fmla="*/ 2895405 w 8633690"/>
              <a:gd name="connsiteY33" fmla="*/ 435851 h 3487140"/>
              <a:gd name="connsiteX34" fmla="*/ 2789067 w 8633690"/>
              <a:gd name="connsiteY34" fmla="*/ 350265 h 3487140"/>
              <a:gd name="connsiteX35" fmla="*/ 2743779 w 8633690"/>
              <a:gd name="connsiteY35" fmla="*/ 209327 h 3487140"/>
              <a:gd name="connsiteX36" fmla="*/ 2788609 w 8633690"/>
              <a:gd name="connsiteY36" fmla="*/ 82237 h 3487140"/>
              <a:gd name="connsiteX37" fmla="*/ 2968889 w 8633690"/>
              <a:gd name="connsiteY37" fmla="*/ 6716 h 3487140"/>
              <a:gd name="connsiteX38" fmla="*/ 3237582 w 8633690"/>
              <a:gd name="connsiteY38" fmla="*/ 10167 h 3487140"/>
              <a:gd name="connsiteX39" fmla="*/ 3321255 w 8633690"/>
              <a:gd name="connsiteY39" fmla="*/ 49800 h 3487140"/>
              <a:gd name="connsiteX40" fmla="*/ 3274220 w 8633690"/>
              <a:gd name="connsiteY40" fmla="*/ 86812 h 3487140"/>
              <a:gd name="connsiteX41" fmla="*/ 3038297 w 8633690"/>
              <a:gd name="connsiteY41" fmla="*/ 91886 h 3487140"/>
              <a:gd name="connsiteX42" fmla="*/ 2794764 w 8633690"/>
              <a:gd name="connsiteY42" fmla="*/ 75833 h 3487140"/>
              <a:gd name="connsiteX43" fmla="*/ 2687013 w 8633690"/>
              <a:gd name="connsiteY43" fmla="*/ 176931 h 3487140"/>
              <a:gd name="connsiteX44" fmla="*/ 2702275 w 8633690"/>
              <a:gd name="connsiteY44" fmla="*/ 370393 h 3487140"/>
              <a:gd name="connsiteX45" fmla="*/ 2647048 w 8633690"/>
              <a:gd name="connsiteY45" fmla="*/ 589348 h 3487140"/>
              <a:gd name="connsiteX46" fmla="*/ 2490514 w 8633690"/>
              <a:gd name="connsiteY46" fmla="*/ 903953 h 3487140"/>
              <a:gd name="connsiteX47" fmla="*/ 2280043 w 8633690"/>
              <a:gd name="connsiteY47" fmla="*/ 922501 h 3487140"/>
              <a:gd name="connsiteX48" fmla="*/ 2085624 w 8633690"/>
              <a:gd name="connsiteY48" fmla="*/ 866816 h 3487140"/>
              <a:gd name="connsiteX49" fmla="*/ 2026779 w 8633690"/>
              <a:gd name="connsiteY49" fmla="*/ 751038 h 3487140"/>
              <a:gd name="connsiteX50" fmla="*/ 2038715 w 8633690"/>
              <a:gd name="connsiteY50" fmla="*/ 369436 h 3487140"/>
              <a:gd name="connsiteX51" fmla="*/ 2100388 w 8633690"/>
              <a:gd name="connsiteY51" fmla="*/ 155805 h 3487140"/>
              <a:gd name="connsiteX52" fmla="*/ 2301752 w 8633690"/>
              <a:gd name="connsiteY52" fmla="*/ 156761 h 3487140"/>
              <a:gd name="connsiteX53" fmla="*/ 2554683 w 8633690"/>
              <a:gd name="connsiteY53" fmla="*/ 245175 h 3487140"/>
              <a:gd name="connsiteX54" fmla="*/ 2723775 w 8633690"/>
              <a:gd name="connsiteY54" fmla="*/ 357792 h 3487140"/>
              <a:gd name="connsiteX55" fmla="*/ 2828366 w 8633690"/>
              <a:gd name="connsiteY55" fmla="*/ 483301 h 3487140"/>
              <a:gd name="connsiteX56" fmla="*/ 2852570 w 8633690"/>
              <a:gd name="connsiteY56" fmla="*/ 600951 h 3487140"/>
              <a:gd name="connsiteX57" fmla="*/ 2825039 w 8633690"/>
              <a:gd name="connsiteY57" fmla="*/ 761726 h 3487140"/>
              <a:gd name="connsiteX58" fmla="*/ 2996960 w 8633690"/>
              <a:gd name="connsiteY58" fmla="*/ 1160004 h 3487140"/>
              <a:gd name="connsiteX59" fmla="*/ 3419940 w 8633690"/>
              <a:gd name="connsiteY59" fmla="*/ 1793622 h 3487140"/>
              <a:gd name="connsiteX60" fmla="*/ 3837431 w 8633690"/>
              <a:gd name="connsiteY60" fmla="*/ 2087475 h 3487140"/>
              <a:gd name="connsiteX61" fmla="*/ 3947054 w 8633690"/>
              <a:gd name="connsiteY61" fmla="*/ 2185620 h 3487140"/>
              <a:gd name="connsiteX62" fmla="*/ 3834105 w 8633690"/>
              <a:gd name="connsiteY62" fmla="*/ 2468120 h 3487140"/>
              <a:gd name="connsiteX63" fmla="*/ 3668006 w 8633690"/>
              <a:gd name="connsiteY63" fmla="*/ 2505548 h 3487140"/>
              <a:gd name="connsiteX64" fmla="*/ 3359556 w 8633690"/>
              <a:gd name="connsiteY64" fmla="*/ 2278109 h 3487140"/>
              <a:gd name="connsiteX65" fmla="*/ 2914867 w 8633690"/>
              <a:gd name="connsiteY65" fmla="*/ 1678800 h 3487140"/>
              <a:gd name="connsiteX66" fmla="*/ 2795014 w 8633690"/>
              <a:gd name="connsiteY66" fmla="*/ 1175432 h 3487140"/>
              <a:gd name="connsiteX67" fmla="*/ 2949468 w 8633690"/>
              <a:gd name="connsiteY67" fmla="*/ 1377420 h 3487140"/>
              <a:gd name="connsiteX68" fmla="*/ 3311108 w 8633690"/>
              <a:gd name="connsiteY68" fmla="*/ 2268710 h 3487140"/>
              <a:gd name="connsiteX69" fmla="*/ 3630910 w 8633690"/>
              <a:gd name="connsiteY69" fmla="*/ 2693105 h 3487140"/>
              <a:gd name="connsiteX70" fmla="*/ 3864338 w 8633690"/>
              <a:gd name="connsiteY70" fmla="*/ 2746586 h 3487140"/>
              <a:gd name="connsiteX71" fmla="*/ 4031559 w 8633690"/>
              <a:gd name="connsiteY71" fmla="*/ 2631432 h 3487140"/>
              <a:gd name="connsiteX72" fmla="*/ 4042746 w 8633690"/>
              <a:gd name="connsiteY72" fmla="*/ 2436680 h 3487140"/>
              <a:gd name="connsiteX73" fmla="*/ 3888916 w 8633690"/>
              <a:gd name="connsiteY73" fmla="*/ 2309258 h 3487140"/>
              <a:gd name="connsiteX74" fmla="*/ 3681730 w 8633690"/>
              <a:gd name="connsiteY74" fmla="*/ 2375007 h 3487140"/>
              <a:gd name="connsiteX75" fmla="*/ 3659231 w 8633690"/>
              <a:gd name="connsiteY75" fmla="*/ 2581402 h 3487140"/>
              <a:gd name="connsiteX76" fmla="*/ 3801916 w 8633690"/>
              <a:gd name="connsiteY76" fmla="*/ 2671064 h 3487140"/>
              <a:gd name="connsiteX77" fmla="*/ 3898481 w 8633690"/>
              <a:gd name="connsiteY77" fmla="*/ 2596831 h 3487140"/>
              <a:gd name="connsiteX78" fmla="*/ 3865295 w 8633690"/>
              <a:gd name="connsiteY78" fmla="*/ 2530750 h 3487140"/>
              <a:gd name="connsiteX79" fmla="*/ 3743237 w 8633690"/>
              <a:gd name="connsiteY79" fmla="*/ 2615379 h 3487140"/>
              <a:gd name="connsiteX80" fmla="*/ 3597558 w 8633690"/>
              <a:gd name="connsiteY80" fmla="*/ 2907028 h 3487140"/>
              <a:gd name="connsiteX81" fmla="*/ 3549733 w 8633690"/>
              <a:gd name="connsiteY81" fmla="*/ 3008333 h 3487140"/>
              <a:gd name="connsiteX82" fmla="*/ 3513885 w 8633690"/>
              <a:gd name="connsiteY82" fmla="*/ 3024053 h 3487140"/>
              <a:gd name="connsiteX83" fmla="*/ 3418859 w 8633690"/>
              <a:gd name="connsiteY83" fmla="*/ 3013989 h 3487140"/>
              <a:gd name="connsiteX84" fmla="*/ 3425762 w 8633690"/>
              <a:gd name="connsiteY84" fmla="*/ 2956724 h 3487140"/>
              <a:gd name="connsiteX85" fmla="*/ 3614525 w 8633690"/>
              <a:gd name="connsiteY85" fmla="*/ 2951068 h 3487140"/>
              <a:gd name="connsiteX86" fmla="*/ 3700735 w 8633690"/>
              <a:gd name="connsiteY86" fmla="*/ 2951068 h 3487140"/>
              <a:gd name="connsiteX87" fmla="*/ 3781913 w 8633690"/>
              <a:gd name="connsiteY87" fmla="*/ 2822066 h 3487140"/>
              <a:gd name="connsiteX88" fmla="*/ 3922227 w 8633690"/>
              <a:gd name="connsiteY88" fmla="*/ 2789337 h 3487140"/>
              <a:gd name="connsiteX89" fmla="*/ 4049940 w 8633690"/>
              <a:gd name="connsiteY89" fmla="*/ 2713815 h 3487140"/>
              <a:gd name="connsiteX90" fmla="*/ 4136150 w 8633690"/>
              <a:gd name="connsiteY90" fmla="*/ 2544556 h 3487140"/>
              <a:gd name="connsiteX91" fmla="*/ 4355729 w 8633690"/>
              <a:gd name="connsiteY91" fmla="*/ 2482883 h 3487140"/>
              <a:gd name="connsiteX92" fmla="*/ 4890703 w 8633690"/>
              <a:gd name="connsiteY92" fmla="*/ 2466831 h 3487140"/>
              <a:gd name="connsiteX93" fmla="*/ 5046445 w 8633690"/>
              <a:gd name="connsiteY93" fmla="*/ 2420918 h 3487140"/>
              <a:gd name="connsiteX94" fmla="*/ 4896358 w 8633690"/>
              <a:gd name="connsiteY94" fmla="*/ 2252907 h 3487140"/>
              <a:gd name="connsiteX95" fmla="*/ 4420979 w 8633690"/>
              <a:gd name="connsiteY95" fmla="*/ 1791709 h 3487140"/>
              <a:gd name="connsiteX96" fmla="*/ 4156860 w 8633690"/>
              <a:gd name="connsiteY96" fmla="*/ 1600118 h 3487140"/>
              <a:gd name="connsiteX97" fmla="*/ 4032890 w 8633690"/>
              <a:gd name="connsiteY97" fmla="*/ 1733529 h 3487140"/>
              <a:gd name="connsiteX98" fmla="*/ 3970592 w 8633690"/>
              <a:gd name="connsiteY98" fmla="*/ 1995900 h 3487140"/>
              <a:gd name="connsiteX99" fmla="*/ 4011472 w 8633690"/>
              <a:gd name="connsiteY99" fmla="*/ 2048133 h 3487140"/>
              <a:gd name="connsiteX100" fmla="*/ 4074393 w 8633690"/>
              <a:gd name="connsiteY100" fmla="*/ 1778817 h 3487140"/>
              <a:gd name="connsiteX101" fmla="*/ 4196160 w 8633690"/>
              <a:gd name="connsiteY101" fmla="*/ 1356918 h 3487140"/>
              <a:gd name="connsiteX102" fmla="*/ 4302497 w 8633690"/>
              <a:gd name="connsiteY102" fmla="*/ 986960 h 3487140"/>
              <a:gd name="connsiteX103" fmla="*/ 4273220 w 8633690"/>
              <a:gd name="connsiteY103" fmla="*/ 867107 h 3487140"/>
              <a:gd name="connsiteX104" fmla="*/ 4098306 w 8633690"/>
              <a:gd name="connsiteY104" fmla="*/ 840034 h 3487140"/>
              <a:gd name="connsiteX105" fmla="*/ 3954207 w 8633690"/>
              <a:gd name="connsiteY105" fmla="*/ 782769 h 3487140"/>
              <a:gd name="connsiteX106" fmla="*/ 3970551 w 8633690"/>
              <a:gd name="connsiteY106" fmla="*/ 714816 h 3487140"/>
              <a:gd name="connsiteX107" fmla="*/ 4144218 w 8633690"/>
              <a:gd name="connsiteY107" fmla="*/ 723008 h 3487140"/>
              <a:gd name="connsiteX108" fmla="*/ 4346829 w 8633690"/>
              <a:gd name="connsiteY108" fmla="*/ 729288 h 3487140"/>
              <a:gd name="connsiteX109" fmla="*/ 4513551 w 8633690"/>
              <a:gd name="connsiteY109" fmla="*/ 682087 h 3487140"/>
              <a:gd name="connsiteX110" fmla="*/ 4631200 w 8633690"/>
              <a:gd name="connsiteY110" fmla="*/ 703463 h 3487140"/>
              <a:gd name="connsiteX111" fmla="*/ 4653865 w 8633690"/>
              <a:gd name="connsiteY111" fmla="*/ 797199 h 3487140"/>
              <a:gd name="connsiteX112" fmla="*/ 4526152 w 8633690"/>
              <a:gd name="connsiteY112" fmla="*/ 890936 h 3487140"/>
              <a:gd name="connsiteX113" fmla="*/ 4356269 w 8633690"/>
              <a:gd name="connsiteY113" fmla="*/ 918009 h 3487140"/>
              <a:gd name="connsiteX114" fmla="*/ 4228556 w 8633690"/>
              <a:gd name="connsiteY114" fmla="*/ 1002306 h 3487140"/>
              <a:gd name="connsiteX115" fmla="*/ 4127666 w 8633690"/>
              <a:gd name="connsiteY115" fmla="*/ 1299902 h 3487140"/>
              <a:gd name="connsiteX116" fmla="*/ 4188716 w 8633690"/>
              <a:gd name="connsiteY116" fmla="*/ 1545930 h 3487140"/>
              <a:gd name="connsiteX117" fmla="*/ 4401391 w 8633690"/>
              <a:gd name="connsiteY117" fmla="*/ 1536490 h 3487140"/>
              <a:gd name="connsiteX118" fmla="*/ 4580922 w 8633690"/>
              <a:gd name="connsiteY118" fmla="*/ 1376048 h 3487140"/>
              <a:gd name="connsiteX119" fmla="*/ 4584083 w 8633690"/>
              <a:gd name="connsiteY119" fmla="*/ 1231949 h 3487140"/>
              <a:gd name="connsiteX120" fmla="*/ 4366042 w 8633690"/>
              <a:gd name="connsiteY120" fmla="*/ 1191693 h 3487140"/>
              <a:gd name="connsiteX121" fmla="*/ 4374526 w 8633690"/>
              <a:gd name="connsiteY121" fmla="*/ 1255238 h 3487140"/>
              <a:gd name="connsiteX122" fmla="*/ 4799544 w 8633690"/>
              <a:gd name="connsiteY122" fmla="*/ 1241722 h 3487140"/>
              <a:gd name="connsiteX123" fmla="*/ 5284364 w 8633690"/>
              <a:gd name="connsiteY123" fmla="*/ 1259646 h 3487140"/>
              <a:gd name="connsiteX124" fmla="*/ 5513716 w 8633690"/>
              <a:gd name="connsiteY124" fmla="*/ 1236981 h 3487140"/>
              <a:gd name="connsiteX125" fmla="*/ 5495460 w 8633690"/>
              <a:gd name="connsiteY125" fmla="*/ 1185995 h 3487140"/>
              <a:gd name="connsiteX126" fmla="*/ 5134942 w 8633690"/>
              <a:gd name="connsiteY126" fmla="*/ 1177512 h 3487140"/>
              <a:gd name="connsiteX127" fmla="*/ 4764362 w 8633690"/>
              <a:gd name="connsiteY127" fmla="*/ 1331342 h 3487140"/>
              <a:gd name="connsiteX128" fmla="*/ 4418608 w 8633690"/>
              <a:gd name="connsiteY128" fmla="*/ 1604110 h 3487140"/>
              <a:gd name="connsiteX129" fmla="*/ 4185805 w 8633690"/>
              <a:gd name="connsiteY129" fmla="*/ 1921252 h 3487140"/>
              <a:gd name="connsiteX130" fmla="*/ 4090155 w 8633690"/>
              <a:gd name="connsiteY130" fmla="*/ 2419255 h 3487140"/>
              <a:gd name="connsiteX131" fmla="*/ 4320463 w 8633690"/>
              <a:gd name="connsiteY131" fmla="*/ 3048465 h 3487140"/>
              <a:gd name="connsiteX132" fmla="*/ 4898688 w 8633690"/>
              <a:gd name="connsiteY132" fmla="*/ 3394510 h 3487140"/>
              <a:gd name="connsiteX133" fmla="*/ 5537337 w 8633690"/>
              <a:gd name="connsiteY133" fmla="*/ 3330632 h 3487140"/>
              <a:gd name="connsiteX134" fmla="*/ 6032512 w 8633690"/>
              <a:gd name="connsiteY134" fmla="*/ 2841404 h 3487140"/>
              <a:gd name="connsiteX135" fmla="*/ 6065865 w 8633690"/>
              <a:gd name="connsiteY135" fmla="*/ 2052999 h 3487140"/>
              <a:gd name="connsiteX136" fmla="*/ 5634858 w 8633690"/>
              <a:gd name="connsiteY136" fmla="*/ 1482011 h 3487140"/>
              <a:gd name="connsiteX137" fmla="*/ 5168004 w 8633690"/>
              <a:gd name="connsiteY137" fmla="*/ 1352717 h 3487140"/>
              <a:gd name="connsiteX138" fmla="*/ 5007562 w 8633690"/>
              <a:gd name="connsiteY138" fmla="*/ 1466624 h 3487140"/>
              <a:gd name="connsiteX139" fmla="*/ 5029603 w 8633690"/>
              <a:gd name="connsiteY139" fmla="*/ 2001140 h 3487140"/>
              <a:gd name="connsiteX140" fmla="*/ 5063579 w 8633690"/>
              <a:gd name="connsiteY140" fmla="*/ 2313208 h 3487140"/>
              <a:gd name="connsiteX141" fmla="*/ 5155279 w 8633690"/>
              <a:gd name="connsiteY141" fmla="*/ 2399085 h 3487140"/>
              <a:gd name="connsiteX142" fmla="*/ 5259745 w 8633690"/>
              <a:gd name="connsiteY142" fmla="*/ 2362905 h 3487140"/>
              <a:gd name="connsiteX143" fmla="*/ 5224354 w 8633690"/>
              <a:gd name="connsiteY143" fmla="*/ 2271372 h 3487140"/>
              <a:gd name="connsiteX144" fmla="*/ 5126750 w 8633690"/>
              <a:gd name="connsiteY144" fmla="*/ 2303394 h 3487140"/>
              <a:gd name="connsiteX145" fmla="*/ 5110364 w 8633690"/>
              <a:gd name="connsiteY145" fmla="*/ 2437262 h 3487140"/>
              <a:gd name="connsiteX146" fmla="*/ 5109283 w 8633690"/>
              <a:gd name="connsiteY146" fmla="*/ 2519521 h 3487140"/>
              <a:gd name="connsiteX147" fmla="*/ 4930169 w 8633690"/>
              <a:gd name="connsiteY147" fmla="*/ 2539400 h 3487140"/>
              <a:gd name="connsiteX148" fmla="*/ 4519914 w 8633690"/>
              <a:gd name="connsiteY148" fmla="*/ 2545679 h 3487140"/>
              <a:gd name="connsiteX149" fmla="*/ 4279542 w 8633690"/>
              <a:gd name="connsiteY149" fmla="*/ 2602944 h 3487140"/>
              <a:gd name="connsiteX150" fmla="*/ 4269935 w 8633690"/>
              <a:gd name="connsiteY150" fmla="*/ 2790460 h 3487140"/>
              <a:gd name="connsiteX151" fmla="*/ 4463272 w 8633690"/>
              <a:gd name="connsiteY151" fmla="*/ 3133385 h 3487140"/>
              <a:gd name="connsiteX152" fmla="*/ 4955162 w 8633690"/>
              <a:gd name="connsiteY152" fmla="*/ 3465290 h 3487140"/>
              <a:gd name="connsiteX153" fmla="*/ 5695908 w 8633690"/>
              <a:gd name="connsiteY153" fmla="*/ 3390434 h 3487140"/>
              <a:gd name="connsiteX154" fmla="*/ 6135731 w 8633690"/>
              <a:gd name="connsiteY154" fmla="*/ 3017940 h 3487140"/>
              <a:gd name="connsiteX155" fmla="*/ 6449712 w 8633690"/>
              <a:gd name="connsiteY155" fmla="*/ 2655510 h 3487140"/>
              <a:gd name="connsiteX156" fmla="*/ 6822206 w 8633690"/>
              <a:gd name="connsiteY156" fmla="*/ 3163577 h 3487140"/>
              <a:gd name="connsiteX157" fmla="*/ 7046193 w 8633690"/>
              <a:gd name="connsiteY157" fmla="*/ 3255443 h 3487140"/>
              <a:gd name="connsiteX158" fmla="*/ 7124210 w 8633690"/>
              <a:gd name="connsiteY158" fmla="*/ 2786675 h 3487140"/>
              <a:gd name="connsiteX159" fmla="*/ 7433783 w 8633690"/>
              <a:gd name="connsiteY159" fmla="*/ 2869724 h 3487140"/>
              <a:gd name="connsiteX160" fmla="*/ 7672575 w 8633690"/>
              <a:gd name="connsiteY160" fmla="*/ 3245046 h 3487140"/>
              <a:gd name="connsiteX161" fmla="*/ 8045068 w 8633690"/>
              <a:gd name="connsiteY161" fmla="*/ 3329676 h 3487140"/>
              <a:gd name="connsiteX162" fmla="*/ 8633690 w 8633690"/>
              <a:gd name="connsiteY162" fmla="*/ 3217682 h 3487140"/>
              <a:gd name="connsiteX0" fmla="*/ 0 w 8404339"/>
              <a:gd name="connsiteY0" fmla="*/ 3416675 h 3487140"/>
              <a:gd name="connsiteX1" fmla="*/ 159819 w 8404339"/>
              <a:gd name="connsiteY1" fmla="*/ 3205871 h 3487140"/>
              <a:gd name="connsiteX2" fmla="*/ 419072 w 8404339"/>
              <a:gd name="connsiteY2" fmla="*/ 2696848 h 3487140"/>
              <a:gd name="connsiteX3" fmla="*/ 693420 w 8404339"/>
              <a:gd name="connsiteY3" fmla="*/ 2954187 h 3487140"/>
              <a:gd name="connsiteX4" fmla="*/ 1040754 w 8404339"/>
              <a:gd name="connsiteY4" fmla="*/ 3339906 h 3487140"/>
              <a:gd name="connsiteX5" fmla="*/ 1498876 w 8404339"/>
              <a:gd name="connsiteY5" fmla="*/ 3385485 h 3487140"/>
              <a:gd name="connsiteX6" fmla="*/ 1577558 w 8404339"/>
              <a:gd name="connsiteY6" fmla="*/ 3295741 h 3487140"/>
              <a:gd name="connsiteX7" fmla="*/ 1326456 w 8404339"/>
              <a:gd name="connsiteY7" fmla="*/ 3112384 h 3487140"/>
              <a:gd name="connsiteX8" fmla="*/ 1020293 w 8404339"/>
              <a:gd name="connsiteY8" fmla="*/ 2750287 h 3487140"/>
              <a:gd name="connsiteX9" fmla="*/ 928761 w 8404339"/>
              <a:gd name="connsiteY9" fmla="*/ 2305432 h 3487140"/>
              <a:gd name="connsiteX10" fmla="*/ 1056349 w 8404339"/>
              <a:gd name="connsiteY10" fmla="*/ 1919713 h 3487140"/>
              <a:gd name="connsiteX11" fmla="*/ 1380561 w 8404339"/>
              <a:gd name="connsiteY11" fmla="*/ 1637837 h 3487140"/>
              <a:gd name="connsiteX12" fmla="*/ 1873865 w 8404339"/>
              <a:gd name="connsiteY12" fmla="*/ 1545972 h 3487140"/>
              <a:gd name="connsiteX13" fmla="*/ 2108540 w 8404339"/>
              <a:gd name="connsiteY13" fmla="*/ 1517651 h 3487140"/>
              <a:gd name="connsiteX14" fmla="*/ 2093277 w 8404339"/>
              <a:gd name="connsiteY14" fmla="*/ 1460718 h 3487140"/>
              <a:gd name="connsiteX15" fmla="*/ 1817223 w 8404339"/>
              <a:gd name="connsiteY15" fmla="*/ 1416969 h 3487140"/>
              <a:gd name="connsiteX16" fmla="*/ 1297803 w 8404339"/>
              <a:gd name="connsiteY16" fmla="*/ 1517318 h 3487140"/>
              <a:gd name="connsiteX17" fmla="*/ 888505 w 8404339"/>
              <a:gd name="connsiteY17" fmla="*/ 1960593 h 3487140"/>
              <a:gd name="connsiteX18" fmla="*/ 829035 w 8404339"/>
              <a:gd name="connsiteY18" fmla="*/ 2569342 h 3487140"/>
              <a:gd name="connsiteX19" fmla="*/ 1242742 w 8404339"/>
              <a:gd name="connsiteY19" fmla="*/ 3165532 h 3487140"/>
              <a:gd name="connsiteX20" fmla="*/ 2032727 w 8404339"/>
              <a:gd name="connsiteY20" fmla="*/ 3283181 h 3487140"/>
              <a:gd name="connsiteX21" fmla="*/ 2635363 w 8404339"/>
              <a:gd name="connsiteY21" fmla="*/ 2757481 h 3487140"/>
              <a:gd name="connsiteX22" fmla="*/ 2625132 w 8404339"/>
              <a:gd name="connsiteY22" fmla="*/ 1980430 h 3487140"/>
              <a:gd name="connsiteX23" fmla="*/ 2295098 w 8404339"/>
              <a:gd name="connsiteY23" fmla="*/ 1589139 h 3487140"/>
              <a:gd name="connsiteX24" fmla="*/ 2106044 w 8404339"/>
              <a:gd name="connsiteY24" fmla="*/ 1660710 h 3487140"/>
              <a:gd name="connsiteX25" fmla="*/ 1997627 w 8404339"/>
              <a:gd name="connsiteY25" fmla="*/ 2116627 h 3487140"/>
              <a:gd name="connsiteX26" fmla="*/ 1774264 w 8404339"/>
              <a:gd name="connsiteY26" fmla="*/ 2374258 h 3487140"/>
              <a:gd name="connsiteX27" fmla="*/ 1719328 w 8404339"/>
              <a:gd name="connsiteY27" fmla="*/ 2276986 h 3487140"/>
              <a:gd name="connsiteX28" fmla="*/ 2098600 w 8404339"/>
              <a:gd name="connsiteY28" fmla="*/ 2021601 h 3487140"/>
              <a:gd name="connsiteX29" fmla="*/ 2358519 w 8404339"/>
              <a:gd name="connsiteY29" fmla="*/ 1234153 h 3487140"/>
              <a:gd name="connsiteX30" fmla="*/ 2588619 w 8404339"/>
              <a:gd name="connsiteY30" fmla="*/ 725296 h 3487140"/>
              <a:gd name="connsiteX31" fmla="*/ 2697202 w 8404339"/>
              <a:gd name="connsiteY31" fmla="*/ 539984 h 3487140"/>
              <a:gd name="connsiteX32" fmla="*/ 2666054 w 8404339"/>
              <a:gd name="connsiteY32" fmla="*/ 435851 h 3487140"/>
              <a:gd name="connsiteX33" fmla="*/ 2559716 w 8404339"/>
              <a:gd name="connsiteY33" fmla="*/ 350265 h 3487140"/>
              <a:gd name="connsiteX34" fmla="*/ 2514428 w 8404339"/>
              <a:gd name="connsiteY34" fmla="*/ 209327 h 3487140"/>
              <a:gd name="connsiteX35" fmla="*/ 2559258 w 8404339"/>
              <a:gd name="connsiteY35" fmla="*/ 82237 h 3487140"/>
              <a:gd name="connsiteX36" fmla="*/ 2739538 w 8404339"/>
              <a:gd name="connsiteY36" fmla="*/ 6716 h 3487140"/>
              <a:gd name="connsiteX37" fmla="*/ 3008231 w 8404339"/>
              <a:gd name="connsiteY37" fmla="*/ 10167 h 3487140"/>
              <a:gd name="connsiteX38" fmla="*/ 3091904 w 8404339"/>
              <a:gd name="connsiteY38" fmla="*/ 49800 h 3487140"/>
              <a:gd name="connsiteX39" fmla="*/ 3044869 w 8404339"/>
              <a:gd name="connsiteY39" fmla="*/ 86812 h 3487140"/>
              <a:gd name="connsiteX40" fmla="*/ 2808946 w 8404339"/>
              <a:gd name="connsiteY40" fmla="*/ 91886 h 3487140"/>
              <a:gd name="connsiteX41" fmla="*/ 2565413 w 8404339"/>
              <a:gd name="connsiteY41" fmla="*/ 75833 h 3487140"/>
              <a:gd name="connsiteX42" fmla="*/ 2457662 w 8404339"/>
              <a:gd name="connsiteY42" fmla="*/ 176931 h 3487140"/>
              <a:gd name="connsiteX43" fmla="*/ 2472924 w 8404339"/>
              <a:gd name="connsiteY43" fmla="*/ 370393 h 3487140"/>
              <a:gd name="connsiteX44" fmla="*/ 2417697 w 8404339"/>
              <a:gd name="connsiteY44" fmla="*/ 589348 h 3487140"/>
              <a:gd name="connsiteX45" fmla="*/ 2261163 w 8404339"/>
              <a:gd name="connsiteY45" fmla="*/ 903953 h 3487140"/>
              <a:gd name="connsiteX46" fmla="*/ 2050692 w 8404339"/>
              <a:gd name="connsiteY46" fmla="*/ 922501 h 3487140"/>
              <a:gd name="connsiteX47" fmla="*/ 1856273 w 8404339"/>
              <a:gd name="connsiteY47" fmla="*/ 866816 h 3487140"/>
              <a:gd name="connsiteX48" fmla="*/ 1797428 w 8404339"/>
              <a:gd name="connsiteY48" fmla="*/ 751038 h 3487140"/>
              <a:gd name="connsiteX49" fmla="*/ 1809364 w 8404339"/>
              <a:gd name="connsiteY49" fmla="*/ 369436 h 3487140"/>
              <a:gd name="connsiteX50" fmla="*/ 1871037 w 8404339"/>
              <a:gd name="connsiteY50" fmla="*/ 155805 h 3487140"/>
              <a:gd name="connsiteX51" fmla="*/ 2072401 w 8404339"/>
              <a:gd name="connsiteY51" fmla="*/ 156761 h 3487140"/>
              <a:gd name="connsiteX52" fmla="*/ 2325332 w 8404339"/>
              <a:gd name="connsiteY52" fmla="*/ 245175 h 3487140"/>
              <a:gd name="connsiteX53" fmla="*/ 2494424 w 8404339"/>
              <a:gd name="connsiteY53" fmla="*/ 357792 h 3487140"/>
              <a:gd name="connsiteX54" fmla="*/ 2599015 w 8404339"/>
              <a:gd name="connsiteY54" fmla="*/ 483301 h 3487140"/>
              <a:gd name="connsiteX55" fmla="*/ 2623219 w 8404339"/>
              <a:gd name="connsiteY55" fmla="*/ 600951 h 3487140"/>
              <a:gd name="connsiteX56" fmla="*/ 2595688 w 8404339"/>
              <a:gd name="connsiteY56" fmla="*/ 761726 h 3487140"/>
              <a:gd name="connsiteX57" fmla="*/ 2767609 w 8404339"/>
              <a:gd name="connsiteY57" fmla="*/ 1160004 h 3487140"/>
              <a:gd name="connsiteX58" fmla="*/ 3190589 w 8404339"/>
              <a:gd name="connsiteY58" fmla="*/ 1793622 h 3487140"/>
              <a:gd name="connsiteX59" fmla="*/ 3608080 w 8404339"/>
              <a:gd name="connsiteY59" fmla="*/ 2087475 h 3487140"/>
              <a:gd name="connsiteX60" fmla="*/ 3717703 w 8404339"/>
              <a:gd name="connsiteY60" fmla="*/ 2185620 h 3487140"/>
              <a:gd name="connsiteX61" fmla="*/ 3604754 w 8404339"/>
              <a:gd name="connsiteY61" fmla="*/ 2468120 h 3487140"/>
              <a:gd name="connsiteX62" fmla="*/ 3438655 w 8404339"/>
              <a:gd name="connsiteY62" fmla="*/ 2505548 h 3487140"/>
              <a:gd name="connsiteX63" fmla="*/ 3130205 w 8404339"/>
              <a:gd name="connsiteY63" fmla="*/ 2278109 h 3487140"/>
              <a:gd name="connsiteX64" fmla="*/ 2685516 w 8404339"/>
              <a:gd name="connsiteY64" fmla="*/ 1678800 h 3487140"/>
              <a:gd name="connsiteX65" fmla="*/ 2565663 w 8404339"/>
              <a:gd name="connsiteY65" fmla="*/ 1175432 h 3487140"/>
              <a:gd name="connsiteX66" fmla="*/ 2720117 w 8404339"/>
              <a:gd name="connsiteY66" fmla="*/ 1377420 h 3487140"/>
              <a:gd name="connsiteX67" fmla="*/ 3081757 w 8404339"/>
              <a:gd name="connsiteY67" fmla="*/ 2268710 h 3487140"/>
              <a:gd name="connsiteX68" fmla="*/ 3401559 w 8404339"/>
              <a:gd name="connsiteY68" fmla="*/ 2693105 h 3487140"/>
              <a:gd name="connsiteX69" fmla="*/ 3634987 w 8404339"/>
              <a:gd name="connsiteY69" fmla="*/ 2746586 h 3487140"/>
              <a:gd name="connsiteX70" fmla="*/ 3802208 w 8404339"/>
              <a:gd name="connsiteY70" fmla="*/ 2631432 h 3487140"/>
              <a:gd name="connsiteX71" fmla="*/ 3813395 w 8404339"/>
              <a:gd name="connsiteY71" fmla="*/ 2436680 h 3487140"/>
              <a:gd name="connsiteX72" fmla="*/ 3659565 w 8404339"/>
              <a:gd name="connsiteY72" fmla="*/ 2309258 h 3487140"/>
              <a:gd name="connsiteX73" fmla="*/ 3452379 w 8404339"/>
              <a:gd name="connsiteY73" fmla="*/ 2375007 h 3487140"/>
              <a:gd name="connsiteX74" fmla="*/ 3429880 w 8404339"/>
              <a:gd name="connsiteY74" fmla="*/ 2581402 h 3487140"/>
              <a:gd name="connsiteX75" fmla="*/ 3572565 w 8404339"/>
              <a:gd name="connsiteY75" fmla="*/ 2671064 h 3487140"/>
              <a:gd name="connsiteX76" fmla="*/ 3669130 w 8404339"/>
              <a:gd name="connsiteY76" fmla="*/ 2596831 h 3487140"/>
              <a:gd name="connsiteX77" fmla="*/ 3635944 w 8404339"/>
              <a:gd name="connsiteY77" fmla="*/ 2530750 h 3487140"/>
              <a:gd name="connsiteX78" fmla="*/ 3513886 w 8404339"/>
              <a:gd name="connsiteY78" fmla="*/ 2615379 h 3487140"/>
              <a:gd name="connsiteX79" fmla="*/ 3368207 w 8404339"/>
              <a:gd name="connsiteY79" fmla="*/ 2907028 h 3487140"/>
              <a:gd name="connsiteX80" fmla="*/ 3320382 w 8404339"/>
              <a:gd name="connsiteY80" fmla="*/ 3008333 h 3487140"/>
              <a:gd name="connsiteX81" fmla="*/ 3284534 w 8404339"/>
              <a:gd name="connsiteY81" fmla="*/ 3024053 h 3487140"/>
              <a:gd name="connsiteX82" fmla="*/ 3189508 w 8404339"/>
              <a:gd name="connsiteY82" fmla="*/ 3013989 h 3487140"/>
              <a:gd name="connsiteX83" fmla="*/ 3196411 w 8404339"/>
              <a:gd name="connsiteY83" fmla="*/ 2956724 h 3487140"/>
              <a:gd name="connsiteX84" fmla="*/ 3385174 w 8404339"/>
              <a:gd name="connsiteY84" fmla="*/ 2951068 h 3487140"/>
              <a:gd name="connsiteX85" fmla="*/ 3471384 w 8404339"/>
              <a:gd name="connsiteY85" fmla="*/ 2951068 h 3487140"/>
              <a:gd name="connsiteX86" fmla="*/ 3552562 w 8404339"/>
              <a:gd name="connsiteY86" fmla="*/ 2822066 h 3487140"/>
              <a:gd name="connsiteX87" fmla="*/ 3692876 w 8404339"/>
              <a:gd name="connsiteY87" fmla="*/ 2789337 h 3487140"/>
              <a:gd name="connsiteX88" fmla="*/ 3820589 w 8404339"/>
              <a:gd name="connsiteY88" fmla="*/ 2713815 h 3487140"/>
              <a:gd name="connsiteX89" fmla="*/ 3906799 w 8404339"/>
              <a:gd name="connsiteY89" fmla="*/ 2544556 h 3487140"/>
              <a:gd name="connsiteX90" fmla="*/ 4126378 w 8404339"/>
              <a:gd name="connsiteY90" fmla="*/ 2482883 h 3487140"/>
              <a:gd name="connsiteX91" fmla="*/ 4661352 w 8404339"/>
              <a:gd name="connsiteY91" fmla="*/ 2466831 h 3487140"/>
              <a:gd name="connsiteX92" fmla="*/ 4817094 w 8404339"/>
              <a:gd name="connsiteY92" fmla="*/ 2420918 h 3487140"/>
              <a:gd name="connsiteX93" fmla="*/ 4667007 w 8404339"/>
              <a:gd name="connsiteY93" fmla="*/ 2252907 h 3487140"/>
              <a:gd name="connsiteX94" fmla="*/ 4191628 w 8404339"/>
              <a:gd name="connsiteY94" fmla="*/ 1791709 h 3487140"/>
              <a:gd name="connsiteX95" fmla="*/ 3927509 w 8404339"/>
              <a:gd name="connsiteY95" fmla="*/ 1600118 h 3487140"/>
              <a:gd name="connsiteX96" fmla="*/ 3803539 w 8404339"/>
              <a:gd name="connsiteY96" fmla="*/ 1733529 h 3487140"/>
              <a:gd name="connsiteX97" fmla="*/ 3741241 w 8404339"/>
              <a:gd name="connsiteY97" fmla="*/ 1995900 h 3487140"/>
              <a:gd name="connsiteX98" fmla="*/ 3782121 w 8404339"/>
              <a:gd name="connsiteY98" fmla="*/ 2048133 h 3487140"/>
              <a:gd name="connsiteX99" fmla="*/ 3845042 w 8404339"/>
              <a:gd name="connsiteY99" fmla="*/ 1778817 h 3487140"/>
              <a:gd name="connsiteX100" fmla="*/ 3966809 w 8404339"/>
              <a:gd name="connsiteY100" fmla="*/ 1356918 h 3487140"/>
              <a:gd name="connsiteX101" fmla="*/ 4073146 w 8404339"/>
              <a:gd name="connsiteY101" fmla="*/ 986960 h 3487140"/>
              <a:gd name="connsiteX102" fmla="*/ 4043869 w 8404339"/>
              <a:gd name="connsiteY102" fmla="*/ 867107 h 3487140"/>
              <a:gd name="connsiteX103" fmla="*/ 3868955 w 8404339"/>
              <a:gd name="connsiteY103" fmla="*/ 840034 h 3487140"/>
              <a:gd name="connsiteX104" fmla="*/ 3724856 w 8404339"/>
              <a:gd name="connsiteY104" fmla="*/ 782769 h 3487140"/>
              <a:gd name="connsiteX105" fmla="*/ 3741200 w 8404339"/>
              <a:gd name="connsiteY105" fmla="*/ 714816 h 3487140"/>
              <a:gd name="connsiteX106" fmla="*/ 3914867 w 8404339"/>
              <a:gd name="connsiteY106" fmla="*/ 723008 h 3487140"/>
              <a:gd name="connsiteX107" fmla="*/ 4117478 w 8404339"/>
              <a:gd name="connsiteY107" fmla="*/ 729288 h 3487140"/>
              <a:gd name="connsiteX108" fmla="*/ 4284200 w 8404339"/>
              <a:gd name="connsiteY108" fmla="*/ 682087 h 3487140"/>
              <a:gd name="connsiteX109" fmla="*/ 4401849 w 8404339"/>
              <a:gd name="connsiteY109" fmla="*/ 703463 h 3487140"/>
              <a:gd name="connsiteX110" fmla="*/ 4424514 w 8404339"/>
              <a:gd name="connsiteY110" fmla="*/ 797199 h 3487140"/>
              <a:gd name="connsiteX111" fmla="*/ 4296801 w 8404339"/>
              <a:gd name="connsiteY111" fmla="*/ 890936 h 3487140"/>
              <a:gd name="connsiteX112" fmla="*/ 4126918 w 8404339"/>
              <a:gd name="connsiteY112" fmla="*/ 918009 h 3487140"/>
              <a:gd name="connsiteX113" fmla="*/ 3999205 w 8404339"/>
              <a:gd name="connsiteY113" fmla="*/ 1002306 h 3487140"/>
              <a:gd name="connsiteX114" fmla="*/ 3898315 w 8404339"/>
              <a:gd name="connsiteY114" fmla="*/ 1299902 h 3487140"/>
              <a:gd name="connsiteX115" fmla="*/ 3959365 w 8404339"/>
              <a:gd name="connsiteY115" fmla="*/ 1545930 h 3487140"/>
              <a:gd name="connsiteX116" fmla="*/ 4172040 w 8404339"/>
              <a:gd name="connsiteY116" fmla="*/ 1536490 h 3487140"/>
              <a:gd name="connsiteX117" fmla="*/ 4351571 w 8404339"/>
              <a:gd name="connsiteY117" fmla="*/ 1376048 h 3487140"/>
              <a:gd name="connsiteX118" fmla="*/ 4354732 w 8404339"/>
              <a:gd name="connsiteY118" fmla="*/ 1231949 h 3487140"/>
              <a:gd name="connsiteX119" fmla="*/ 4136691 w 8404339"/>
              <a:gd name="connsiteY119" fmla="*/ 1191693 h 3487140"/>
              <a:gd name="connsiteX120" fmla="*/ 4145175 w 8404339"/>
              <a:gd name="connsiteY120" fmla="*/ 1255238 h 3487140"/>
              <a:gd name="connsiteX121" fmla="*/ 4570193 w 8404339"/>
              <a:gd name="connsiteY121" fmla="*/ 1241722 h 3487140"/>
              <a:gd name="connsiteX122" fmla="*/ 5055013 w 8404339"/>
              <a:gd name="connsiteY122" fmla="*/ 1259646 h 3487140"/>
              <a:gd name="connsiteX123" fmla="*/ 5284365 w 8404339"/>
              <a:gd name="connsiteY123" fmla="*/ 1236981 h 3487140"/>
              <a:gd name="connsiteX124" fmla="*/ 5266109 w 8404339"/>
              <a:gd name="connsiteY124" fmla="*/ 1185995 h 3487140"/>
              <a:gd name="connsiteX125" fmla="*/ 4905591 w 8404339"/>
              <a:gd name="connsiteY125" fmla="*/ 1177512 h 3487140"/>
              <a:gd name="connsiteX126" fmla="*/ 4535011 w 8404339"/>
              <a:gd name="connsiteY126" fmla="*/ 1331342 h 3487140"/>
              <a:gd name="connsiteX127" fmla="*/ 4189257 w 8404339"/>
              <a:gd name="connsiteY127" fmla="*/ 1604110 h 3487140"/>
              <a:gd name="connsiteX128" fmla="*/ 3956454 w 8404339"/>
              <a:gd name="connsiteY128" fmla="*/ 1921252 h 3487140"/>
              <a:gd name="connsiteX129" fmla="*/ 3860804 w 8404339"/>
              <a:gd name="connsiteY129" fmla="*/ 2419255 h 3487140"/>
              <a:gd name="connsiteX130" fmla="*/ 4091112 w 8404339"/>
              <a:gd name="connsiteY130" fmla="*/ 3048465 h 3487140"/>
              <a:gd name="connsiteX131" fmla="*/ 4669337 w 8404339"/>
              <a:gd name="connsiteY131" fmla="*/ 3394510 h 3487140"/>
              <a:gd name="connsiteX132" fmla="*/ 5307986 w 8404339"/>
              <a:gd name="connsiteY132" fmla="*/ 3330632 h 3487140"/>
              <a:gd name="connsiteX133" fmla="*/ 5803161 w 8404339"/>
              <a:gd name="connsiteY133" fmla="*/ 2841404 h 3487140"/>
              <a:gd name="connsiteX134" fmla="*/ 5836514 w 8404339"/>
              <a:gd name="connsiteY134" fmla="*/ 2052999 h 3487140"/>
              <a:gd name="connsiteX135" fmla="*/ 5405507 w 8404339"/>
              <a:gd name="connsiteY135" fmla="*/ 1482011 h 3487140"/>
              <a:gd name="connsiteX136" fmla="*/ 4938653 w 8404339"/>
              <a:gd name="connsiteY136" fmla="*/ 1352717 h 3487140"/>
              <a:gd name="connsiteX137" fmla="*/ 4778211 w 8404339"/>
              <a:gd name="connsiteY137" fmla="*/ 1466624 h 3487140"/>
              <a:gd name="connsiteX138" fmla="*/ 4800252 w 8404339"/>
              <a:gd name="connsiteY138" fmla="*/ 2001140 h 3487140"/>
              <a:gd name="connsiteX139" fmla="*/ 4834228 w 8404339"/>
              <a:gd name="connsiteY139" fmla="*/ 2313208 h 3487140"/>
              <a:gd name="connsiteX140" fmla="*/ 4925928 w 8404339"/>
              <a:gd name="connsiteY140" fmla="*/ 2399085 h 3487140"/>
              <a:gd name="connsiteX141" fmla="*/ 5030394 w 8404339"/>
              <a:gd name="connsiteY141" fmla="*/ 2362905 h 3487140"/>
              <a:gd name="connsiteX142" fmla="*/ 4995003 w 8404339"/>
              <a:gd name="connsiteY142" fmla="*/ 2271372 h 3487140"/>
              <a:gd name="connsiteX143" fmla="*/ 4897399 w 8404339"/>
              <a:gd name="connsiteY143" fmla="*/ 2303394 h 3487140"/>
              <a:gd name="connsiteX144" fmla="*/ 4881013 w 8404339"/>
              <a:gd name="connsiteY144" fmla="*/ 2437262 h 3487140"/>
              <a:gd name="connsiteX145" fmla="*/ 4879932 w 8404339"/>
              <a:gd name="connsiteY145" fmla="*/ 2519521 h 3487140"/>
              <a:gd name="connsiteX146" fmla="*/ 4700818 w 8404339"/>
              <a:gd name="connsiteY146" fmla="*/ 2539400 h 3487140"/>
              <a:gd name="connsiteX147" fmla="*/ 4290563 w 8404339"/>
              <a:gd name="connsiteY147" fmla="*/ 2545679 h 3487140"/>
              <a:gd name="connsiteX148" fmla="*/ 4050191 w 8404339"/>
              <a:gd name="connsiteY148" fmla="*/ 2602944 h 3487140"/>
              <a:gd name="connsiteX149" fmla="*/ 4040584 w 8404339"/>
              <a:gd name="connsiteY149" fmla="*/ 2790460 h 3487140"/>
              <a:gd name="connsiteX150" fmla="*/ 4233921 w 8404339"/>
              <a:gd name="connsiteY150" fmla="*/ 3133385 h 3487140"/>
              <a:gd name="connsiteX151" fmla="*/ 4725811 w 8404339"/>
              <a:gd name="connsiteY151" fmla="*/ 3465290 h 3487140"/>
              <a:gd name="connsiteX152" fmla="*/ 5466557 w 8404339"/>
              <a:gd name="connsiteY152" fmla="*/ 3390434 h 3487140"/>
              <a:gd name="connsiteX153" fmla="*/ 5906380 w 8404339"/>
              <a:gd name="connsiteY153" fmla="*/ 3017940 h 3487140"/>
              <a:gd name="connsiteX154" fmla="*/ 6220361 w 8404339"/>
              <a:gd name="connsiteY154" fmla="*/ 2655510 h 3487140"/>
              <a:gd name="connsiteX155" fmla="*/ 6592855 w 8404339"/>
              <a:gd name="connsiteY155" fmla="*/ 3163577 h 3487140"/>
              <a:gd name="connsiteX156" fmla="*/ 6816842 w 8404339"/>
              <a:gd name="connsiteY156" fmla="*/ 3255443 h 3487140"/>
              <a:gd name="connsiteX157" fmla="*/ 6894859 w 8404339"/>
              <a:gd name="connsiteY157" fmla="*/ 2786675 h 3487140"/>
              <a:gd name="connsiteX158" fmla="*/ 7204432 w 8404339"/>
              <a:gd name="connsiteY158" fmla="*/ 2869724 h 3487140"/>
              <a:gd name="connsiteX159" fmla="*/ 7443224 w 8404339"/>
              <a:gd name="connsiteY159" fmla="*/ 3245046 h 3487140"/>
              <a:gd name="connsiteX160" fmla="*/ 7815717 w 8404339"/>
              <a:gd name="connsiteY160" fmla="*/ 3329676 h 3487140"/>
              <a:gd name="connsiteX161" fmla="*/ 8404339 w 8404339"/>
              <a:gd name="connsiteY161" fmla="*/ 3217682 h 3487140"/>
              <a:gd name="connsiteX0" fmla="*/ 0 w 8244520"/>
              <a:gd name="connsiteY0" fmla="*/ 3205871 h 3487140"/>
              <a:gd name="connsiteX1" fmla="*/ 259253 w 8244520"/>
              <a:gd name="connsiteY1" fmla="*/ 2696848 h 3487140"/>
              <a:gd name="connsiteX2" fmla="*/ 533601 w 8244520"/>
              <a:gd name="connsiteY2" fmla="*/ 2954187 h 3487140"/>
              <a:gd name="connsiteX3" fmla="*/ 880935 w 8244520"/>
              <a:gd name="connsiteY3" fmla="*/ 3339906 h 3487140"/>
              <a:gd name="connsiteX4" fmla="*/ 1339057 w 8244520"/>
              <a:gd name="connsiteY4" fmla="*/ 3385485 h 3487140"/>
              <a:gd name="connsiteX5" fmla="*/ 1417739 w 8244520"/>
              <a:gd name="connsiteY5" fmla="*/ 3295741 h 3487140"/>
              <a:gd name="connsiteX6" fmla="*/ 1166637 w 8244520"/>
              <a:gd name="connsiteY6" fmla="*/ 3112384 h 3487140"/>
              <a:gd name="connsiteX7" fmla="*/ 860474 w 8244520"/>
              <a:gd name="connsiteY7" fmla="*/ 2750287 h 3487140"/>
              <a:gd name="connsiteX8" fmla="*/ 768942 w 8244520"/>
              <a:gd name="connsiteY8" fmla="*/ 2305432 h 3487140"/>
              <a:gd name="connsiteX9" fmla="*/ 896530 w 8244520"/>
              <a:gd name="connsiteY9" fmla="*/ 1919713 h 3487140"/>
              <a:gd name="connsiteX10" fmla="*/ 1220742 w 8244520"/>
              <a:gd name="connsiteY10" fmla="*/ 1637837 h 3487140"/>
              <a:gd name="connsiteX11" fmla="*/ 1714046 w 8244520"/>
              <a:gd name="connsiteY11" fmla="*/ 1545972 h 3487140"/>
              <a:gd name="connsiteX12" fmla="*/ 1948721 w 8244520"/>
              <a:gd name="connsiteY12" fmla="*/ 1517651 h 3487140"/>
              <a:gd name="connsiteX13" fmla="*/ 1933458 w 8244520"/>
              <a:gd name="connsiteY13" fmla="*/ 1460718 h 3487140"/>
              <a:gd name="connsiteX14" fmla="*/ 1657404 w 8244520"/>
              <a:gd name="connsiteY14" fmla="*/ 1416969 h 3487140"/>
              <a:gd name="connsiteX15" fmla="*/ 1137984 w 8244520"/>
              <a:gd name="connsiteY15" fmla="*/ 1517318 h 3487140"/>
              <a:gd name="connsiteX16" fmla="*/ 728686 w 8244520"/>
              <a:gd name="connsiteY16" fmla="*/ 1960593 h 3487140"/>
              <a:gd name="connsiteX17" fmla="*/ 669216 w 8244520"/>
              <a:gd name="connsiteY17" fmla="*/ 2569342 h 3487140"/>
              <a:gd name="connsiteX18" fmla="*/ 1082923 w 8244520"/>
              <a:gd name="connsiteY18" fmla="*/ 3165532 h 3487140"/>
              <a:gd name="connsiteX19" fmla="*/ 1872908 w 8244520"/>
              <a:gd name="connsiteY19" fmla="*/ 3283181 h 3487140"/>
              <a:gd name="connsiteX20" fmla="*/ 2475544 w 8244520"/>
              <a:gd name="connsiteY20" fmla="*/ 2757481 h 3487140"/>
              <a:gd name="connsiteX21" fmla="*/ 2465313 w 8244520"/>
              <a:gd name="connsiteY21" fmla="*/ 1980430 h 3487140"/>
              <a:gd name="connsiteX22" fmla="*/ 2135279 w 8244520"/>
              <a:gd name="connsiteY22" fmla="*/ 1589139 h 3487140"/>
              <a:gd name="connsiteX23" fmla="*/ 1946225 w 8244520"/>
              <a:gd name="connsiteY23" fmla="*/ 1660710 h 3487140"/>
              <a:gd name="connsiteX24" fmla="*/ 1837808 w 8244520"/>
              <a:gd name="connsiteY24" fmla="*/ 2116627 h 3487140"/>
              <a:gd name="connsiteX25" fmla="*/ 1614445 w 8244520"/>
              <a:gd name="connsiteY25" fmla="*/ 2374258 h 3487140"/>
              <a:gd name="connsiteX26" fmla="*/ 1559509 w 8244520"/>
              <a:gd name="connsiteY26" fmla="*/ 2276986 h 3487140"/>
              <a:gd name="connsiteX27" fmla="*/ 1938781 w 8244520"/>
              <a:gd name="connsiteY27" fmla="*/ 2021601 h 3487140"/>
              <a:gd name="connsiteX28" fmla="*/ 2198700 w 8244520"/>
              <a:gd name="connsiteY28" fmla="*/ 1234153 h 3487140"/>
              <a:gd name="connsiteX29" fmla="*/ 2428800 w 8244520"/>
              <a:gd name="connsiteY29" fmla="*/ 725296 h 3487140"/>
              <a:gd name="connsiteX30" fmla="*/ 2537383 w 8244520"/>
              <a:gd name="connsiteY30" fmla="*/ 539984 h 3487140"/>
              <a:gd name="connsiteX31" fmla="*/ 2506235 w 8244520"/>
              <a:gd name="connsiteY31" fmla="*/ 435851 h 3487140"/>
              <a:gd name="connsiteX32" fmla="*/ 2399897 w 8244520"/>
              <a:gd name="connsiteY32" fmla="*/ 350265 h 3487140"/>
              <a:gd name="connsiteX33" fmla="*/ 2354609 w 8244520"/>
              <a:gd name="connsiteY33" fmla="*/ 209327 h 3487140"/>
              <a:gd name="connsiteX34" fmla="*/ 2399439 w 8244520"/>
              <a:gd name="connsiteY34" fmla="*/ 82237 h 3487140"/>
              <a:gd name="connsiteX35" fmla="*/ 2579719 w 8244520"/>
              <a:gd name="connsiteY35" fmla="*/ 6716 h 3487140"/>
              <a:gd name="connsiteX36" fmla="*/ 2848412 w 8244520"/>
              <a:gd name="connsiteY36" fmla="*/ 10167 h 3487140"/>
              <a:gd name="connsiteX37" fmla="*/ 2932085 w 8244520"/>
              <a:gd name="connsiteY37" fmla="*/ 49800 h 3487140"/>
              <a:gd name="connsiteX38" fmla="*/ 2885050 w 8244520"/>
              <a:gd name="connsiteY38" fmla="*/ 86812 h 3487140"/>
              <a:gd name="connsiteX39" fmla="*/ 2649127 w 8244520"/>
              <a:gd name="connsiteY39" fmla="*/ 91886 h 3487140"/>
              <a:gd name="connsiteX40" fmla="*/ 2405594 w 8244520"/>
              <a:gd name="connsiteY40" fmla="*/ 75833 h 3487140"/>
              <a:gd name="connsiteX41" fmla="*/ 2297843 w 8244520"/>
              <a:gd name="connsiteY41" fmla="*/ 176931 h 3487140"/>
              <a:gd name="connsiteX42" fmla="*/ 2313105 w 8244520"/>
              <a:gd name="connsiteY42" fmla="*/ 370393 h 3487140"/>
              <a:gd name="connsiteX43" fmla="*/ 2257878 w 8244520"/>
              <a:gd name="connsiteY43" fmla="*/ 589348 h 3487140"/>
              <a:gd name="connsiteX44" fmla="*/ 2101344 w 8244520"/>
              <a:gd name="connsiteY44" fmla="*/ 903953 h 3487140"/>
              <a:gd name="connsiteX45" fmla="*/ 1890873 w 8244520"/>
              <a:gd name="connsiteY45" fmla="*/ 922501 h 3487140"/>
              <a:gd name="connsiteX46" fmla="*/ 1696454 w 8244520"/>
              <a:gd name="connsiteY46" fmla="*/ 866816 h 3487140"/>
              <a:gd name="connsiteX47" fmla="*/ 1637609 w 8244520"/>
              <a:gd name="connsiteY47" fmla="*/ 751038 h 3487140"/>
              <a:gd name="connsiteX48" fmla="*/ 1649545 w 8244520"/>
              <a:gd name="connsiteY48" fmla="*/ 369436 h 3487140"/>
              <a:gd name="connsiteX49" fmla="*/ 1711218 w 8244520"/>
              <a:gd name="connsiteY49" fmla="*/ 155805 h 3487140"/>
              <a:gd name="connsiteX50" fmla="*/ 1912582 w 8244520"/>
              <a:gd name="connsiteY50" fmla="*/ 156761 h 3487140"/>
              <a:gd name="connsiteX51" fmla="*/ 2165513 w 8244520"/>
              <a:gd name="connsiteY51" fmla="*/ 245175 h 3487140"/>
              <a:gd name="connsiteX52" fmla="*/ 2334605 w 8244520"/>
              <a:gd name="connsiteY52" fmla="*/ 357792 h 3487140"/>
              <a:gd name="connsiteX53" fmla="*/ 2439196 w 8244520"/>
              <a:gd name="connsiteY53" fmla="*/ 483301 h 3487140"/>
              <a:gd name="connsiteX54" fmla="*/ 2463400 w 8244520"/>
              <a:gd name="connsiteY54" fmla="*/ 600951 h 3487140"/>
              <a:gd name="connsiteX55" fmla="*/ 2435869 w 8244520"/>
              <a:gd name="connsiteY55" fmla="*/ 761726 h 3487140"/>
              <a:gd name="connsiteX56" fmla="*/ 2607790 w 8244520"/>
              <a:gd name="connsiteY56" fmla="*/ 1160004 h 3487140"/>
              <a:gd name="connsiteX57" fmla="*/ 3030770 w 8244520"/>
              <a:gd name="connsiteY57" fmla="*/ 1793622 h 3487140"/>
              <a:gd name="connsiteX58" fmla="*/ 3448261 w 8244520"/>
              <a:gd name="connsiteY58" fmla="*/ 2087475 h 3487140"/>
              <a:gd name="connsiteX59" fmla="*/ 3557884 w 8244520"/>
              <a:gd name="connsiteY59" fmla="*/ 2185620 h 3487140"/>
              <a:gd name="connsiteX60" fmla="*/ 3444935 w 8244520"/>
              <a:gd name="connsiteY60" fmla="*/ 2468120 h 3487140"/>
              <a:gd name="connsiteX61" fmla="*/ 3278836 w 8244520"/>
              <a:gd name="connsiteY61" fmla="*/ 2505548 h 3487140"/>
              <a:gd name="connsiteX62" fmla="*/ 2970386 w 8244520"/>
              <a:gd name="connsiteY62" fmla="*/ 2278109 h 3487140"/>
              <a:gd name="connsiteX63" fmla="*/ 2525697 w 8244520"/>
              <a:gd name="connsiteY63" fmla="*/ 1678800 h 3487140"/>
              <a:gd name="connsiteX64" fmla="*/ 2405844 w 8244520"/>
              <a:gd name="connsiteY64" fmla="*/ 1175432 h 3487140"/>
              <a:gd name="connsiteX65" fmla="*/ 2560298 w 8244520"/>
              <a:gd name="connsiteY65" fmla="*/ 1377420 h 3487140"/>
              <a:gd name="connsiteX66" fmla="*/ 2921938 w 8244520"/>
              <a:gd name="connsiteY66" fmla="*/ 2268710 h 3487140"/>
              <a:gd name="connsiteX67" fmla="*/ 3241740 w 8244520"/>
              <a:gd name="connsiteY67" fmla="*/ 2693105 h 3487140"/>
              <a:gd name="connsiteX68" fmla="*/ 3475168 w 8244520"/>
              <a:gd name="connsiteY68" fmla="*/ 2746586 h 3487140"/>
              <a:gd name="connsiteX69" fmla="*/ 3642389 w 8244520"/>
              <a:gd name="connsiteY69" fmla="*/ 2631432 h 3487140"/>
              <a:gd name="connsiteX70" fmla="*/ 3653576 w 8244520"/>
              <a:gd name="connsiteY70" fmla="*/ 2436680 h 3487140"/>
              <a:gd name="connsiteX71" fmla="*/ 3499746 w 8244520"/>
              <a:gd name="connsiteY71" fmla="*/ 2309258 h 3487140"/>
              <a:gd name="connsiteX72" fmla="*/ 3292560 w 8244520"/>
              <a:gd name="connsiteY72" fmla="*/ 2375007 h 3487140"/>
              <a:gd name="connsiteX73" fmla="*/ 3270061 w 8244520"/>
              <a:gd name="connsiteY73" fmla="*/ 2581402 h 3487140"/>
              <a:gd name="connsiteX74" fmla="*/ 3412746 w 8244520"/>
              <a:gd name="connsiteY74" fmla="*/ 2671064 h 3487140"/>
              <a:gd name="connsiteX75" fmla="*/ 3509311 w 8244520"/>
              <a:gd name="connsiteY75" fmla="*/ 2596831 h 3487140"/>
              <a:gd name="connsiteX76" fmla="*/ 3476125 w 8244520"/>
              <a:gd name="connsiteY76" fmla="*/ 2530750 h 3487140"/>
              <a:gd name="connsiteX77" fmla="*/ 3354067 w 8244520"/>
              <a:gd name="connsiteY77" fmla="*/ 2615379 h 3487140"/>
              <a:gd name="connsiteX78" fmla="*/ 3208388 w 8244520"/>
              <a:gd name="connsiteY78" fmla="*/ 2907028 h 3487140"/>
              <a:gd name="connsiteX79" fmla="*/ 3160563 w 8244520"/>
              <a:gd name="connsiteY79" fmla="*/ 3008333 h 3487140"/>
              <a:gd name="connsiteX80" fmla="*/ 3124715 w 8244520"/>
              <a:gd name="connsiteY80" fmla="*/ 3024053 h 3487140"/>
              <a:gd name="connsiteX81" fmla="*/ 3029689 w 8244520"/>
              <a:gd name="connsiteY81" fmla="*/ 3013989 h 3487140"/>
              <a:gd name="connsiteX82" fmla="*/ 3036592 w 8244520"/>
              <a:gd name="connsiteY82" fmla="*/ 2956724 h 3487140"/>
              <a:gd name="connsiteX83" fmla="*/ 3225355 w 8244520"/>
              <a:gd name="connsiteY83" fmla="*/ 2951068 h 3487140"/>
              <a:gd name="connsiteX84" fmla="*/ 3311565 w 8244520"/>
              <a:gd name="connsiteY84" fmla="*/ 2951068 h 3487140"/>
              <a:gd name="connsiteX85" fmla="*/ 3392743 w 8244520"/>
              <a:gd name="connsiteY85" fmla="*/ 2822066 h 3487140"/>
              <a:gd name="connsiteX86" fmla="*/ 3533057 w 8244520"/>
              <a:gd name="connsiteY86" fmla="*/ 2789337 h 3487140"/>
              <a:gd name="connsiteX87" fmla="*/ 3660770 w 8244520"/>
              <a:gd name="connsiteY87" fmla="*/ 2713815 h 3487140"/>
              <a:gd name="connsiteX88" fmla="*/ 3746980 w 8244520"/>
              <a:gd name="connsiteY88" fmla="*/ 2544556 h 3487140"/>
              <a:gd name="connsiteX89" fmla="*/ 3966559 w 8244520"/>
              <a:gd name="connsiteY89" fmla="*/ 2482883 h 3487140"/>
              <a:gd name="connsiteX90" fmla="*/ 4501533 w 8244520"/>
              <a:gd name="connsiteY90" fmla="*/ 2466831 h 3487140"/>
              <a:gd name="connsiteX91" fmla="*/ 4657275 w 8244520"/>
              <a:gd name="connsiteY91" fmla="*/ 2420918 h 3487140"/>
              <a:gd name="connsiteX92" fmla="*/ 4507188 w 8244520"/>
              <a:gd name="connsiteY92" fmla="*/ 2252907 h 3487140"/>
              <a:gd name="connsiteX93" fmla="*/ 4031809 w 8244520"/>
              <a:gd name="connsiteY93" fmla="*/ 1791709 h 3487140"/>
              <a:gd name="connsiteX94" fmla="*/ 3767690 w 8244520"/>
              <a:gd name="connsiteY94" fmla="*/ 1600118 h 3487140"/>
              <a:gd name="connsiteX95" fmla="*/ 3643720 w 8244520"/>
              <a:gd name="connsiteY95" fmla="*/ 1733529 h 3487140"/>
              <a:gd name="connsiteX96" fmla="*/ 3581422 w 8244520"/>
              <a:gd name="connsiteY96" fmla="*/ 1995900 h 3487140"/>
              <a:gd name="connsiteX97" fmla="*/ 3622302 w 8244520"/>
              <a:gd name="connsiteY97" fmla="*/ 2048133 h 3487140"/>
              <a:gd name="connsiteX98" fmla="*/ 3685223 w 8244520"/>
              <a:gd name="connsiteY98" fmla="*/ 1778817 h 3487140"/>
              <a:gd name="connsiteX99" fmla="*/ 3806990 w 8244520"/>
              <a:gd name="connsiteY99" fmla="*/ 1356918 h 3487140"/>
              <a:gd name="connsiteX100" fmla="*/ 3913327 w 8244520"/>
              <a:gd name="connsiteY100" fmla="*/ 986960 h 3487140"/>
              <a:gd name="connsiteX101" fmla="*/ 3884050 w 8244520"/>
              <a:gd name="connsiteY101" fmla="*/ 867107 h 3487140"/>
              <a:gd name="connsiteX102" fmla="*/ 3709136 w 8244520"/>
              <a:gd name="connsiteY102" fmla="*/ 840034 h 3487140"/>
              <a:gd name="connsiteX103" fmla="*/ 3565037 w 8244520"/>
              <a:gd name="connsiteY103" fmla="*/ 782769 h 3487140"/>
              <a:gd name="connsiteX104" fmla="*/ 3581381 w 8244520"/>
              <a:gd name="connsiteY104" fmla="*/ 714816 h 3487140"/>
              <a:gd name="connsiteX105" fmla="*/ 3755048 w 8244520"/>
              <a:gd name="connsiteY105" fmla="*/ 723008 h 3487140"/>
              <a:gd name="connsiteX106" fmla="*/ 3957659 w 8244520"/>
              <a:gd name="connsiteY106" fmla="*/ 729288 h 3487140"/>
              <a:gd name="connsiteX107" fmla="*/ 4124381 w 8244520"/>
              <a:gd name="connsiteY107" fmla="*/ 682087 h 3487140"/>
              <a:gd name="connsiteX108" fmla="*/ 4242030 w 8244520"/>
              <a:gd name="connsiteY108" fmla="*/ 703463 h 3487140"/>
              <a:gd name="connsiteX109" fmla="*/ 4264695 w 8244520"/>
              <a:gd name="connsiteY109" fmla="*/ 797199 h 3487140"/>
              <a:gd name="connsiteX110" fmla="*/ 4136982 w 8244520"/>
              <a:gd name="connsiteY110" fmla="*/ 890936 h 3487140"/>
              <a:gd name="connsiteX111" fmla="*/ 3967099 w 8244520"/>
              <a:gd name="connsiteY111" fmla="*/ 918009 h 3487140"/>
              <a:gd name="connsiteX112" fmla="*/ 3839386 w 8244520"/>
              <a:gd name="connsiteY112" fmla="*/ 1002306 h 3487140"/>
              <a:gd name="connsiteX113" fmla="*/ 3738496 w 8244520"/>
              <a:gd name="connsiteY113" fmla="*/ 1299902 h 3487140"/>
              <a:gd name="connsiteX114" fmla="*/ 3799546 w 8244520"/>
              <a:gd name="connsiteY114" fmla="*/ 1545930 h 3487140"/>
              <a:gd name="connsiteX115" fmla="*/ 4012221 w 8244520"/>
              <a:gd name="connsiteY115" fmla="*/ 1536490 h 3487140"/>
              <a:gd name="connsiteX116" fmla="*/ 4191752 w 8244520"/>
              <a:gd name="connsiteY116" fmla="*/ 1376048 h 3487140"/>
              <a:gd name="connsiteX117" fmla="*/ 4194913 w 8244520"/>
              <a:gd name="connsiteY117" fmla="*/ 1231949 h 3487140"/>
              <a:gd name="connsiteX118" fmla="*/ 3976872 w 8244520"/>
              <a:gd name="connsiteY118" fmla="*/ 1191693 h 3487140"/>
              <a:gd name="connsiteX119" fmla="*/ 3985356 w 8244520"/>
              <a:gd name="connsiteY119" fmla="*/ 1255238 h 3487140"/>
              <a:gd name="connsiteX120" fmla="*/ 4410374 w 8244520"/>
              <a:gd name="connsiteY120" fmla="*/ 1241722 h 3487140"/>
              <a:gd name="connsiteX121" fmla="*/ 4895194 w 8244520"/>
              <a:gd name="connsiteY121" fmla="*/ 1259646 h 3487140"/>
              <a:gd name="connsiteX122" fmla="*/ 5124546 w 8244520"/>
              <a:gd name="connsiteY122" fmla="*/ 1236981 h 3487140"/>
              <a:gd name="connsiteX123" fmla="*/ 5106290 w 8244520"/>
              <a:gd name="connsiteY123" fmla="*/ 1185995 h 3487140"/>
              <a:gd name="connsiteX124" fmla="*/ 4745772 w 8244520"/>
              <a:gd name="connsiteY124" fmla="*/ 1177512 h 3487140"/>
              <a:gd name="connsiteX125" fmla="*/ 4375192 w 8244520"/>
              <a:gd name="connsiteY125" fmla="*/ 1331342 h 3487140"/>
              <a:gd name="connsiteX126" fmla="*/ 4029438 w 8244520"/>
              <a:gd name="connsiteY126" fmla="*/ 1604110 h 3487140"/>
              <a:gd name="connsiteX127" fmla="*/ 3796635 w 8244520"/>
              <a:gd name="connsiteY127" fmla="*/ 1921252 h 3487140"/>
              <a:gd name="connsiteX128" fmla="*/ 3700985 w 8244520"/>
              <a:gd name="connsiteY128" fmla="*/ 2419255 h 3487140"/>
              <a:gd name="connsiteX129" fmla="*/ 3931293 w 8244520"/>
              <a:gd name="connsiteY129" fmla="*/ 3048465 h 3487140"/>
              <a:gd name="connsiteX130" fmla="*/ 4509518 w 8244520"/>
              <a:gd name="connsiteY130" fmla="*/ 3394510 h 3487140"/>
              <a:gd name="connsiteX131" fmla="*/ 5148167 w 8244520"/>
              <a:gd name="connsiteY131" fmla="*/ 3330632 h 3487140"/>
              <a:gd name="connsiteX132" fmla="*/ 5643342 w 8244520"/>
              <a:gd name="connsiteY132" fmla="*/ 2841404 h 3487140"/>
              <a:gd name="connsiteX133" fmla="*/ 5676695 w 8244520"/>
              <a:gd name="connsiteY133" fmla="*/ 2052999 h 3487140"/>
              <a:gd name="connsiteX134" fmla="*/ 5245688 w 8244520"/>
              <a:gd name="connsiteY134" fmla="*/ 1482011 h 3487140"/>
              <a:gd name="connsiteX135" fmla="*/ 4778834 w 8244520"/>
              <a:gd name="connsiteY135" fmla="*/ 1352717 h 3487140"/>
              <a:gd name="connsiteX136" fmla="*/ 4618392 w 8244520"/>
              <a:gd name="connsiteY136" fmla="*/ 1466624 h 3487140"/>
              <a:gd name="connsiteX137" fmla="*/ 4640433 w 8244520"/>
              <a:gd name="connsiteY137" fmla="*/ 2001140 h 3487140"/>
              <a:gd name="connsiteX138" fmla="*/ 4674409 w 8244520"/>
              <a:gd name="connsiteY138" fmla="*/ 2313208 h 3487140"/>
              <a:gd name="connsiteX139" fmla="*/ 4766109 w 8244520"/>
              <a:gd name="connsiteY139" fmla="*/ 2399085 h 3487140"/>
              <a:gd name="connsiteX140" fmla="*/ 4870575 w 8244520"/>
              <a:gd name="connsiteY140" fmla="*/ 2362905 h 3487140"/>
              <a:gd name="connsiteX141" fmla="*/ 4835184 w 8244520"/>
              <a:gd name="connsiteY141" fmla="*/ 2271372 h 3487140"/>
              <a:gd name="connsiteX142" fmla="*/ 4737580 w 8244520"/>
              <a:gd name="connsiteY142" fmla="*/ 2303394 h 3487140"/>
              <a:gd name="connsiteX143" fmla="*/ 4721194 w 8244520"/>
              <a:gd name="connsiteY143" fmla="*/ 2437262 h 3487140"/>
              <a:gd name="connsiteX144" fmla="*/ 4720113 w 8244520"/>
              <a:gd name="connsiteY144" fmla="*/ 2519521 h 3487140"/>
              <a:gd name="connsiteX145" fmla="*/ 4540999 w 8244520"/>
              <a:gd name="connsiteY145" fmla="*/ 2539400 h 3487140"/>
              <a:gd name="connsiteX146" fmla="*/ 4130744 w 8244520"/>
              <a:gd name="connsiteY146" fmla="*/ 2545679 h 3487140"/>
              <a:gd name="connsiteX147" fmla="*/ 3890372 w 8244520"/>
              <a:gd name="connsiteY147" fmla="*/ 2602944 h 3487140"/>
              <a:gd name="connsiteX148" fmla="*/ 3880765 w 8244520"/>
              <a:gd name="connsiteY148" fmla="*/ 2790460 h 3487140"/>
              <a:gd name="connsiteX149" fmla="*/ 4074102 w 8244520"/>
              <a:gd name="connsiteY149" fmla="*/ 3133385 h 3487140"/>
              <a:gd name="connsiteX150" fmla="*/ 4565992 w 8244520"/>
              <a:gd name="connsiteY150" fmla="*/ 3465290 h 3487140"/>
              <a:gd name="connsiteX151" fmla="*/ 5306738 w 8244520"/>
              <a:gd name="connsiteY151" fmla="*/ 3390434 h 3487140"/>
              <a:gd name="connsiteX152" fmla="*/ 5746561 w 8244520"/>
              <a:gd name="connsiteY152" fmla="*/ 3017940 h 3487140"/>
              <a:gd name="connsiteX153" fmla="*/ 6060542 w 8244520"/>
              <a:gd name="connsiteY153" fmla="*/ 2655510 h 3487140"/>
              <a:gd name="connsiteX154" fmla="*/ 6433036 w 8244520"/>
              <a:gd name="connsiteY154" fmla="*/ 3163577 h 3487140"/>
              <a:gd name="connsiteX155" fmla="*/ 6657023 w 8244520"/>
              <a:gd name="connsiteY155" fmla="*/ 3255443 h 3487140"/>
              <a:gd name="connsiteX156" fmla="*/ 6735040 w 8244520"/>
              <a:gd name="connsiteY156" fmla="*/ 2786675 h 3487140"/>
              <a:gd name="connsiteX157" fmla="*/ 7044613 w 8244520"/>
              <a:gd name="connsiteY157" fmla="*/ 2869724 h 3487140"/>
              <a:gd name="connsiteX158" fmla="*/ 7283405 w 8244520"/>
              <a:gd name="connsiteY158" fmla="*/ 3245046 h 3487140"/>
              <a:gd name="connsiteX159" fmla="*/ 7655898 w 8244520"/>
              <a:gd name="connsiteY159" fmla="*/ 3329676 h 3487140"/>
              <a:gd name="connsiteX160" fmla="*/ 8244520 w 8244520"/>
              <a:gd name="connsiteY160" fmla="*/ 3217682 h 3487140"/>
              <a:gd name="connsiteX0" fmla="*/ 0 w 7985267"/>
              <a:gd name="connsiteY0" fmla="*/ 2696848 h 3487140"/>
              <a:gd name="connsiteX1" fmla="*/ 274348 w 7985267"/>
              <a:gd name="connsiteY1" fmla="*/ 2954187 h 3487140"/>
              <a:gd name="connsiteX2" fmla="*/ 621682 w 7985267"/>
              <a:gd name="connsiteY2" fmla="*/ 3339906 h 3487140"/>
              <a:gd name="connsiteX3" fmla="*/ 1079804 w 7985267"/>
              <a:gd name="connsiteY3" fmla="*/ 3385485 h 3487140"/>
              <a:gd name="connsiteX4" fmla="*/ 1158486 w 7985267"/>
              <a:gd name="connsiteY4" fmla="*/ 3295741 h 3487140"/>
              <a:gd name="connsiteX5" fmla="*/ 907384 w 7985267"/>
              <a:gd name="connsiteY5" fmla="*/ 3112384 h 3487140"/>
              <a:gd name="connsiteX6" fmla="*/ 601221 w 7985267"/>
              <a:gd name="connsiteY6" fmla="*/ 2750287 h 3487140"/>
              <a:gd name="connsiteX7" fmla="*/ 509689 w 7985267"/>
              <a:gd name="connsiteY7" fmla="*/ 2305432 h 3487140"/>
              <a:gd name="connsiteX8" fmla="*/ 637277 w 7985267"/>
              <a:gd name="connsiteY8" fmla="*/ 1919713 h 3487140"/>
              <a:gd name="connsiteX9" fmla="*/ 961489 w 7985267"/>
              <a:gd name="connsiteY9" fmla="*/ 1637837 h 3487140"/>
              <a:gd name="connsiteX10" fmla="*/ 1454793 w 7985267"/>
              <a:gd name="connsiteY10" fmla="*/ 1545972 h 3487140"/>
              <a:gd name="connsiteX11" fmla="*/ 1689468 w 7985267"/>
              <a:gd name="connsiteY11" fmla="*/ 1517651 h 3487140"/>
              <a:gd name="connsiteX12" fmla="*/ 1674205 w 7985267"/>
              <a:gd name="connsiteY12" fmla="*/ 1460718 h 3487140"/>
              <a:gd name="connsiteX13" fmla="*/ 1398151 w 7985267"/>
              <a:gd name="connsiteY13" fmla="*/ 1416969 h 3487140"/>
              <a:gd name="connsiteX14" fmla="*/ 878731 w 7985267"/>
              <a:gd name="connsiteY14" fmla="*/ 1517318 h 3487140"/>
              <a:gd name="connsiteX15" fmla="*/ 469433 w 7985267"/>
              <a:gd name="connsiteY15" fmla="*/ 1960593 h 3487140"/>
              <a:gd name="connsiteX16" fmla="*/ 409963 w 7985267"/>
              <a:gd name="connsiteY16" fmla="*/ 2569342 h 3487140"/>
              <a:gd name="connsiteX17" fmla="*/ 823670 w 7985267"/>
              <a:gd name="connsiteY17" fmla="*/ 3165532 h 3487140"/>
              <a:gd name="connsiteX18" fmla="*/ 1613655 w 7985267"/>
              <a:gd name="connsiteY18" fmla="*/ 3283181 h 3487140"/>
              <a:gd name="connsiteX19" fmla="*/ 2216291 w 7985267"/>
              <a:gd name="connsiteY19" fmla="*/ 2757481 h 3487140"/>
              <a:gd name="connsiteX20" fmla="*/ 2206060 w 7985267"/>
              <a:gd name="connsiteY20" fmla="*/ 1980430 h 3487140"/>
              <a:gd name="connsiteX21" fmla="*/ 1876026 w 7985267"/>
              <a:gd name="connsiteY21" fmla="*/ 1589139 h 3487140"/>
              <a:gd name="connsiteX22" fmla="*/ 1686972 w 7985267"/>
              <a:gd name="connsiteY22" fmla="*/ 1660710 h 3487140"/>
              <a:gd name="connsiteX23" fmla="*/ 1578555 w 7985267"/>
              <a:gd name="connsiteY23" fmla="*/ 2116627 h 3487140"/>
              <a:gd name="connsiteX24" fmla="*/ 1355192 w 7985267"/>
              <a:gd name="connsiteY24" fmla="*/ 2374258 h 3487140"/>
              <a:gd name="connsiteX25" fmla="*/ 1300256 w 7985267"/>
              <a:gd name="connsiteY25" fmla="*/ 2276986 h 3487140"/>
              <a:gd name="connsiteX26" fmla="*/ 1679528 w 7985267"/>
              <a:gd name="connsiteY26" fmla="*/ 2021601 h 3487140"/>
              <a:gd name="connsiteX27" fmla="*/ 1939447 w 7985267"/>
              <a:gd name="connsiteY27" fmla="*/ 1234153 h 3487140"/>
              <a:gd name="connsiteX28" fmla="*/ 2169547 w 7985267"/>
              <a:gd name="connsiteY28" fmla="*/ 725296 h 3487140"/>
              <a:gd name="connsiteX29" fmla="*/ 2278130 w 7985267"/>
              <a:gd name="connsiteY29" fmla="*/ 539984 h 3487140"/>
              <a:gd name="connsiteX30" fmla="*/ 2246982 w 7985267"/>
              <a:gd name="connsiteY30" fmla="*/ 435851 h 3487140"/>
              <a:gd name="connsiteX31" fmla="*/ 2140644 w 7985267"/>
              <a:gd name="connsiteY31" fmla="*/ 350265 h 3487140"/>
              <a:gd name="connsiteX32" fmla="*/ 2095356 w 7985267"/>
              <a:gd name="connsiteY32" fmla="*/ 209327 h 3487140"/>
              <a:gd name="connsiteX33" fmla="*/ 2140186 w 7985267"/>
              <a:gd name="connsiteY33" fmla="*/ 82237 h 3487140"/>
              <a:gd name="connsiteX34" fmla="*/ 2320466 w 7985267"/>
              <a:gd name="connsiteY34" fmla="*/ 6716 h 3487140"/>
              <a:gd name="connsiteX35" fmla="*/ 2589159 w 7985267"/>
              <a:gd name="connsiteY35" fmla="*/ 10167 h 3487140"/>
              <a:gd name="connsiteX36" fmla="*/ 2672832 w 7985267"/>
              <a:gd name="connsiteY36" fmla="*/ 49800 h 3487140"/>
              <a:gd name="connsiteX37" fmla="*/ 2625797 w 7985267"/>
              <a:gd name="connsiteY37" fmla="*/ 86812 h 3487140"/>
              <a:gd name="connsiteX38" fmla="*/ 2389874 w 7985267"/>
              <a:gd name="connsiteY38" fmla="*/ 91886 h 3487140"/>
              <a:gd name="connsiteX39" fmla="*/ 2146341 w 7985267"/>
              <a:gd name="connsiteY39" fmla="*/ 75833 h 3487140"/>
              <a:gd name="connsiteX40" fmla="*/ 2038590 w 7985267"/>
              <a:gd name="connsiteY40" fmla="*/ 176931 h 3487140"/>
              <a:gd name="connsiteX41" fmla="*/ 2053852 w 7985267"/>
              <a:gd name="connsiteY41" fmla="*/ 370393 h 3487140"/>
              <a:gd name="connsiteX42" fmla="*/ 1998625 w 7985267"/>
              <a:gd name="connsiteY42" fmla="*/ 589348 h 3487140"/>
              <a:gd name="connsiteX43" fmla="*/ 1842091 w 7985267"/>
              <a:gd name="connsiteY43" fmla="*/ 903953 h 3487140"/>
              <a:gd name="connsiteX44" fmla="*/ 1631620 w 7985267"/>
              <a:gd name="connsiteY44" fmla="*/ 922501 h 3487140"/>
              <a:gd name="connsiteX45" fmla="*/ 1437201 w 7985267"/>
              <a:gd name="connsiteY45" fmla="*/ 866816 h 3487140"/>
              <a:gd name="connsiteX46" fmla="*/ 1378356 w 7985267"/>
              <a:gd name="connsiteY46" fmla="*/ 751038 h 3487140"/>
              <a:gd name="connsiteX47" fmla="*/ 1390292 w 7985267"/>
              <a:gd name="connsiteY47" fmla="*/ 369436 h 3487140"/>
              <a:gd name="connsiteX48" fmla="*/ 1451965 w 7985267"/>
              <a:gd name="connsiteY48" fmla="*/ 155805 h 3487140"/>
              <a:gd name="connsiteX49" fmla="*/ 1653329 w 7985267"/>
              <a:gd name="connsiteY49" fmla="*/ 156761 h 3487140"/>
              <a:gd name="connsiteX50" fmla="*/ 1906260 w 7985267"/>
              <a:gd name="connsiteY50" fmla="*/ 245175 h 3487140"/>
              <a:gd name="connsiteX51" fmla="*/ 2075352 w 7985267"/>
              <a:gd name="connsiteY51" fmla="*/ 357792 h 3487140"/>
              <a:gd name="connsiteX52" fmla="*/ 2179943 w 7985267"/>
              <a:gd name="connsiteY52" fmla="*/ 483301 h 3487140"/>
              <a:gd name="connsiteX53" fmla="*/ 2204147 w 7985267"/>
              <a:gd name="connsiteY53" fmla="*/ 600951 h 3487140"/>
              <a:gd name="connsiteX54" fmla="*/ 2176616 w 7985267"/>
              <a:gd name="connsiteY54" fmla="*/ 761726 h 3487140"/>
              <a:gd name="connsiteX55" fmla="*/ 2348537 w 7985267"/>
              <a:gd name="connsiteY55" fmla="*/ 1160004 h 3487140"/>
              <a:gd name="connsiteX56" fmla="*/ 2771517 w 7985267"/>
              <a:gd name="connsiteY56" fmla="*/ 1793622 h 3487140"/>
              <a:gd name="connsiteX57" fmla="*/ 3189008 w 7985267"/>
              <a:gd name="connsiteY57" fmla="*/ 2087475 h 3487140"/>
              <a:gd name="connsiteX58" fmla="*/ 3298631 w 7985267"/>
              <a:gd name="connsiteY58" fmla="*/ 2185620 h 3487140"/>
              <a:gd name="connsiteX59" fmla="*/ 3185682 w 7985267"/>
              <a:gd name="connsiteY59" fmla="*/ 2468120 h 3487140"/>
              <a:gd name="connsiteX60" fmla="*/ 3019583 w 7985267"/>
              <a:gd name="connsiteY60" fmla="*/ 2505548 h 3487140"/>
              <a:gd name="connsiteX61" fmla="*/ 2711133 w 7985267"/>
              <a:gd name="connsiteY61" fmla="*/ 2278109 h 3487140"/>
              <a:gd name="connsiteX62" fmla="*/ 2266444 w 7985267"/>
              <a:gd name="connsiteY62" fmla="*/ 1678800 h 3487140"/>
              <a:gd name="connsiteX63" fmla="*/ 2146591 w 7985267"/>
              <a:gd name="connsiteY63" fmla="*/ 1175432 h 3487140"/>
              <a:gd name="connsiteX64" fmla="*/ 2301045 w 7985267"/>
              <a:gd name="connsiteY64" fmla="*/ 1377420 h 3487140"/>
              <a:gd name="connsiteX65" fmla="*/ 2662685 w 7985267"/>
              <a:gd name="connsiteY65" fmla="*/ 2268710 h 3487140"/>
              <a:gd name="connsiteX66" fmla="*/ 2982487 w 7985267"/>
              <a:gd name="connsiteY66" fmla="*/ 2693105 h 3487140"/>
              <a:gd name="connsiteX67" fmla="*/ 3215915 w 7985267"/>
              <a:gd name="connsiteY67" fmla="*/ 2746586 h 3487140"/>
              <a:gd name="connsiteX68" fmla="*/ 3383136 w 7985267"/>
              <a:gd name="connsiteY68" fmla="*/ 2631432 h 3487140"/>
              <a:gd name="connsiteX69" fmla="*/ 3394323 w 7985267"/>
              <a:gd name="connsiteY69" fmla="*/ 2436680 h 3487140"/>
              <a:gd name="connsiteX70" fmla="*/ 3240493 w 7985267"/>
              <a:gd name="connsiteY70" fmla="*/ 2309258 h 3487140"/>
              <a:gd name="connsiteX71" fmla="*/ 3033307 w 7985267"/>
              <a:gd name="connsiteY71" fmla="*/ 2375007 h 3487140"/>
              <a:gd name="connsiteX72" fmla="*/ 3010808 w 7985267"/>
              <a:gd name="connsiteY72" fmla="*/ 2581402 h 3487140"/>
              <a:gd name="connsiteX73" fmla="*/ 3153493 w 7985267"/>
              <a:gd name="connsiteY73" fmla="*/ 2671064 h 3487140"/>
              <a:gd name="connsiteX74" fmla="*/ 3250058 w 7985267"/>
              <a:gd name="connsiteY74" fmla="*/ 2596831 h 3487140"/>
              <a:gd name="connsiteX75" fmla="*/ 3216872 w 7985267"/>
              <a:gd name="connsiteY75" fmla="*/ 2530750 h 3487140"/>
              <a:gd name="connsiteX76" fmla="*/ 3094814 w 7985267"/>
              <a:gd name="connsiteY76" fmla="*/ 2615379 h 3487140"/>
              <a:gd name="connsiteX77" fmla="*/ 2949135 w 7985267"/>
              <a:gd name="connsiteY77" fmla="*/ 2907028 h 3487140"/>
              <a:gd name="connsiteX78" fmla="*/ 2901310 w 7985267"/>
              <a:gd name="connsiteY78" fmla="*/ 3008333 h 3487140"/>
              <a:gd name="connsiteX79" fmla="*/ 2865462 w 7985267"/>
              <a:gd name="connsiteY79" fmla="*/ 3024053 h 3487140"/>
              <a:gd name="connsiteX80" fmla="*/ 2770436 w 7985267"/>
              <a:gd name="connsiteY80" fmla="*/ 3013989 h 3487140"/>
              <a:gd name="connsiteX81" fmla="*/ 2777339 w 7985267"/>
              <a:gd name="connsiteY81" fmla="*/ 2956724 h 3487140"/>
              <a:gd name="connsiteX82" fmla="*/ 2966102 w 7985267"/>
              <a:gd name="connsiteY82" fmla="*/ 2951068 h 3487140"/>
              <a:gd name="connsiteX83" fmla="*/ 3052312 w 7985267"/>
              <a:gd name="connsiteY83" fmla="*/ 2951068 h 3487140"/>
              <a:gd name="connsiteX84" fmla="*/ 3133490 w 7985267"/>
              <a:gd name="connsiteY84" fmla="*/ 2822066 h 3487140"/>
              <a:gd name="connsiteX85" fmla="*/ 3273804 w 7985267"/>
              <a:gd name="connsiteY85" fmla="*/ 2789337 h 3487140"/>
              <a:gd name="connsiteX86" fmla="*/ 3401517 w 7985267"/>
              <a:gd name="connsiteY86" fmla="*/ 2713815 h 3487140"/>
              <a:gd name="connsiteX87" fmla="*/ 3487727 w 7985267"/>
              <a:gd name="connsiteY87" fmla="*/ 2544556 h 3487140"/>
              <a:gd name="connsiteX88" fmla="*/ 3707306 w 7985267"/>
              <a:gd name="connsiteY88" fmla="*/ 2482883 h 3487140"/>
              <a:gd name="connsiteX89" fmla="*/ 4242280 w 7985267"/>
              <a:gd name="connsiteY89" fmla="*/ 2466831 h 3487140"/>
              <a:gd name="connsiteX90" fmla="*/ 4398022 w 7985267"/>
              <a:gd name="connsiteY90" fmla="*/ 2420918 h 3487140"/>
              <a:gd name="connsiteX91" fmla="*/ 4247935 w 7985267"/>
              <a:gd name="connsiteY91" fmla="*/ 2252907 h 3487140"/>
              <a:gd name="connsiteX92" fmla="*/ 3772556 w 7985267"/>
              <a:gd name="connsiteY92" fmla="*/ 1791709 h 3487140"/>
              <a:gd name="connsiteX93" fmla="*/ 3508437 w 7985267"/>
              <a:gd name="connsiteY93" fmla="*/ 1600118 h 3487140"/>
              <a:gd name="connsiteX94" fmla="*/ 3384467 w 7985267"/>
              <a:gd name="connsiteY94" fmla="*/ 1733529 h 3487140"/>
              <a:gd name="connsiteX95" fmla="*/ 3322169 w 7985267"/>
              <a:gd name="connsiteY95" fmla="*/ 1995900 h 3487140"/>
              <a:gd name="connsiteX96" fmla="*/ 3363049 w 7985267"/>
              <a:gd name="connsiteY96" fmla="*/ 2048133 h 3487140"/>
              <a:gd name="connsiteX97" fmla="*/ 3425970 w 7985267"/>
              <a:gd name="connsiteY97" fmla="*/ 1778817 h 3487140"/>
              <a:gd name="connsiteX98" fmla="*/ 3547737 w 7985267"/>
              <a:gd name="connsiteY98" fmla="*/ 1356918 h 3487140"/>
              <a:gd name="connsiteX99" fmla="*/ 3654074 w 7985267"/>
              <a:gd name="connsiteY99" fmla="*/ 986960 h 3487140"/>
              <a:gd name="connsiteX100" fmla="*/ 3624797 w 7985267"/>
              <a:gd name="connsiteY100" fmla="*/ 867107 h 3487140"/>
              <a:gd name="connsiteX101" fmla="*/ 3449883 w 7985267"/>
              <a:gd name="connsiteY101" fmla="*/ 840034 h 3487140"/>
              <a:gd name="connsiteX102" fmla="*/ 3305784 w 7985267"/>
              <a:gd name="connsiteY102" fmla="*/ 782769 h 3487140"/>
              <a:gd name="connsiteX103" fmla="*/ 3322128 w 7985267"/>
              <a:gd name="connsiteY103" fmla="*/ 714816 h 3487140"/>
              <a:gd name="connsiteX104" fmla="*/ 3495795 w 7985267"/>
              <a:gd name="connsiteY104" fmla="*/ 723008 h 3487140"/>
              <a:gd name="connsiteX105" fmla="*/ 3698406 w 7985267"/>
              <a:gd name="connsiteY105" fmla="*/ 729288 h 3487140"/>
              <a:gd name="connsiteX106" fmla="*/ 3865128 w 7985267"/>
              <a:gd name="connsiteY106" fmla="*/ 682087 h 3487140"/>
              <a:gd name="connsiteX107" fmla="*/ 3982777 w 7985267"/>
              <a:gd name="connsiteY107" fmla="*/ 703463 h 3487140"/>
              <a:gd name="connsiteX108" fmla="*/ 4005442 w 7985267"/>
              <a:gd name="connsiteY108" fmla="*/ 797199 h 3487140"/>
              <a:gd name="connsiteX109" fmla="*/ 3877729 w 7985267"/>
              <a:gd name="connsiteY109" fmla="*/ 890936 h 3487140"/>
              <a:gd name="connsiteX110" fmla="*/ 3707846 w 7985267"/>
              <a:gd name="connsiteY110" fmla="*/ 918009 h 3487140"/>
              <a:gd name="connsiteX111" fmla="*/ 3580133 w 7985267"/>
              <a:gd name="connsiteY111" fmla="*/ 1002306 h 3487140"/>
              <a:gd name="connsiteX112" fmla="*/ 3479243 w 7985267"/>
              <a:gd name="connsiteY112" fmla="*/ 1299902 h 3487140"/>
              <a:gd name="connsiteX113" fmla="*/ 3540293 w 7985267"/>
              <a:gd name="connsiteY113" fmla="*/ 1545930 h 3487140"/>
              <a:gd name="connsiteX114" fmla="*/ 3752968 w 7985267"/>
              <a:gd name="connsiteY114" fmla="*/ 1536490 h 3487140"/>
              <a:gd name="connsiteX115" fmla="*/ 3932499 w 7985267"/>
              <a:gd name="connsiteY115" fmla="*/ 1376048 h 3487140"/>
              <a:gd name="connsiteX116" fmla="*/ 3935660 w 7985267"/>
              <a:gd name="connsiteY116" fmla="*/ 1231949 h 3487140"/>
              <a:gd name="connsiteX117" fmla="*/ 3717619 w 7985267"/>
              <a:gd name="connsiteY117" fmla="*/ 1191693 h 3487140"/>
              <a:gd name="connsiteX118" fmla="*/ 3726103 w 7985267"/>
              <a:gd name="connsiteY118" fmla="*/ 1255238 h 3487140"/>
              <a:gd name="connsiteX119" fmla="*/ 4151121 w 7985267"/>
              <a:gd name="connsiteY119" fmla="*/ 1241722 h 3487140"/>
              <a:gd name="connsiteX120" fmla="*/ 4635941 w 7985267"/>
              <a:gd name="connsiteY120" fmla="*/ 1259646 h 3487140"/>
              <a:gd name="connsiteX121" fmla="*/ 4865293 w 7985267"/>
              <a:gd name="connsiteY121" fmla="*/ 1236981 h 3487140"/>
              <a:gd name="connsiteX122" fmla="*/ 4847037 w 7985267"/>
              <a:gd name="connsiteY122" fmla="*/ 1185995 h 3487140"/>
              <a:gd name="connsiteX123" fmla="*/ 4486519 w 7985267"/>
              <a:gd name="connsiteY123" fmla="*/ 1177512 h 3487140"/>
              <a:gd name="connsiteX124" fmla="*/ 4115939 w 7985267"/>
              <a:gd name="connsiteY124" fmla="*/ 1331342 h 3487140"/>
              <a:gd name="connsiteX125" fmla="*/ 3770185 w 7985267"/>
              <a:gd name="connsiteY125" fmla="*/ 1604110 h 3487140"/>
              <a:gd name="connsiteX126" fmla="*/ 3537382 w 7985267"/>
              <a:gd name="connsiteY126" fmla="*/ 1921252 h 3487140"/>
              <a:gd name="connsiteX127" fmla="*/ 3441732 w 7985267"/>
              <a:gd name="connsiteY127" fmla="*/ 2419255 h 3487140"/>
              <a:gd name="connsiteX128" fmla="*/ 3672040 w 7985267"/>
              <a:gd name="connsiteY128" fmla="*/ 3048465 h 3487140"/>
              <a:gd name="connsiteX129" fmla="*/ 4250265 w 7985267"/>
              <a:gd name="connsiteY129" fmla="*/ 3394510 h 3487140"/>
              <a:gd name="connsiteX130" fmla="*/ 4888914 w 7985267"/>
              <a:gd name="connsiteY130" fmla="*/ 3330632 h 3487140"/>
              <a:gd name="connsiteX131" fmla="*/ 5384089 w 7985267"/>
              <a:gd name="connsiteY131" fmla="*/ 2841404 h 3487140"/>
              <a:gd name="connsiteX132" fmla="*/ 5417442 w 7985267"/>
              <a:gd name="connsiteY132" fmla="*/ 2052999 h 3487140"/>
              <a:gd name="connsiteX133" fmla="*/ 4986435 w 7985267"/>
              <a:gd name="connsiteY133" fmla="*/ 1482011 h 3487140"/>
              <a:gd name="connsiteX134" fmla="*/ 4519581 w 7985267"/>
              <a:gd name="connsiteY134" fmla="*/ 1352717 h 3487140"/>
              <a:gd name="connsiteX135" fmla="*/ 4359139 w 7985267"/>
              <a:gd name="connsiteY135" fmla="*/ 1466624 h 3487140"/>
              <a:gd name="connsiteX136" fmla="*/ 4381180 w 7985267"/>
              <a:gd name="connsiteY136" fmla="*/ 2001140 h 3487140"/>
              <a:gd name="connsiteX137" fmla="*/ 4415156 w 7985267"/>
              <a:gd name="connsiteY137" fmla="*/ 2313208 h 3487140"/>
              <a:gd name="connsiteX138" fmla="*/ 4506856 w 7985267"/>
              <a:gd name="connsiteY138" fmla="*/ 2399085 h 3487140"/>
              <a:gd name="connsiteX139" fmla="*/ 4611322 w 7985267"/>
              <a:gd name="connsiteY139" fmla="*/ 2362905 h 3487140"/>
              <a:gd name="connsiteX140" fmla="*/ 4575931 w 7985267"/>
              <a:gd name="connsiteY140" fmla="*/ 2271372 h 3487140"/>
              <a:gd name="connsiteX141" fmla="*/ 4478327 w 7985267"/>
              <a:gd name="connsiteY141" fmla="*/ 2303394 h 3487140"/>
              <a:gd name="connsiteX142" fmla="*/ 4461941 w 7985267"/>
              <a:gd name="connsiteY142" fmla="*/ 2437262 h 3487140"/>
              <a:gd name="connsiteX143" fmla="*/ 4460860 w 7985267"/>
              <a:gd name="connsiteY143" fmla="*/ 2519521 h 3487140"/>
              <a:gd name="connsiteX144" fmla="*/ 4281746 w 7985267"/>
              <a:gd name="connsiteY144" fmla="*/ 2539400 h 3487140"/>
              <a:gd name="connsiteX145" fmla="*/ 3871491 w 7985267"/>
              <a:gd name="connsiteY145" fmla="*/ 2545679 h 3487140"/>
              <a:gd name="connsiteX146" fmla="*/ 3631119 w 7985267"/>
              <a:gd name="connsiteY146" fmla="*/ 2602944 h 3487140"/>
              <a:gd name="connsiteX147" fmla="*/ 3621512 w 7985267"/>
              <a:gd name="connsiteY147" fmla="*/ 2790460 h 3487140"/>
              <a:gd name="connsiteX148" fmla="*/ 3814849 w 7985267"/>
              <a:gd name="connsiteY148" fmla="*/ 3133385 h 3487140"/>
              <a:gd name="connsiteX149" fmla="*/ 4306739 w 7985267"/>
              <a:gd name="connsiteY149" fmla="*/ 3465290 h 3487140"/>
              <a:gd name="connsiteX150" fmla="*/ 5047485 w 7985267"/>
              <a:gd name="connsiteY150" fmla="*/ 3390434 h 3487140"/>
              <a:gd name="connsiteX151" fmla="*/ 5487308 w 7985267"/>
              <a:gd name="connsiteY151" fmla="*/ 3017940 h 3487140"/>
              <a:gd name="connsiteX152" fmla="*/ 5801289 w 7985267"/>
              <a:gd name="connsiteY152" fmla="*/ 2655510 h 3487140"/>
              <a:gd name="connsiteX153" fmla="*/ 6173783 w 7985267"/>
              <a:gd name="connsiteY153" fmla="*/ 3163577 h 3487140"/>
              <a:gd name="connsiteX154" fmla="*/ 6397770 w 7985267"/>
              <a:gd name="connsiteY154" fmla="*/ 3255443 h 3487140"/>
              <a:gd name="connsiteX155" fmla="*/ 6475787 w 7985267"/>
              <a:gd name="connsiteY155" fmla="*/ 2786675 h 3487140"/>
              <a:gd name="connsiteX156" fmla="*/ 6785360 w 7985267"/>
              <a:gd name="connsiteY156" fmla="*/ 2869724 h 3487140"/>
              <a:gd name="connsiteX157" fmla="*/ 7024152 w 7985267"/>
              <a:gd name="connsiteY157" fmla="*/ 3245046 h 3487140"/>
              <a:gd name="connsiteX158" fmla="*/ 7396645 w 7985267"/>
              <a:gd name="connsiteY158" fmla="*/ 3329676 h 3487140"/>
              <a:gd name="connsiteX159" fmla="*/ 7985267 w 7985267"/>
              <a:gd name="connsiteY159" fmla="*/ 3217682 h 3487140"/>
              <a:gd name="connsiteX0" fmla="*/ 0 w 7710919"/>
              <a:gd name="connsiteY0" fmla="*/ 2954187 h 3487140"/>
              <a:gd name="connsiteX1" fmla="*/ 347334 w 7710919"/>
              <a:gd name="connsiteY1" fmla="*/ 3339906 h 3487140"/>
              <a:gd name="connsiteX2" fmla="*/ 805456 w 7710919"/>
              <a:gd name="connsiteY2" fmla="*/ 3385485 h 3487140"/>
              <a:gd name="connsiteX3" fmla="*/ 884138 w 7710919"/>
              <a:gd name="connsiteY3" fmla="*/ 3295741 h 3487140"/>
              <a:gd name="connsiteX4" fmla="*/ 633036 w 7710919"/>
              <a:gd name="connsiteY4" fmla="*/ 3112384 h 3487140"/>
              <a:gd name="connsiteX5" fmla="*/ 326873 w 7710919"/>
              <a:gd name="connsiteY5" fmla="*/ 2750287 h 3487140"/>
              <a:gd name="connsiteX6" fmla="*/ 235341 w 7710919"/>
              <a:gd name="connsiteY6" fmla="*/ 2305432 h 3487140"/>
              <a:gd name="connsiteX7" fmla="*/ 362929 w 7710919"/>
              <a:gd name="connsiteY7" fmla="*/ 1919713 h 3487140"/>
              <a:gd name="connsiteX8" fmla="*/ 687141 w 7710919"/>
              <a:gd name="connsiteY8" fmla="*/ 1637837 h 3487140"/>
              <a:gd name="connsiteX9" fmla="*/ 1180445 w 7710919"/>
              <a:gd name="connsiteY9" fmla="*/ 1545972 h 3487140"/>
              <a:gd name="connsiteX10" fmla="*/ 1415120 w 7710919"/>
              <a:gd name="connsiteY10" fmla="*/ 1517651 h 3487140"/>
              <a:gd name="connsiteX11" fmla="*/ 1399857 w 7710919"/>
              <a:gd name="connsiteY11" fmla="*/ 1460718 h 3487140"/>
              <a:gd name="connsiteX12" fmla="*/ 1123803 w 7710919"/>
              <a:gd name="connsiteY12" fmla="*/ 1416969 h 3487140"/>
              <a:gd name="connsiteX13" fmla="*/ 604383 w 7710919"/>
              <a:gd name="connsiteY13" fmla="*/ 1517318 h 3487140"/>
              <a:gd name="connsiteX14" fmla="*/ 195085 w 7710919"/>
              <a:gd name="connsiteY14" fmla="*/ 1960593 h 3487140"/>
              <a:gd name="connsiteX15" fmla="*/ 135615 w 7710919"/>
              <a:gd name="connsiteY15" fmla="*/ 2569342 h 3487140"/>
              <a:gd name="connsiteX16" fmla="*/ 549322 w 7710919"/>
              <a:gd name="connsiteY16" fmla="*/ 3165532 h 3487140"/>
              <a:gd name="connsiteX17" fmla="*/ 1339307 w 7710919"/>
              <a:gd name="connsiteY17" fmla="*/ 3283181 h 3487140"/>
              <a:gd name="connsiteX18" fmla="*/ 1941943 w 7710919"/>
              <a:gd name="connsiteY18" fmla="*/ 2757481 h 3487140"/>
              <a:gd name="connsiteX19" fmla="*/ 1931712 w 7710919"/>
              <a:gd name="connsiteY19" fmla="*/ 1980430 h 3487140"/>
              <a:gd name="connsiteX20" fmla="*/ 1601678 w 7710919"/>
              <a:gd name="connsiteY20" fmla="*/ 1589139 h 3487140"/>
              <a:gd name="connsiteX21" fmla="*/ 1412624 w 7710919"/>
              <a:gd name="connsiteY21" fmla="*/ 1660710 h 3487140"/>
              <a:gd name="connsiteX22" fmla="*/ 1304207 w 7710919"/>
              <a:gd name="connsiteY22" fmla="*/ 2116627 h 3487140"/>
              <a:gd name="connsiteX23" fmla="*/ 1080844 w 7710919"/>
              <a:gd name="connsiteY23" fmla="*/ 2374258 h 3487140"/>
              <a:gd name="connsiteX24" fmla="*/ 1025908 w 7710919"/>
              <a:gd name="connsiteY24" fmla="*/ 2276986 h 3487140"/>
              <a:gd name="connsiteX25" fmla="*/ 1405180 w 7710919"/>
              <a:gd name="connsiteY25" fmla="*/ 2021601 h 3487140"/>
              <a:gd name="connsiteX26" fmla="*/ 1665099 w 7710919"/>
              <a:gd name="connsiteY26" fmla="*/ 1234153 h 3487140"/>
              <a:gd name="connsiteX27" fmla="*/ 1895199 w 7710919"/>
              <a:gd name="connsiteY27" fmla="*/ 725296 h 3487140"/>
              <a:gd name="connsiteX28" fmla="*/ 2003782 w 7710919"/>
              <a:gd name="connsiteY28" fmla="*/ 539984 h 3487140"/>
              <a:gd name="connsiteX29" fmla="*/ 1972634 w 7710919"/>
              <a:gd name="connsiteY29" fmla="*/ 435851 h 3487140"/>
              <a:gd name="connsiteX30" fmla="*/ 1866296 w 7710919"/>
              <a:gd name="connsiteY30" fmla="*/ 350265 h 3487140"/>
              <a:gd name="connsiteX31" fmla="*/ 1821008 w 7710919"/>
              <a:gd name="connsiteY31" fmla="*/ 209327 h 3487140"/>
              <a:gd name="connsiteX32" fmla="*/ 1865838 w 7710919"/>
              <a:gd name="connsiteY32" fmla="*/ 82237 h 3487140"/>
              <a:gd name="connsiteX33" fmla="*/ 2046118 w 7710919"/>
              <a:gd name="connsiteY33" fmla="*/ 6716 h 3487140"/>
              <a:gd name="connsiteX34" fmla="*/ 2314811 w 7710919"/>
              <a:gd name="connsiteY34" fmla="*/ 10167 h 3487140"/>
              <a:gd name="connsiteX35" fmla="*/ 2398484 w 7710919"/>
              <a:gd name="connsiteY35" fmla="*/ 49800 h 3487140"/>
              <a:gd name="connsiteX36" fmla="*/ 2351449 w 7710919"/>
              <a:gd name="connsiteY36" fmla="*/ 86812 h 3487140"/>
              <a:gd name="connsiteX37" fmla="*/ 2115526 w 7710919"/>
              <a:gd name="connsiteY37" fmla="*/ 91886 h 3487140"/>
              <a:gd name="connsiteX38" fmla="*/ 1871993 w 7710919"/>
              <a:gd name="connsiteY38" fmla="*/ 75833 h 3487140"/>
              <a:gd name="connsiteX39" fmla="*/ 1764242 w 7710919"/>
              <a:gd name="connsiteY39" fmla="*/ 176931 h 3487140"/>
              <a:gd name="connsiteX40" fmla="*/ 1779504 w 7710919"/>
              <a:gd name="connsiteY40" fmla="*/ 370393 h 3487140"/>
              <a:gd name="connsiteX41" fmla="*/ 1724277 w 7710919"/>
              <a:gd name="connsiteY41" fmla="*/ 589348 h 3487140"/>
              <a:gd name="connsiteX42" fmla="*/ 1567743 w 7710919"/>
              <a:gd name="connsiteY42" fmla="*/ 903953 h 3487140"/>
              <a:gd name="connsiteX43" fmla="*/ 1357272 w 7710919"/>
              <a:gd name="connsiteY43" fmla="*/ 922501 h 3487140"/>
              <a:gd name="connsiteX44" fmla="*/ 1162853 w 7710919"/>
              <a:gd name="connsiteY44" fmla="*/ 866816 h 3487140"/>
              <a:gd name="connsiteX45" fmla="*/ 1104008 w 7710919"/>
              <a:gd name="connsiteY45" fmla="*/ 751038 h 3487140"/>
              <a:gd name="connsiteX46" fmla="*/ 1115944 w 7710919"/>
              <a:gd name="connsiteY46" fmla="*/ 369436 h 3487140"/>
              <a:gd name="connsiteX47" fmla="*/ 1177617 w 7710919"/>
              <a:gd name="connsiteY47" fmla="*/ 155805 h 3487140"/>
              <a:gd name="connsiteX48" fmla="*/ 1378981 w 7710919"/>
              <a:gd name="connsiteY48" fmla="*/ 156761 h 3487140"/>
              <a:gd name="connsiteX49" fmla="*/ 1631912 w 7710919"/>
              <a:gd name="connsiteY49" fmla="*/ 245175 h 3487140"/>
              <a:gd name="connsiteX50" fmla="*/ 1801004 w 7710919"/>
              <a:gd name="connsiteY50" fmla="*/ 357792 h 3487140"/>
              <a:gd name="connsiteX51" fmla="*/ 1905595 w 7710919"/>
              <a:gd name="connsiteY51" fmla="*/ 483301 h 3487140"/>
              <a:gd name="connsiteX52" fmla="*/ 1929799 w 7710919"/>
              <a:gd name="connsiteY52" fmla="*/ 600951 h 3487140"/>
              <a:gd name="connsiteX53" fmla="*/ 1902268 w 7710919"/>
              <a:gd name="connsiteY53" fmla="*/ 761726 h 3487140"/>
              <a:gd name="connsiteX54" fmla="*/ 2074189 w 7710919"/>
              <a:gd name="connsiteY54" fmla="*/ 1160004 h 3487140"/>
              <a:gd name="connsiteX55" fmla="*/ 2497169 w 7710919"/>
              <a:gd name="connsiteY55" fmla="*/ 1793622 h 3487140"/>
              <a:gd name="connsiteX56" fmla="*/ 2914660 w 7710919"/>
              <a:gd name="connsiteY56" fmla="*/ 2087475 h 3487140"/>
              <a:gd name="connsiteX57" fmla="*/ 3024283 w 7710919"/>
              <a:gd name="connsiteY57" fmla="*/ 2185620 h 3487140"/>
              <a:gd name="connsiteX58" fmla="*/ 2911334 w 7710919"/>
              <a:gd name="connsiteY58" fmla="*/ 2468120 h 3487140"/>
              <a:gd name="connsiteX59" fmla="*/ 2745235 w 7710919"/>
              <a:gd name="connsiteY59" fmla="*/ 2505548 h 3487140"/>
              <a:gd name="connsiteX60" fmla="*/ 2436785 w 7710919"/>
              <a:gd name="connsiteY60" fmla="*/ 2278109 h 3487140"/>
              <a:gd name="connsiteX61" fmla="*/ 1992096 w 7710919"/>
              <a:gd name="connsiteY61" fmla="*/ 1678800 h 3487140"/>
              <a:gd name="connsiteX62" fmla="*/ 1872243 w 7710919"/>
              <a:gd name="connsiteY62" fmla="*/ 1175432 h 3487140"/>
              <a:gd name="connsiteX63" fmla="*/ 2026697 w 7710919"/>
              <a:gd name="connsiteY63" fmla="*/ 1377420 h 3487140"/>
              <a:gd name="connsiteX64" fmla="*/ 2388337 w 7710919"/>
              <a:gd name="connsiteY64" fmla="*/ 2268710 h 3487140"/>
              <a:gd name="connsiteX65" fmla="*/ 2708139 w 7710919"/>
              <a:gd name="connsiteY65" fmla="*/ 2693105 h 3487140"/>
              <a:gd name="connsiteX66" fmla="*/ 2941567 w 7710919"/>
              <a:gd name="connsiteY66" fmla="*/ 2746586 h 3487140"/>
              <a:gd name="connsiteX67" fmla="*/ 3108788 w 7710919"/>
              <a:gd name="connsiteY67" fmla="*/ 2631432 h 3487140"/>
              <a:gd name="connsiteX68" fmla="*/ 3119975 w 7710919"/>
              <a:gd name="connsiteY68" fmla="*/ 2436680 h 3487140"/>
              <a:gd name="connsiteX69" fmla="*/ 2966145 w 7710919"/>
              <a:gd name="connsiteY69" fmla="*/ 2309258 h 3487140"/>
              <a:gd name="connsiteX70" fmla="*/ 2758959 w 7710919"/>
              <a:gd name="connsiteY70" fmla="*/ 2375007 h 3487140"/>
              <a:gd name="connsiteX71" fmla="*/ 2736460 w 7710919"/>
              <a:gd name="connsiteY71" fmla="*/ 2581402 h 3487140"/>
              <a:gd name="connsiteX72" fmla="*/ 2879145 w 7710919"/>
              <a:gd name="connsiteY72" fmla="*/ 2671064 h 3487140"/>
              <a:gd name="connsiteX73" fmla="*/ 2975710 w 7710919"/>
              <a:gd name="connsiteY73" fmla="*/ 2596831 h 3487140"/>
              <a:gd name="connsiteX74" fmla="*/ 2942524 w 7710919"/>
              <a:gd name="connsiteY74" fmla="*/ 2530750 h 3487140"/>
              <a:gd name="connsiteX75" fmla="*/ 2820466 w 7710919"/>
              <a:gd name="connsiteY75" fmla="*/ 2615379 h 3487140"/>
              <a:gd name="connsiteX76" fmla="*/ 2674787 w 7710919"/>
              <a:gd name="connsiteY76" fmla="*/ 2907028 h 3487140"/>
              <a:gd name="connsiteX77" fmla="*/ 2626962 w 7710919"/>
              <a:gd name="connsiteY77" fmla="*/ 3008333 h 3487140"/>
              <a:gd name="connsiteX78" fmla="*/ 2591114 w 7710919"/>
              <a:gd name="connsiteY78" fmla="*/ 3024053 h 3487140"/>
              <a:gd name="connsiteX79" fmla="*/ 2496088 w 7710919"/>
              <a:gd name="connsiteY79" fmla="*/ 3013989 h 3487140"/>
              <a:gd name="connsiteX80" fmla="*/ 2502991 w 7710919"/>
              <a:gd name="connsiteY80" fmla="*/ 2956724 h 3487140"/>
              <a:gd name="connsiteX81" fmla="*/ 2691754 w 7710919"/>
              <a:gd name="connsiteY81" fmla="*/ 2951068 h 3487140"/>
              <a:gd name="connsiteX82" fmla="*/ 2777964 w 7710919"/>
              <a:gd name="connsiteY82" fmla="*/ 2951068 h 3487140"/>
              <a:gd name="connsiteX83" fmla="*/ 2859142 w 7710919"/>
              <a:gd name="connsiteY83" fmla="*/ 2822066 h 3487140"/>
              <a:gd name="connsiteX84" fmla="*/ 2999456 w 7710919"/>
              <a:gd name="connsiteY84" fmla="*/ 2789337 h 3487140"/>
              <a:gd name="connsiteX85" fmla="*/ 3127169 w 7710919"/>
              <a:gd name="connsiteY85" fmla="*/ 2713815 h 3487140"/>
              <a:gd name="connsiteX86" fmla="*/ 3213379 w 7710919"/>
              <a:gd name="connsiteY86" fmla="*/ 2544556 h 3487140"/>
              <a:gd name="connsiteX87" fmla="*/ 3432958 w 7710919"/>
              <a:gd name="connsiteY87" fmla="*/ 2482883 h 3487140"/>
              <a:gd name="connsiteX88" fmla="*/ 3967932 w 7710919"/>
              <a:gd name="connsiteY88" fmla="*/ 2466831 h 3487140"/>
              <a:gd name="connsiteX89" fmla="*/ 4123674 w 7710919"/>
              <a:gd name="connsiteY89" fmla="*/ 2420918 h 3487140"/>
              <a:gd name="connsiteX90" fmla="*/ 3973587 w 7710919"/>
              <a:gd name="connsiteY90" fmla="*/ 2252907 h 3487140"/>
              <a:gd name="connsiteX91" fmla="*/ 3498208 w 7710919"/>
              <a:gd name="connsiteY91" fmla="*/ 1791709 h 3487140"/>
              <a:gd name="connsiteX92" fmla="*/ 3234089 w 7710919"/>
              <a:gd name="connsiteY92" fmla="*/ 1600118 h 3487140"/>
              <a:gd name="connsiteX93" fmla="*/ 3110119 w 7710919"/>
              <a:gd name="connsiteY93" fmla="*/ 1733529 h 3487140"/>
              <a:gd name="connsiteX94" fmla="*/ 3047821 w 7710919"/>
              <a:gd name="connsiteY94" fmla="*/ 1995900 h 3487140"/>
              <a:gd name="connsiteX95" fmla="*/ 3088701 w 7710919"/>
              <a:gd name="connsiteY95" fmla="*/ 2048133 h 3487140"/>
              <a:gd name="connsiteX96" fmla="*/ 3151622 w 7710919"/>
              <a:gd name="connsiteY96" fmla="*/ 1778817 h 3487140"/>
              <a:gd name="connsiteX97" fmla="*/ 3273389 w 7710919"/>
              <a:gd name="connsiteY97" fmla="*/ 1356918 h 3487140"/>
              <a:gd name="connsiteX98" fmla="*/ 3379726 w 7710919"/>
              <a:gd name="connsiteY98" fmla="*/ 986960 h 3487140"/>
              <a:gd name="connsiteX99" fmla="*/ 3350449 w 7710919"/>
              <a:gd name="connsiteY99" fmla="*/ 867107 h 3487140"/>
              <a:gd name="connsiteX100" fmla="*/ 3175535 w 7710919"/>
              <a:gd name="connsiteY100" fmla="*/ 840034 h 3487140"/>
              <a:gd name="connsiteX101" fmla="*/ 3031436 w 7710919"/>
              <a:gd name="connsiteY101" fmla="*/ 782769 h 3487140"/>
              <a:gd name="connsiteX102" fmla="*/ 3047780 w 7710919"/>
              <a:gd name="connsiteY102" fmla="*/ 714816 h 3487140"/>
              <a:gd name="connsiteX103" fmla="*/ 3221447 w 7710919"/>
              <a:gd name="connsiteY103" fmla="*/ 723008 h 3487140"/>
              <a:gd name="connsiteX104" fmla="*/ 3424058 w 7710919"/>
              <a:gd name="connsiteY104" fmla="*/ 729288 h 3487140"/>
              <a:gd name="connsiteX105" fmla="*/ 3590780 w 7710919"/>
              <a:gd name="connsiteY105" fmla="*/ 682087 h 3487140"/>
              <a:gd name="connsiteX106" fmla="*/ 3708429 w 7710919"/>
              <a:gd name="connsiteY106" fmla="*/ 703463 h 3487140"/>
              <a:gd name="connsiteX107" fmla="*/ 3731094 w 7710919"/>
              <a:gd name="connsiteY107" fmla="*/ 797199 h 3487140"/>
              <a:gd name="connsiteX108" fmla="*/ 3603381 w 7710919"/>
              <a:gd name="connsiteY108" fmla="*/ 890936 h 3487140"/>
              <a:gd name="connsiteX109" fmla="*/ 3433498 w 7710919"/>
              <a:gd name="connsiteY109" fmla="*/ 918009 h 3487140"/>
              <a:gd name="connsiteX110" fmla="*/ 3305785 w 7710919"/>
              <a:gd name="connsiteY110" fmla="*/ 1002306 h 3487140"/>
              <a:gd name="connsiteX111" fmla="*/ 3204895 w 7710919"/>
              <a:gd name="connsiteY111" fmla="*/ 1299902 h 3487140"/>
              <a:gd name="connsiteX112" fmla="*/ 3265945 w 7710919"/>
              <a:gd name="connsiteY112" fmla="*/ 1545930 h 3487140"/>
              <a:gd name="connsiteX113" fmla="*/ 3478620 w 7710919"/>
              <a:gd name="connsiteY113" fmla="*/ 1536490 h 3487140"/>
              <a:gd name="connsiteX114" fmla="*/ 3658151 w 7710919"/>
              <a:gd name="connsiteY114" fmla="*/ 1376048 h 3487140"/>
              <a:gd name="connsiteX115" fmla="*/ 3661312 w 7710919"/>
              <a:gd name="connsiteY115" fmla="*/ 1231949 h 3487140"/>
              <a:gd name="connsiteX116" fmla="*/ 3443271 w 7710919"/>
              <a:gd name="connsiteY116" fmla="*/ 1191693 h 3487140"/>
              <a:gd name="connsiteX117" fmla="*/ 3451755 w 7710919"/>
              <a:gd name="connsiteY117" fmla="*/ 1255238 h 3487140"/>
              <a:gd name="connsiteX118" fmla="*/ 3876773 w 7710919"/>
              <a:gd name="connsiteY118" fmla="*/ 1241722 h 3487140"/>
              <a:gd name="connsiteX119" fmla="*/ 4361593 w 7710919"/>
              <a:gd name="connsiteY119" fmla="*/ 1259646 h 3487140"/>
              <a:gd name="connsiteX120" fmla="*/ 4590945 w 7710919"/>
              <a:gd name="connsiteY120" fmla="*/ 1236981 h 3487140"/>
              <a:gd name="connsiteX121" fmla="*/ 4572689 w 7710919"/>
              <a:gd name="connsiteY121" fmla="*/ 1185995 h 3487140"/>
              <a:gd name="connsiteX122" fmla="*/ 4212171 w 7710919"/>
              <a:gd name="connsiteY122" fmla="*/ 1177512 h 3487140"/>
              <a:gd name="connsiteX123" fmla="*/ 3841591 w 7710919"/>
              <a:gd name="connsiteY123" fmla="*/ 1331342 h 3487140"/>
              <a:gd name="connsiteX124" fmla="*/ 3495837 w 7710919"/>
              <a:gd name="connsiteY124" fmla="*/ 1604110 h 3487140"/>
              <a:gd name="connsiteX125" fmla="*/ 3263034 w 7710919"/>
              <a:gd name="connsiteY125" fmla="*/ 1921252 h 3487140"/>
              <a:gd name="connsiteX126" fmla="*/ 3167384 w 7710919"/>
              <a:gd name="connsiteY126" fmla="*/ 2419255 h 3487140"/>
              <a:gd name="connsiteX127" fmla="*/ 3397692 w 7710919"/>
              <a:gd name="connsiteY127" fmla="*/ 3048465 h 3487140"/>
              <a:gd name="connsiteX128" fmla="*/ 3975917 w 7710919"/>
              <a:gd name="connsiteY128" fmla="*/ 3394510 h 3487140"/>
              <a:gd name="connsiteX129" fmla="*/ 4614566 w 7710919"/>
              <a:gd name="connsiteY129" fmla="*/ 3330632 h 3487140"/>
              <a:gd name="connsiteX130" fmla="*/ 5109741 w 7710919"/>
              <a:gd name="connsiteY130" fmla="*/ 2841404 h 3487140"/>
              <a:gd name="connsiteX131" fmla="*/ 5143094 w 7710919"/>
              <a:gd name="connsiteY131" fmla="*/ 2052999 h 3487140"/>
              <a:gd name="connsiteX132" fmla="*/ 4712087 w 7710919"/>
              <a:gd name="connsiteY132" fmla="*/ 1482011 h 3487140"/>
              <a:gd name="connsiteX133" fmla="*/ 4245233 w 7710919"/>
              <a:gd name="connsiteY133" fmla="*/ 1352717 h 3487140"/>
              <a:gd name="connsiteX134" fmla="*/ 4084791 w 7710919"/>
              <a:gd name="connsiteY134" fmla="*/ 1466624 h 3487140"/>
              <a:gd name="connsiteX135" fmla="*/ 4106832 w 7710919"/>
              <a:gd name="connsiteY135" fmla="*/ 2001140 h 3487140"/>
              <a:gd name="connsiteX136" fmla="*/ 4140808 w 7710919"/>
              <a:gd name="connsiteY136" fmla="*/ 2313208 h 3487140"/>
              <a:gd name="connsiteX137" fmla="*/ 4232508 w 7710919"/>
              <a:gd name="connsiteY137" fmla="*/ 2399085 h 3487140"/>
              <a:gd name="connsiteX138" fmla="*/ 4336974 w 7710919"/>
              <a:gd name="connsiteY138" fmla="*/ 2362905 h 3487140"/>
              <a:gd name="connsiteX139" fmla="*/ 4301583 w 7710919"/>
              <a:gd name="connsiteY139" fmla="*/ 2271372 h 3487140"/>
              <a:gd name="connsiteX140" fmla="*/ 4203979 w 7710919"/>
              <a:gd name="connsiteY140" fmla="*/ 2303394 h 3487140"/>
              <a:gd name="connsiteX141" fmla="*/ 4187593 w 7710919"/>
              <a:gd name="connsiteY141" fmla="*/ 2437262 h 3487140"/>
              <a:gd name="connsiteX142" fmla="*/ 4186512 w 7710919"/>
              <a:gd name="connsiteY142" fmla="*/ 2519521 h 3487140"/>
              <a:gd name="connsiteX143" fmla="*/ 4007398 w 7710919"/>
              <a:gd name="connsiteY143" fmla="*/ 2539400 h 3487140"/>
              <a:gd name="connsiteX144" fmla="*/ 3597143 w 7710919"/>
              <a:gd name="connsiteY144" fmla="*/ 2545679 h 3487140"/>
              <a:gd name="connsiteX145" fmla="*/ 3356771 w 7710919"/>
              <a:gd name="connsiteY145" fmla="*/ 2602944 h 3487140"/>
              <a:gd name="connsiteX146" fmla="*/ 3347164 w 7710919"/>
              <a:gd name="connsiteY146" fmla="*/ 2790460 h 3487140"/>
              <a:gd name="connsiteX147" fmla="*/ 3540501 w 7710919"/>
              <a:gd name="connsiteY147" fmla="*/ 3133385 h 3487140"/>
              <a:gd name="connsiteX148" fmla="*/ 4032391 w 7710919"/>
              <a:gd name="connsiteY148" fmla="*/ 3465290 h 3487140"/>
              <a:gd name="connsiteX149" fmla="*/ 4773137 w 7710919"/>
              <a:gd name="connsiteY149" fmla="*/ 3390434 h 3487140"/>
              <a:gd name="connsiteX150" fmla="*/ 5212960 w 7710919"/>
              <a:gd name="connsiteY150" fmla="*/ 3017940 h 3487140"/>
              <a:gd name="connsiteX151" fmla="*/ 5526941 w 7710919"/>
              <a:gd name="connsiteY151" fmla="*/ 2655510 h 3487140"/>
              <a:gd name="connsiteX152" fmla="*/ 5899435 w 7710919"/>
              <a:gd name="connsiteY152" fmla="*/ 3163577 h 3487140"/>
              <a:gd name="connsiteX153" fmla="*/ 6123422 w 7710919"/>
              <a:gd name="connsiteY153" fmla="*/ 3255443 h 3487140"/>
              <a:gd name="connsiteX154" fmla="*/ 6201439 w 7710919"/>
              <a:gd name="connsiteY154" fmla="*/ 2786675 h 3487140"/>
              <a:gd name="connsiteX155" fmla="*/ 6511012 w 7710919"/>
              <a:gd name="connsiteY155" fmla="*/ 2869724 h 3487140"/>
              <a:gd name="connsiteX156" fmla="*/ 6749804 w 7710919"/>
              <a:gd name="connsiteY156" fmla="*/ 3245046 h 3487140"/>
              <a:gd name="connsiteX157" fmla="*/ 7122297 w 7710919"/>
              <a:gd name="connsiteY157" fmla="*/ 3329676 h 3487140"/>
              <a:gd name="connsiteX158" fmla="*/ 7710919 w 7710919"/>
              <a:gd name="connsiteY158" fmla="*/ 3217682 h 3487140"/>
              <a:gd name="connsiteX0" fmla="*/ 240411 w 7603996"/>
              <a:gd name="connsiteY0" fmla="*/ 3339906 h 3487140"/>
              <a:gd name="connsiteX1" fmla="*/ 698533 w 7603996"/>
              <a:gd name="connsiteY1" fmla="*/ 3385485 h 3487140"/>
              <a:gd name="connsiteX2" fmla="*/ 777215 w 7603996"/>
              <a:gd name="connsiteY2" fmla="*/ 3295741 h 3487140"/>
              <a:gd name="connsiteX3" fmla="*/ 526113 w 7603996"/>
              <a:gd name="connsiteY3" fmla="*/ 3112384 h 3487140"/>
              <a:gd name="connsiteX4" fmla="*/ 219950 w 7603996"/>
              <a:gd name="connsiteY4" fmla="*/ 2750287 h 3487140"/>
              <a:gd name="connsiteX5" fmla="*/ 128418 w 7603996"/>
              <a:gd name="connsiteY5" fmla="*/ 2305432 h 3487140"/>
              <a:gd name="connsiteX6" fmla="*/ 256006 w 7603996"/>
              <a:gd name="connsiteY6" fmla="*/ 1919713 h 3487140"/>
              <a:gd name="connsiteX7" fmla="*/ 580218 w 7603996"/>
              <a:gd name="connsiteY7" fmla="*/ 1637837 h 3487140"/>
              <a:gd name="connsiteX8" fmla="*/ 1073522 w 7603996"/>
              <a:gd name="connsiteY8" fmla="*/ 1545972 h 3487140"/>
              <a:gd name="connsiteX9" fmla="*/ 1308197 w 7603996"/>
              <a:gd name="connsiteY9" fmla="*/ 1517651 h 3487140"/>
              <a:gd name="connsiteX10" fmla="*/ 1292934 w 7603996"/>
              <a:gd name="connsiteY10" fmla="*/ 1460718 h 3487140"/>
              <a:gd name="connsiteX11" fmla="*/ 1016880 w 7603996"/>
              <a:gd name="connsiteY11" fmla="*/ 1416969 h 3487140"/>
              <a:gd name="connsiteX12" fmla="*/ 497460 w 7603996"/>
              <a:gd name="connsiteY12" fmla="*/ 1517318 h 3487140"/>
              <a:gd name="connsiteX13" fmla="*/ 88162 w 7603996"/>
              <a:gd name="connsiteY13" fmla="*/ 1960593 h 3487140"/>
              <a:gd name="connsiteX14" fmla="*/ 28692 w 7603996"/>
              <a:gd name="connsiteY14" fmla="*/ 2569342 h 3487140"/>
              <a:gd name="connsiteX15" fmla="*/ 442399 w 7603996"/>
              <a:gd name="connsiteY15" fmla="*/ 3165532 h 3487140"/>
              <a:gd name="connsiteX16" fmla="*/ 1232384 w 7603996"/>
              <a:gd name="connsiteY16" fmla="*/ 3283181 h 3487140"/>
              <a:gd name="connsiteX17" fmla="*/ 1835020 w 7603996"/>
              <a:gd name="connsiteY17" fmla="*/ 2757481 h 3487140"/>
              <a:gd name="connsiteX18" fmla="*/ 1824789 w 7603996"/>
              <a:gd name="connsiteY18" fmla="*/ 1980430 h 3487140"/>
              <a:gd name="connsiteX19" fmla="*/ 1494755 w 7603996"/>
              <a:gd name="connsiteY19" fmla="*/ 1589139 h 3487140"/>
              <a:gd name="connsiteX20" fmla="*/ 1305701 w 7603996"/>
              <a:gd name="connsiteY20" fmla="*/ 1660710 h 3487140"/>
              <a:gd name="connsiteX21" fmla="*/ 1197284 w 7603996"/>
              <a:gd name="connsiteY21" fmla="*/ 2116627 h 3487140"/>
              <a:gd name="connsiteX22" fmla="*/ 973921 w 7603996"/>
              <a:gd name="connsiteY22" fmla="*/ 2374258 h 3487140"/>
              <a:gd name="connsiteX23" fmla="*/ 918985 w 7603996"/>
              <a:gd name="connsiteY23" fmla="*/ 2276986 h 3487140"/>
              <a:gd name="connsiteX24" fmla="*/ 1298257 w 7603996"/>
              <a:gd name="connsiteY24" fmla="*/ 2021601 h 3487140"/>
              <a:gd name="connsiteX25" fmla="*/ 1558176 w 7603996"/>
              <a:gd name="connsiteY25" fmla="*/ 1234153 h 3487140"/>
              <a:gd name="connsiteX26" fmla="*/ 1788276 w 7603996"/>
              <a:gd name="connsiteY26" fmla="*/ 725296 h 3487140"/>
              <a:gd name="connsiteX27" fmla="*/ 1896859 w 7603996"/>
              <a:gd name="connsiteY27" fmla="*/ 539984 h 3487140"/>
              <a:gd name="connsiteX28" fmla="*/ 1865711 w 7603996"/>
              <a:gd name="connsiteY28" fmla="*/ 435851 h 3487140"/>
              <a:gd name="connsiteX29" fmla="*/ 1759373 w 7603996"/>
              <a:gd name="connsiteY29" fmla="*/ 350265 h 3487140"/>
              <a:gd name="connsiteX30" fmla="*/ 1714085 w 7603996"/>
              <a:gd name="connsiteY30" fmla="*/ 209327 h 3487140"/>
              <a:gd name="connsiteX31" fmla="*/ 1758915 w 7603996"/>
              <a:gd name="connsiteY31" fmla="*/ 82237 h 3487140"/>
              <a:gd name="connsiteX32" fmla="*/ 1939195 w 7603996"/>
              <a:gd name="connsiteY32" fmla="*/ 6716 h 3487140"/>
              <a:gd name="connsiteX33" fmla="*/ 2207888 w 7603996"/>
              <a:gd name="connsiteY33" fmla="*/ 10167 h 3487140"/>
              <a:gd name="connsiteX34" fmla="*/ 2291561 w 7603996"/>
              <a:gd name="connsiteY34" fmla="*/ 49800 h 3487140"/>
              <a:gd name="connsiteX35" fmla="*/ 2244526 w 7603996"/>
              <a:gd name="connsiteY35" fmla="*/ 86812 h 3487140"/>
              <a:gd name="connsiteX36" fmla="*/ 2008603 w 7603996"/>
              <a:gd name="connsiteY36" fmla="*/ 91886 h 3487140"/>
              <a:gd name="connsiteX37" fmla="*/ 1765070 w 7603996"/>
              <a:gd name="connsiteY37" fmla="*/ 75833 h 3487140"/>
              <a:gd name="connsiteX38" fmla="*/ 1657319 w 7603996"/>
              <a:gd name="connsiteY38" fmla="*/ 176931 h 3487140"/>
              <a:gd name="connsiteX39" fmla="*/ 1672581 w 7603996"/>
              <a:gd name="connsiteY39" fmla="*/ 370393 h 3487140"/>
              <a:gd name="connsiteX40" fmla="*/ 1617354 w 7603996"/>
              <a:gd name="connsiteY40" fmla="*/ 589348 h 3487140"/>
              <a:gd name="connsiteX41" fmla="*/ 1460820 w 7603996"/>
              <a:gd name="connsiteY41" fmla="*/ 903953 h 3487140"/>
              <a:gd name="connsiteX42" fmla="*/ 1250349 w 7603996"/>
              <a:gd name="connsiteY42" fmla="*/ 922501 h 3487140"/>
              <a:gd name="connsiteX43" fmla="*/ 1055930 w 7603996"/>
              <a:gd name="connsiteY43" fmla="*/ 866816 h 3487140"/>
              <a:gd name="connsiteX44" fmla="*/ 997085 w 7603996"/>
              <a:gd name="connsiteY44" fmla="*/ 751038 h 3487140"/>
              <a:gd name="connsiteX45" fmla="*/ 1009021 w 7603996"/>
              <a:gd name="connsiteY45" fmla="*/ 369436 h 3487140"/>
              <a:gd name="connsiteX46" fmla="*/ 1070694 w 7603996"/>
              <a:gd name="connsiteY46" fmla="*/ 155805 h 3487140"/>
              <a:gd name="connsiteX47" fmla="*/ 1272058 w 7603996"/>
              <a:gd name="connsiteY47" fmla="*/ 156761 h 3487140"/>
              <a:gd name="connsiteX48" fmla="*/ 1524989 w 7603996"/>
              <a:gd name="connsiteY48" fmla="*/ 245175 h 3487140"/>
              <a:gd name="connsiteX49" fmla="*/ 1694081 w 7603996"/>
              <a:gd name="connsiteY49" fmla="*/ 357792 h 3487140"/>
              <a:gd name="connsiteX50" fmla="*/ 1798672 w 7603996"/>
              <a:gd name="connsiteY50" fmla="*/ 483301 h 3487140"/>
              <a:gd name="connsiteX51" fmla="*/ 1822876 w 7603996"/>
              <a:gd name="connsiteY51" fmla="*/ 600951 h 3487140"/>
              <a:gd name="connsiteX52" fmla="*/ 1795345 w 7603996"/>
              <a:gd name="connsiteY52" fmla="*/ 761726 h 3487140"/>
              <a:gd name="connsiteX53" fmla="*/ 1967266 w 7603996"/>
              <a:gd name="connsiteY53" fmla="*/ 1160004 h 3487140"/>
              <a:gd name="connsiteX54" fmla="*/ 2390246 w 7603996"/>
              <a:gd name="connsiteY54" fmla="*/ 1793622 h 3487140"/>
              <a:gd name="connsiteX55" fmla="*/ 2807737 w 7603996"/>
              <a:gd name="connsiteY55" fmla="*/ 2087475 h 3487140"/>
              <a:gd name="connsiteX56" fmla="*/ 2917360 w 7603996"/>
              <a:gd name="connsiteY56" fmla="*/ 2185620 h 3487140"/>
              <a:gd name="connsiteX57" fmla="*/ 2804411 w 7603996"/>
              <a:gd name="connsiteY57" fmla="*/ 2468120 h 3487140"/>
              <a:gd name="connsiteX58" fmla="*/ 2638312 w 7603996"/>
              <a:gd name="connsiteY58" fmla="*/ 2505548 h 3487140"/>
              <a:gd name="connsiteX59" fmla="*/ 2329862 w 7603996"/>
              <a:gd name="connsiteY59" fmla="*/ 2278109 h 3487140"/>
              <a:gd name="connsiteX60" fmla="*/ 1885173 w 7603996"/>
              <a:gd name="connsiteY60" fmla="*/ 1678800 h 3487140"/>
              <a:gd name="connsiteX61" fmla="*/ 1765320 w 7603996"/>
              <a:gd name="connsiteY61" fmla="*/ 1175432 h 3487140"/>
              <a:gd name="connsiteX62" fmla="*/ 1919774 w 7603996"/>
              <a:gd name="connsiteY62" fmla="*/ 1377420 h 3487140"/>
              <a:gd name="connsiteX63" fmla="*/ 2281414 w 7603996"/>
              <a:gd name="connsiteY63" fmla="*/ 2268710 h 3487140"/>
              <a:gd name="connsiteX64" fmla="*/ 2601216 w 7603996"/>
              <a:gd name="connsiteY64" fmla="*/ 2693105 h 3487140"/>
              <a:gd name="connsiteX65" fmla="*/ 2834644 w 7603996"/>
              <a:gd name="connsiteY65" fmla="*/ 2746586 h 3487140"/>
              <a:gd name="connsiteX66" fmla="*/ 3001865 w 7603996"/>
              <a:gd name="connsiteY66" fmla="*/ 2631432 h 3487140"/>
              <a:gd name="connsiteX67" fmla="*/ 3013052 w 7603996"/>
              <a:gd name="connsiteY67" fmla="*/ 2436680 h 3487140"/>
              <a:gd name="connsiteX68" fmla="*/ 2859222 w 7603996"/>
              <a:gd name="connsiteY68" fmla="*/ 2309258 h 3487140"/>
              <a:gd name="connsiteX69" fmla="*/ 2652036 w 7603996"/>
              <a:gd name="connsiteY69" fmla="*/ 2375007 h 3487140"/>
              <a:gd name="connsiteX70" fmla="*/ 2629537 w 7603996"/>
              <a:gd name="connsiteY70" fmla="*/ 2581402 h 3487140"/>
              <a:gd name="connsiteX71" fmla="*/ 2772222 w 7603996"/>
              <a:gd name="connsiteY71" fmla="*/ 2671064 h 3487140"/>
              <a:gd name="connsiteX72" fmla="*/ 2868787 w 7603996"/>
              <a:gd name="connsiteY72" fmla="*/ 2596831 h 3487140"/>
              <a:gd name="connsiteX73" fmla="*/ 2835601 w 7603996"/>
              <a:gd name="connsiteY73" fmla="*/ 2530750 h 3487140"/>
              <a:gd name="connsiteX74" fmla="*/ 2713543 w 7603996"/>
              <a:gd name="connsiteY74" fmla="*/ 2615379 h 3487140"/>
              <a:gd name="connsiteX75" fmla="*/ 2567864 w 7603996"/>
              <a:gd name="connsiteY75" fmla="*/ 2907028 h 3487140"/>
              <a:gd name="connsiteX76" fmla="*/ 2520039 w 7603996"/>
              <a:gd name="connsiteY76" fmla="*/ 3008333 h 3487140"/>
              <a:gd name="connsiteX77" fmla="*/ 2484191 w 7603996"/>
              <a:gd name="connsiteY77" fmla="*/ 3024053 h 3487140"/>
              <a:gd name="connsiteX78" fmla="*/ 2389165 w 7603996"/>
              <a:gd name="connsiteY78" fmla="*/ 3013989 h 3487140"/>
              <a:gd name="connsiteX79" fmla="*/ 2396068 w 7603996"/>
              <a:gd name="connsiteY79" fmla="*/ 2956724 h 3487140"/>
              <a:gd name="connsiteX80" fmla="*/ 2584831 w 7603996"/>
              <a:gd name="connsiteY80" fmla="*/ 2951068 h 3487140"/>
              <a:gd name="connsiteX81" fmla="*/ 2671041 w 7603996"/>
              <a:gd name="connsiteY81" fmla="*/ 2951068 h 3487140"/>
              <a:gd name="connsiteX82" fmla="*/ 2752219 w 7603996"/>
              <a:gd name="connsiteY82" fmla="*/ 2822066 h 3487140"/>
              <a:gd name="connsiteX83" fmla="*/ 2892533 w 7603996"/>
              <a:gd name="connsiteY83" fmla="*/ 2789337 h 3487140"/>
              <a:gd name="connsiteX84" fmla="*/ 3020246 w 7603996"/>
              <a:gd name="connsiteY84" fmla="*/ 2713815 h 3487140"/>
              <a:gd name="connsiteX85" fmla="*/ 3106456 w 7603996"/>
              <a:gd name="connsiteY85" fmla="*/ 2544556 h 3487140"/>
              <a:gd name="connsiteX86" fmla="*/ 3326035 w 7603996"/>
              <a:gd name="connsiteY86" fmla="*/ 2482883 h 3487140"/>
              <a:gd name="connsiteX87" fmla="*/ 3861009 w 7603996"/>
              <a:gd name="connsiteY87" fmla="*/ 2466831 h 3487140"/>
              <a:gd name="connsiteX88" fmla="*/ 4016751 w 7603996"/>
              <a:gd name="connsiteY88" fmla="*/ 2420918 h 3487140"/>
              <a:gd name="connsiteX89" fmla="*/ 3866664 w 7603996"/>
              <a:gd name="connsiteY89" fmla="*/ 2252907 h 3487140"/>
              <a:gd name="connsiteX90" fmla="*/ 3391285 w 7603996"/>
              <a:gd name="connsiteY90" fmla="*/ 1791709 h 3487140"/>
              <a:gd name="connsiteX91" fmla="*/ 3127166 w 7603996"/>
              <a:gd name="connsiteY91" fmla="*/ 1600118 h 3487140"/>
              <a:gd name="connsiteX92" fmla="*/ 3003196 w 7603996"/>
              <a:gd name="connsiteY92" fmla="*/ 1733529 h 3487140"/>
              <a:gd name="connsiteX93" fmla="*/ 2940898 w 7603996"/>
              <a:gd name="connsiteY93" fmla="*/ 1995900 h 3487140"/>
              <a:gd name="connsiteX94" fmla="*/ 2981778 w 7603996"/>
              <a:gd name="connsiteY94" fmla="*/ 2048133 h 3487140"/>
              <a:gd name="connsiteX95" fmla="*/ 3044699 w 7603996"/>
              <a:gd name="connsiteY95" fmla="*/ 1778817 h 3487140"/>
              <a:gd name="connsiteX96" fmla="*/ 3166466 w 7603996"/>
              <a:gd name="connsiteY96" fmla="*/ 1356918 h 3487140"/>
              <a:gd name="connsiteX97" fmla="*/ 3272803 w 7603996"/>
              <a:gd name="connsiteY97" fmla="*/ 986960 h 3487140"/>
              <a:gd name="connsiteX98" fmla="*/ 3243526 w 7603996"/>
              <a:gd name="connsiteY98" fmla="*/ 867107 h 3487140"/>
              <a:gd name="connsiteX99" fmla="*/ 3068612 w 7603996"/>
              <a:gd name="connsiteY99" fmla="*/ 840034 h 3487140"/>
              <a:gd name="connsiteX100" fmla="*/ 2924513 w 7603996"/>
              <a:gd name="connsiteY100" fmla="*/ 782769 h 3487140"/>
              <a:gd name="connsiteX101" fmla="*/ 2940857 w 7603996"/>
              <a:gd name="connsiteY101" fmla="*/ 714816 h 3487140"/>
              <a:gd name="connsiteX102" fmla="*/ 3114524 w 7603996"/>
              <a:gd name="connsiteY102" fmla="*/ 723008 h 3487140"/>
              <a:gd name="connsiteX103" fmla="*/ 3317135 w 7603996"/>
              <a:gd name="connsiteY103" fmla="*/ 729288 h 3487140"/>
              <a:gd name="connsiteX104" fmla="*/ 3483857 w 7603996"/>
              <a:gd name="connsiteY104" fmla="*/ 682087 h 3487140"/>
              <a:gd name="connsiteX105" fmla="*/ 3601506 w 7603996"/>
              <a:gd name="connsiteY105" fmla="*/ 703463 h 3487140"/>
              <a:gd name="connsiteX106" fmla="*/ 3624171 w 7603996"/>
              <a:gd name="connsiteY106" fmla="*/ 797199 h 3487140"/>
              <a:gd name="connsiteX107" fmla="*/ 3496458 w 7603996"/>
              <a:gd name="connsiteY107" fmla="*/ 890936 h 3487140"/>
              <a:gd name="connsiteX108" fmla="*/ 3326575 w 7603996"/>
              <a:gd name="connsiteY108" fmla="*/ 918009 h 3487140"/>
              <a:gd name="connsiteX109" fmla="*/ 3198862 w 7603996"/>
              <a:gd name="connsiteY109" fmla="*/ 1002306 h 3487140"/>
              <a:gd name="connsiteX110" fmla="*/ 3097972 w 7603996"/>
              <a:gd name="connsiteY110" fmla="*/ 1299902 h 3487140"/>
              <a:gd name="connsiteX111" fmla="*/ 3159022 w 7603996"/>
              <a:gd name="connsiteY111" fmla="*/ 1545930 h 3487140"/>
              <a:gd name="connsiteX112" fmla="*/ 3371697 w 7603996"/>
              <a:gd name="connsiteY112" fmla="*/ 1536490 h 3487140"/>
              <a:gd name="connsiteX113" fmla="*/ 3551228 w 7603996"/>
              <a:gd name="connsiteY113" fmla="*/ 1376048 h 3487140"/>
              <a:gd name="connsiteX114" fmla="*/ 3554389 w 7603996"/>
              <a:gd name="connsiteY114" fmla="*/ 1231949 h 3487140"/>
              <a:gd name="connsiteX115" fmla="*/ 3336348 w 7603996"/>
              <a:gd name="connsiteY115" fmla="*/ 1191693 h 3487140"/>
              <a:gd name="connsiteX116" fmla="*/ 3344832 w 7603996"/>
              <a:gd name="connsiteY116" fmla="*/ 1255238 h 3487140"/>
              <a:gd name="connsiteX117" fmla="*/ 3769850 w 7603996"/>
              <a:gd name="connsiteY117" fmla="*/ 1241722 h 3487140"/>
              <a:gd name="connsiteX118" fmla="*/ 4254670 w 7603996"/>
              <a:gd name="connsiteY118" fmla="*/ 1259646 h 3487140"/>
              <a:gd name="connsiteX119" fmla="*/ 4484022 w 7603996"/>
              <a:gd name="connsiteY119" fmla="*/ 1236981 h 3487140"/>
              <a:gd name="connsiteX120" fmla="*/ 4465766 w 7603996"/>
              <a:gd name="connsiteY120" fmla="*/ 1185995 h 3487140"/>
              <a:gd name="connsiteX121" fmla="*/ 4105248 w 7603996"/>
              <a:gd name="connsiteY121" fmla="*/ 1177512 h 3487140"/>
              <a:gd name="connsiteX122" fmla="*/ 3734668 w 7603996"/>
              <a:gd name="connsiteY122" fmla="*/ 1331342 h 3487140"/>
              <a:gd name="connsiteX123" fmla="*/ 3388914 w 7603996"/>
              <a:gd name="connsiteY123" fmla="*/ 1604110 h 3487140"/>
              <a:gd name="connsiteX124" fmla="*/ 3156111 w 7603996"/>
              <a:gd name="connsiteY124" fmla="*/ 1921252 h 3487140"/>
              <a:gd name="connsiteX125" fmla="*/ 3060461 w 7603996"/>
              <a:gd name="connsiteY125" fmla="*/ 2419255 h 3487140"/>
              <a:gd name="connsiteX126" fmla="*/ 3290769 w 7603996"/>
              <a:gd name="connsiteY126" fmla="*/ 3048465 h 3487140"/>
              <a:gd name="connsiteX127" fmla="*/ 3868994 w 7603996"/>
              <a:gd name="connsiteY127" fmla="*/ 3394510 h 3487140"/>
              <a:gd name="connsiteX128" fmla="*/ 4507643 w 7603996"/>
              <a:gd name="connsiteY128" fmla="*/ 3330632 h 3487140"/>
              <a:gd name="connsiteX129" fmla="*/ 5002818 w 7603996"/>
              <a:gd name="connsiteY129" fmla="*/ 2841404 h 3487140"/>
              <a:gd name="connsiteX130" fmla="*/ 5036171 w 7603996"/>
              <a:gd name="connsiteY130" fmla="*/ 2052999 h 3487140"/>
              <a:gd name="connsiteX131" fmla="*/ 4605164 w 7603996"/>
              <a:gd name="connsiteY131" fmla="*/ 1482011 h 3487140"/>
              <a:gd name="connsiteX132" fmla="*/ 4138310 w 7603996"/>
              <a:gd name="connsiteY132" fmla="*/ 1352717 h 3487140"/>
              <a:gd name="connsiteX133" fmla="*/ 3977868 w 7603996"/>
              <a:gd name="connsiteY133" fmla="*/ 1466624 h 3487140"/>
              <a:gd name="connsiteX134" fmla="*/ 3999909 w 7603996"/>
              <a:gd name="connsiteY134" fmla="*/ 2001140 h 3487140"/>
              <a:gd name="connsiteX135" fmla="*/ 4033885 w 7603996"/>
              <a:gd name="connsiteY135" fmla="*/ 2313208 h 3487140"/>
              <a:gd name="connsiteX136" fmla="*/ 4125585 w 7603996"/>
              <a:gd name="connsiteY136" fmla="*/ 2399085 h 3487140"/>
              <a:gd name="connsiteX137" fmla="*/ 4230051 w 7603996"/>
              <a:gd name="connsiteY137" fmla="*/ 2362905 h 3487140"/>
              <a:gd name="connsiteX138" fmla="*/ 4194660 w 7603996"/>
              <a:gd name="connsiteY138" fmla="*/ 2271372 h 3487140"/>
              <a:gd name="connsiteX139" fmla="*/ 4097056 w 7603996"/>
              <a:gd name="connsiteY139" fmla="*/ 2303394 h 3487140"/>
              <a:gd name="connsiteX140" fmla="*/ 4080670 w 7603996"/>
              <a:gd name="connsiteY140" fmla="*/ 2437262 h 3487140"/>
              <a:gd name="connsiteX141" fmla="*/ 4079589 w 7603996"/>
              <a:gd name="connsiteY141" fmla="*/ 2519521 h 3487140"/>
              <a:gd name="connsiteX142" fmla="*/ 3900475 w 7603996"/>
              <a:gd name="connsiteY142" fmla="*/ 2539400 h 3487140"/>
              <a:gd name="connsiteX143" fmla="*/ 3490220 w 7603996"/>
              <a:gd name="connsiteY143" fmla="*/ 2545679 h 3487140"/>
              <a:gd name="connsiteX144" fmla="*/ 3249848 w 7603996"/>
              <a:gd name="connsiteY144" fmla="*/ 2602944 h 3487140"/>
              <a:gd name="connsiteX145" fmla="*/ 3240241 w 7603996"/>
              <a:gd name="connsiteY145" fmla="*/ 2790460 h 3487140"/>
              <a:gd name="connsiteX146" fmla="*/ 3433578 w 7603996"/>
              <a:gd name="connsiteY146" fmla="*/ 3133385 h 3487140"/>
              <a:gd name="connsiteX147" fmla="*/ 3925468 w 7603996"/>
              <a:gd name="connsiteY147" fmla="*/ 3465290 h 3487140"/>
              <a:gd name="connsiteX148" fmla="*/ 4666214 w 7603996"/>
              <a:gd name="connsiteY148" fmla="*/ 3390434 h 3487140"/>
              <a:gd name="connsiteX149" fmla="*/ 5106037 w 7603996"/>
              <a:gd name="connsiteY149" fmla="*/ 3017940 h 3487140"/>
              <a:gd name="connsiteX150" fmla="*/ 5420018 w 7603996"/>
              <a:gd name="connsiteY150" fmla="*/ 2655510 h 3487140"/>
              <a:gd name="connsiteX151" fmla="*/ 5792512 w 7603996"/>
              <a:gd name="connsiteY151" fmla="*/ 3163577 h 3487140"/>
              <a:gd name="connsiteX152" fmla="*/ 6016499 w 7603996"/>
              <a:gd name="connsiteY152" fmla="*/ 3255443 h 3487140"/>
              <a:gd name="connsiteX153" fmla="*/ 6094516 w 7603996"/>
              <a:gd name="connsiteY153" fmla="*/ 2786675 h 3487140"/>
              <a:gd name="connsiteX154" fmla="*/ 6404089 w 7603996"/>
              <a:gd name="connsiteY154" fmla="*/ 2869724 h 3487140"/>
              <a:gd name="connsiteX155" fmla="*/ 6642881 w 7603996"/>
              <a:gd name="connsiteY155" fmla="*/ 3245046 h 3487140"/>
              <a:gd name="connsiteX156" fmla="*/ 7015374 w 7603996"/>
              <a:gd name="connsiteY156" fmla="*/ 3329676 h 3487140"/>
              <a:gd name="connsiteX157" fmla="*/ 7603996 w 7603996"/>
              <a:gd name="connsiteY157" fmla="*/ 3217682 h 3487140"/>
              <a:gd name="connsiteX0" fmla="*/ 698533 w 7603996"/>
              <a:gd name="connsiteY0" fmla="*/ 3385485 h 3487140"/>
              <a:gd name="connsiteX1" fmla="*/ 777215 w 7603996"/>
              <a:gd name="connsiteY1" fmla="*/ 3295741 h 3487140"/>
              <a:gd name="connsiteX2" fmla="*/ 526113 w 7603996"/>
              <a:gd name="connsiteY2" fmla="*/ 3112384 h 3487140"/>
              <a:gd name="connsiteX3" fmla="*/ 219950 w 7603996"/>
              <a:gd name="connsiteY3" fmla="*/ 2750287 h 3487140"/>
              <a:gd name="connsiteX4" fmla="*/ 128418 w 7603996"/>
              <a:gd name="connsiteY4" fmla="*/ 2305432 h 3487140"/>
              <a:gd name="connsiteX5" fmla="*/ 256006 w 7603996"/>
              <a:gd name="connsiteY5" fmla="*/ 1919713 h 3487140"/>
              <a:gd name="connsiteX6" fmla="*/ 580218 w 7603996"/>
              <a:gd name="connsiteY6" fmla="*/ 1637837 h 3487140"/>
              <a:gd name="connsiteX7" fmla="*/ 1073522 w 7603996"/>
              <a:gd name="connsiteY7" fmla="*/ 1545972 h 3487140"/>
              <a:gd name="connsiteX8" fmla="*/ 1308197 w 7603996"/>
              <a:gd name="connsiteY8" fmla="*/ 1517651 h 3487140"/>
              <a:gd name="connsiteX9" fmla="*/ 1292934 w 7603996"/>
              <a:gd name="connsiteY9" fmla="*/ 1460718 h 3487140"/>
              <a:gd name="connsiteX10" fmla="*/ 1016880 w 7603996"/>
              <a:gd name="connsiteY10" fmla="*/ 1416969 h 3487140"/>
              <a:gd name="connsiteX11" fmla="*/ 497460 w 7603996"/>
              <a:gd name="connsiteY11" fmla="*/ 1517318 h 3487140"/>
              <a:gd name="connsiteX12" fmla="*/ 88162 w 7603996"/>
              <a:gd name="connsiteY12" fmla="*/ 1960593 h 3487140"/>
              <a:gd name="connsiteX13" fmla="*/ 28692 w 7603996"/>
              <a:gd name="connsiteY13" fmla="*/ 2569342 h 3487140"/>
              <a:gd name="connsiteX14" fmla="*/ 442399 w 7603996"/>
              <a:gd name="connsiteY14" fmla="*/ 3165532 h 3487140"/>
              <a:gd name="connsiteX15" fmla="*/ 1232384 w 7603996"/>
              <a:gd name="connsiteY15" fmla="*/ 3283181 h 3487140"/>
              <a:gd name="connsiteX16" fmla="*/ 1835020 w 7603996"/>
              <a:gd name="connsiteY16" fmla="*/ 2757481 h 3487140"/>
              <a:gd name="connsiteX17" fmla="*/ 1824789 w 7603996"/>
              <a:gd name="connsiteY17" fmla="*/ 1980430 h 3487140"/>
              <a:gd name="connsiteX18" fmla="*/ 1494755 w 7603996"/>
              <a:gd name="connsiteY18" fmla="*/ 1589139 h 3487140"/>
              <a:gd name="connsiteX19" fmla="*/ 1305701 w 7603996"/>
              <a:gd name="connsiteY19" fmla="*/ 1660710 h 3487140"/>
              <a:gd name="connsiteX20" fmla="*/ 1197284 w 7603996"/>
              <a:gd name="connsiteY20" fmla="*/ 2116627 h 3487140"/>
              <a:gd name="connsiteX21" fmla="*/ 973921 w 7603996"/>
              <a:gd name="connsiteY21" fmla="*/ 2374258 h 3487140"/>
              <a:gd name="connsiteX22" fmla="*/ 918985 w 7603996"/>
              <a:gd name="connsiteY22" fmla="*/ 2276986 h 3487140"/>
              <a:gd name="connsiteX23" fmla="*/ 1298257 w 7603996"/>
              <a:gd name="connsiteY23" fmla="*/ 2021601 h 3487140"/>
              <a:gd name="connsiteX24" fmla="*/ 1558176 w 7603996"/>
              <a:gd name="connsiteY24" fmla="*/ 1234153 h 3487140"/>
              <a:gd name="connsiteX25" fmla="*/ 1788276 w 7603996"/>
              <a:gd name="connsiteY25" fmla="*/ 725296 h 3487140"/>
              <a:gd name="connsiteX26" fmla="*/ 1896859 w 7603996"/>
              <a:gd name="connsiteY26" fmla="*/ 539984 h 3487140"/>
              <a:gd name="connsiteX27" fmla="*/ 1865711 w 7603996"/>
              <a:gd name="connsiteY27" fmla="*/ 435851 h 3487140"/>
              <a:gd name="connsiteX28" fmla="*/ 1759373 w 7603996"/>
              <a:gd name="connsiteY28" fmla="*/ 350265 h 3487140"/>
              <a:gd name="connsiteX29" fmla="*/ 1714085 w 7603996"/>
              <a:gd name="connsiteY29" fmla="*/ 209327 h 3487140"/>
              <a:gd name="connsiteX30" fmla="*/ 1758915 w 7603996"/>
              <a:gd name="connsiteY30" fmla="*/ 82237 h 3487140"/>
              <a:gd name="connsiteX31" fmla="*/ 1939195 w 7603996"/>
              <a:gd name="connsiteY31" fmla="*/ 6716 h 3487140"/>
              <a:gd name="connsiteX32" fmla="*/ 2207888 w 7603996"/>
              <a:gd name="connsiteY32" fmla="*/ 10167 h 3487140"/>
              <a:gd name="connsiteX33" fmla="*/ 2291561 w 7603996"/>
              <a:gd name="connsiteY33" fmla="*/ 49800 h 3487140"/>
              <a:gd name="connsiteX34" fmla="*/ 2244526 w 7603996"/>
              <a:gd name="connsiteY34" fmla="*/ 86812 h 3487140"/>
              <a:gd name="connsiteX35" fmla="*/ 2008603 w 7603996"/>
              <a:gd name="connsiteY35" fmla="*/ 91886 h 3487140"/>
              <a:gd name="connsiteX36" fmla="*/ 1765070 w 7603996"/>
              <a:gd name="connsiteY36" fmla="*/ 75833 h 3487140"/>
              <a:gd name="connsiteX37" fmla="*/ 1657319 w 7603996"/>
              <a:gd name="connsiteY37" fmla="*/ 176931 h 3487140"/>
              <a:gd name="connsiteX38" fmla="*/ 1672581 w 7603996"/>
              <a:gd name="connsiteY38" fmla="*/ 370393 h 3487140"/>
              <a:gd name="connsiteX39" fmla="*/ 1617354 w 7603996"/>
              <a:gd name="connsiteY39" fmla="*/ 589348 h 3487140"/>
              <a:gd name="connsiteX40" fmla="*/ 1460820 w 7603996"/>
              <a:gd name="connsiteY40" fmla="*/ 903953 h 3487140"/>
              <a:gd name="connsiteX41" fmla="*/ 1250349 w 7603996"/>
              <a:gd name="connsiteY41" fmla="*/ 922501 h 3487140"/>
              <a:gd name="connsiteX42" fmla="*/ 1055930 w 7603996"/>
              <a:gd name="connsiteY42" fmla="*/ 866816 h 3487140"/>
              <a:gd name="connsiteX43" fmla="*/ 997085 w 7603996"/>
              <a:gd name="connsiteY43" fmla="*/ 751038 h 3487140"/>
              <a:gd name="connsiteX44" fmla="*/ 1009021 w 7603996"/>
              <a:gd name="connsiteY44" fmla="*/ 369436 h 3487140"/>
              <a:gd name="connsiteX45" fmla="*/ 1070694 w 7603996"/>
              <a:gd name="connsiteY45" fmla="*/ 155805 h 3487140"/>
              <a:gd name="connsiteX46" fmla="*/ 1272058 w 7603996"/>
              <a:gd name="connsiteY46" fmla="*/ 156761 h 3487140"/>
              <a:gd name="connsiteX47" fmla="*/ 1524989 w 7603996"/>
              <a:gd name="connsiteY47" fmla="*/ 245175 h 3487140"/>
              <a:gd name="connsiteX48" fmla="*/ 1694081 w 7603996"/>
              <a:gd name="connsiteY48" fmla="*/ 357792 h 3487140"/>
              <a:gd name="connsiteX49" fmla="*/ 1798672 w 7603996"/>
              <a:gd name="connsiteY49" fmla="*/ 483301 h 3487140"/>
              <a:gd name="connsiteX50" fmla="*/ 1822876 w 7603996"/>
              <a:gd name="connsiteY50" fmla="*/ 600951 h 3487140"/>
              <a:gd name="connsiteX51" fmla="*/ 1795345 w 7603996"/>
              <a:gd name="connsiteY51" fmla="*/ 761726 h 3487140"/>
              <a:gd name="connsiteX52" fmla="*/ 1967266 w 7603996"/>
              <a:gd name="connsiteY52" fmla="*/ 1160004 h 3487140"/>
              <a:gd name="connsiteX53" fmla="*/ 2390246 w 7603996"/>
              <a:gd name="connsiteY53" fmla="*/ 1793622 h 3487140"/>
              <a:gd name="connsiteX54" fmla="*/ 2807737 w 7603996"/>
              <a:gd name="connsiteY54" fmla="*/ 2087475 h 3487140"/>
              <a:gd name="connsiteX55" fmla="*/ 2917360 w 7603996"/>
              <a:gd name="connsiteY55" fmla="*/ 2185620 h 3487140"/>
              <a:gd name="connsiteX56" fmla="*/ 2804411 w 7603996"/>
              <a:gd name="connsiteY56" fmla="*/ 2468120 h 3487140"/>
              <a:gd name="connsiteX57" fmla="*/ 2638312 w 7603996"/>
              <a:gd name="connsiteY57" fmla="*/ 2505548 h 3487140"/>
              <a:gd name="connsiteX58" fmla="*/ 2329862 w 7603996"/>
              <a:gd name="connsiteY58" fmla="*/ 2278109 h 3487140"/>
              <a:gd name="connsiteX59" fmla="*/ 1885173 w 7603996"/>
              <a:gd name="connsiteY59" fmla="*/ 1678800 h 3487140"/>
              <a:gd name="connsiteX60" fmla="*/ 1765320 w 7603996"/>
              <a:gd name="connsiteY60" fmla="*/ 1175432 h 3487140"/>
              <a:gd name="connsiteX61" fmla="*/ 1919774 w 7603996"/>
              <a:gd name="connsiteY61" fmla="*/ 1377420 h 3487140"/>
              <a:gd name="connsiteX62" fmla="*/ 2281414 w 7603996"/>
              <a:gd name="connsiteY62" fmla="*/ 2268710 h 3487140"/>
              <a:gd name="connsiteX63" fmla="*/ 2601216 w 7603996"/>
              <a:gd name="connsiteY63" fmla="*/ 2693105 h 3487140"/>
              <a:gd name="connsiteX64" fmla="*/ 2834644 w 7603996"/>
              <a:gd name="connsiteY64" fmla="*/ 2746586 h 3487140"/>
              <a:gd name="connsiteX65" fmla="*/ 3001865 w 7603996"/>
              <a:gd name="connsiteY65" fmla="*/ 2631432 h 3487140"/>
              <a:gd name="connsiteX66" fmla="*/ 3013052 w 7603996"/>
              <a:gd name="connsiteY66" fmla="*/ 2436680 h 3487140"/>
              <a:gd name="connsiteX67" fmla="*/ 2859222 w 7603996"/>
              <a:gd name="connsiteY67" fmla="*/ 2309258 h 3487140"/>
              <a:gd name="connsiteX68" fmla="*/ 2652036 w 7603996"/>
              <a:gd name="connsiteY68" fmla="*/ 2375007 h 3487140"/>
              <a:gd name="connsiteX69" fmla="*/ 2629537 w 7603996"/>
              <a:gd name="connsiteY69" fmla="*/ 2581402 h 3487140"/>
              <a:gd name="connsiteX70" fmla="*/ 2772222 w 7603996"/>
              <a:gd name="connsiteY70" fmla="*/ 2671064 h 3487140"/>
              <a:gd name="connsiteX71" fmla="*/ 2868787 w 7603996"/>
              <a:gd name="connsiteY71" fmla="*/ 2596831 h 3487140"/>
              <a:gd name="connsiteX72" fmla="*/ 2835601 w 7603996"/>
              <a:gd name="connsiteY72" fmla="*/ 2530750 h 3487140"/>
              <a:gd name="connsiteX73" fmla="*/ 2713543 w 7603996"/>
              <a:gd name="connsiteY73" fmla="*/ 2615379 h 3487140"/>
              <a:gd name="connsiteX74" fmla="*/ 2567864 w 7603996"/>
              <a:gd name="connsiteY74" fmla="*/ 2907028 h 3487140"/>
              <a:gd name="connsiteX75" fmla="*/ 2520039 w 7603996"/>
              <a:gd name="connsiteY75" fmla="*/ 3008333 h 3487140"/>
              <a:gd name="connsiteX76" fmla="*/ 2484191 w 7603996"/>
              <a:gd name="connsiteY76" fmla="*/ 3024053 h 3487140"/>
              <a:gd name="connsiteX77" fmla="*/ 2389165 w 7603996"/>
              <a:gd name="connsiteY77" fmla="*/ 3013989 h 3487140"/>
              <a:gd name="connsiteX78" fmla="*/ 2396068 w 7603996"/>
              <a:gd name="connsiteY78" fmla="*/ 2956724 h 3487140"/>
              <a:gd name="connsiteX79" fmla="*/ 2584831 w 7603996"/>
              <a:gd name="connsiteY79" fmla="*/ 2951068 h 3487140"/>
              <a:gd name="connsiteX80" fmla="*/ 2671041 w 7603996"/>
              <a:gd name="connsiteY80" fmla="*/ 2951068 h 3487140"/>
              <a:gd name="connsiteX81" fmla="*/ 2752219 w 7603996"/>
              <a:gd name="connsiteY81" fmla="*/ 2822066 h 3487140"/>
              <a:gd name="connsiteX82" fmla="*/ 2892533 w 7603996"/>
              <a:gd name="connsiteY82" fmla="*/ 2789337 h 3487140"/>
              <a:gd name="connsiteX83" fmla="*/ 3020246 w 7603996"/>
              <a:gd name="connsiteY83" fmla="*/ 2713815 h 3487140"/>
              <a:gd name="connsiteX84" fmla="*/ 3106456 w 7603996"/>
              <a:gd name="connsiteY84" fmla="*/ 2544556 h 3487140"/>
              <a:gd name="connsiteX85" fmla="*/ 3326035 w 7603996"/>
              <a:gd name="connsiteY85" fmla="*/ 2482883 h 3487140"/>
              <a:gd name="connsiteX86" fmla="*/ 3861009 w 7603996"/>
              <a:gd name="connsiteY86" fmla="*/ 2466831 h 3487140"/>
              <a:gd name="connsiteX87" fmla="*/ 4016751 w 7603996"/>
              <a:gd name="connsiteY87" fmla="*/ 2420918 h 3487140"/>
              <a:gd name="connsiteX88" fmla="*/ 3866664 w 7603996"/>
              <a:gd name="connsiteY88" fmla="*/ 2252907 h 3487140"/>
              <a:gd name="connsiteX89" fmla="*/ 3391285 w 7603996"/>
              <a:gd name="connsiteY89" fmla="*/ 1791709 h 3487140"/>
              <a:gd name="connsiteX90" fmla="*/ 3127166 w 7603996"/>
              <a:gd name="connsiteY90" fmla="*/ 1600118 h 3487140"/>
              <a:gd name="connsiteX91" fmla="*/ 3003196 w 7603996"/>
              <a:gd name="connsiteY91" fmla="*/ 1733529 h 3487140"/>
              <a:gd name="connsiteX92" fmla="*/ 2940898 w 7603996"/>
              <a:gd name="connsiteY92" fmla="*/ 1995900 h 3487140"/>
              <a:gd name="connsiteX93" fmla="*/ 2981778 w 7603996"/>
              <a:gd name="connsiteY93" fmla="*/ 2048133 h 3487140"/>
              <a:gd name="connsiteX94" fmla="*/ 3044699 w 7603996"/>
              <a:gd name="connsiteY94" fmla="*/ 1778817 h 3487140"/>
              <a:gd name="connsiteX95" fmla="*/ 3166466 w 7603996"/>
              <a:gd name="connsiteY95" fmla="*/ 1356918 h 3487140"/>
              <a:gd name="connsiteX96" fmla="*/ 3272803 w 7603996"/>
              <a:gd name="connsiteY96" fmla="*/ 986960 h 3487140"/>
              <a:gd name="connsiteX97" fmla="*/ 3243526 w 7603996"/>
              <a:gd name="connsiteY97" fmla="*/ 867107 h 3487140"/>
              <a:gd name="connsiteX98" fmla="*/ 3068612 w 7603996"/>
              <a:gd name="connsiteY98" fmla="*/ 840034 h 3487140"/>
              <a:gd name="connsiteX99" fmla="*/ 2924513 w 7603996"/>
              <a:gd name="connsiteY99" fmla="*/ 782769 h 3487140"/>
              <a:gd name="connsiteX100" fmla="*/ 2940857 w 7603996"/>
              <a:gd name="connsiteY100" fmla="*/ 714816 h 3487140"/>
              <a:gd name="connsiteX101" fmla="*/ 3114524 w 7603996"/>
              <a:gd name="connsiteY101" fmla="*/ 723008 h 3487140"/>
              <a:gd name="connsiteX102" fmla="*/ 3317135 w 7603996"/>
              <a:gd name="connsiteY102" fmla="*/ 729288 h 3487140"/>
              <a:gd name="connsiteX103" fmla="*/ 3483857 w 7603996"/>
              <a:gd name="connsiteY103" fmla="*/ 682087 h 3487140"/>
              <a:gd name="connsiteX104" fmla="*/ 3601506 w 7603996"/>
              <a:gd name="connsiteY104" fmla="*/ 703463 h 3487140"/>
              <a:gd name="connsiteX105" fmla="*/ 3624171 w 7603996"/>
              <a:gd name="connsiteY105" fmla="*/ 797199 h 3487140"/>
              <a:gd name="connsiteX106" fmla="*/ 3496458 w 7603996"/>
              <a:gd name="connsiteY106" fmla="*/ 890936 h 3487140"/>
              <a:gd name="connsiteX107" fmla="*/ 3326575 w 7603996"/>
              <a:gd name="connsiteY107" fmla="*/ 918009 h 3487140"/>
              <a:gd name="connsiteX108" fmla="*/ 3198862 w 7603996"/>
              <a:gd name="connsiteY108" fmla="*/ 1002306 h 3487140"/>
              <a:gd name="connsiteX109" fmla="*/ 3097972 w 7603996"/>
              <a:gd name="connsiteY109" fmla="*/ 1299902 h 3487140"/>
              <a:gd name="connsiteX110" fmla="*/ 3159022 w 7603996"/>
              <a:gd name="connsiteY110" fmla="*/ 1545930 h 3487140"/>
              <a:gd name="connsiteX111" fmla="*/ 3371697 w 7603996"/>
              <a:gd name="connsiteY111" fmla="*/ 1536490 h 3487140"/>
              <a:gd name="connsiteX112" fmla="*/ 3551228 w 7603996"/>
              <a:gd name="connsiteY112" fmla="*/ 1376048 h 3487140"/>
              <a:gd name="connsiteX113" fmla="*/ 3554389 w 7603996"/>
              <a:gd name="connsiteY113" fmla="*/ 1231949 h 3487140"/>
              <a:gd name="connsiteX114" fmla="*/ 3336348 w 7603996"/>
              <a:gd name="connsiteY114" fmla="*/ 1191693 h 3487140"/>
              <a:gd name="connsiteX115" fmla="*/ 3344832 w 7603996"/>
              <a:gd name="connsiteY115" fmla="*/ 1255238 h 3487140"/>
              <a:gd name="connsiteX116" fmla="*/ 3769850 w 7603996"/>
              <a:gd name="connsiteY116" fmla="*/ 1241722 h 3487140"/>
              <a:gd name="connsiteX117" fmla="*/ 4254670 w 7603996"/>
              <a:gd name="connsiteY117" fmla="*/ 1259646 h 3487140"/>
              <a:gd name="connsiteX118" fmla="*/ 4484022 w 7603996"/>
              <a:gd name="connsiteY118" fmla="*/ 1236981 h 3487140"/>
              <a:gd name="connsiteX119" fmla="*/ 4465766 w 7603996"/>
              <a:gd name="connsiteY119" fmla="*/ 1185995 h 3487140"/>
              <a:gd name="connsiteX120" fmla="*/ 4105248 w 7603996"/>
              <a:gd name="connsiteY120" fmla="*/ 1177512 h 3487140"/>
              <a:gd name="connsiteX121" fmla="*/ 3734668 w 7603996"/>
              <a:gd name="connsiteY121" fmla="*/ 1331342 h 3487140"/>
              <a:gd name="connsiteX122" fmla="*/ 3388914 w 7603996"/>
              <a:gd name="connsiteY122" fmla="*/ 1604110 h 3487140"/>
              <a:gd name="connsiteX123" fmla="*/ 3156111 w 7603996"/>
              <a:gd name="connsiteY123" fmla="*/ 1921252 h 3487140"/>
              <a:gd name="connsiteX124" fmla="*/ 3060461 w 7603996"/>
              <a:gd name="connsiteY124" fmla="*/ 2419255 h 3487140"/>
              <a:gd name="connsiteX125" fmla="*/ 3290769 w 7603996"/>
              <a:gd name="connsiteY125" fmla="*/ 3048465 h 3487140"/>
              <a:gd name="connsiteX126" fmla="*/ 3868994 w 7603996"/>
              <a:gd name="connsiteY126" fmla="*/ 3394510 h 3487140"/>
              <a:gd name="connsiteX127" fmla="*/ 4507643 w 7603996"/>
              <a:gd name="connsiteY127" fmla="*/ 3330632 h 3487140"/>
              <a:gd name="connsiteX128" fmla="*/ 5002818 w 7603996"/>
              <a:gd name="connsiteY128" fmla="*/ 2841404 h 3487140"/>
              <a:gd name="connsiteX129" fmla="*/ 5036171 w 7603996"/>
              <a:gd name="connsiteY129" fmla="*/ 2052999 h 3487140"/>
              <a:gd name="connsiteX130" fmla="*/ 4605164 w 7603996"/>
              <a:gd name="connsiteY130" fmla="*/ 1482011 h 3487140"/>
              <a:gd name="connsiteX131" fmla="*/ 4138310 w 7603996"/>
              <a:gd name="connsiteY131" fmla="*/ 1352717 h 3487140"/>
              <a:gd name="connsiteX132" fmla="*/ 3977868 w 7603996"/>
              <a:gd name="connsiteY132" fmla="*/ 1466624 h 3487140"/>
              <a:gd name="connsiteX133" fmla="*/ 3999909 w 7603996"/>
              <a:gd name="connsiteY133" fmla="*/ 2001140 h 3487140"/>
              <a:gd name="connsiteX134" fmla="*/ 4033885 w 7603996"/>
              <a:gd name="connsiteY134" fmla="*/ 2313208 h 3487140"/>
              <a:gd name="connsiteX135" fmla="*/ 4125585 w 7603996"/>
              <a:gd name="connsiteY135" fmla="*/ 2399085 h 3487140"/>
              <a:gd name="connsiteX136" fmla="*/ 4230051 w 7603996"/>
              <a:gd name="connsiteY136" fmla="*/ 2362905 h 3487140"/>
              <a:gd name="connsiteX137" fmla="*/ 4194660 w 7603996"/>
              <a:gd name="connsiteY137" fmla="*/ 2271372 h 3487140"/>
              <a:gd name="connsiteX138" fmla="*/ 4097056 w 7603996"/>
              <a:gd name="connsiteY138" fmla="*/ 2303394 h 3487140"/>
              <a:gd name="connsiteX139" fmla="*/ 4080670 w 7603996"/>
              <a:gd name="connsiteY139" fmla="*/ 2437262 h 3487140"/>
              <a:gd name="connsiteX140" fmla="*/ 4079589 w 7603996"/>
              <a:gd name="connsiteY140" fmla="*/ 2519521 h 3487140"/>
              <a:gd name="connsiteX141" fmla="*/ 3900475 w 7603996"/>
              <a:gd name="connsiteY141" fmla="*/ 2539400 h 3487140"/>
              <a:gd name="connsiteX142" fmla="*/ 3490220 w 7603996"/>
              <a:gd name="connsiteY142" fmla="*/ 2545679 h 3487140"/>
              <a:gd name="connsiteX143" fmla="*/ 3249848 w 7603996"/>
              <a:gd name="connsiteY143" fmla="*/ 2602944 h 3487140"/>
              <a:gd name="connsiteX144" fmla="*/ 3240241 w 7603996"/>
              <a:gd name="connsiteY144" fmla="*/ 2790460 h 3487140"/>
              <a:gd name="connsiteX145" fmla="*/ 3433578 w 7603996"/>
              <a:gd name="connsiteY145" fmla="*/ 3133385 h 3487140"/>
              <a:gd name="connsiteX146" fmla="*/ 3925468 w 7603996"/>
              <a:gd name="connsiteY146" fmla="*/ 3465290 h 3487140"/>
              <a:gd name="connsiteX147" fmla="*/ 4666214 w 7603996"/>
              <a:gd name="connsiteY147" fmla="*/ 3390434 h 3487140"/>
              <a:gd name="connsiteX148" fmla="*/ 5106037 w 7603996"/>
              <a:gd name="connsiteY148" fmla="*/ 3017940 h 3487140"/>
              <a:gd name="connsiteX149" fmla="*/ 5420018 w 7603996"/>
              <a:gd name="connsiteY149" fmla="*/ 2655510 h 3487140"/>
              <a:gd name="connsiteX150" fmla="*/ 5792512 w 7603996"/>
              <a:gd name="connsiteY150" fmla="*/ 3163577 h 3487140"/>
              <a:gd name="connsiteX151" fmla="*/ 6016499 w 7603996"/>
              <a:gd name="connsiteY151" fmla="*/ 3255443 h 3487140"/>
              <a:gd name="connsiteX152" fmla="*/ 6094516 w 7603996"/>
              <a:gd name="connsiteY152" fmla="*/ 2786675 h 3487140"/>
              <a:gd name="connsiteX153" fmla="*/ 6404089 w 7603996"/>
              <a:gd name="connsiteY153" fmla="*/ 2869724 h 3487140"/>
              <a:gd name="connsiteX154" fmla="*/ 6642881 w 7603996"/>
              <a:gd name="connsiteY154" fmla="*/ 3245046 h 3487140"/>
              <a:gd name="connsiteX155" fmla="*/ 7015374 w 7603996"/>
              <a:gd name="connsiteY155" fmla="*/ 3329676 h 3487140"/>
              <a:gd name="connsiteX156" fmla="*/ 7603996 w 7603996"/>
              <a:gd name="connsiteY156" fmla="*/ 3217682 h 3487140"/>
              <a:gd name="connsiteX0" fmla="*/ 777215 w 7603996"/>
              <a:gd name="connsiteY0" fmla="*/ 3295741 h 3487140"/>
              <a:gd name="connsiteX1" fmla="*/ 526113 w 7603996"/>
              <a:gd name="connsiteY1" fmla="*/ 3112384 h 3487140"/>
              <a:gd name="connsiteX2" fmla="*/ 219950 w 7603996"/>
              <a:gd name="connsiteY2" fmla="*/ 2750287 h 3487140"/>
              <a:gd name="connsiteX3" fmla="*/ 128418 w 7603996"/>
              <a:gd name="connsiteY3" fmla="*/ 2305432 h 3487140"/>
              <a:gd name="connsiteX4" fmla="*/ 256006 w 7603996"/>
              <a:gd name="connsiteY4" fmla="*/ 1919713 h 3487140"/>
              <a:gd name="connsiteX5" fmla="*/ 580218 w 7603996"/>
              <a:gd name="connsiteY5" fmla="*/ 1637837 h 3487140"/>
              <a:gd name="connsiteX6" fmla="*/ 1073522 w 7603996"/>
              <a:gd name="connsiteY6" fmla="*/ 1545972 h 3487140"/>
              <a:gd name="connsiteX7" fmla="*/ 1308197 w 7603996"/>
              <a:gd name="connsiteY7" fmla="*/ 1517651 h 3487140"/>
              <a:gd name="connsiteX8" fmla="*/ 1292934 w 7603996"/>
              <a:gd name="connsiteY8" fmla="*/ 1460718 h 3487140"/>
              <a:gd name="connsiteX9" fmla="*/ 1016880 w 7603996"/>
              <a:gd name="connsiteY9" fmla="*/ 1416969 h 3487140"/>
              <a:gd name="connsiteX10" fmla="*/ 497460 w 7603996"/>
              <a:gd name="connsiteY10" fmla="*/ 1517318 h 3487140"/>
              <a:gd name="connsiteX11" fmla="*/ 88162 w 7603996"/>
              <a:gd name="connsiteY11" fmla="*/ 1960593 h 3487140"/>
              <a:gd name="connsiteX12" fmla="*/ 28692 w 7603996"/>
              <a:gd name="connsiteY12" fmla="*/ 2569342 h 3487140"/>
              <a:gd name="connsiteX13" fmla="*/ 442399 w 7603996"/>
              <a:gd name="connsiteY13" fmla="*/ 3165532 h 3487140"/>
              <a:gd name="connsiteX14" fmla="*/ 1232384 w 7603996"/>
              <a:gd name="connsiteY14" fmla="*/ 3283181 h 3487140"/>
              <a:gd name="connsiteX15" fmla="*/ 1835020 w 7603996"/>
              <a:gd name="connsiteY15" fmla="*/ 2757481 h 3487140"/>
              <a:gd name="connsiteX16" fmla="*/ 1824789 w 7603996"/>
              <a:gd name="connsiteY16" fmla="*/ 1980430 h 3487140"/>
              <a:gd name="connsiteX17" fmla="*/ 1494755 w 7603996"/>
              <a:gd name="connsiteY17" fmla="*/ 1589139 h 3487140"/>
              <a:gd name="connsiteX18" fmla="*/ 1305701 w 7603996"/>
              <a:gd name="connsiteY18" fmla="*/ 1660710 h 3487140"/>
              <a:gd name="connsiteX19" fmla="*/ 1197284 w 7603996"/>
              <a:gd name="connsiteY19" fmla="*/ 2116627 h 3487140"/>
              <a:gd name="connsiteX20" fmla="*/ 973921 w 7603996"/>
              <a:gd name="connsiteY20" fmla="*/ 2374258 h 3487140"/>
              <a:gd name="connsiteX21" fmla="*/ 918985 w 7603996"/>
              <a:gd name="connsiteY21" fmla="*/ 2276986 h 3487140"/>
              <a:gd name="connsiteX22" fmla="*/ 1298257 w 7603996"/>
              <a:gd name="connsiteY22" fmla="*/ 2021601 h 3487140"/>
              <a:gd name="connsiteX23" fmla="*/ 1558176 w 7603996"/>
              <a:gd name="connsiteY23" fmla="*/ 1234153 h 3487140"/>
              <a:gd name="connsiteX24" fmla="*/ 1788276 w 7603996"/>
              <a:gd name="connsiteY24" fmla="*/ 725296 h 3487140"/>
              <a:gd name="connsiteX25" fmla="*/ 1896859 w 7603996"/>
              <a:gd name="connsiteY25" fmla="*/ 539984 h 3487140"/>
              <a:gd name="connsiteX26" fmla="*/ 1865711 w 7603996"/>
              <a:gd name="connsiteY26" fmla="*/ 435851 h 3487140"/>
              <a:gd name="connsiteX27" fmla="*/ 1759373 w 7603996"/>
              <a:gd name="connsiteY27" fmla="*/ 350265 h 3487140"/>
              <a:gd name="connsiteX28" fmla="*/ 1714085 w 7603996"/>
              <a:gd name="connsiteY28" fmla="*/ 209327 h 3487140"/>
              <a:gd name="connsiteX29" fmla="*/ 1758915 w 7603996"/>
              <a:gd name="connsiteY29" fmla="*/ 82237 h 3487140"/>
              <a:gd name="connsiteX30" fmla="*/ 1939195 w 7603996"/>
              <a:gd name="connsiteY30" fmla="*/ 6716 h 3487140"/>
              <a:gd name="connsiteX31" fmla="*/ 2207888 w 7603996"/>
              <a:gd name="connsiteY31" fmla="*/ 10167 h 3487140"/>
              <a:gd name="connsiteX32" fmla="*/ 2291561 w 7603996"/>
              <a:gd name="connsiteY32" fmla="*/ 49800 h 3487140"/>
              <a:gd name="connsiteX33" fmla="*/ 2244526 w 7603996"/>
              <a:gd name="connsiteY33" fmla="*/ 86812 h 3487140"/>
              <a:gd name="connsiteX34" fmla="*/ 2008603 w 7603996"/>
              <a:gd name="connsiteY34" fmla="*/ 91886 h 3487140"/>
              <a:gd name="connsiteX35" fmla="*/ 1765070 w 7603996"/>
              <a:gd name="connsiteY35" fmla="*/ 75833 h 3487140"/>
              <a:gd name="connsiteX36" fmla="*/ 1657319 w 7603996"/>
              <a:gd name="connsiteY36" fmla="*/ 176931 h 3487140"/>
              <a:gd name="connsiteX37" fmla="*/ 1672581 w 7603996"/>
              <a:gd name="connsiteY37" fmla="*/ 370393 h 3487140"/>
              <a:gd name="connsiteX38" fmla="*/ 1617354 w 7603996"/>
              <a:gd name="connsiteY38" fmla="*/ 589348 h 3487140"/>
              <a:gd name="connsiteX39" fmla="*/ 1460820 w 7603996"/>
              <a:gd name="connsiteY39" fmla="*/ 903953 h 3487140"/>
              <a:gd name="connsiteX40" fmla="*/ 1250349 w 7603996"/>
              <a:gd name="connsiteY40" fmla="*/ 922501 h 3487140"/>
              <a:gd name="connsiteX41" fmla="*/ 1055930 w 7603996"/>
              <a:gd name="connsiteY41" fmla="*/ 866816 h 3487140"/>
              <a:gd name="connsiteX42" fmla="*/ 997085 w 7603996"/>
              <a:gd name="connsiteY42" fmla="*/ 751038 h 3487140"/>
              <a:gd name="connsiteX43" fmla="*/ 1009021 w 7603996"/>
              <a:gd name="connsiteY43" fmla="*/ 369436 h 3487140"/>
              <a:gd name="connsiteX44" fmla="*/ 1070694 w 7603996"/>
              <a:gd name="connsiteY44" fmla="*/ 155805 h 3487140"/>
              <a:gd name="connsiteX45" fmla="*/ 1272058 w 7603996"/>
              <a:gd name="connsiteY45" fmla="*/ 156761 h 3487140"/>
              <a:gd name="connsiteX46" fmla="*/ 1524989 w 7603996"/>
              <a:gd name="connsiteY46" fmla="*/ 245175 h 3487140"/>
              <a:gd name="connsiteX47" fmla="*/ 1694081 w 7603996"/>
              <a:gd name="connsiteY47" fmla="*/ 357792 h 3487140"/>
              <a:gd name="connsiteX48" fmla="*/ 1798672 w 7603996"/>
              <a:gd name="connsiteY48" fmla="*/ 483301 h 3487140"/>
              <a:gd name="connsiteX49" fmla="*/ 1822876 w 7603996"/>
              <a:gd name="connsiteY49" fmla="*/ 600951 h 3487140"/>
              <a:gd name="connsiteX50" fmla="*/ 1795345 w 7603996"/>
              <a:gd name="connsiteY50" fmla="*/ 761726 h 3487140"/>
              <a:gd name="connsiteX51" fmla="*/ 1967266 w 7603996"/>
              <a:gd name="connsiteY51" fmla="*/ 1160004 h 3487140"/>
              <a:gd name="connsiteX52" fmla="*/ 2390246 w 7603996"/>
              <a:gd name="connsiteY52" fmla="*/ 1793622 h 3487140"/>
              <a:gd name="connsiteX53" fmla="*/ 2807737 w 7603996"/>
              <a:gd name="connsiteY53" fmla="*/ 2087475 h 3487140"/>
              <a:gd name="connsiteX54" fmla="*/ 2917360 w 7603996"/>
              <a:gd name="connsiteY54" fmla="*/ 2185620 h 3487140"/>
              <a:gd name="connsiteX55" fmla="*/ 2804411 w 7603996"/>
              <a:gd name="connsiteY55" fmla="*/ 2468120 h 3487140"/>
              <a:gd name="connsiteX56" fmla="*/ 2638312 w 7603996"/>
              <a:gd name="connsiteY56" fmla="*/ 2505548 h 3487140"/>
              <a:gd name="connsiteX57" fmla="*/ 2329862 w 7603996"/>
              <a:gd name="connsiteY57" fmla="*/ 2278109 h 3487140"/>
              <a:gd name="connsiteX58" fmla="*/ 1885173 w 7603996"/>
              <a:gd name="connsiteY58" fmla="*/ 1678800 h 3487140"/>
              <a:gd name="connsiteX59" fmla="*/ 1765320 w 7603996"/>
              <a:gd name="connsiteY59" fmla="*/ 1175432 h 3487140"/>
              <a:gd name="connsiteX60" fmla="*/ 1919774 w 7603996"/>
              <a:gd name="connsiteY60" fmla="*/ 1377420 h 3487140"/>
              <a:gd name="connsiteX61" fmla="*/ 2281414 w 7603996"/>
              <a:gd name="connsiteY61" fmla="*/ 2268710 h 3487140"/>
              <a:gd name="connsiteX62" fmla="*/ 2601216 w 7603996"/>
              <a:gd name="connsiteY62" fmla="*/ 2693105 h 3487140"/>
              <a:gd name="connsiteX63" fmla="*/ 2834644 w 7603996"/>
              <a:gd name="connsiteY63" fmla="*/ 2746586 h 3487140"/>
              <a:gd name="connsiteX64" fmla="*/ 3001865 w 7603996"/>
              <a:gd name="connsiteY64" fmla="*/ 2631432 h 3487140"/>
              <a:gd name="connsiteX65" fmla="*/ 3013052 w 7603996"/>
              <a:gd name="connsiteY65" fmla="*/ 2436680 h 3487140"/>
              <a:gd name="connsiteX66" fmla="*/ 2859222 w 7603996"/>
              <a:gd name="connsiteY66" fmla="*/ 2309258 h 3487140"/>
              <a:gd name="connsiteX67" fmla="*/ 2652036 w 7603996"/>
              <a:gd name="connsiteY67" fmla="*/ 2375007 h 3487140"/>
              <a:gd name="connsiteX68" fmla="*/ 2629537 w 7603996"/>
              <a:gd name="connsiteY68" fmla="*/ 2581402 h 3487140"/>
              <a:gd name="connsiteX69" fmla="*/ 2772222 w 7603996"/>
              <a:gd name="connsiteY69" fmla="*/ 2671064 h 3487140"/>
              <a:gd name="connsiteX70" fmla="*/ 2868787 w 7603996"/>
              <a:gd name="connsiteY70" fmla="*/ 2596831 h 3487140"/>
              <a:gd name="connsiteX71" fmla="*/ 2835601 w 7603996"/>
              <a:gd name="connsiteY71" fmla="*/ 2530750 h 3487140"/>
              <a:gd name="connsiteX72" fmla="*/ 2713543 w 7603996"/>
              <a:gd name="connsiteY72" fmla="*/ 2615379 h 3487140"/>
              <a:gd name="connsiteX73" fmla="*/ 2567864 w 7603996"/>
              <a:gd name="connsiteY73" fmla="*/ 2907028 h 3487140"/>
              <a:gd name="connsiteX74" fmla="*/ 2520039 w 7603996"/>
              <a:gd name="connsiteY74" fmla="*/ 3008333 h 3487140"/>
              <a:gd name="connsiteX75" fmla="*/ 2484191 w 7603996"/>
              <a:gd name="connsiteY75" fmla="*/ 3024053 h 3487140"/>
              <a:gd name="connsiteX76" fmla="*/ 2389165 w 7603996"/>
              <a:gd name="connsiteY76" fmla="*/ 3013989 h 3487140"/>
              <a:gd name="connsiteX77" fmla="*/ 2396068 w 7603996"/>
              <a:gd name="connsiteY77" fmla="*/ 2956724 h 3487140"/>
              <a:gd name="connsiteX78" fmla="*/ 2584831 w 7603996"/>
              <a:gd name="connsiteY78" fmla="*/ 2951068 h 3487140"/>
              <a:gd name="connsiteX79" fmla="*/ 2671041 w 7603996"/>
              <a:gd name="connsiteY79" fmla="*/ 2951068 h 3487140"/>
              <a:gd name="connsiteX80" fmla="*/ 2752219 w 7603996"/>
              <a:gd name="connsiteY80" fmla="*/ 2822066 h 3487140"/>
              <a:gd name="connsiteX81" fmla="*/ 2892533 w 7603996"/>
              <a:gd name="connsiteY81" fmla="*/ 2789337 h 3487140"/>
              <a:gd name="connsiteX82" fmla="*/ 3020246 w 7603996"/>
              <a:gd name="connsiteY82" fmla="*/ 2713815 h 3487140"/>
              <a:gd name="connsiteX83" fmla="*/ 3106456 w 7603996"/>
              <a:gd name="connsiteY83" fmla="*/ 2544556 h 3487140"/>
              <a:gd name="connsiteX84" fmla="*/ 3326035 w 7603996"/>
              <a:gd name="connsiteY84" fmla="*/ 2482883 h 3487140"/>
              <a:gd name="connsiteX85" fmla="*/ 3861009 w 7603996"/>
              <a:gd name="connsiteY85" fmla="*/ 2466831 h 3487140"/>
              <a:gd name="connsiteX86" fmla="*/ 4016751 w 7603996"/>
              <a:gd name="connsiteY86" fmla="*/ 2420918 h 3487140"/>
              <a:gd name="connsiteX87" fmla="*/ 3866664 w 7603996"/>
              <a:gd name="connsiteY87" fmla="*/ 2252907 h 3487140"/>
              <a:gd name="connsiteX88" fmla="*/ 3391285 w 7603996"/>
              <a:gd name="connsiteY88" fmla="*/ 1791709 h 3487140"/>
              <a:gd name="connsiteX89" fmla="*/ 3127166 w 7603996"/>
              <a:gd name="connsiteY89" fmla="*/ 1600118 h 3487140"/>
              <a:gd name="connsiteX90" fmla="*/ 3003196 w 7603996"/>
              <a:gd name="connsiteY90" fmla="*/ 1733529 h 3487140"/>
              <a:gd name="connsiteX91" fmla="*/ 2940898 w 7603996"/>
              <a:gd name="connsiteY91" fmla="*/ 1995900 h 3487140"/>
              <a:gd name="connsiteX92" fmla="*/ 2981778 w 7603996"/>
              <a:gd name="connsiteY92" fmla="*/ 2048133 h 3487140"/>
              <a:gd name="connsiteX93" fmla="*/ 3044699 w 7603996"/>
              <a:gd name="connsiteY93" fmla="*/ 1778817 h 3487140"/>
              <a:gd name="connsiteX94" fmla="*/ 3166466 w 7603996"/>
              <a:gd name="connsiteY94" fmla="*/ 1356918 h 3487140"/>
              <a:gd name="connsiteX95" fmla="*/ 3272803 w 7603996"/>
              <a:gd name="connsiteY95" fmla="*/ 986960 h 3487140"/>
              <a:gd name="connsiteX96" fmla="*/ 3243526 w 7603996"/>
              <a:gd name="connsiteY96" fmla="*/ 867107 h 3487140"/>
              <a:gd name="connsiteX97" fmla="*/ 3068612 w 7603996"/>
              <a:gd name="connsiteY97" fmla="*/ 840034 h 3487140"/>
              <a:gd name="connsiteX98" fmla="*/ 2924513 w 7603996"/>
              <a:gd name="connsiteY98" fmla="*/ 782769 h 3487140"/>
              <a:gd name="connsiteX99" fmla="*/ 2940857 w 7603996"/>
              <a:gd name="connsiteY99" fmla="*/ 714816 h 3487140"/>
              <a:gd name="connsiteX100" fmla="*/ 3114524 w 7603996"/>
              <a:gd name="connsiteY100" fmla="*/ 723008 h 3487140"/>
              <a:gd name="connsiteX101" fmla="*/ 3317135 w 7603996"/>
              <a:gd name="connsiteY101" fmla="*/ 729288 h 3487140"/>
              <a:gd name="connsiteX102" fmla="*/ 3483857 w 7603996"/>
              <a:gd name="connsiteY102" fmla="*/ 682087 h 3487140"/>
              <a:gd name="connsiteX103" fmla="*/ 3601506 w 7603996"/>
              <a:gd name="connsiteY103" fmla="*/ 703463 h 3487140"/>
              <a:gd name="connsiteX104" fmla="*/ 3624171 w 7603996"/>
              <a:gd name="connsiteY104" fmla="*/ 797199 h 3487140"/>
              <a:gd name="connsiteX105" fmla="*/ 3496458 w 7603996"/>
              <a:gd name="connsiteY105" fmla="*/ 890936 h 3487140"/>
              <a:gd name="connsiteX106" fmla="*/ 3326575 w 7603996"/>
              <a:gd name="connsiteY106" fmla="*/ 918009 h 3487140"/>
              <a:gd name="connsiteX107" fmla="*/ 3198862 w 7603996"/>
              <a:gd name="connsiteY107" fmla="*/ 1002306 h 3487140"/>
              <a:gd name="connsiteX108" fmla="*/ 3097972 w 7603996"/>
              <a:gd name="connsiteY108" fmla="*/ 1299902 h 3487140"/>
              <a:gd name="connsiteX109" fmla="*/ 3159022 w 7603996"/>
              <a:gd name="connsiteY109" fmla="*/ 1545930 h 3487140"/>
              <a:gd name="connsiteX110" fmla="*/ 3371697 w 7603996"/>
              <a:gd name="connsiteY110" fmla="*/ 1536490 h 3487140"/>
              <a:gd name="connsiteX111" fmla="*/ 3551228 w 7603996"/>
              <a:gd name="connsiteY111" fmla="*/ 1376048 h 3487140"/>
              <a:gd name="connsiteX112" fmla="*/ 3554389 w 7603996"/>
              <a:gd name="connsiteY112" fmla="*/ 1231949 h 3487140"/>
              <a:gd name="connsiteX113" fmla="*/ 3336348 w 7603996"/>
              <a:gd name="connsiteY113" fmla="*/ 1191693 h 3487140"/>
              <a:gd name="connsiteX114" fmla="*/ 3344832 w 7603996"/>
              <a:gd name="connsiteY114" fmla="*/ 1255238 h 3487140"/>
              <a:gd name="connsiteX115" fmla="*/ 3769850 w 7603996"/>
              <a:gd name="connsiteY115" fmla="*/ 1241722 h 3487140"/>
              <a:gd name="connsiteX116" fmla="*/ 4254670 w 7603996"/>
              <a:gd name="connsiteY116" fmla="*/ 1259646 h 3487140"/>
              <a:gd name="connsiteX117" fmla="*/ 4484022 w 7603996"/>
              <a:gd name="connsiteY117" fmla="*/ 1236981 h 3487140"/>
              <a:gd name="connsiteX118" fmla="*/ 4465766 w 7603996"/>
              <a:gd name="connsiteY118" fmla="*/ 1185995 h 3487140"/>
              <a:gd name="connsiteX119" fmla="*/ 4105248 w 7603996"/>
              <a:gd name="connsiteY119" fmla="*/ 1177512 h 3487140"/>
              <a:gd name="connsiteX120" fmla="*/ 3734668 w 7603996"/>
              <a:gd name="connsiteY120" fmla="*/ 1331342 h 3487140"/>
              <a:gd name="connsiteX121" fmla="*/ 3388914 w 7603996"/>
              <a:gd name="connsiteY121" fmla="*/ 1604110 h 3487140"/>
              <a:gd name="connsiteX122" fmla="*/ 3156111 w 7603996"/>
              <a:gd name="connsiteY122" fmla="*/ 1921252 h 3487140"/>
              <a:gd name="connsiteX123" fmla="*/ 3060461 w 7603996"/>
              <a:gd name="connsiteY123" fmla="*/ 2419255 h 3487140"/>
              <a:gd name="connsiteX124" fmla="*/ 3290769 w 7603996"/>
              <a:gd name="connsiteY124" fmla="*/ 3048465 h 3487140"/>
              <a:gd name="connsiteX125" fmla="*/ 3868994 w 7603996"/>
              <a:gd name="connsiteY125" fmla="*/ 3394510 h 3487140"/>
              <a:gd name="connsiteX126" fmla="*/ 4507643 w 7603996"/>
              <a:gd name="connsiteY126" fmla="*/ 3330632 h 3487140"/>
              <a:gd name="connsiteX127" fmla="*/ 5002818 w 7603996"/>
              <a:gd name="connsiteY127" fmla="*/ 2841404 h 3487140"/>
              <a:gd name="connsiteX128" fmla="*/ 5036171 w 7603996"/>
              <a:gd name="connsiteY128" fmla="*/ 2052999 h 3487140"/>
              <a:gd name="connsiteX129" fmla="*/ 4605164 w 7603996"/>
              <a:gd name="connsiteY129" fmla="*/ 1482011 h 3487140"/>
              <a:gd name="connsiteX130" fmla="*/ 4138310 w 7603996"/>
              <a:gd name="connsiteY130" fmla="*/ 1352717 h 3487140"/>
              <a:gd name="connsiteX131" fmla="*/ 3977868 w 7603996"/>
              <a:gd name="connsiteY131" fmla="*/ 1466624 h 3487140"/>
              <a:gd name="connsiteX132" fmla="*/ 3999909 w 7603996"/>
              <a:gd name="connsiteY132" fmla="*/ 2001140 h 3487140"/>
              <a:gd name="connsiteX133" fmla="*/ 4033885 w 7603996"/>
              <a:gd name="connsiteY133" fmla="*/ 2313208 h 3487140"/>
              <a:gd name="connsiteX134" fmla="*/ 4125585 w 7603996"/>
              <a:gd name="connsiteY134" fmla="*/ 2399085 h 3487140"/>
              <a:gd name="connsiteX135" fmla="*/ 4230051 w 7603996"/>
              <a:gd name="connsiteY135" fmla="*/ 2362905 h 3487140"/>
              <a:gd name="connsiteX136" fmla="*/ 4194660 w 7603996"/>
              <a:gd name="connsiteY136" fmla="*/ 2271372 h 3487140"/>
              <a:gd name="connsiteX137" fmla="*/ 4097056 w 7603996"/>
              <a:gd name="connsiteY137" fmla="*/ 2303394 h 3487140"/>
              <a:gd name="connsiteX138" fmla="*/ 4080670 w 7603996"/>
              <a:gd name="connsiteY138" fmla="*/ 2437262 h 3487140"/>
              <a:gd name="connsiteX139" fmla="*/ 4079589 w 7603996"/>
              <a:gd name="connsiteY139" fmla="*/ 2519521 h 3487140"/>
              <a:gd name="connsiteX140" fmla="*/ 3900475 w 7603996"/>
              <a:gd name="connsiteY140" fmla="*/ 2539400 h 3487140"/>
              <a:gd name="connsiteX141" fmla="*/ 3490220 w 7603996"/>
              <a:gd name="connsiteY141" fmla="*/ 2545679 h 3487140"/>
              <a:gd name="connsiteX142" fmla="*/ 3249848 w 7603996"/>
              <a:gd name="connsiteY142" fmla="*/ 2602944 h 3487140"/>
              <a:gd name="connsiteX143" fmla="*/ 3240241 w 7603996"/>
              <a:gd name="connsiteY143" fmla="*/ 2790460 h 3487140"/>
              <a:gd name="connsiteX144" fmla="*/ 3433578 w 7603996"/>
              <a:gd name="connsiteY144" fmla="*/ 3133385 h 3487140"/>
              <a:gd name="connsiteX145" fmla="*/ 3925468 w 7603996"/>
              <a:gd name="connsiteY145" fmla="*/ 3465290 h 3487140"/>
              <a:gd name="connsiteX146" fmla="*/ 4666214 w 7603996"/>
              <a:gd name="connsiteY146" fmla="*/ 3390434 h 3487140"/>
              <a:gd name="connsiteX147" fmla="*/ 5106037 w 7603996"/>
              <a:gd name="connsiteY147" fmla="*/ 3017940 h 3487140"/>
              <a:gd name="connsiteX148" fmla="*/ 5420018 w 7603996"/>
              <a:gd name="connsiteY148" fmla="*/ 2655510 h 3487140"/>
              <a:gd name="connsiteX149" fmla="*/ 5792512 w 7603996"/>
              <a:gd name="connsiteY149" fmla="*/ 3163577 h 3487140"/>
              <a:gd name="connsiteX150" fmla="*/ 6016499 w 7603996"/>
              <a:gd name="connsiteY150" fmla="*/ 3255443 h 3487140"/>
              <a:gd name="connsiteX151" fmla="*/ 6094516 w 7603996"/>
              <a:gd name="connsiteY151" fmla="*/ 2786675 h 3487140"/>
              <a:gd name="connsiteX152" fmla="*/ 6404089 w 7603996"/>
              <a:gd name="connsiteY152" fmla="*/ 2869724 h 3487140"/>
              <a:gd name="connsiteX153" fmla="*/ 6642881 w 7603996"/>
              <a:gd name="connsiteY153" fmla="*/ 3245046 h 3487140"/>
              <a:gd name="connsiteX154" fmla="*/ 7015374 w 7603996"/>
              <a:gd name="connsiteY154" fmla="*/ 3329676 h 3487140"/>
              <a:gd name="connsiteX155" fmla="*/ 7603996 w 7603996"/>
              <a:gd name="connsiteY155" fmla="*/ 3217682 h 3487140"/>
              <a:gd name="connsiteX0" fmla="*/ 777215 w 7015374"/>
              <a:gd name="connsiteY0" fmla="*/ 3295741 h 3487140"/>
              <a:gd name="connsiteX1" fmla="*/ 526113 w 7015374"/>
              <a:gd name="connsiteY1" fmla="*/ 3112384 h 3487140"/>
              <a:gd name="connsiteX2" fmla="*/ 219950 w 7015374"/>
              <a:gd name="connsiteY2" fmla="*/ 2750287 h 3487140"/>
              <a:gd name="connsiteX3" fmla="*/ 128418 w 7015374"/>
              <a:gd name="connsiteY3" fmla="*/ 2305432 h 3487140"/>
              <a:gd name="connsiteX4" fmla="*/ 256006 w 7015374"/>
              <a:gd name="connsiteY4" fmla="*/ 1919713 h 3487140"/>
              <a:gd name="connsiteX5" fmla="*/ 580218 w 7015374"/>
              <a:gd name="connsiteY5" fmla="*/ 1637837 h 3487140"/>
              <a:gd name="connsiteX6" fmla="*/ 1073522 w 7015374"/>
              <a:gd name="connsiteY6" fmla="*/ 1545972 h 3487140"/>
              <a:gd name="connsiteX7" fmla="*/ 1308197 w 7015374"/>
              <a:gd name="connsiteY7" fmla="*/ 1517651 h 3487140"/>
              <a:gd name="connsiteX8" fmla="*/ 1292934 w 7015374"/>
              <a:gd name="connsiteY8" fmla="*/ 1460718 h 3487140"/>
              <a:gd name="connsiteX9" fmla="*/ 1016880 w 7015374"/>
              <a:gd name="connsiteY9" fmla="*/ 1416969 h 3487140"/>
              <a:gd name="connsiteX10" fmla="*/ 497460 w 7015374"/>
              <a:gd name="connsiteY10" fmla="*/ 1517318 h 3487140"/>
              <a:gd name="connsiteX11" fmla="*/ 88162 w 7015374"/>
              <a:gd name="connsiteY11" fmla="*/ 1960593 h 3487140"/>
              <a:gd name="connsiteX12" fmla="*/ 28692 w 7015374"/>
              <a:gd name="connsiteY12" fmla="*/ 2569342 h 3487140"/>
              <a:gd name="connsiteX13" fmla="*/ 442399 w 7015374"/>
              <a:gd name="connsiteY13" fmla="*/ 3165532 h 3487140"/>
              <a:gd name="connsiteX14" fmla="*/ 1232384 w 7015374"/>
              <a:gd name="connsiteY14" fmla="*/ 3283181 h 3487140"/>
              <a:gd name="connsiteX15" fmla="*/ 1835020 w 7015374"/>
              <a:gd name="connsiteY15" fmla="*/ 2757481 h 3487140"/>
              <a:gd name="connsiteX16" fmla="*/ 1824789 w 7015374"/>
              <a:gd name="connsiteY16" fmla="*/ 1980430 h 3487140"/>
              <a:gd name="connsiteX17" fmla="*/ 1494755 w 7015374"/>
              <a:gd name="connsiteY17" fmla="*/ 1589139 h 3487140"/>
              <a:gd name="connsiteX18" fmla="*/ 1305701 w 7015374"/>
              <a:gd name="connsiteY18" fmla="*/ 1660710 h 3487140"/>
              <a:gd name="connsiteX19" fmla="*/ 1197284 w 7015374"/>
              <a:gd name="connsiteY19" fmla="*/ 2116627 h 3487140"/>
              <a:gd name="connsiteX20" fmla="*/ 973921 w 7015374"/>
              <a:gd name="connsiteY20" fmla="*/ 2374258 h 3487140"/>
              <a:gd name="connsiteX21" fmla="*/ 918985 w 7015374"/>
              <a:gd name="connsiteY21" fmla="*/ 2276986 h 3487140"/>
              <a:gd name="connsiteX22" fmla="*/ 1298257 w 7015374"/>
              <a:gd name="connsiteY22" fmla="*/ 2021601 h 3487140"/>
              <a:gd name="connsiteX23" fmla="*/ 1558176 w 7015374"/>
              <a:gd name="connsiteY23" fmla="*/ 1234153 h 3487140"/>
              <a:gd name="connsiteX24" fmla="*/ 1788276 w 7015374"/>
              <a:gd name="connsiteY24" fmla="*/ 725296 h 3487140"/>
              <a:gd name="connsiteX25" fmla="*/ 1896859 w 7015374"/>
              <a:gd name="connsiteY25" fmla="*/ 539984 h 3487140"/>
              <a:gd name="connsiteX26" fmla="*/ 1865711 w 7015374"/>
              <a:gd name="connsiteY26" fmla="*/ 435851 h 3487140"/>
              <a:gd name="connsiteX27" fmla="*/ 1759373 w 7015374"/>
              <a:gd name="connsiteY27" fmla="*/ 350265 h 3487140"/>
              <a:gd name="connsiteX28" fmla="*/ 1714085 w 7015374"/>
              <a:gd name="connsiteY28" fmla="*/ 209327 h 3487140"/>
              <a:gd name="connsiteX29" fmla="*/ 1758915 w 7015374"/>
              <a:gd name="connsiteY29" fmla="*/ 82237 h 3487140"/>
              <a:gd name="connsiteX30" fmla="*/ 1939195 w 7015374"/>
              <a:gd name="connsiteY30" fmla="*/ 6716 h 3487140"/>
              <a:gd name="connsiteX31" fmla="*/ 2207888 w 7015374"/>
              <a:gd name="connsiteY31" fmla="*/ 10167 h 3487140"/>
              <a:gd name="connsiteX32" fmla="*/ 2291561 w 7015374"/>
              <a:gd name="connsiteY32" fmla="*/ 49800 h 3487140"/>
              <a:gd name="connsiteX33" fmla="*/ 2244526 w 7015374"/>
              <a:gd name="connsiteY33" fmla="*/ 86812 h 3487140"/>
              <a:gd name="connsiteX34" fmla="*/ 2008603 w 7015374"/>
              <a:gd name="connsiteY34" fmla="*/ 91886 h 3487140"/>
              <a:gd name="connsiteX35" fmla="*/ 1765070 w 7015374"/>
              <a:gd name="connsiteY35" fmla="*/ 75833 h 3487140"/>
              <a:gd name="connsiteX36" fmla="*/ 1657319 w 7015374"/>
              <a:gd name="connsiteY36" fmla="*/ 176931 h 3487140"/>
              <a:gd name="connsiteX37" fmla="*/ 1672581 w 7015374"/>
              <a:gd name="connsiteY37" fmla="*/ 370393 h 3487140"/>
              <a:gd name="connsiteX38" fmla="*/ 1617354 w 7015374"/>
              <a:gd name="connsiteY38" fmla="*/ 589348 h 3487140"/>
              <a:gd name="connsiteX39" fmla="*/ 1460820 w 7015374"/>
              <a:gd name="connsiteY39" fmla="*/ 903953 h 3487140"/>
              <a:gd name="connsiteX40" fmla="*/ 1250349 w 7015374"/>
              <a:gd name="connsiteY40" fmla="*/ 922501 h 3487140"/>
              <a:gd name="connsiteX41" fmla="*/ 1055930 w 7015374"/>
              <a:gd name="connsiteY41" fmla="*/ 866816 h 3487140"/>
              <a:gd name="connsiteX42" fmla="*/ 997085 w 7015374"/>
              <a:gd name="connsiteY42" fmla="*/ 751038 h 3487140"/>
              <a:gd name="connsiteX43" fmla="*/ 1009021 w 7015374"/>
              <a:gd name="connsiteY43" fmla="*/ 369436 h 3487140"/>
              <a:gd name="connsiteX44" fmla="*/ 1070694 w 7015374"/>
              <a:gd name="connsiteY44" fmla="*/ 155805 h 3487140"/>
              <a:gd name="connsiteX45" fmla="*/ 1272058 w 7015374"/>
              <a:gd name="connsiteY45" fmla="*/ 156761 h 3487140"/>
              <a:gd name="connsiteX46" fmla="*/ 1524989 w 7015374"/>
              <a:gd name="connsiteY46" fmla="*/ 245175 h 3487140"/>
              <a:gd name="connsiteX47" fmla="*/ 1694081 w 7015374"/>
              <a:gd name="connsiteY47" fmla="*/ 357792 h 3487140"/>
              <a:gd name="connsiteX48" fmla="*/ 1798672 w 7015374"/>
              <a:gd name="connsiteY48" fmla="*/ 483301 h 3487140"/>
              <a:gd name="connsiteX49" fmla="*/ 1822876 w 7015374"/>
              <a:gd name="connsiteY49" fmla="*/ 600951 h 3487140"/>
              <a:gd name="connsiteX50" fmla="*/ 1795345 w 7015374"/>
              <a:gd name="connsiteY50" fmla="*/ 761726 h 3487140"/>
              <a:gd name="connsiteX51" fmla="*/ 1967266 w 7015374"/>
              <a:gd name="connsiteY51" fmla="*/ 1160004 h 3487140"/>
              <a:gd name="connsiteX52" fmla="*/ 2390246 w 7015374"/>
              <a:gd name="connsiteY52" fmla="*/ 1793622 h 3487140"/>
              <a:gd name="connsiteX53" fmla="*/ 2807737 w 7015374"/>
              <a:gd name="connsiteY53" fmla="*/ 2087475 h 3487140"/>
              <a:gd name="connsiteX54" fmla="*/ 2917360 w 7015374"/>
              <a:gd name="connsiteY54" fmla="*/ 2185620 h 3487140"/>
              <a:gd name="connsiteX55" fmla="*/ 2804411 w 7015374"/>
              <a:gd name="connsiteY55" fmla="*/ 2468120 h 3487140"/>
              <a:gd name="connsiteX56" fmla="*/ 2638312 w 7015374"/>
              <a:gd name="connsiteY56" fmla="*/ 2505548 h 3487140"/>
              <a:gd name="connsiteX57" fmla="*/ 2329862 w 7015374"/>
              <a:gd name="connsiteY57" fmla="*/ 2278109 h 3487140"/>
              <a:gd name="connsiteX58" fmla="*/ 1885173 w 7015374"/>
              <a:gd name="connsiteY58" fmla="*/ 1678800 h 3487140"/>
              <a:gd name="connsiteX59" fmla="*/ 1765320 w 7015374"/>
              <a:gd name="connsiteY59" fmla="*/ 1175432 h 3487140"/>
              <a:gd name="connsiteX60" fmla="*/ 1919774 w 7015374"/>
              <a:gd name="connsiteY60" fmla="*/ 1377420 h 3487140"/>
              <a:gd name="connsiteX61" fmla="*/ 2281414 w 7015374"/>
              <a:gd name="connsiteY61" fmla="*/ 2268710 h 3487140"/>
              <a:gd name="connsiteX62" fmla="*/ 2601216 w 7015374"/>
              <a:gd name="connsiteY62" fmla="*/ 2693105 h 3487140"/>
              <a:gd name="connsiteX63" fmla="*/ 2834644 w 7015374"/>
              <a:gd name="connsiteY63" fmla="*/ 2746586 h 3487140"/>
              <a:gd name="connsiteX64" fmla="*/ 3001865 w 7015374"/>
              <a:gd name="connsiteY64" fmla="*/ 2631432 h 3487140"/>
              <a:gd name="connsiteX65" fmla="*/ 3013052 w 7015374"/>
              <a:gd name="connsiteY65" fmla="*/ 2436680 h 3487140"/>
              <a:gd name="connsiteX66" fmla="*/ 2859222 w 7015374"/>
              <a:gd name="connsiteY66" fmla="*/ 2309258 h 3487140"/>
              <a:gd name="connsiteX67" fmla="*/ 2652036 w 7015374"/>
              <a:gd name="connsiteY67" fmla="*/ 2375007 h 3487140"/>
              <a:gd name="connsiteX68" fmla="*/ 2629537 w 7015374"/>
              <a:gd name="connsiteY68" fmla="*/ 2581402 h 3487140"/>
              <a:gd name="connsiteX69" fmla="*/ 2772222 w 7015374"/>
              <a:gd name="connsiteY69" fmla="*/ 2671064 h 3487140"/>
              <a:gd name="connsiteX70" fmla="*/ 2868787 w 7015374"/>
              <a:gd name="connsiteY70" fmla="*/ 2596831 h 3487140"/>
              <a:gd name="connsiteX71" fmla="*/ 2835601 w 7015374"/>
              <a:gd name="connsiteY71" fmla="*/ 2530750 h 3487140"/>
              <a:gd name="connsiteX72" fmla="*/ 2713543 w 7015374"/>
              <a:gd name="connsiteY72" fmla="*/ 2615379 h 3487140"/>
              <a:gd name="connsiteX73" fmla="*/ 2567864 w 7015374"/>
              <a:gd name="connsiteY73" fmla="*/ 2907028 h 3487140"/>
              <a:gd name="connsiteX74" fmla="*/ 2520039 w 7015374"/>
              <a:gd name="connsiteY74" fmla="*/ 3008333 h 3487140"/>
              <a:gd name="connsiteX75" fmla="*/ 2484191 w 7015374"/>
              <a:gd name="connsiteY75" fmla="*/ 3024053 h 3487140"/>
              <a:gd name="connsiteX76" fmla="*/ 2389165 w 7015374"/>
              <a:gd name="connsiteY76" fmla="*/ 3013989 h 3487140"/>
              <a:gd name="connsiteX77" fmla="*/ 2396068 w 7015374"/>
              <a:gd name="connsiteY77" fmla="*/ 2956724 h 3487140"/>
              <a:gd name="connsiteX78" fmla="*/ 2584831 w 7015374"/>
              <a:gd name="connsiteY78" fmla="*/ 2951068 h 3487140"/>
              <a:gd name="connsiteX79" fmla="*/ 2671041 w 7015374"/>
              <a:gd name="connsiteY79" fmla="*/ 2951068 h 3487140"/>
              <a:gd name="connsiteX80" fmla="*/ 2752219 w 7015374"/>
              <a:gd name="connsiteY80" fmla="*/ 2822066 h 3487140"/>
              <a:gd name="connsiteX81" fmla="*/ 2892533 w 7015374"/>
              <a:gd name="connsiteY81" fmla="*/ 2789337 h 3487140"/>
              <a:gd name="connsiteX82" fmla="*/ 3020246 w 7015374"/>
              <a:gd name="connsiteY82" fmla="*/ 2713815 h 3487140"/>
              <a:gd name="connsiteX83" fmla="*/ 3106456 w 7015374"/>
              <a:gd name="connsiteY83" fmla="*/ 2544556 h 3487140"/>
              <a:gd name="connsiteX84" fmla="*/ 3326035 w 7015374"/>
              <a:gd name="connsiteY84" fmla="*/ 2482883 h 3487140"/>
              <a:gd name="connsiteX85" fmla="*/ 3861009 w 7015374"/>
              <a:gd name="connsiteY85" fmla="*/ 2466831 h 3487140"/>
              <a:gd name="connsiteX86" fmla="*/ 4016751 w 7015374"/>
              <a:gd name="connsiteY86" fmla="*/ 2420918 h 3487140"/>
              <a:gd name="connsiteX87" fmla="*/ 3866664 w 7015374"/>
              <a:gd name="connsiteY87" fmla="*/ 2252907 h 3487140"/>
              <a:gd name="connsiteX88" fmla="*/ 3391285 w 7015374"/>
              <a:gd name="connsiteY88" fmla="*/ 1791709 h 3487140"/>
              <a:gd name="connsiteX89" fmla="*/ 3127166 w 7015374"/>
              <a:gd name="connsiteY89" fmla="*/ 1600118 h 3487140"/>
              <a:gd name="connsiteX90" fmla="*/ 3003196 w 7015374"/>
              <a:gd name="connsiteY90" fmla="*/ 1733529 h 3487140"/>
              <a:gd name="connsiteX91" fmla="*/ 2940898 w 7015374"/>
              <a:gd name="connsiteY91" fmla="*/ 1995900 h 3487140"/>
              <a:gd name="connsiteX92" fmla="*/ 2981778 w 7015374"/>
              <a:gd name="connsiteY92" fmla="*/ 2048133 h 3487140"/>
              <a:gd name="connsiteX93" fmla="*/ 3044699 w 7015374"/>
              <a:gd name="connsiteY93" fmla="*/ 1778817 h 3487140"/>
              <a:gd name="connsiteX94" fmla="*/ 3166466 w 7015374"/>
              <a:gd name="connsiteY94" fmla="*/ 1356918 h 3487140"/>
              <a:gd name="connsiteX95" fmla="*/ 3272803 w 7015374"/>
              <a:gd name="connsiteY95" fmla="*/ 986960 h 3487140"/>
              <a:gd name="connsiteX96" fmla="*/ 3243526 w 7015374"/>
              <a:gd name="connsiteY96" fmla="*/ 867107 h 3487140"/>
              <a:gd name="connsiteX97" fmla="*/ 3068612 w 7015374"/>
              <a:gd name="connsiteY97" fmla="*/ 840034 h 3487140"/>
              <a:gd name="connsiteX98" fmla="*/ 2924513 w 7015374"/>
              <a:gd name="connsiteY98" fmla="*/ 782769 h 3487140"/>
              <a:gd name="connsiteX99" fmla="*/ 2940857 w 7015374"/>
              <a:gd name="connsiteY99" fmla="*/ 714816 h 3487140"/>
              <a:gd name="connsiteX100" fmla="*/ 3114524 w 7015374"/>
              <a:gd name="connsiteY100" fmla="*/ 723008 h 3487140"/>
              <a:gd name="connsiteX101" fmla="*/ 3317135 w 7015374"/>
              <a:gd name="connsiteY101" fmla="*/ 729288 h 3487140"/>
              <a:gd name="connsiteX102" fmla="*/ 3483857 w 7015374"/>
              <a:gd name="connsiteY102" fmla="*/ 682087 h 3487140"/>
              <a:gd name="connsiteX103" fmla="*/ 3601506 w 7015374"/>
              <a:gd name="connsiteY103" fmla="*/ 703463 h 3487140"/>
              <a:gd name="connsiteX104" fmla="*/ 3624171 w 7015374"/>
              <a:gd name="connsiteY104" fmla="*/ 797199 h 3487140"/>
              <a:gd name="connsiteX105" fmla="*/ 3496458 w 7015374"/>
              <a:gd name="connsiteY105" fmla="*/ 890936 h 3487140"/>
              <a:gd name="connsiteX106" fmla="*/ 3326575 w 7015374"/>
              <a:gd name="connsiteY106" fmla="*/ 918009 h 3487140"/>
              <a:gd name="connsiteX107" fmla="*/ 3198862 w 7015374"/>
              <a:gd name="connsiteY107" fmla="*/ 1002306 h 3487140"/>
              <a:gd name="connsiteX108" fmla="*/ 3097972 w 7015374"/>
              <a:gd name="connsiteY108" fmla="*/ 1299902 h 3487140"/>
              <a:gd name="connsiteX109" fmla="*/ 3159022 w 7015374"/>
              <a:gd name="connsiteY109" fmla="*/ 1545930 h 3487140"/>
              <a:gd name="connsiteX110" fmla="*/ 3371697 w 7015374"/>
              <a:gd name="connsiteY110" fmla="*/ 1536490 h 3487140"/>
              <a:gd name="connsiteX111" fmla="*/ 3551228 w 7015374"/>
              <a:gd name="connsiteY111" fmla="*/ 1376048 h 3487140"/>
              <a:gd name="connsiteX112" fmla="*/ 3554389 w 7015374"/>
              <a:gd name="connsiteY112" fmla="*/ 1231949 h 3487140"/>
              <a:gd name="connsiteX113" fmla="*/ 3336348 w 7015374"/>
              <a:gd name="connsiteY113" fmla="*/ 1191693 h 3487140"/>
              <a:gd name="connsiteX114" fmla="*/ 3344832 w 7015374"/>
              <a:gd name="connsiteY114" fmla="*/ 1255238 h 3487140"/>
              <a:gd name="connsiteX115" fmla="*/ 3769850 w 7015374"/>
              <a:gd name="connsiteY115" fmla="*/ 1241722 h 3487140"/>
              <a:gd name="connsiteX116" fmla="*/ 4254670 w 7015374"/>
              <a:gd name="connsiteY116" fmla="*/ 1259646 h 3487140"/>
              <a:gd name="connsiteX117" fmla="*/ 4484022 w 7015374"/>
              <a:gd name="connsiteY117" fmla="*/ 1236981 h 3487140"/>
              <a:gd name="connsiteX118" fmla="*/ 4465766 w 7015374"/>
              <a:gd name="connsiteY118" fmla="*/ 1185995 h 3487140"/>
              <a:gd name="connsiteX119" fmla="*/ 4105248 w 7015374"/>
              <a:gd name="connsiteY119" fmla="*/ 1177512 h 3487140"/>
              <a:gd name="connsiteX120" fmla="*/ 3734668 w 7015374"/>
              <a:gd name="connsiteY120" fmla="*/ 1331342 h 3487140"/>
              <a:gd name="connsiteX121" fmla="*/ 3388914 w 7015374"/>
              <a:gd name="connsiteY121" fmla="*/ 1604110 h 3487140"/>
              <a:gd name="connsiteX122" fmla="*/ 3156111 w 7015374"/>
              <a:gd name="connsiteY122" fmla="*/ 1921252 h 3487140"/>
              <a:gd name="connsiteX123" fmla="*/ 3060461 w 7015374"/>
              <a:gd name="connsiteY123" fmla="*/ 2419255 h 3487140"/>
              <a:gd name="connsiteX124" fmla="*/ 3290769 w 7015374"/>
              <a:gd name="connsiteY124" fmla="*/ 3048465 h 3487140"/>
              <a:gd name="connsiteX125" fmla="*/ 3868994 w 7015374"/>
              <a:gd name="connsiteY125" fmla="*/ 3394510 h 3487140"/>
              <a:gd name="connsiteX126" fmla="*/ 4507643 w 7015374"/>
              <a:gd name="connsiteY126" fmla="*/ 3330632 h 3487140"/>
              <a:gd name="connsiteX127" fmla="*/ 5002818 w 7015374"/>
              <a:gd name="connsiteY127" fmla="*/ 2841404 h 3487140"/>
              <a:gd name="connsiteX128" fmla="*/ 5036171 w 7015374"/>
              <a:gd name="connsiteY128" fmla="*/ 2052999 h 3487140"/>
              <a:gd name="connsiteX129" fmla="*/ 4605164 w 7015374"/>
              <a:gd name="connsiteY129" fmla="*/ 1482011 h 3487140"/>
              <a:gd name="connsiteX130" fmla="*/ 4138310 w 7015374"/>
              <a:gd name="connsiteY130" fmla="*/ 1352717 h 3487140"/>
              <a:gd name="connsiteX131" fmla="*/ 3977868 w 7015374"/>
              <a:gd name="connsiteY131" fmla="*/ 1466624 h 3487140"/>
              <a:gd name="connsiteX132" fmla="*/ 3999909 w 7015374"/>
              <a:gd name="connsiteY132" fmla="*/ 2001140 h 3487140"/>
              <a:gd name="connsiteX133" fmla="*/ 4033885 w 7015374"/>
              <a:gd name="connsiteY133" fmla="*/ 2313208 h 3487140"/>
              <a:gd name="connsiteX134" fmla="*/ 4125585 w 7015374"/>
              <a:gd name="connsiteY134" fmla="*/ 2399085 h 3487140"/>
              <a:gd name="connsiteX135" fmla="*/ 4230051 w 7015374"/>
              <a:gd name="connsiteY135" fmla="*/ 2362905 h 3487140"/>
              <a:gd name="connsiteX136" fmla="*/ 4194660 w 7015374"/>
              <a:gd name="connsiteY136" fmla="*/ 2271372 h 3487140"/>
              <a:gd name="connsiteX137" fmla="*/ 4097056 w 7015374"/>
              <a:gd name="connsiteY137" fmla="*/ 2303394 h 3487140"/>
              <a:gd name="connsiteX138" fmla="*/ 4080670 w 7015374"/>
              <a:gd name="connsiteY138" fmla="*/ 2437262 h 3487140"/>
              <a:gd name="connsiteX139" fmla="*/ 4079589 w 7015374"/>
              <a:gd name="connsiteY139" fmla="*/ 2519521 h 3487140"/>
              <a:gd name="connsiteX140" fmla="*/ 3900475 w 7015374"/>
              <a:gd name="connsiteY140" fmla="*/ 2539400 h 3487140"/>
              <a:gd name="connsiteX141" fmla="*/ 3490220 w 7015374"/>
              <a:gd name="connsiteY141" fmla="*/ 2545679 h 3487140"/>
              <a:gd name="connsiteX142" fmla="*/ 3249848 w 7015374"/>
              <a:gd name="connsiteY142" fmla="*/ 2602944 h 3487140"/>
              <a:gd name="connsiteX143" fmla="*/ 3240241 w 7015374"/>
              <a:gd name="connsiteY143" fmla="*/ 2790460 h 3487140"/>
              <a:gd name="connsiteX144" fmla="*/ 3433578 w 7015374"/>
              <a:gd name="connsiteY144" fmla="*/ 3133385 h 3487140"/>
              <a:gd name="connsiteX145" fmla="*/ 3925468 w 7015374"/>
              <a:gd name="connsiteY145" fmla="*/ 3465290 h 3487140"/>
              <a:gd name="connsiteX146" fmla="*/ 4666214 w 7015374"/>
              <a:gd name="connsiteY146" fmla="*/ 3390434 h 3487140"/>
              <a:gd name="connsiteX147" fmla="*/ 5106037 w 7015374"/>
              <a:gd name="connsiteY147" fmla="*/ 3017940 h 3487140"/>
              <a:gd name="connsiteX148" fmla="*/ 5420018 w 7015374"/>
              <a:gd name="connsiteY148" fmla="*/ 2655510 h 3487140"/>
              <a:gd name="connsiteX149" fmla="*/ 5792512 w 7015374"/>
              <a:gd name="connsiteY149" fmla="*/ 3163577 h 3487140"/>
              <a:gd name="connsiteX150" fmla="*/ 6016499 w 7015374"/>
              <a:gd name="connsiteY150" fmla="*/ 3255443 h 3487140"/>
              <a:gd name="connsiteX151" fmla="*/ 6094516 w 7015374"/>
              <a:gd name="connsiteY151" fmla="*/ 2786675 h 3487140"/>
              <a:gd name="connsiteX152" fmla="*/ 6404089 w 7015374"/>
              <a:gd name="connsiteY152" fmla="*/ 2869724 h 3487140"/>
              <a:gd name="connsiteX153" fmla="*/ 6642881 w 7015374"/>
              <a:gd name="connsiteY153" fmla="*/ 3245046 h 3487140"/>
              <a:gd name="connsiteX154" fmla="*/ 7015374 w 7015374"/>
              <a:gd name="connsiteY154" fmla="*/ 3329676 h 3487140"/>
              <a:gd name="connsiteX0" fmla="*/ 777215 w 6642881"/>
              <a:gd name="connsiteY0" fmla="*/ 3295741 h 3487140"/>
              <a:gd name="connsiteX1" fmla="*/ 526113 w 6642881"/>
              <a:gd name="connsiteY1" fmla="*/ 3112384 h 3487140"/>
              <a:gd name="connsiteX2" fmla="*/ 219950 w 6642881"/>
              <a:gd name="connsiteY2" fmla="*/ 2750287 h 3487140"/>
              <a:gd name="connsiteX3" fmla="*/ 128418 w 6642881"/>
              <a:gd name="connsiteY3" fmla="*/ 2305432 h 3487140"/>
              <a:gd name="connsiteX4" fmla="*/ 256006 w 6642881"/>
              <a:gd name="connsiteY4" fmla="*/ 1919713 h 3487140"/>
              <a:gd name="connsiteX5" fmla="*/ 580218 w 6642881"/>
              <a:gd name="connsiteY5" fmla="*/ 1637837 h 3487140"/>
              <a:gd name="connsiteX6" fmla="*/ 1073522 w 6642881"/>
              <a:gd name="connsiteY6" fmla="*/ 1545972 h 3487140"/>
              <a:gd name="connsiteX7" fmla="*/ 1308197 w 6642881"/>
              <a:gd name="connsiteY7" fmla="*/ 1517651 h 3487140"/>
              <a:gd name="connsiteX8" fmla="*/ 1292934 w 6642881"/>
              <a:gd name="connsiteY8" fmla="*/ 1460718 h 3487140"/>
              <a:gd name="connsiteX9" fmla="*/ 1016880 w 6642881"/>
              <a:gd name="connsiteY9" fmla="*/ 1416969 h 3487140"/>
              <a:gd name="connsiteX10" fmla="*/ 497460 w 6642881"/>
              <a:gd name="connsiteY10" fmla="*/ 1517318 h 3487140"/>
              <a:gd name="connsiteX11" fmla="*/ 88162 w 6642881"/>
              <a:gd name="connsiteY11" fmla="*/ 1960593 h 3487140"/>
              <a:gd name="connsiteX12" fmla="*/ 28692 w 6642881"/>
              <a:gd name="connsiteY12" fmla="*/ 2569342 h 3487140"/>
              <a:gd name="connsiteX13" fmla="*/ 442399 w 6642881"/>
              <a:gd name="connsiteY13" fmla="*/ 3165532 h 3487140"/>
              <a:gd name="connsiteX14" fmla="*/ 1232384 w 6642881"/>
              <a:gd name="connsiteY14" fmla="*/ 3283181 h 3487140"/>
              <a:gd name="connsiteX15" fmla="*/ 1835020 w 6642881"/>
              <a:gd name="connsiteY15" fmla="*/ 2757481 h 3487140"/>
              <a:gd name="connsiteX16" fmla="*/ 1824789 w 6642881"/>
              <a:gd name="connsiteY16" fmla="*/ 1980430 h 3487140"/>
              <a:gd name="connsiteX17" fmla="*/ 1494755 w 6642881"/>
              <a:gd name="connsiteY17" fmla="*/ 1589139 h 3487140"/>
              <a:gd name="connsiteX18" fmla="*/ 1305701 w 6642881"/>
              <a:gd name="connsiteY18" fmla="*/ 1660710 h 3487140"/>
              <a:gd name="connsiteX19" fmla="*/ 1197284 w 6642881"/>
              <a:gd name="connsiteY19" fmla="*/ 2116627 h 3487140"/>
              <a:gd name="connsiteX20" fmla="*/ 973921 w 6642881"/>
              <a:gd name="connsiteY20" fmla="*/ 2374258 h 3487140"/>
              <a:gd name="connsiteX21" fmla="*/ 918985 w 6642881"/>
              <a:gd name="connsiteY21" fmla="*/ 2276986 h 3487140"/>
              <a:gd name="connsiteX22" fmla="*/ 1298257 w 6642881"/>
              <a:gd name="connsiteY22" fmla="*/ 2021601 h 3487140"/>
              <a:gd name="connsiteX23" fmla="*/ 1558176 w 6642881"/>
              <a:gd name="connsiteY23" fmla="*/ 1234153 h 3487140"/>
              <a:gd name="connsiteX24" fmla="*/ 1788276 w 6642881"/>
              <a:gd name="connsiteY24" fmla="*/ 725296 h 3487140"/>
              <a:gd name="connsiteX25" fmla="*/ 1896859 w 6642881"/>
              <a:gd name="connsiteY25" fmla="*/ 539984 h 3487140"/>
              <a:gd name="connsiteX26" fmla="*/ 1865711 w 6642881"/>
              <a:gd name="connsiteY26" fmla="*/ 435851 h 3487140"/>
              <a:gd name="connsiteX27" fmla="*/ 1759373 w 6642881"/>
              <a:gd name="connsiteY27" fmla="*/ 350265 h 3487140"/>
              <a:gd name="connsiteX28" fmla="*/ 1714085 w 6642881"/>
              <a:gd name="connsiteY28" fmla="*/ 209327 h 3487140"/>
              <a:gd name="connsiteX29" fmla="*/ 1758915 w 6642881"/>
              <a:gd name="connsiteY29" fmla="*/ 82237 h 3487140"/>
              <a:gd name="connsiteX30" fmla="*/ 1939195 w 6642881"/>
              <a:gd name="connsiteY30" fmla="*/ 6716 h 3487140"/>
              <a:gd name="connsiteX31" fmla="*/ 2207888 w 6642881"/>
              <a:gd name="connsiteY31" fmla="*/ 10167 h 3487140"/>
              <a:gd name="connsiteX32" fmla="*/ 2291561 w 6642881"/>
              <a:gd name="connsiteY32" fmla="*/ 49800 h 3487140"/>
              <a:gd name="connsiteX33" fmla="*/ 2244526 w 6642881"/>
              <a:gd name="connsiteY33" fmla="*/ 86812 h 3487140"/>
              <a:gd name="connsiteX34" fmla="*/ 2008603 w 6642881"/>
              <a:gd name="connsiteY34" fmla="*/ 91886 h 3487140"/>
              <a:gd name="connsiteX35" fmla="*/ 1765070 w 6642881"/>
              <a:gd name="connsiteY35" fmla="*/ 75833 h 3487140"/>
              <a:gd name="connsiteX36" fmla="*/ 1657319 w 6642881"/>
              <a:gd name="connsiteY36" fmla="*/ 176931 h 3487140"/>
              <a:gd name="connsiteX37" fmla="*/ 1672581 w 6642881"/>
              <a:gd name="connsiteY37" fmla="*/ 370393 h 3487140"/>
              <a:gd name="connsiteX38" fmla="*/ 1617354 w 6642881"/>
              <a:gd name="connsiteY38" fmla="*/ 589348 h 3487140"/>
              <a:gd name="connsiteX39" fmla="*/ 1460820 w 6642881"/>
              <a:gd name="connsiteY39" fmla="*/ 903953 h 3487140"/>
              <a:gd name="connsiteX40" fmla="*/ 1250349 w 6642881"/>
              <a:gd name="connsiteY40" fmla="*/ 922501 h 3487140"/>
              <a:gd name="connsiteX41" fmla="*/ 1055930 w 6642881"/>
              <a:gd name="connsiteY41" fmla="*/ 866816 h 3487140"/>
              <a:gd name="connsiteX42" fmla="*/ 997085 w 6642881"/>
              <a:gd name="connsiteY42" fmla="*/ 751038 h 3487140"/>
              <a:gd name="connsiteX43" fmla="*/ 1009021 w 6642881"/>
              <a:gd name="connsiteY43" fmla="*/ 369436 h 3487140"/>
              <a:gd name="connsiteX44" fmla="*/ 1070694 w 6642881"/>
              <a:gd name="connsiteY44" fmla="*/ 155805 h 3487140"/>
              <a:gd name="connsiteX45" fmla="*/ 1272058 w 6642881"/>
              <a:gd name="connsiteY45" fmla="*/ 156761 h 3487140"/>
              <a:gd name="connsiteX46" fmla="*/ 1524989 w 6642881"/>
              <a:gd name="connsiteY46" fmla="*/ 245175 h 3487140"/>
              <a:gd name="connsiteX47" fmla="*/ 1694081 w 6642881"/>
              <a:gd name="connsiteY47" fmla="*/ 357792 h 3487140"/>
              <a:gd name="connsiteX48" fmla="*/ 1798672 w 6642881"/>
              <a:gd name="connsiteY48" fmla="*/ 483301 h 3487140"/>
              <a:gd name="connsiteX49" fmla="*/ 1822876 w 6642881"/>
              <a:gd name="connsiteY49" fmla="*/ 600951 h 3487140"/>
              <a:gd name="connsiteX50" fmla="*/ 1795345 w 6642881"/>
              <a:gd name="connsiteY50" fmla="*/ 761726 h 3487140"/>
              <a:gd name="connsiteX51" fmla="*/ 1967266 w 6642881"/>
              <a:gd name="connsiteY51" fmla="*/ 1160004 h 3487140"/>
              <a:gd name="connsiteX52" fmla="*/ 2390246 w 6642881"/>
              <a:gd name="connsiteY52" fmla="*/ 1793622 h 3487140"/>
              <a:gd name="connsiteX53" fmla="*/ 2807737 w 6642881"/>
              <a:gd name="connsiteY53" fmla="*/ 2087475 h 3487140"/>
              <a:gd name="connsiteX54" fmla="*/ 2917360 w 6642881"/>
              <a:gd name="connsiteY54" fmla="*/ 2185620 h 3487140"/>
              <a:gd name="connsiteX55" fmla="*/ 2804411 w 6642881"/>
              <a:gd name="connsiteY55" fmla="*/ 2468120 h 3487140"/>
              <a:gd name="connsiteX56" fmla="*/ 2638312 w 6642881"/>
              <a:gd name="connsiteY56" fmla="*/ 2505548 h 3487140"/>
              <a:gd name="connsiteX57" fmla="*/ 2329862 w 6642881"/>
              <a:gd name="connsiteY57" fmla="*/ 2278109 h 3487140"/>
              <a:gd name="connsiteX58" fmla="*/ 1885173 w 6642881"/>
              <a:gd name="connsiteY58" fmla="*/ 1678800 h 3487140"/>
              <a:gd name="connsiteX59" fmla="*/ 1765320 w 6642881"/>
              <a:gd name="connsiteY59" fmla="*/ 1175432 h 3487140"/>
              <a:gd name="connsiteX60" fmla="*/ 1919774 w 6642881"/>
              <a:gd name="connsiteY60" fmla="*/ 1377420 h 3487140"/>
              <a:gd name="connsiteX61" fmla="*/ 2281414 w 6642881"/>
              <a:gd name="connsiteY61" fmla="*/ 2268710 h 3487140"/>
              <a:gd name="connsiteX62" fmla="*/ 2601216 w 6642881"/>
              <a:gd name="connsiteY62" fmla="*/ 2693105 h 3487140"/>
              <a:gd name="connsiteX63" fmla="*/ 2834644 w 6642881"/>
              <a:gd name="connsiteY63" fmla="*/ 2746586 h 3487140"/>
              <a:gd name="connsiteX64" fmla="*/ 3001865 w 6642881"/>
              <a:gd name="connsiteY64" fmla="*/ 2631432 h 3487140"/>
              <a:gd name="connsiteX65" fmla="*/ 3013052 w 6642881"/>
              <a:gd name="connsiteY65" fmla="*/ 2436680 h 3487140"/>
              <a:gd name="connsiteX66" fmla="*/ 2859222 w 6642881"/>
              <a:gd name="connsiteY66" fmla="*/ 2309258 h 3487140"/>
              <a:gd name="connsiteX67" fmla="*/ 2652036 w 6642881"/>
              <a:gd name="connsiteY67" fmla="*/ 2375007 h 3487140"/>
              <a:gd name="connsiteX68" fmla="*/ 2629537 w 6642881"/>
              <a:gd name="connsiteY68" fmla="*/ 2581402 h 3487140"/>
              <a:gd name="connsiteX69" fmla="*/ 2772222 w 6642881"/>
              <a:gd name="connsiteY69" fmla="*/ 2671064 h 3487140"/>
              <a:gd name="connsiteX70" fmla="*/ 2868787 w 6642881"/>
              <a:gd name="connsiteY70" fmla="*/ 2596831 h 3487140"/>
              <a:gd name="connsiteX71" fmla="*/ 2835601 w 6642881"/>
              <a:gd name="connsiteY71" fmla="*/ 2530750 h 3487140"/>
              <a:gd name="connsiteX72" fmla="*/ 2713543 w 6642881"/>
              <a:gd name="connsiteY72" fmla="*/ 2615379 h 3487140"/>
              <a:gd name="connsiteX73" fmla="*/ 2567864 w 6642881"/>
              <a:gd name="connsiteY73" fmla="*/ 2907028 h 3487140"/>
              <a:gd name="connsiteX74" fmla="*/ 2520039 w 6642881"/>
              <a:gd name="connsiteY74" fmla="*/ 3008333 h 3487140"/>
              <a:gd name="connsiteX75" fmla="*/ 2484191 w 6642881"/>
              <a:gd name="connsiteY75" fmla="*/ 3024053 h 3487140"/>
              <a:gd name="connsiteX76" fmla="*/ 2389165 w 6642881"/>
              <a:gd name="connsiteY76" fmla="*/ 3013989 h 3487140"/>
              <a:gd name="connsiteX77" fmla="*/ 2396068 w 6642881"/>
              <a:gd name="connsiteY77" fmla="*/ 2956724 h 3487140"/>
              <a:gd name="connsiteX78" fmla="*/ 2584831 w 6642881"/>
              <a:gd name="connsiteY78" fmla="*/ 2951068 h 3487140"/>
              <a:gd name="connsiteX79" fmla="*/ 2671041 w 6642881"/>
              <a:gd name="connsiteY79" fmla="*/ 2951068 h 3487140"/>
              <a:gd name="connsiteX80" fmla="*/ 2752219 w 6642881"/>
              <a:gd name="connsiteY80" fmla="*/ 2822066 h 3487140"/>
              <a:gd name="connsiteX81" fmla="*/ 2892533 w 6642881"/>
              <a:gd name="connsiteY81" fmla="*/ 2789337 h 3487140"/>
              <a:gd name="connsiteX82" fmla="*/ 3020246 w 6642881"/>
              <a:gd name="connsiteY82" fmla="*/ 2713815 h 3487140"/>
              <a:gd name="connsiteX83" fmla="*/ 3106456 w 6642881"/>
              <a:gd name="connsiteY83" fmla="*/ 2544556 h 3487140"/>
              <a:gd name="connsiteX84" fmla="*/ 3326035 w 6642881"/>
              <a:gd name="connsiteY84" fmla="*/ 2482883 h 3487140"/>
              <a:gd name="connsiteX85" fmla="*/ 3861009 w 6642881"/>
              <a:gd name="connsiteY85" fmla="*/ 2466831 h 3487140"/>
              <a:gd name="connsiteX86" fmla="*/ 4016751 w 6642881"/>
              <a:gd name="connsiteY86" fmla="*/ 2420918 h 3487140"/>
              <a:gd name="connsiteX87" fmla="*/ 3866664 w 6642881"/>
              <a:gd name="connsiteY87" fmla="*/ 2252907 h 3487140"/>
              <a:gd name="connsiteX88" fmla="*/ 3391285 w 6642881"/>
              <a:gd name="connsiteY88" fmla="*/ 1791709 h 3487140"/>
              <a:gd name="connsiteX89" fmla="*/ 3127166 w 6642881"/>
              <a:gd name="connsiteY89" fmla="*/ 1600118 h 3487140"/>
              <a:gd name="connsiteX90" fmla="*/ 3003196 w 6642881"/>
              <a:gd name="connsiteY90" fmla="*/ 1733529 h 3487140"/>
              <a:gd name="connsiteX91" fmla="*/ 2940898 w 6642881"/>
              <a:gd name="connsiteY91" fmla="*/ 1995900 h 3487140"/>
              <a:gd name="connsiteX92" fmla="*/ 2981778 w 6642881"/>
              <a:gd name="connsiteY92" fmla="*/ 2048133 h 3487140"/>
              <a:gd name="connsiteX93" fmla="*/ 3044699 w 6642881"/>
              <a:gd name="connsiteY93" fmla="*/ 1778817 h 3487140"/>
              <a:gd name="connsiteX94" fmla="*/ 3166466 w 6642881"/>
              <a:gd name="connsiteY94" fmla="*/ 1356918 h 3487140"/>
              <a:gd name="connsiteX95" fmla="*/ 3272803 w 6642881"/>
              <a:gd name="connsiteY95" fmla="*/ 986960 h 3487140"/>
              <a:gd name="connsiteX96" fmla="*/ 3243526 w 6642881"/>
              <a:gd name="connsiteY96" fmla="*/ 867107 h 3487140"/>
              <a:gd name="connsiteX97" fmla="*/ 3068612 w 6642881"/>
              <a:gd name="connsiteY97" fmla="*/ 840034 h 3487140"/>
              <a:gd name="connsiteX98" fmla="*/ 2924513 w 6642881"/>
              <a:gd name="connsiteY98" fmla="*/ 782769 h 3487140"/>
              <a:gd name="connsiteX99" fmla="*/ 2940857 w 6642881"/>
              <a:gd name="connsiteY99" fmla="*/ 714816 h 3487140"/>
              <a:gd name="connsiteX100" fmla="*/ 3114524 w 6642881"/>
              <a:gd name="connsiteY100" fmla="*/ 723008 h 3487140"/>
              <a:gd name="connsiteX101" fmla="*/ 3317135 w 6642881"/>
              <a:gd name="connsiteY101" fmla="*/ 729288 h 3487140"/>
              <a:gd name="connsiteX102" fmla="*/ 3483857 w 6642881"/>
              <a:gd name="connsiteY102" fmla="*/ 682087 h 3487140"/>
              <a:gd name="connsiteX103" fmla="*/ 3601506 w 6642881"/>
              <a:gd name="connsiteY103" fmla="*/ 703463 h 3487140"/>
              <a:gd name="connsiteX104" fmla="*/ 3624171 w 6642881"/>
              <a:gd name="connsiteY104" fmla="*/ 797199 h 3487140"/>
              <a:gd name="connsiteX105" fmla="*/ 3496458 w 6642881"/>
              <a:gd name="connsiteY105" fmla="*/ 890936 h 3487140"/>
              <a:gd name="connsiteX106" fmla="*/ 3326575 w 6642881"/>
              <a:gd name="connsiteY106" fmla="*/ 918009 h 3487140"/>
              <a:gd name="connsiteX107" fmla="*/ 3198862 w 6642881"/>
              <a:gd name="connsiteY107" fmla="*/ 1002306 h 3487140"/>
              <a:gd name="connsiteX108" fmla="*/ 3097972 w 6642881"/>
              <a:gd name="connsiteY108" fmla="*/ 1299902 h 3487140"/>
              <a:gd name="connsiteX109" fmla="*/ 3159022 w 6642881"/>
              <a:gd name="connsiteY109" fmla="*/ 1545930 h 3487140"/>
              <a:gd name="connsiteX110" fmla="*/ 3371697 w 6642881"/>
              <a:gd name="connsiteY110" fmla="*/ 1536490 h 3487140"/>
              <a:gd name="connsiteX111" fmla="*/ 3551228 w 6642881"/>
              <a:gd name="connsiteY111" fmla="*/ 1376048 h 3487140"/>
              <a:gd name="connsiteX112" fmla="*/ 3554389 w 6642881"/>
              <a:gd name="connsiteY112" fmla="*/ 1231949 h 3487140"/>
              <a:gd name="connsiteX113" fmla="*/ 3336348 w 6642881"/>
              <a:gd name="connsiteY113" fmla="*/ 1191693 h 3487140"/>
              <a:gd name="connsiteX114" fmla="*/ 3344832 w 6642881"/>
              <a:gd name="connsiteY114" fmla="*/ 1255238 h 3487140"/>
              <a:gd name="connsiteX115" fmla="*/ 3769850 w 6642881"/>
              <a:gd name="connsiteY115" fmla="*/ 1241722 h 3487140"/>
              <a:gd name="connsiteX116" fmla="*/ 4254670 w 6642881"/>
              <a:gd name="connsiteY116" fmla="*/ 1259646 h 3487140"/>
              <a:gd name="connsiteX117" fmla="*/ 4484022 w 6642881"/>
              <a:gd name="connsiteY117" fmla="*/ 1236981 h 3487140"/>
              <a:gd name="connsiteX118" fmla="*/ 4465766 w 6642881"/>
              <a:gd name="connsiteY118" fmla="*/ 1185995 h 3487140"/>
              <a:gd name="connsiteX119" fmla="*/ 4105248 w 6642881"/>
              <a:gd name="connsiteY119" fmla="*/ 1177512 h 3487140"/>
              <a:gd name="connsiteX120" fmla="*/ 3734668 w 6642881"/>
              <a:gd name="connsiteY120" fmla="*/ 1331342 h 3487140"/>
              <a:gd name="connsiteX121" fmla="*/ 3388914 w 6642881"/>
              <a:gd name="connsiteY121" fmla="*/ 1604110 h 3487140"/>
              <a:gd name="connsiteX122" fmla="*/ 3156111 w 6642881"/>
              <a:gd name="connsiteY122" fmla="*/ 1921252 h 3487140"/>
              <a:gd name="connsiteX123" fmla="*/ 3060461 w 6642881"/>
              <a:gd name="connsiteY123" fmla="*/ 2419255 h 3487140"/>
              <a:gd name="connsiteX124" fmla="*/ 3290769 w 6642881"/>
              <a:gd name="connsiteY124" fmla="*/ 3048465 h 3487140"/>
              <a:gd name="connsiteX125" fmla="*/ 3868994 w 6642881"/>
              <a:gd name="connsiteY125" fmla="*/ 3394510 h 3487140"/>
              <a:gd name="connsiteX126" fmla="*/ 4507643 w 6642881"/>
              <a:gd name="connsiteY126" fmla="*/ 3330632 h 3487140"/>
              <a:gd name="connsiteX127" fmla="*/ 5002818 w 6642881"/>
              <a:gd name="connsiteY127" fmla="*/ 2841404 h 3487140"/>
              <a:gd name="connsiteX128" fmla="*/ 5036171 w 6642881"/>
              <a:gd name="connsiteY128" fmla="*/ 2052999 h 3487140"/>
              <a:gd name="connsiteX129" fmla="*/ 4605164 w 6642881"/>
              <a:gd name="connsiteY129" fmla="*/ 1482011 h 3487140"/>
              <a:gd name="connsiteX130" fmla="*/ 4138310 w 6642881"/>
              <a:gd name="connsiteY130" fmla="*/ 1352717 h 3487140"/>
              <a:gd name="connsiteX131" fmla="*/ 3977868 w 6642881"/>
              <a:gd name="connsiteY131" fmla="*/ 1466624 h 3487140"/>
              <a:gd name="connsiteX132" fmla="*/ 3999909 w 6642881"/>
              <a:gd name="connsiteY132" fmla="*/ 2001140 h 3487140"/>
              <a:gd name="connsiteX133" fmla="*/ 4033885 w 6642881"/>
              <a:gd name="connsiteY133" fmla="*/ 2313208 h 3487140"/>
              <a:gd name="connsiteX134" fmla="*/ 4125585 w 6642881"/>
              <a:gd name="connsiteY134" fmla="*/ 2399085 h 3487140"/>
              <a:gd name="connsiteX135" fmla="*/ 4230051 w 6642881"/>
              <a:gd name="connsiteY135" fmla="*/ 2362905 h 3487140"/>
              <a:gd name="connsiteX136" fmla="*/ 4194660 w 6642881"/>
              <a:gd name="connsiteY136" fmla="*/ 2271372 h 3487140"/>
              <a:gd name="connsiteX137" fmla="*/ 4097056 w 6642881"/>
              <a:gd name="connsiteY137" fmla="*/ 2303394 h 3487140"/>
              <a:gd name="connsiteX138" fmla="*/ 4080670 w 6642881"/>
              <a:gd name="connsiteY138" fmla="*/ 2437262 h 3487140"/>
              <a:gd name="connsiteX139" fmla="*/ 4079589 w 6642881"/>
              <a:gd name="connsiteY139" fmla="*/ 2519521 h 3487140"/>
              <a:gd name="connsiteX140" fmla="*/ 3900475 w 6642881"/>
              <a:gd name="connsiteY140" fmla="*/ 2539400 h 3487140"/>
              <a:gd name="connsiteX141" fmla="*/ 3490220 w 6642881"/>
              <a:gd name="connsiteY141" fmla="*/ 2545679 h 3487140"/>
              <a:gd name="connsiteX142" fmla="*/ 3249848 w 6642881"/>
              <a:gd name="connsiteY142" fmla="*/ 2602944 h 3487140"/>
              <a:gd name="connsiteX143" fmla="*/ 3240241 w 6642881"/>
              <a:gd name="connsiteY143" fmla="*/ 2790460 h 3487140"/>
              <a:gd name="connsiteX144" fmla="*/ 3433578 w 6642881"/>
              <a:gd name="connsiteY144" fmla="*/ 3133385 h 3487140"/>
              <a:gd name="connsiteX145" fmla="*/ 3925468 w 6642881"/>
              <a:gd name="connsiteY145" fmla="*/ 3465290 h 3487140"/>
              <a:gd name="connsiteX146" fmla="*/ 4666214 w 6642881"/>
              <a:gd name="connsiteY146" fmla="*/ 3390434 h 3487140"/>
              <a:gd name="connsiteX147" fmla="*/ 5106037 w 6642881"/>
              <a:gd name="connsiteY147" fmla="*/ 3017940 h 3487140"/>
              <a:gd name="connsiteX148" fmla="*/ 5420018 w 6642881"/>
              <a:gd name="connsiteY148" fmla="*/ 2655510 h 3487140"/>
              <a:gd name="connsiteX149" fmla="*/ 5792512 w 6642881"/>
              <a:gd name="connsiteY149" fmla="*/ 3163577 h 3487140"/>
              <a:gd name="connsiteX150" fmla="*/ 6016499 w 6642881"/>
              <a:gd name="connsiteY150" fmla="*/ 3255443 h 3487140"/>
              <a:gd name="connsiteX151" fmla="*/ 6094516 w 6642881"/>
              <a:gd name="connsiteY151" fmla="*/ 2786675 h 3487140"/>
              <a:gd name="connsiteX152" fmla="*/ 6404089 w 6642881"/>
              <a:gd name="connsiteY152" fmla="*/ 2869724 h 3487140"/>
              <a:gd name="connsiteX153" fmla="*/ 6642881 w 6642881"/>
              <a:gd name="connsiteY153" fmla="*/ 3245046 h 3487140"/>
              <a:gd name="connsiteX0" fmla="*/ 777215 w 6404089"/>
              <a:gd name="connsiteY0" fmla="*/ 3295741 h 3487140"/>
              <a:gd name="connsiteX1" fmla="*/ 526113 w 6404089"/>
              <a:gd name="connsiteY1" fmla="*/ 3112384 h 3487140"/>
              <a:gd name="connsiteX2" fmla="*/ 219950 w 6404089"/>
              <a:gd name="connsiteY2" fmla="*/ 2750287 h 3487140"/>
              <a:gd name="connsiteX3" fmla="*/ 128418 w 6404089"/>
              <a:gd name="connsiteY3" fmla="*/ 2305432 h 3487140"/>
              <a:gd name="connsiteX4" fmla="*/ 256006 w 6404089"/>
              <a:gd name="connsiteY4" fmla="*/ 1919713 h 3487140"/>
              <a:gd name="connsiteX5" fmla="*/ 580218 w 6404089"/>
              <a:gd name="connsiteY5" fmla="*/ 1637837 h 3487140"/>
              <a:gd name="connsiteX6" fmla="*/ 1073522 w 6404089"/>
              <a:gd name="connsiteY6" fmla="*/ 1545972 h 3487140"/>
              <a:gd name="connsiteX7" fmla="*/ 1308197 w 6404089"/>
              <a:gd name="connsiteY7" fmla="*/ 1517651 h 3487140"/>
              <a:gd name="connsiteX8" fmla="*/ 1292934 w 6404089"/>
              <a:gd name="connsiteY8" fmla="*/ 1460718 h 3487140"/>
              <a:gd name="connsiteX9" fmla="*/ 1016880 w 6404089"/>
              <a:gd name="connsiteY9" fmla="*/ 1416969 h 3487140"/>
              <a:gd name="connsiteX10" fmla="*/ 497460 w 6404089"/>
              <a:gd name="connsiteY10" fmla="*/ 1517318 h 3487140"/>
              <a:gd name="connsiteX11" fmla="*/ 88162 w 6404089"/>
              <a:gd name="connsiteY11" fmla="*/ 1960593 h 3487140"/>
              <a:gd name="connsiteX12" fmla="*/ 28692 w 6404089"/>
              <a:gd name="connsiteY12" fmla="*/ 2569342 h 3487140"/>
              <a:gd name="connsiteX13" fmla="*/ 442399 w 6404089"/>
              <a:gd name="connsiteY13" fmla="*/ 3165532 h 3487140"/>
              <a:gd name="connsiteX14" fmla="*/ 1232384 w 6404089"/>
              <a:gd name="connsiteY14" fmla="*/ 3283181 h 3487140"/>
              <a:gd name="connsiteX15" fmla="*/ 1835020 w 6404089"/>
              <a:gd name="connsiteY15" fmla="*/ 2757481 h 3487140"/>
              <a:gd name="connsiteX16" fmla="*/ 1824789 w 6404089"/>
              <a:gd name="connsiteY16" fmla="*/ 1980430 h 3487140"/>
              <a:gd name="connsiteX17" fmla="*/ 1494755 w 6404089"/>
              <a:gd name="connsiteY17" fmla="*/ 1589139 h 3487140"/>
              <a:gd name="connsiteX18" fmla="*/ 1305701 w 6404089"/>
              <a:gd name="connsiteY18" fmla="*/ 1660710 h 3487140"/>
              <a:gd name="connsiteX19" fmla="*/ 1197284 w 6404089"/>
              <a:gd name="connsiteY19" fmla="*/ 2116627 h 3487140"/>
              <a:gd name="connsiteX20" fmla="*/ 973921 w 6404089"/>
              <a:gd name="connsiteY20" fmla="*/ 2374258 h 3487140"/>
              <a:gd name="connsiteX21" fmla="*/ 918985 w 6404089"/>
              <a:gd name="connsiteY21" fmla="*/ 2276986 h 3487140"/>
              <a:gd name="connsiteX22" fmla="*/ 1298257 w 6404089"/>
              <a:gd name="connsiteY22" fmla="*/ 2021601 h 3487140"/>
              <a:gd name="connsiteX23" fmla="*/ 1558176 w 6404089"/>
              <a:gd name="connsiteY23" fmla="*/ 1234153 h 3487140"/>
              <a:gd name="connsiteX24" fmla="*/ 1788276 w 6404089"/>
              <a:gd name="connsiteY24" fmla="*/ 725296 h 3487140"/>
              <a:gd name="connsiteX25" fmla="*/ 1896859 w 6404089"/>
              <a:gd name="connsiteY25" fmla="*/ 539984 h 3487140"/>
              <a:gd name="connsiteX26" fmla="*/ 1865711 w 6404089"/>
              <a:gd name="connsiteY26" fmla="*/ 435851 h 3487140"/>
              <a:gd name="connsiteX27" fmla="*/ 1759373 w 6404089"/>
              <a:gd name="connsiteY27" fmla="*/ 350265 h 3487140"/>
              <a:gd name="connsiteX28" fmla="*/ 1714085 w 6404089"/>
              <a:gd name="connsiteY28" fmla="*/ 209327 h 3487140"/>
              <a:gd name="connsiteX29" fmla="*/ 1758915 w 6404089"/>
              <a:gd name="connsiteY29" fmla="*/ 82237 h 3487140"/>
              <a:gd name="connsiteX30" fmla="*/ 1939195 w 6404089"/>
              <a:gd name="connsiteY30" fmla="*/ 6716 h 3487140"/>
              <a:gd name="connsiteX31" fmla="*/ 2207888 w 6404089"/>
              <a:gd name="connsiteY31" fmla="*/ 10167 h 3487140"/>
              <a:gd name="connsiteX32" fmla="*/ 2291561 w 6404089"/>
              <a:gd name="connsiteY32" fmla="*/ 49800 h 3487140"/>
              <a:gd name="connsiteX33" fmla="*/ 2244526 w 6404089"/>
              <a:gd name="connsiteY33" fmla="*/ 86812 h 3487140"/>
              <a:gd name="connsiteX34" fmla="*/ 2008603 w 6404089"/>
              <a:gd name="connsiteY34" fmla="*/ 91886 h 3487140"/>
              <a:gd name="connsiteX35" fmla="*/ 1765070 w 6404089"/>
              <a:gd name="connsiteY35" fmla="*/ 75833 h 3487140"/>
              <a:gd name="connsiteX36" fmla="*/ 1657319 w 6404089"/>
              <a:gd name="connsiteY36" fmla="*/ 176931 h 3487140"/>
              <a:gd name="connsiteX37" fmla="*/ 1672581 w 6404089"/>
              <a:gd name="connsiteY37" fmla="*/ 370393 h 3487140"/>
              <a:gd name="connsiteX38" fmla="*/ 1617354 w 6404089"/>
              <a:gd name="connsiteY38" fmla="*/ 589348 h 3487140"/>
              <a:gd name="connsiteX39" fmla="*/ 1460820 w 6404089"/>
              <a:gd name="connsiteY39" fmla="*/ 903953 h 3487140"/>
              <a:gd name="connsiteX40" fmla="*/ 1250349 w 6404089"/>
              <a:gd name="connsiteY40" fmla="*/ 922501 h 3487140"/>
              <a:gd name="connsiteX41" fmla="*/ 1055930 w 6404089"/>
              <a:gd name="connsiteY41" fmla="*/ 866816 h 3487140"/>
              <a:gd name="connsiteX42" fmla="*/ 997085 w 6404089"/>
              <a:gd name="connsiteY42" fmla="*/ 751038 h 3487140"/>
              <a:gd name="connsiteX43" fmla="*/ 1009021 w 6404089"/>
              <a:gd name="connsiteY43" fmla="*/ 369436 h 3487140"/>
              <a:gd name="connsiteX44" fmla="*/ 1070694 w 6404089"/>
              <a:gd name="connsiteY44" fmla="*/ 155805 h 3487140"/>
              <a:gd name="connsiteX45" fmla="*/ 1272058 w 6404089"/>
              <a:gd name="connsiteY45" fmla="*/ 156761 h 3487140"/>
              <a:gd name="connsiteX46" fmla="*/ 1524989 w 6404089"/>
              <a:gd name="connsiteY46" fmla="*/ 245175 h 3487140"/>
              <a:gd name="connsiteX47" fmla="*/ 1694081 w 6404089"/>
              <a:gd name="connsiteY47" fmla="*/ 357792 h 3487140"/>
              <a:gd name="connsiteX48" fmla="*/ 1798672 w 6404089"/>
              <a:gd name="connsiteY48" fmla="*/ 483301 h 3487140"/>
              <a:gd name="connsiteX49" fmla="*/ 1822876 w 6404089"/>
              <a:gd name="connsiteY49" fmla="*/ 600951 h 3487140"/>
              <a:gd name="connsiteX50" fmla="*/ 1795345 w 6404089"/>
              <a:gd name="connsiteY50" fmla="*/ 761726 h 3487140"/>
              <a:gd name="connsiteX51" fmla="*/ 1967266 w 6404089"/>
              <a:gd name="connsiteY51" fmla="*/ 1160004 h 3487140"/>
              <a:gd name="connsiteX52" fmla="*/ 2390246 w 6404089"/>
              <a:gd name="connsiteY52" fmla="*/ 1793622 h 3487140"/>
              <a:gd name="connsiteX53" fmla="*/ 2807737 w 6404089"/>
              <a:gd name="connsiteY53" fmla="*/ 2087475 h 3487140"/>
              <a:gd name="connsiteX54" fmla="*/ 2917360 w 6404089"/>
              <a:gd name="connsiteY54" fmla="*/ 2185620 h 3487140"/>
              <a:gd name="connsiteX55" fmla="*/ 2804411 w 6404089"/>
              <a:gd name="connsiteY55" fmla="*/ 2468120 h 3487140"/>
              <a:gd name="connsiteX56" fmla="*/ 2638312 w 6404089"/>
              <a:gd name="connsiteY56" fmla="*/ 2505548 h 3487140"/>
              <a:gd name="connsiteX57" fmla="*/ 2329862 w 6404089"/>
              <a:gd name="connsiteY57" fmla="*/ 2278109 h 3487140"/>
              <a:gd name="connsiteX58" fmla="*/ 1885173 w 6404089"/>
              <a:gd name="connsiteY58" fmla="*/ 1678800 h 3487140"/>
              <a:gd name="connsiteX59" fmla="*/ 1765320 w 6404089"/>
              <a:gd name="connsiteY59" fmla="*/ 1175432 h 3487140"/>
              <a:gd name="connsiteX60" fmla="*/ 1919774 w 6404089"/>
              <a:gd name="connsiteY60" fmla="*/ 1377420 h 3487140"/>
              <a:gd name="connsiteX61" fmla="*/ 2281414 w 6404089"/>
              <a:gd name="connsiteY61" fmla="*/ 2268710 h 3487140"/>
              <a:gd name="connsiteX62" fmla="*/ 2601216 w 6404089"/>
              <a:gd name="connsiteY62" fmla="*/ 2693105 h 3487140"/>
              <a:gd name="connsiteX63" fmla="*/ 2834644 w 6404089"/>
              <a:gd name="connsiteY63" fmla="*/ 2746586 h 3487140"/>
              <a:gd name="connsiteX64" fmla="*/ 3001865 w 6404089"/>
              <a:gd name="connsiteY64" fmla="*/ 2631432 h 3487140"/>
              <a:gd name="connsiteX65" fmla="*/ 3013052 w 6404089"/>
              <a:gd name="connsiteY65" fmla="*/ 2436680 h 3487140"/>
              <a:gd name="connsiteX66" fmla="*/ 2859222 w 6404089"/>
              <a:gd name="connsiteY66" fmla="*/ 2309258 h 3487140"/>
              <a:gd name="connsiteX67" fmla="*/ 2652036 w 6404089"/>
              <a:gd name="connsiteY67" fmla="*/ 2375007 h 3487140"/>
              <a:gd name="connsiteX68" fmla="*/ 2629537 w 6404089"/>
              <a:gd name="connsiteY68" fmla="*/ 2581402 h 3487140"/>
              <a:gd name="connsiteX69" fmla="*/ 2772222 w 6404089"/>
              <a:gd name="connsiteY69" fmla="*/ 2671064 h 3487140"/>
              <a:gd name="connsiteX70" fmla="*/ 2868787 w 6404089"/>
              <a:gd name="connsiteY70" fmla="*/ 2596831 h 3487140"/>
              <a:gd name="connsiteX71" fmla="*/ 2835601 w 6404089"/>
              <a:gd name="connsiteY71" fmla="*/ 2530750 h 3487140"/>
              <a:gd name="connsiteX72" fmla="*/ 2713543 w 6404089"/>
              <a:gd name="connsiteY72" fmla="*/ 2615379 h 3487140"/>
              <a:gd name="connsiteX73" fmla="*/ 2567864 w 6404089"/>
              <a:gd name="connsiteY73" fmla="*/ 2907028 h 3487140"/>
              <a:gd name="connsiteX74" fmla="*/ 2520039 w 6404089"/>
              <a:gd name="connsiteY74" fmla="*/ 3008333 h 3487140"/>
              <a:gd name="connsiteX75" fmla="*/ 2484191 w 6404089"/>
              <a:gd name="connsiteY75" fmla="*/ 3024053 h 3487140"/>
              <a:gd name="connsiteX76" fmla="*/ 2389165 w 6404089"/>
              <a:gd name="connsiteY76" fmla="*/ 3013989 h 3487140"/>
              <a:gd name="connsiteX77" fmla="*/ 2396068 w 6404089"/>
              <a:gd name="connsiteY77" fmla="*/ 2956724 h 3487140"/>
              <a:gd name="connsiteX78" fmla="*/ 2584831 w 6404089"/>
              <a:gd name="connsiteY78" fmla="*/ 2951068 h 3487140"/>
              <a:gd name="connsiteX79" fmla="*/ 2671041 w 6404089"/>
              <a:gd name="connsiteY79" fmla="*/ 2951068 h 3487140"/>
              <a:gd name="connsiteX80" fmla="*/ 2752219 w 6404089"/>
              <a:gd name="connsiteY80" fmla="*/ 2822066 h 3487140"/>
              <a:gd name="connsiteX81" fmla="*/ 2892533 w 6404089"/>
              <a:gd name="connsiteY81" fmla="*/ 2789337 h 3487140"/>
              <a:gd name="connsiteX82" fmla="*/ 3020246 w 6404089"/>
              <a:gd name="connsiteY82" fmla="*/ 2713815 h 3487140"/>
              <a:gd name="connsiteX83" fmla="*/ 3106456 w 6404089"/>
              <a:gd name="connsiteY83" fmla="*/ 2544556 h 3487140"/>
              <a:gd name="connsiteX84" fmla="*/ 3326035 w 6404089"/>
              <a:gd name="connsiteY84" fmla="*/ 2482883 h 3487140"/>
              <a:gd name="connsiteX85" fmla="*/ 3861009 w 6404089"/>
              <a:gd name="connsiteY85" fmla="*/ 2466831 h 3487140"/>
              <a:gd name="connsiteX86" fmla="*/ 4016751 w 6404089"/>
              <a:gd name="connsiteY86" fmla="*/ 2420918 h 3487140"/>
              <a:gd name="connsiteX87" fmla="*/ 3866664 w 6404089"/>
              <a:gd name="connsiteY87" fmla="*/ 2252907 h 3487140"/>
              <a:gd name="connsiteX88" fmla="*/ 3391285 w 6404089"/>
              <a:gd name="connsiteY88" fmla="*/ 1791709 h 3487140"/>
              <a:gd name="connsiteX89" fmla="*/ 3127166 w 6404089"/>
              <a:gd name="connsiteY89" fmla="*/ 1600118 h 3487140"/>
              <a:gd name="connsiteX90" fmla="*/ 3003196 w 6404089"/>
              <a:gd name="connsiteY90" fmla="*/ 1733529 h 3487140"/>
              <a:gd name="connsiteX91" fmla="*/ 2940898 w 6404089"/>
              <a:gd name="connsiteY91" fmla="*/ 1995900 h 3487140"/>
              <a:gd name="connsiteX92" fmla="*/ 2981778 w 6404089"/>
              <a:gd name="connsiteY92" fmla="*/ 2048133 h 3487140"/>
              <a:gd name="connsiteX93" fmla="*/ 3044699 w 6404089"/>
              <a:gd name="connsiteY93" fmla="*/ 1778817 h 3487140"/>
              <a:gd name="connsiteX94" fmla="*/ 3166466 w 6404089"/>
              <a:gd name="connsiteY94" fmla="*/ 1356918 h 3487140"/>
              <a:gd name="connsiteX95" fmla="*/ 3272803 w 6404089"/>
              <a:gd name="connsiteY95" fmla="*/ 986960 h 3487140"/>
              <a:gd name="connsiteX96" fmla="*/ 3243526 w 6404089"/>
              <a:gd name="connsiteY96" fmla="*/ 867107 h 3487140"/>
              <a:gd name="connsiteX97" fmla="*/ 3068612 w 6404089"/>
              <a:gd name="connsiteY97" fmla="*/ 840034 h 3487140"/>
              <a:gd name="connsiteX98" fmla="*/ 2924513 w 6404089"/>
              <a:gd name="connsiteY98" fmla="*/ 782769 h 3487140"/>
              <a:gd name="connsiteX99" fmla="*/ 2940857 w 6404089"/>
              <a:gd name="connsiteY99" fmla="*/ 714816 h 3487140"/>
              <a:gd name="connsiteX100" fmla="*/ 3114524 w 6404089"/>
              <a:gd name="connsiteY100" fmla="*/ 723008 h 3487140"/>
              <a:gd name="connsiteX101" fmla="*/ 3317135 w 6404089"/>
              <a:gd name="connsiteY101" fmla="*/ 729288 h 3487140"/>
              <a:gd name="connsiteX102" fmla="*/ 3483857 w 6404089"/>
              <a:gd name="connsiteY102" fmla="*/ 682087 h 3487140"/>
              <a:gd name="connsiteX103" fmla="*/ 3601506 w 6404089"/>
              <a:gd name="connsiteY103" fmla="*/ 703463 h 3487140"/>
              <a:gd name="connsiteX104" fmla="*/ 3624171 w 6404089"/>
              <a:gd name="connsiteY104" fmla="*/ 797199 h 3487140"/>
              <a:gd name="connsiteX105" fmla="*/ 3496458 w 6404089"/>
              <a:gd name="connsiteY105" fmla="*/ 890936 h 3487140"/>
              <a:gd name="connsiteX106" fmla="*/ 3326575 w 6404089"/>
              <a:gd name="connsiteY106" fmla="*/ 918009 h 3487140"/>
              <a:gd name="connsiteX107" fmla="*/ 3198862 w 6404089"/>
              <a:gd name="connsiteY107" fmla="*/ 1002306 h 3487140"/>
              <a:gd name="connsiteX108" fmla="*/ 3097972 w 6404089"/>
              <a:gd name="connsiteY108" fmla="*/ 1299902 h 3487140"/>
              <a:gd name="connsiteX109" fmla="*/ 3159022 w 6404089"/>
              <a:gd name="connsiteY109" fmla="*/ 1545930 h 3487140"/>
              <a:gd name="connsiteX110" fmla="*/ 3371697 w 6404089"/>
              <a:gd name="connsiteY110" fmla="*/ 1536490 h 3487140"/>
              <a:gd name="connsiteX111" fmla="*/ 3551228 w 6404089"/>
              <a:gd name="connsiteY111" fmla="*/ 1376048 h 3487140"/>
              <a:gd name="connsiteX112" fmla="*/ 3554389 w 6404089"/>
              <a:gd name="connsiteY112" fmla="*/ 1231949 h 3487140"/>
              <a:gd name="connsiteX113" fmla="*/ 3336348 w 6404089"/>
              <a:gd name="connsiteY113" fmla="*/ 1191693 h 3487140"/>
              <a:gd name="connsiteX114" fmla="*/ 3344832 w 6404089"/>
              <a:gd name="connsiteY114" fmla="*/ 1255238 h 3487140"/>
              <a:gd name="connsiteX115" fmla="*/ 3769850 w 6404089"/>
              <a:gd name="connsiteY115" fmla="*/ 1241722 h 3487140"/>
              <a:gd name="connsiteX116" fmla="*/ 4254670 w 6404089"/>
              <a:gd name="connsiteY116" fmla="*/ 1259646 h 3487140"/>
              <a:gd name="connsiteX117" fmla="*/ 4484022 w 6404089"/>
              <a:gd name="connsiteY117" fmla="*/ 1236981 h 3487140"/>
              <a:gd name="connsiteX118" fmla="*/ 4465766 w 6404089"/>
              <a:gd name="connsiteY118" fmla="*/ 1185995 h 3487140"/>
              <a:gd name="connsiteX119" fmla="*/ 4105248 w 6404089"/>
              <a:gd name="connsiteY119" fmla="*/ 1177512 h 3487140"/>
              <a:gd name="connsiteX120" fmla="*/ 3734668 w 6404089"/>
              <a:gd name="connsiteY120" fmla="*/ 1331342 h 3487140"/>
              <a:gd name="connsiteX121" fmla="*/ 3388914 w 6404089"/>
              <a:gd name="connsiteY121" fmla="*/ 1604110 h 3487140"/>
              <a:gd name="connsiteX122" fmla="*/ 3156111 w 6404089"/>
              <a:gd name="connsiteY122" fmla="*/ 1921252 h 3487140"/>
              <a:gd name="connsiteX123" fmla="*/ 3060461 w 6404089"/>
              <a:gd name="connsiteY123" fmla="*/ 2419255 h 3487140"/>
              <a:gd name="connsiteX124" fmla="*/ 3290769 w 6404089"/>
              <a:gd name="connsiteY124" fmla="*/ 3048465 h 3487140"/>
              <a:gd name="connsiteX125" fmla="*/ 3868994 w 6404089"/>
              <a:gd name="connsiteY125" fmla="*/ 3394510 h 3487140"/>
              <a:gd name="connsiteX126" fmla="*/ 4507643 w 6404089"/>
              <a:gd name="connsiteY126" fmla="*/ 3330632 h 3487140"/>
              <a:gd name="connsiteX127" fmla="*/ 5002818 w 6404089"/>
              <a:gd name="connsiteY127" fmla="*/ 2841404 h 3487140"/>
              <a:gd name="connsiteX128" fmla="*/ 5036171 w 6404089"/>
              <a:gd name="connsiteY128" fmla="*/ 2052999 h 3487140"/>
              <a:gd name="connsiteX129" fmla="*/ 4605164 w 6404089"/>
              <a:gd name="connsiteY129" fmla="*/ 1482011 h 3487140"/>
              <a:gd name="connsiteX130" fmla="*/ 4138310 w 6404089"/>
              <a:gd name="connsiteY130" fmla="*/ 1352717 h 3487140"/>
              <a:gd name="connsiteX131" fmla="*/ 3977868 w 6404089"/>
              <a:gd name="connsiteY131" fmla="*/ 1466624 h 3487140"/>
              <a:gd name="connsiteX132" fmla="*/ 3999909 w 6404089"/>
              <a:gd name="connsiteY132" fmla="*/ 2001140 h 3487140"/>
              <a:gd name="connsiteX133" fmla="*/ 4033885 w 6404089"/>
              <a:gd name="connsiteY133" fmla="*/ 2313208 h 3487140"/>
              <a:gd name="connsiteX134" fmla="*/ 4125585 w 6404089"/>
              <a:gd name="connsiteY134" fmla="*/ 2399085 h 3487140"/>
              <a:gd name="connsiteX135" fmla="*/ 4230051 w 6404089"/>
              <a:gd name="connsiteY135" fmla="*/ 2362905 h 3487140"/>
              <a:gd name="connsiteX136" fmla="*/ 4194660 w 6404089"/>
              <a:gd name="connsiteY136" fmla="*/ 2271372 h 3487140"/>
              <a:gd name="connsiteX137" fmla="*/ 4097056 w 6404089"/>
              <a:gd name="connsiteY137" fmla="*/ 2303394 h 3487140"/>
              <a:gd name="connsiteX138" fmla="*/ 4080670 w 6404089"/>
              <a:gd name="connsiteY138" fmla="*/ 2437262 h 3487140"/>
              <a:gd name="connsiteX139" fmla="*/ 4079589 w 6404089"/>
              <a:gd name="connsiteY139" fmla="*/ 2519521 h 3487140"/>
              <a:gd name="connsiteX140" fmla="*/ 3900475 w 6404089"/>
              <a:gd name="connsiteY140" fmla="*/ 2539400 h 3487140"/>
              <a:gd name="connsiteX141" fmla="*/ 3490220 w 6404089"/>
              <a:gd name="connsiteY141" fmla="*/ 2545679 h 3487140"/>
              <a:gd name="connsiteX142" fmla="*/ 3249848 w 6404089"/>
              <a:gd name="connsiteY142" fmla="*/ 2602944 h 3487140"/>
              <a:gd name="connsiteX143" fmla="*/ 3240241 w 6404089"/>
              <a:gd name="connsiteY143" fmla="*/ 2790460 h 3487140"/>
              <a:gd name="connsiteX144" fmla="*/ 3433578 w 6404089"/>
              <a:gd name="connsiteY144" fmla="*/ 3133385 h 3487140"/>
              <a:gd name="connsiteX145" fmla="*/ 3925468 w 6404089"/>
              <a:gd name="connsiteY145" fmla="*/ 3465290 h 3487140"/>
              <a:gd name="connsiteX146" fmla="*/ 4666214 w 6404089"/>
              <a:gd name="connsiteY146" fmla="*/ 3390434 h 3487140"/>
              <a:gd name="connsiteX147" fmla="*/ 5106037 w 6404089"/>
              <a:gd name="connsiteY147" fmla="*/ 3017940 h 3487140"/>
              <a:gd name="connsiteX148" fmla="*/ 5420018 w 6404089"/>
              <a:gd name="connsiteY148" fmla="*/ 2655510 h 3487140"/>
              <a:gd name="connsiteX149" fmla="*/ 5792512 w 6404089"/>
              <a:gd name="connsiteY149" fmla="*/ 3163577 h 3487140"/>
              <a:gd name="connsiteX150" fmla="*/ 6016499 w 6404089"/>
              <a:gd name="connsiteY150" fmla="*/ 3255443 h 3487140"/>
              <a:gd name="connsiteX151" fmla="*/ 6094516 w 6404089"/>
              <a:gd name="connsiteY151" fmla="*/ 2786675 h 3487140"/>
              <a:gd name="connsiteX152" fmla="*/ 6404089 w 6404089"/>
              <a:gd name="connsiteY152" fmla="*/ 2869724 h 3487140"/>
              <a:gd name="connsiteX0" fmla="*/ 777215 w 6094516"/>
              <a:gd name="connsiteY0" fmla="*/ 3295741 h 3487140"/>
              <a:gd name="connsiteX1" fmla="*/ 526113 w 6094516"/>
              <a:gd name="connsiteY1" fmla="*/ 3112384 h 3487140"/>
              <a:gd name="connsiteX2" fmla="*/ 219950 w 6094516"/>
              <a:gd name="connsiteY2" fmla="*/ 2750287 h 3487140"/>
              <a:gd name="connsiteX3" fmla="*/ 128418 w 6094516"/>
              <a:gd name="connsiteY3" fmla="*/ 2305432 h 3487140"/>
              <a:gd name="connsiteX4" fmla="*/ 256006 w 6094516"/>
              <a:gd name="connsiteY4" fmla="*/ 1919713 h 3487140"/>
              <a:gd name="connsiteX5" fmla="*/ 580218 w 6094516"/>
              <a:gd name="connsiteY5" fmla="*/ 1637837 h 3487140"/>
              <a:gd name="connsiteX6" fmla="*/ 1073522 w 6094516"/>
              <a:gd name="connsiteY6" fmla="*/ 1545972 h 3487140"/>
              <a:gd name="connsiteX7" fmla="*/ 1308197 w 6094516"/>
              <a:gd name="connsiteY7" fmla="*/ 1517651 h 3487140"/>
              <a:gd name="connsiteX8" fmla="*/ 1292934 w 6094516"/>
              <a:gd name="connsiteY8" fmla="*/ 1460718 h 3487140"/>
              <a:gd name="connsiteX9" fmla="*/ 1016880 w 6094516"/>
              <a:gd name="connsiteY9" fmla="*/ 1416969 h 3487140"/>
              <a:gd name="connsiteX10" fmla="*/ 497460 w 6094516"/>
              <a:gd name="connsiteY10" fmla="*/ 1517318 h 3487140"/>
              <a:gd name="connsiteX11" fmla="*/ 88162 w 6094516"/>
              <a:gd name="connsiteY11" fmla="*/ 1960593 h 3487140"/>
              <a:gd name="connsiteX12" fmla="*/ 28692 w 6094516"/>
              <a:gd name="connsiteY12" fmla="*/ 2569342 h 3487140"/>
              <a:gd name="connsiteX13" fmla="*/ 442399 w 6094516"/>
              <a:gd name="connsiteY13" fmla="*/ 3165532 h 3487140"/>
              <a:gd name="connsiteX14" fmla="*/ 1232384 w 6094516"/>
              <a:gd name="connsiteY14" fmla="*/ 3283181 h 3487140"/>
              <a:gd name="connsiteX15" fmla="*/ 1835020 w 6094516"/>
              <a:gd name="connsiteY15" fmla="*/ 2757481 h 3487140"/>
              <a:gd name="connsiteX16" fmla="*/ 1824789 w 6094516"/>
              <a:gd name="connsiteY16" fmla="*/ 1980430 h 3487140"/>
              <a:gd name="connsiteX17" fmla="*/ 1494755 w 6094516"/>
              <a:gd name="connsiteY17" fmla="*/ 1589139 h 3487140"/>
              <a:gd name="connsiteX18" fmla="*/ 1305701 w 6094516"/>
              <a:gd name="connsiteY18" fmla="*/ 1660710 h 3487140"/>
              <a:gd name="connsiteX19" fmla="*/ 1197284 w 6094516"/>
              <a:gd name="connsiteY19" fmla="*/ 2116627 h 3487140"/>
              <a:gd name="connsiteX20" fmla="*/ 973921 w 6094516"/>
              <a:gd name="connsiteY20" fmla="*/ 2374258 h 3487140"/>
              <a:gd name="connsiteX21" fmla="*/ 918985 w 6094516"/>
              <a:gd name="connsiteY21" fmla="*/ 2276986 h 3487140"/>
              <a:gd name="connsiteX22" fmla="*/ 1298257 w 6094516"/>
              <a:gd name="connsiteY22" fmla="*/ 2021601 h 3487140"/>
              <a:gd name="connsiteX23" fmla="*/ 1558176 w 6094516"/>
              <a:gd name="connsiteY23" fmla="*/ 1234153 h 3487140"/>
              <a:gd name="connsiteX24" fmla="*/ 1788276 w 6094516"/>
              <a:gd name="connsiteY24" fmla="*/ 725296 h 3487140"/>
              <a:gd name="connsiteX25" fmla="*/ 1896859 w 6094516"/>
              <a:gd name="connsiteY25" fmla="*/ 539984 h 3487140"/>
              <a:gd name="connsiteX26" fmla="*/ 1865711 w 6094516"/>
              <a:gd name="connsiteY26" fmla="*/ 435851 h 3487140"/>
              <a:gd name="connsiteX27" fmla="*/ 1759373 w 6094516"/>
              <a:gd name="connsiteY27" fmla="*/ 350265 h 3487140"/>
              <a:gd name="connsiteX28" fmla="*/ 1714085 w 6094516"/>
              <a:gd name="connsiteY28" fmla="*/ 209327 h 3487140"/>
              <a:gd name="connsiteX29" fmla="*/ 1758915 w 6094516"/>
              <a:gd name="connsiteY29" fmla="*/ 82237 h 3487140"/>
              <a:gd name="connsiteX30" fmla="*/ 1939195 w 6094516"/>
              <a:gd name="connsiteY30" fmla="*/ 6716 h 3487140"/>
              <a:gd name="connsiteX31" fmla="*/ 2207888 w 6094516"/>
              <a:gd name="connsiteY31" fmla="*/ 10167 h 3487140"/>
              <a:gd name="connsiteX32" fmla="*/ 2291561 w 6094516"/>
              <a:gd name="connsiteY32" fmla="*/ 49800 h 3487140"/>
              <a:gd name="connsiteX33" fmla="*/ 2244526 w 6094516"/>
              <a:gd name="connsiteY33" fmla="*/ 86812 h 3487140"/>
              <a:gd name="connsiteX34" fmla="*/ 2008603 w 6094516"/>
              <a:gd name="connsiteY34" fmla="*/ 91886 h 3487140"/>
              <a:gd name="connsiteX35" fmla="*/ 1765070 w 6094516"/>
              <a:gd name="connsiteY35" fmla="*/ 75833 h 3487140"/>
              <a:gd name="connsiteX36" fmla="*/ 1657319 w 6094516"/>
              <a:gd name="connsiteY36" fmla="*/ 176931 h 3487140"/>
              <a:gd name="connsiteX37" fmla="*/ 1672581 w 6094516"/>
              <a:gd name="connsiteY37" fmla="*/ 370393 h 3487140"/>
              <a:gd name="connsiteX38" fmla="*/ 1617354 w 6094516"/>
              <a:gd name="connsiteY38" fmla="*/ 589348 h 3487140"/>
              <a:gd name="connsiteX39" fmla="*/ 1460820 w 6094516"/>
              <a:gd name="connsiteY39" fmla="*/ 903953 h 3487140"/>
              <a:gd name="connsiteX40" fmla="*/ 1250349 w 6094516"/>
              <a:gd name="connsiteY40" fmla="*/ 922501 h 3487140"/>
              <a:gd name="connsiteX41" fmla="*/ 1055930 w 6094516"/>
              <a:gd name="connsiteY41" fmla="*/ 866816 h 3487140"/>
              <a:gd name="connsiteX42" fmla="*/ 997085 w 6094516"/>
              <a:gd name="connsiteY42" fmla="*/ 751038 h 3487140"/>
              <a:gd name="connsiteX43" fmla="*/ 1009021 w 6094516"/>
              <a:gd name="connsiteY43" fmla="*/ 369436 h 3487140"/>
              <a:gd name="connsiteX44" fmla="*/ 1070694 w 6094516"/>
              <a:gd name="connsiteY44" fmla="*/ 155805 h 3487140"/>
              <a:gd name="connsiteX45" fmla="*/ 1272058 w 6094516"/>
              <a:gd name="connsiteY45" fmla="*/ 156761 h 3487140"/>
              <a:gd name="connsiteX46" fmla="*/ 1524989 w 6094516"/>
              <a:gd name="connsiteY46" fmla="*/ 245175 h 3487140"/>
              <a:gd name="connsiteX47" fmla="*/ 1694081 w 6094516"/>
              <a:gd name="connsiteY47" fmla="*/ 357792 h 3487140"/>
              <a:gd name="connsiteX48" fmla="*/ 1798672 w 6094516"/>
              <a:gd name="connsiteY48" fmla="*/ 483301 h 3487140"/>
              <a:gd name="connsiteX49" fmla="*/ 1822876 w 6094516"/>
              <a:gd name="connsiteY49" fmla="*/ 600951 h 3487140"/>
              <a:gd name="connsiteX50" fmla="*/ 1795345 w 6094516"/>
              <a:gd name="connsiteY50" fmla="*/ 761726 h 3487140"/>
              <a:gd name="connsiteX51" fmla="*/ 1967266 w 6094516"/>
              <a:gd name="connsiteY51" fmla="*/ 1160004 h 3487140"/>
              <a:gd name="connsiteX52" fmla="*/ 2390246 w 6094516"/>
              <a:gd name="connsiteY52" fmla="*/ 1793622 h 3487140"/>
              <a:gd name="connsiteX53" fmla="*/ 2807737 w 6094516"/>
              <a:gd name="connsiteY53" fmla="*/ 2087475 h 3487140"/>
              <a:gd name="connsiteX54" fmla="*/ 2917360 w 6094516"/>
              <a:gd name="connsiteY54" fmla="*/ 2185620 h 3487140"/>
              <a:gd name="connsiteX55" fmla="*/ 2804411 w 6094516"/>
              <a:gd name="connsiteY55" fmla="*/ 2468120 h 3487140"/>
              <a:gd name="connsiteX56" fmla="*/ 2638312 w 6094516"/>
              <a:gd name="connsiteY56" fmla="*/ 2505548 h 3487140"/>
              <a:gd name="connsiteX57" fmla="*/ 2329862 w 6094516"/>
              <a:gd name="connsiteY57" fmla="*/ 2278109 h 3487140"/>
              <a:gd name="connsiteX58" fmla="*/ 1885173 w 6094516"/>
              <a:gd name="connsiteY58" fmla="*/ 1678800 h 3487140"/>
              <a:gd name="connsiteX59" fmla="*/ 1765320 w 6094516"/>
              <a:gd name="connsiteY59" fmla="*/ 1175432 h 3487140"/>
              <a:gd name="connsiteX60" fmla="*/ 1919774 w 6094516"/>
              <a:gd name="connsiteY60" fmla="*/ 1377420 h 3487140"/>
              <a:gd name="connsiteX61" fmla="*/ 2281414 w 6094516"/>
              <a:gd name="connsiteY61" fmla="*/ 2268710 h 3487140"/>
              <a:gd name="connsiteX62" fmla="*/ 2601216 w 6094516"/>
              <a:gd name="connsiteY62" fmla="*/ 2693105 h 3487140"/>
              <a:gd name="connsiteX63" fmla="*/ 2834644 w 6094516"/>
              <a:gd name="connsiteY63" fmla="*/ 2746586 h 3487140"/>
              <a:gd name="connsiteX64" fmla="*/ 3001865 w 6094516"/>
              <a:gd name="connsiteY64" fmla="*/ 2631432 h 3487140"/>
              <a:gd name="connsiteX65" fmla="*/ 3013052 w 6094516"/>
              <a:gd name="connsiteY65" fmla="*/ 2436680 h 3487140"/>
              <a:gd name="connsiteX66" fmla="*/ 2859222 w 6094516"/>
              <a:gd name="connsiteY66" fmla="*/ 2309258 h 3487140"/>
              <a:gd name="connsiteX67" fmla="*/ 2652036 w 6094516"/>
              <a:gd name="connsiteY67" fmla="*/ 2375007 h 3487140"/>
              <a:gd name="connsiteX68" fmla="*/ 2629537 w 6094516"/>
              <a:gd name="connsiteY68" fmla="*/ 2581402 h 3487140"/>
              <a:gd name="connsiteX69" fmla="*/ 2772222 w 6094516"/>
              <a:gd name="connsiteY69" fmla="*/ 2671064 h 3487140"/>
              <a:gd name="connsiteX70" fmla="*/ 2868787 w 6094516"/>
              <a:gd name="connsiteY70" fmla="*/ 2596831 h 3487140"/>
              <a:gd name="connsiteX71" fmla="*/ 2835601 w 6094516"/>
              <a:gd name="connsiteY71" fmla="*/ 2530750 h 3487140"/>
              <a:gd name="connsiteX72" fmla="*/ 2713543 w 6094516"/>
              <a:gd name="connsiteY72" fmla="*/ 2615379 h 3487140"/>
              <a:gd name="connsiteX73" fmla="*/ 2567864 w 6094516"/>
              <a:gd name="connsiteY73" fmla="*/ 2907028 h 3487140"/>
              <a:gd name="connsiteX74" fmla="*/ 2520039 w 6094516"/>
              <a:gd name="connsiteY74" fmla="*/ 3008333 h 3487140"/>
              <a:gd name="connsiteX75" fmla="*/ 2484191 w 6094516"/>
              <a:gd name="connsiteY75" fmla="*/ 3024053 h 3487140"/>
              <a:gd name="connsiteX76" fmla="*/ 2389165 w 6094516"/>
              <a:gd name="connsiteY76" fmla="*/ 3013989 h 3487140"/>
              <a:gd name="connsiteX77" fmla="*/ 2396068 w 6094516"/>
              <a:gd name="connsiteY77" fmla="*/ 2956724 h 3487140"/>
              <a:gd name="connsiteX78" fmla="*/ 2584831 w 6094516"/>
              <a:gd name="connsiteY78" fmla="*/ 2951068 h 3487140"/>
              <a:gd name="connsiteX79" fmla="*/ 2671041 w 6094516"/>
              <a:gd name="connsiteY79" fmla="*/ 2951068 h 3487140"/>
              <a:gd name="connsiteX80" fmla="*/ 2752219 w 6094516"/>
              <a:gd name="connsiteY80" fmla="*/ 2822066 h 3487140"/>
              <a:gd name="connsiteX81" fmla="*/ 2892533 w 6094516"/>
              <a:gd name="connsiteY81" fmla="*/ 2789337 h 3487140"/>
              <a:gd name="connsiteX82" fmla="*/ 3020246 w 6094516"/>
              <a:gd name="connsiteY82" fmla="*/ 2713815 h 3487140"/>
              <a:gd name="connsiteX83" fmla="*/ 3106456 w 6094516"/>
              <a:gd name="connsiteY83" fmla="*/ 2544556 h 3487140"/>
              <a:gd name="connsiteX84" fmla="*/ 3326035 w 6094516"/>
              <a:gd name="connsiteY84" fmla="*/ 2482883 h 3487140"/>
              <a:gd name="connsiteX85" fmla="*/ 3861009 w 6094516"/>
              <a:gd name="connsiteY85" fmla="*/ 2466831 h 3487140"/>
              <a:gd name="connsiteX86" fmla="*/ 4016751 w 6094516"/>
              <a:gd name="connsiteY86" fmla="*/ 2420918 h 3487140"/>
              <a:gd name="connsiteX87" fmla="*/ 3866664 w 6094516"/>
              <a:gd name="connsiteY87" fmla="*/ 2252907 h 3487140"/>
              <a:gd name="connsiteX88" fmla="*/ 3391285 w 6094516"/>
              <a:gd name="connsiteY88" fmla="*/ 1791709 h 3487140"/>
              <a:gd name="connsiteX89" fmla="*/ 3127166 w 6094516"/>
              <a:gd name="connsiteY89" fmla="*/ 1600118 h 3487140"/>
              <a:gd name="connsiteX90" fmla="*/ 3003196 w 6094516"/>
              <a:gd name="connsiteY90" fmla="*/ 1733529 h 3487140"/>
              <a:gd name="connsiteX91" fmla="*/ 2940898 w 6094516"/>
              <a:gd name="connsiteY91" fmla="*/ 1995900 h 3487140"/>
              <a:gd name="connsiteX92" fmla="*/ 2981778 w 6094516"/>
              <a:gd name="connsiteY92" fmla="*/ 2048133 h 3487140"/>
              <a:gd name="connsiteX93" fmla="*/ 3044699 w 6094516"/>
              <a:gd name="connsiteY93" fmla="*/ 1778817 h 3487140"/>
              <a:gd name="connsiteX94" fmla="*/ 3166466 w 6094516"/>
              <a:gd name="connsiteY94" fmla="*/ 1356918 h 3487140"/>
              <a:gd name="connsiteX95" fmla="*/ 3272803 w 6094516"/>
              <a:gd name="connsiteY95" fmla="*/ 986960 h 3487140"/>
              <a:gd name="connsiteX96" fmla="*/ 3243526 w 6094516"/>
              <a:gd name="connsiteY96" fmla="*/ 867107 h 3487140"/>
              <a:gd name="connsiteX97" fmla="*/ 3068612 w 6094516"/>
              <a:gd name="connsiteY97" fmla="*/ 840034 h 3487140"/>
              <a:gd name="connsiteX98" fmla="*/ 2924513 w 6094516"/>
              <a:gd name="connsiteY98" fmla="*/ 782769 h 3487140"/>
              <a:gd name="connsiteX99" fmla="*/ 2940857 w 6094516"/>
              <a:gd name="connsiteY99" fmla="*/ 714816 h 3487140"/>
              <a:gd name="connsiteX100" fmla="*/ 3114524 w 6094516"/>
              <a:gd name="connsiteY100" fmla="*/ 723008 h 3487140"/>
              <a:gd name="connsiteX101" fmla="*/ 3317135 w 6094516"/>
              <a:gd name="connsiteY101" fmla="*/ 729288 h 3487140"/>
              <a:gd name="connsiteX102" fmla="*/ 3483857 w 6094516"/>
              <a:gd name="connsiteY102" fmla="*/ 682087 h 3487140"/>
              <a:gd name="connsiteX103" fmla="*/ 3601506 w 6094516"/>
              <a:gd name="connsiteY103" fmla="*/ 703463 h 3487140"/>
              <a:gd name="connsiteX104" fmla="*/ 3624171 w 6094516"/>
              <a:gd name="connsiteY104" fmla="*/ 797199 h 3487140"/>
              <a:gd name="connsiteX105" fmla="*/ 3496458 w 6094516"/>
              <a:gd name="connsiteY105" fmla="*/ 890936 h 3487140"/>
              <a:gd name="connsiteX106" fmla="*/ 3326575 w 6094516"/>
              <a:gd name="connsiteY106" fmla="*/ 918009 h 3487140"/>
              <a:gd name="connsiteX107" fmla="*/ 3198862 w 6094516"/>
              <a:gd name="connsiteY107" fmla="*/ 1002306 h 3487140"/>
              <a:gd name="connsiteX108" fmla="*/ 3097972 w 6094516"/>
              <a:gd name="connsiteY108" fmla="*/ 1299902 h 3487140"/>
              <a:gd name="connsiteX109" fmla="*/ 3159022 w 6094516"/>
              <a:gd name="connsiteY109" fmla="*/ 1545930 h 3487140"/>
              <a:gd name="connsiteX110" fmla="*/ 3371697 w 6094516"/>
              <a:gd name="connsiteY110" fmla="*/ 1536490 h 3487140"/>
              <a:gd name="connsiteX111" fmla="*/ 3551228 w 6094516"/>
              <a:gd name="connsiteY111" fmla="*/ 1376048 h 3487140"/>
              <a:gd name="connsiteX112" fmla="*/ 3554389 w 6094516"/>
              <a:gd name="connsiteY112" fmla="*/ 1231949 h 3487140"/>
              <a:gd name="connsiteX113" fmla="*/ 3336348 w 6094516"/>
              <a:gd name="connsiteY113" fmla="*/ 1191693 h 3487140"/>
              <a:gd name="connsiteX114" fmla="*/ 3344832 w 6094516"/>
              <a:gd name="connsiteY114" fmla="*/ 1255238 h 3487140"/>
              <a:gd name="connsiteX115" fmla="*/ 3769850 w 6094516"/>
              <a:gd name="connsiteY115" fmla="*/ 1241722 h 3487140"/>
              <a:gd name="connsiteX116" fmla="*/ 4254670 w 6094516"/>
              <a:gd name="connsiteY116" fmla="*/ 1259646 h 3487140"/>
              <a:gd name="connsiteX117" fmla="*/ 4484022 w 6094516"/>
              <a:gd name="connsiteY117" fmla="*/ 1236981 h 3487140"/>
              <a:gd name="connsiteX118" fmla="*/ 4465766 w 6094516"/>
              <a:gd name="connsiteY118" fmla="*/ 1185995 h 3487140"/>
              <a:gd name="connsiteX119" fmla="*/ 4105248 w 6094516"/>
              <a:gd name="connsiteY119" fmla="*/ 1177512 h 3487140"/>
              <a:gd name="connsiteX120" fmla="*/ 3734668 w 6094516"/>
              <a:gd name="connsiteY120" fmla="*/ 1331342 h 3487140"/>
              <a:gd name="connsiteX121" fmla="*/ 3388914 w 6094516"/>
              <a:gd name="connsiteY121" fmla="*/ 1604110 h 3487140"/>
              <a:gd name="connsiteX122" fmla="*/ 3156111 w 6094516"/>
              <a:gd name="connsiteY122" fmla="*/ 1921252 h 3487140"/>
              <a:gd name="connsiteX123" fmla="*/ 3060461 w 6094516"/>
              <a:gd name="connsiteY123" fmla="*/ 2419255 h 3487140"/>
              <a:gd name="connsiteX124" fmla="*/ 3290769 w 6094516"/>
              <a:gd name="connsiteY124" fmla="*/ 3048465 h 3487140"/>
              <a:gd name="connsiteX125" fmla="*/ 3868994 w 6094516"/>
              <a:gd name="connsiteY125" fmla="*/ 3394510 h 3487140"/>
              <a:gd name="connsiteX126" fmla="*/ 4507643 w 6094516"/>
              <a:gd name="connsiteY126" fmla="*/ 3330632 h 3487140"/>
              <a:gd name="connsiteX127" fmla="*/ 5002818 w 6094516"/>
              <a:gd name="connsiteY127" fmla="*/ 2841404 h 3487140"/>
              <a:gd name="connsiteX128" fmla="*/ 5036171 w 6094516"/>
              <a:gd name="connsiteY128" fmla="*/ 2052999 h 3487140"/>
              <a:gd name="connsiteX129" fmla="*/ 4605164 w 6094516"/>
              <a:gd name="connsiteY129" fmla="*/ 1482011 h 3487140"/>
              <a:gd name="connsiteX130" fmla="*/ 4138310 w 6094516"/>
              <a:gd name="connsiteY130" fmla="*/ 1352717 h 3487140"/>
              <a:gd name="connsiteX131" fmla="*/ 3977868 w 6094516"/>
              <a:gd name="connsiteY131" fmla="*/ 1466624 h 3487140"/>
              <a:gd name="connsiteX132" fmla="*/ 3999909 w 6094516"/>
              <a:gd name="connsiteY132" fmla="*/ 2001140 h 3487140"/>
              <a:gd name="connsiteX133" fmla="*/ 4033885 w 6094516"/>
              <a:gd name="connsiteY133" fmla="*/ 2313208 h 3487140"/>
              <a:gd name="connsiteX134" fmla="*/ 4125585 w 6094516"/>
              <a:gd name="connsiteY134" fmla="*/ 2399085 h 3487140"/>
              <a:gd name="connsiteX135" fmla="*/ 4230051 w 6094516"/>
              <a:gd name="connsiteY135" fmla="*/ 2362905 h 3487140"/>
              <a:gd name="connsiteX136" fmla="*/ 4194660 w 6094516"/>
              <a:gd name="connsiteY136" fmla="*/ 2271372 h 3487140"/>
              <a:gd name="connsiteX137" fmla="*/ 4097056 w 6094516"/>
              <a:gd name="connsiteY137" fmla="*/ 2303394 h 3487140"/>
              <a:gd name="connsiteX138" fmla="*/ 4080670 w 6094516"/>
              <a:gd name="connsiteY138" fmla="*/ 2437262 h 3487140"/>
              <a:gd name="connsiteX139" fmla="*/ 4079589 w 6094516"/>
              <a:gd name="connsiteY139" fmla="*/ 2519521 h 3487140"/>
              <a:gd name="connsiteX140" fmla="*/ 3900475 w 6094516"/>
              <a:gd name="connsiteY140" fmla="*/ 2539400 h 3487140"/>
              <a:gd name="connsiteX141" fmla="*/ 3490220 w 6094516"/>
              <a:gd name="connsiteY141" fmla="*/ 2545679 h 3487140"/>
              <a:gd name="connsiteX142" fmla="*/ 3249848 w 6094516"/>
              <a:gd name="connsiteY142" fmla="*/ 2602944 h 3487140"/>
              <a:gd name="connsiteX143" fmla="*/ 3240241 w 6094516"/>
              <a:gd name="connsiteY143" fmla="*/ 2790460 h 3487140"/>
              <a:gd name="connsiteX144" fmla="*/ 3433578 w 6094516"/>
              <a:gd name="connsiteY144" fmla="*/ 3133385 h 3487140"/>
              <a:gd name="connsiteX145" fmla="*/ 3925468 w 6094516"/>
              <a:gd name="connsiteY145" fmla="*/ 3465290 h 3487140"/>
              <a:gd name="connsiteX146" fmla="*/ 4666214 w 6094516"/>
              <a:gd name="connsiteY146" fmla="*/ 3390434 h 3487140"/>
              <a:gd name="connsiteX147" fmla="*/ 5106037 w 6094516"/>
              <a:gd name="connsiteY147" fmla="*/ 3017940 h 3487140"/>
              <a:gd name="connsiteX148" fmla="*/ 5420018 w 6094516"/>
              <a:gd name="connsiteY148" fmla="*/ 2655510 h 3487140"/>
              <a:gd name="connsiteX149" fmla="*/ 5792512 w 6094516"/>
              <a:gd name="connsiteY149" fmla="*/ 3163577 h 3487140"/>
              <a:gd name="connsiteX150" fmla="*/ 6016499 w 6094516"/>
              <a:gd name="connsiteY150" fmla="*/ 3255443 h 3487140"/>
              <a:gd name="connsiteX151" fmla="*/ 6094516 w 6094516"/>
              <a:gd name="connsiteY151" fmla="*/ 2786675 h 3487140"/>
              <a:gd name="connsiteX0" fmla="*/ 777215 w 6016499"/>
              <a:gd name="connsiteY0" fmla="*/ 3295741 h 3487140"/>
              <a:gd name="connsiteX1" fmla="*/ 526113 w 6016499"/>
              <a:gd name="connsiteY1" fmla="*/ 3112384 h 3487140"/>
              <a:gd name="connsiteX2" fmla="*/ 219950 w 6016499"/>
              <a:gd name="connsiteY2" fmla="*/ 2750287 h 3487140"/>
              <a:gd name="connsiteX3" fmla="*/ 128418 w 6016499"/>
              <a:gd name="connsiteY3" fmla="*/ 2305432 h 3487140"/>
              <a:gd name="connsiteX4" fmla="*/ 256006 w 6016499"/>
              <a:gd name="connsiteY4" fmla="*/ 1919713 h 3487140"/>
              <a:gd name="connsiteX5" fmla="*/ 580218 w 6016499"/>
              <a:gd name="connsiteY5" fmla="*/ 1637837 h 3487140"/>
              <a:gd name="connsiteX6" fmla="*/ 1073522 w 6016499"/>
              <a:gd name="connsiteY6" fmla="*/ 1545972 h 3487140"/>
              <a:gd name="connsiteX7" fmla="*/ 1308197 w 6016499"/>
              <a:gd name="connsiteY7" fmla="*/ 1517651 h 3487140"/>
              <a:gd name="connsiteX8" fmla="*/ 1292934 w 6016499"/>
              <a:gd name="connsiteY8" fmla="*/ 1460718 h 3487140"/>
              <a:gd name="connsiteX9" fmla="*/ 1016880 w 6016499"/>
              <a:gd name="connsiteY9" fmla="*/ 1416969 h 3487140"/>
              <a:gd name="connsiteX10" fmla="*/ 497460 w 6016499"/>
              <a:gd name="connsiteY10" fmla="*/ 1517318 h 3487140"/>
              <a:gd name="connsiteX11" fmla="*/ 88162 w 6016499"/>
              <a:gd name="connsiteY11" fmla="*/ 1960593 h 3487140"/>
              <a:gd name="connsiteX12" fmla="*/ 28692 w 6016499"/>
              <a:gd name="connsiteY12" fmla="*/ 2569342 h 3487140"/>
              <a:gd name="connsiteX13" fmla="*/ 442399 w 6016499"/>
              <a:gd name="connsiteY13" fmla="*/ 3165532 h 3487140"/>
              <a:gd name="connsiteX14" fmla="*/ 1232384 w 6016499"/>
              <a:gd name="connsiteY14" fmla="*/ 3283181 h 3487140"/>
              <a:gd name="connsiteX15" fmla="*/ 1835020 w 6016499"/>
              <a:gd name="connsiteY15" fmla="*/ 2757481 h 3487140"/>
              <a:gd name="connsiteX16" fmla="*/ 1824789 w 6016499"/>
              <a:gd name="connsiteY16" fmla="*/ 1980430 h 3487140"/>
              <a:gd name="connsiteX17" fmla="*/ 1494755 w 6016499"/>
              <a:gd name="connsiteY17" fmla="*/ 1589139 h 3487140"/>
              <a:gd name="connsiteX18" fmla="*/ 1305701 w 6016499"/>
              <a:gd name="connsiteY18" fmla="*/ 1660710 h 3487140"/>
              <a:gd name="connsiteX19" fmla="*/ 1197284 w 6016499"/>
              <a:gd name="connsiteY19" fmla="*/ 2116627 h 3487140"/>
              <a:gd name="connsiteX20" fmla="*/ 973921 w 6016499"/>
              <a:gd name="connsiteY20" fmla="*/ 2374258 h 3487140"/>
              <a:gd name="connsiteX21" fmla="*/ 918985 w 6016499"/>
              <a:gd name="connsiteY21" fmla="*/ 2276986 h 3487140"/>
              <a:gd name="connsiteX22" fmla="*/ 1298257 w 6016499"/>
              <a:gd name="connsiteY22" fmla="*/ 2021601 h 3487140"/>
              <a:gd name="connsiteX23" fmla="*/ 1558176 w 6016499"/>
              <a:gd name="connsiteY23" fmla="*/ 1234153 h 3487140"/>
              <a:gd name="connsiteX24" fmla="*/ 1788276 w 6016499"/>
              <a:gd name="connsiteY24" fmla="*/ 725296 h 3487140"/>
              <a:gd name="connsiteX25" fmla="*/ 1896859 w 6016499"/>
              <a:gd name="connsiteY25" fmla="*/ 539984 h 3487140"/>
              <a:gd name="connsiteX26" fmla="*/ 1865711 w 6016499"/>
              <a:gd name="connsiteY26" fmla="*/ 435851 h 3487140"/>
              <a:gd name="connsiteX27" fmla="*/ 1759373 w 6016499"/>
              <a:gd name="connsiteY27" fmla="*/ 350265 h 3487140"/>
              <a:gd name="connsiteX28" fmla="*/ 1714085 w 6016499"/>
              <a:gd name="connsiteY28" fmla="*/ 209327 h 3487140"/>
              <a:gd name="connsiteX29" fmla="*/ 1758915 w 6016499"/>
              <a:gd name="connsiteY29" fmla="*/ 82237 h 3487140"/>
              <a:gd name="connsiteX30" fmla="*/ 1939195 w 6016499"/>
              <a:gd name="connsiteY30" fmla="*/ 6716 h 3487140"/>
              <a:gd name="connsiteX31" fmla="*/ 2207888 w 6016499"/>
              <a:gd name="connsiteY31" fmla="*/ 10167 h 3487140"/>
              <a:gd name="connsiteX32" fmla="*/ 2291561 w 6016499"/>
              <a:gd name="connsiteY32" fmla="*/ 49800 h 3487140"/>
              <a:gd name="connsiteX33" fmla="*/ 2244526 w 6016499"/>
              <a:gd name="connsiteY33" fmla="*/ 86812 h 3487140"/>
              <a:gd name="connsiteX34" fmla="*/ 2008603 w 6016499"/>
              <a:gd name="connsiteY34" fmla="*/ 91886 h 3487140"/>
              <a:gd name="connsiteX35" fmla="*/ 1765070 w 6016499"/>
              <a:gd name="connsiteY35" fmla="*/ 75833 h 3487140"/>
              <a:gd name="connsiteX36" fmla="*/ 1657319 w 6016499"/>
              <a:gd name="connsiteY36" fmla="*/ 176931 h 3487140"/>
              <a:gd name="connsiteX37" fmla="*/ 1672581 w 6016499"/>
              <a:gd name="connsiteY37" fmla="*/ 370393 h 3487140"/>
              <a:gd name="connsiteX38" fmla="*/ 1617354 w 6016499"/>
              <a:gd name="connsiteY38" fmla="*/ 589348 h 3487140"/>
              <a:gd name="connsiteX39" fmla="*/ 1460820 w 6016499"/>
              <a:gd name="connsiteY39" fmla="*/ 903953 h 3487140"/>
              <a:gd name="connsiteX40" fmla="*/ 1250349 w 6016499"/>
              <a:gd name="connsiteY40" fmla="*/ 922501 h 3487140"/>
              <a:gd name="connsiteX41" fmla="*/ 1055930 w 6016499"/>
              <a:gd name="connsiteY41" fmla="*/ 866816 h 3487140"/>
              <a:gd name="connsiteX42" fmla="*/ 997085 w 6016499"/>
              <a:gd name="connsiteY42" fmla="*/ 751038 h 3487140"/>
              <a:gd name="connsiteX43" fmla="*/ 1009021 w 6016499"/>
              <a:gd name="connsiteY43" fmla="*/ 369436 h 3487140"/>
              <a:gd name="connsiteX44" fmla="*/ 1070694 w 6016499"/>
              <a:gd name="connsiteY44" fmla="*/ 155805 h 3487140"/>
              <a:gd name="connsiteX45" fmla="*/ 1272058 w 6016499"/>
              <a:gd name="connsiteY45" fmla="*/ 156761 h 3487140"/>
              <a:gd name="connsiteX46" fmla="*/ 1524989 w 6016499"/>
              <a:gd name="connsiteY46" fmla="*/ 245175 h 3487140"/>
              <a:gd name="connsiteX47" fmla="*/ 1694081 w 6016499"/>
              <a:gd name="connsiteY47" fmla="*/ 357792 h 3487140"/>
              <a:gd name="connsiteX48" fmla="*/ 1798672 w 6016499"/>
              <a:gd name="connsiteY48" fmla="*/ 483301 h 3487140"/>
              <a:gd name="connsiteX49" fmla="*/ 1822876 w 6016499"/>
              <a:gd name="connsiteY49" fmla="*/ 600951 h 3487140"/>
              <a:gd name="connsiteX50" fmla="*/ 1795345 w 6016499"/>
              <a:gd name="connsiteY50" fmla="*/ 761726 h 3487140"/>
              <a:gd name="connsiteX51" fmla="*/ 1967266 w 6016499"/>
              <a:gd name="connsiteY51" fmla="*/ 1160004 h 3487140"/>
              <a:gd name="connsiteX52" fmla="*/ 2390246 w 6016499"/>
              <a:gd name="connsiteY52" fmla="*/ 1793622 h 3487140"/>
              <a:gd name="connsiteX53" fmla="*/ 2807737 w 6016499"/>
              <a:gd name="connsiteY53" fmla="*/ 2087475 h 3487140"/>
              <a:gd name="connsiteX54" fmla="*/ 2917360 w 6016499"/>
              <a:gd name="connsiteY54" fmla="*/ 2185620 h 3487140"/>
              <a:gd name="connsiteX55" fmla="*/ 2804411 w 6016499"/>
              <a:gd name="connsiteY55" fmla="*/ 2468120 h 3487140"/>
              <a:gd name="connsiteX56" fmla="*/ 2638312 w 6016499"/>
              <a:gd name="connsiteY56" fmla="*/ 2505548 h 3487140"/>
              <a:gd name="connsiteX57" fmla="*/ 2329862 w 6016499"/>
              <a:gd name="connsiteY57" fmla="*/ 2278109 h 3487140"/>
              <a:gd name="connsiteX58" fmla="*/ 1885173 w 6016499"/>
              <a:gd name="connsiteY58" fmla="*/ 1678800 h 3487140"/>
              <a:gd name="connsiteX59" fmla="*/ 1765320 w 6016499"/>
              <a:gd name="connsiteY59" fmla="*/ 1175432 h 3487140"/>
              <a:gd name="connsiteX60" fmla="*/ 1919774 w 6016499"/>
              <a:gd name="connsiteY60" fmla="*/ 1377420 h 3487140"/>
              <a:gd name="connsiteX61" fmla="*/ 2281414 w 6016499"/>
              <a:gd name="connsiteY61" fmla="*/ 2268710 h 3487140"/>
              <a:gd name="connsiteX62" fmla="*/ 2601216 w 6016499"/>
              <a:gd name="connsiteY62" fmla="*/ 2693105 h 3487140"/>
              <a:gd name="connsiteX63" fmla="*/ 2834644 w 6016499"/>
              <a:gd name="connsiteY63" fmla="*/ 2746586 h 3487140"/>
              <a:gd name="connsiteX64" fmla="*/ 3001865 w 6016499"/>
              <a:gd name="connsiteY64" fmla="*/ 2631432 h 3487140"/>
              <a:gd name="connsiteX65" fmla="*/ 3013052 w 6016499"/>
              <a:gd name="connsiteY65" fmla="*/ 2436680 h 3487140"/>
              <a:gd name="connsiteX66" fmla="*/ 2859222 w 6016499"/>
              <a:gd name="connsiteY66" fmla="*/ 2309258 h 3487140"/>
              <a:gd name="connsiteX67" fmla="*/ 2652036 w 6016499"/>
              <a:gd name="connsiteY67" fmla="*/ 2375007 h 3487140"/>
              <a:gd name="connsiteX68" fmla="*/ 2629537 w 6016499"/>
              <a:gd name="connsiteY68" fmla="*/ 2581402 h 3487140"/>
              <a:gd name="connsiteX69" fmla="*/ 2772222 w 6016499"/>
              <a:gd name="connsiteY69" fmla="*/ 2671064 h 3487140"/>
              <a:gd name="connsiteX70" fmla="*/ 2868787 w 6016499"/>
              <a:gd name="connsiteY70" fmla="*/ 2596831 h 3487140"/>
              <a:gd name="connsiteX71" fmla="*/ 2835601 w 6016499"/>
              <a:gd name="connsiteY71" fmla="*/ 2530750 h 3487140"/>
              <a:gd name="connsiteX72" fmla="*/ 2713543 w 6016499"/>
              <a:gd name="connsiteY72" fmla="*/ 2615379 h 3487140"/>
              <a:gd name="connsiteX73" fmla="*/ 2567864 w 6016499"/>
              <a:gd name="connsiteY73" fmla="*/ 2907028 h 3487140"/>
              <a:gd name="connsiteX74" fmla="*/ 2520039 w 6016499"/>
              <a:gd name="connsiteY74" fmla="*/ 3008333 h 3487140"/>
              <a:gd name="connsiteX75" fmla="*/ 2484191 w 6016499"/>
              <a:gd name="connsiteY75" fmla="*/ 3024053 h 3487140"/>
              <a:gd name="connsiteX76" fmla="*/ 2389165 w 6016499"/>
              <a:gd name="connsiteY76" fmla="*/ 3013989 h 3487140"/>
              <a:gd name="connsiteX77" fmla="*/ 2396068 w 6016499"/>
              <a:gd name="connsiteY77" fmla="*/ 2956724 h 3487140"/>
              <a:gd name="connsiteX78" fmla="*/ 2584831 w 6016499"/>
              <a:gd name="connsiteY78" fmla="*/ 2951068 h 3487140"/>
              <a:gd name="connsiteX79" fmla="*/ 2671041 w 6016499"/>
              <a:gd name="connsiteY79" fmla="*/ 2951068 h 3487140"/>
              <a:gd name="connsiteX80" fmla="*/ 2752219 w 6016499"/>
              <a:gd name="connsiteY80" fmla="*/ 2822066 h 3487140"/>
              <a:gd name="connsiteX81" fmla="*/ 2892533 w 6016499"/>
              <a:gd name="connsiteY81" fmla="*/ 2789337 h 3487140"/>
              <a:gd name="connsiteX82" fmla="*/ 3020246 w 6016499"/>
              <a:gd name="connsiteY82" fmla="*/ 2713815 h 3487140"/>
              <a:gd name="connsiteX83" fmla="*/ 3106456 w 6016499"/>
              <a:gd name="connsiteY83" fmla="*/ 2544556 h 3487140"/>
              <a:gd name="connsiteX84" fmla="*/ 3326035 w 6016499"/>
              <a:gd name="connsiteY84" fmla="*/ 2482883 h 3487140"/>
              <a:gd name="connsiteX85" fmla="*/ 3861009 w 6016499"/>
              <a:gd name="connsiteY85" fmla="*/ 2466831 h 3487140"/>
              <a:gd name="connsiteX86" fmla="*/ 4016751 w 6016499"/>
              <a:gd name="connsiteY86" fmla="*/ 2420918 h 3487140"/>
              <a:gd name="connsiteX87" fmla="*/ 3866664 w 6016499"/>
              <a:gd name="connsiteY87" fmla="*/ 2252907 h 3487140"/>
              <a:gd name="connsiteX88" fmla="*/ 3391285 w 6016499"/>
              <a:gd name="connsiteY88" fmla="*/ 1791709 h 3487140"/>
              <a:gd name="connsiteX89" fmla="*/ 3127166 w 6016499"/>
              <a:gd name="connsiteY89" fmla="*/ 1600118 h 3487140"/>
              <a:gd name="connsiteX90" fmla="*/ 3003196 w 6016499"/>
              <a:gd name="connsiteY90" fmla="*/ 1733529 h 3487140"/>
              <a:gd name="connsiteX91" fmla="*/ 2940898 w 6016499"/>
              <a:gd name="connsiteY91" fmla="*/ 1995900 h 3487140"/>
              <a:gd name="connsiteX92" fmla="*/ 2981778 w 6016499"/>
              <a:gd name="connsiteY92" fmla="*/ 2048133 h 3487140"/>
              <a:gd name="connsiteX93" fmla="*/ 3044699 w 6016499"/>
              <a:gd name="connsiteY93" fmla="*/ 1778817 h 3487140"/>
              <a:gd name="connsiteX94" fmla="*/ 3166466 w 6016499"/>
              <a:gd name="connsiteY94" fmla="*/ 1356918 h 3487140"/>
              <a:gd name="connsiteX95" fmla="*/ 3272803 w 6016499"/>
              <a:gd name="connsiteY95" fmla="*/ 986960 h 3487140"/>
              <a:gd name="connsiteX96" fmla="*/ 3243526 w 6016499"/>
              <a:gd name="connsiteY96" fmla="*/ 867107 h 3487140"/>
              <a:gd name="connsiteX97" fmla="*/ 3068612 w 6016499"/>
              <a:gd name="connsiteY97" fmla="*/ 840034 h 3487140"/>
              <a:gd name="connsiteX98" fmla="*/ 2924513 w 6016499"/>
              <a:gd name="connsiteY98" fmla="*/ 782769 h 3487140"/>
              <a:gd name="connsiteX99" fmla="*/ 2940857 w 6016499"/>
              <a:gd name="connsiteY99" fmla="*/ 714816 h 3487140"/>
              <a:gd name="connsiteX100" fmla="*/ 3114524 w 6016499"/>
              <a:gd name="connsiteY100" fmla="*/ 723008 h 3487140"/>
              <a:gd name="connsiteX101" fmla="*/ 3317135 w 6016499"/>
              <a:gd name="connsiteY101" fmla="*/ 729288 h 3487140"/>
              <a:gd name="connsiteX102" fmla="*/ 3483857 w 6016499"/>
              <a:gd name="connsiteY102" fmla="*/ 682087 h 3487140"/>
              <a:gd name="connsiteX103" fmla="*/ 3601506 w 6016499"/>
              <a:gd name="connsiteY103" fmla="*/ 703463 h 3487140"/>
              <a:gd name="connsiteX104" fmla="*/ 3624171 w 6016499"/>
              <a:gd name="connsiteY104" fmla="*/ 797199 h 3487140"/>
              <a:gd name="connsiteX105" fmla="*/ 3496458 w 6016499"/>
              <a:gd name="connsiteY105" fmla="*/ 890936 h 3487140"/>
              <a:gd name="connsiteX106" fmla="*/ 3326575 w 6016499"/>
              <a:gd name="connsiteY106" fmla="*/ 918009 h 3487140"/>
              <a:gd name="connsiteX107" fmla="*/ 3198862 w 6016499"/>
              <a:gd name="connsiteY107" fmla="*/ 1002306 h 3487140"/>
              <a:gd name="connsiteX108" fmla="*/ 3097972 w 6016499"/>
              <a:gd name="connsiteY108" fmla="*/ 1299902 h 3487140"/>
              <a:gd name="connsiteX109" fmla="*/ 3159022 w 6016499"/>
              <a:gd name="connsiteY109" fmla="*/ 1545930 h 3487140"/>
              <a:gd name="connsiteX110" fmla="*/ 3371697 w 6016499"/>
              <a:gd name="connsiteY110" fmla="*/ 1536490 h 3487140"/>
              <a:gd name="connsiteX111" fmla="*/ 3551228 w 6016499"/>
              <a:gd name="connsiteY111" fmla="*/ 1376048 h 3487140"/>
              <a:gd name="connsiteX112" fmla="*/ 3554389 w 6016499"/>
              <a:gd name="connsiteY112" fmla="*/ 1231949 h 3487140"/>
              <a:gd name="connsiteX113" fmla="*/ 3336348 w 6016499"/>
              <a:gd name="connsiteY113" fmla="*/ 1191693 h 3487140"/>
              <a:gd name="connsiteX114" fmla="*/ 3344832 w 6016499"/>
              <a:gd name="connsiteY114" fmla="*/ 1255238 h 3487140"/>
              <a:gd name="connsiteX115" fmla="*/ 3769850 w 6016499"/>
              <a:gd name="connsiteY115" fmla="*/ 1241722 h 3487140"/>
              <a:gd name="connsiteX116" fmla="*/ 4254670 w 6016499"/>
              <a:gd name="connsiteY116" fmla="*/ 1259646 h 3487140"/>
              <a:gd name="connsiteX117" fmla="*/ 4484022 w 6016499"/>
              <a:gd name="connsiteY117" fmla="*/ 1236981 h 3487140"/>
              <a:gd name="connsiteX118" fmla="*/ 4465766 w 6016499"/>
              <a:gd name="connsiteY118" fmla="*/ 1185995 h 3487140"/>
              <a:gd name="connsiteX119" fmla="*/ 4105248 w 6016499"/>
              <a:gd name="connsiteY119" fmla="*/ 1177512 h 3487140"/>
              <a:gd name="connsiteX120" fmla="*/ 3734668 w 6016499"/>
              <a:gd name="connsiteY120" fmla="*/ 1331342 h 3487140"/>
              <a:gd name="connsiteX121" fmla="*/ 3388914 w 6016499"/>
              <a:gd name="connsiteY121" fmla="*/ 1604110 h 3487140"/>
              <a:gd name="connsiteX122" fmla="*/ 3156111 w 6016499"/>
              <a:gd name="connsiteY122" fmla="*/ 1921252 h 3487140"/>
              <a:gd name="connsiteX123" fmla="*/ 3060461 w 6016499"/>
              <a:gd name="connsiteY123" fmla="*/ 2419255 h 3487140"/>
              <a:gd name="connsiteX124" fmla="*/ 3290769 w 6016499"/>
              <a:gd name="connsiteY124" fmla="*/ 3048465 h 3487140"/>
              <a:gd name="connsiteX125" fmla="*/ 3868994 w 6016499"/>
              <a:gd name="connsiteY125" fmla="*/ 3394510 h 3487140"/>
              <a:gd name="connsiteX126" fmla="*/ 4507643 w 6016499"/>
              <a:gd name="connsiteY126" fmla="*/ 3330632 h 3487140"/>
              <a:gd name="connsiteX127" fmla="*/ 5002818 w 6016499"/>
              <a:gd name="connsiteY127" fmla="*/ 2841404 h 3487140"/>
              <a:gd name="connsiteX128" fmla="*/ 5036171 w 6016499"/>
              <a:gd name="connsiteY128" fmla="*/ 2052999 h 3487140"/>
              <a:gd name="connsiteX129" fmla="*/ 4605164 w 6016499"/>
              <a:gd name="connsiteY129" fmla="*/ 1482011 h 3487140"/>
              <a:gd name="connsiteX130" fmla="*/ 4138310 w 6016499"/>
              <a:gd name="connsiteY130" fmla="*/ 1352717 h 3487140"/>
              <a:gd name="connsiteX131" fmla="*/ 3977868 w 6016499"/>
              <a:gd name="connsiteY131" fmla="*/ 1466624 h 3487140"/>
              <a:gd name="connsiteX132" fmla="*/ 3999909 w 6016499"/>
              <a:gd name="connsiteY132" fmla="*/ 2001140 h 3487140"/>
              <a:gd name="connsiteX133" fmla="*/ 4033885 w 6016499"/>
              <a:gd name="connsiteY133" fmla="*/ 2313208 h 3487140"/>
              <a:gd name="connsiteX134" fmla="*/ 4125585 w 6016499"/>
              <a:gd name="connsiteY134" fmla="*/ 2399085 h 3487140"/>
              <a:gd name="connsiteX135" fmla="*/ 4230051 w 6016499"/>
              <a:gd name="connsiteY135" fmla="*/ 2362905 h 3487140"/>
              <a:gd name="connsiteX136" fmla="*/ 4194660 w 6016499"/>
              <a:gd name="connsiteY136" fmla="*/ 2271372 h 3487140"/>
              <a:gd name="connsiteX137" fmla="*/ 4097056 w 6016499"/>
              <a:gd name="connsiteY137" fmla="*/ 2303394 h 3487140"/>
              <a:gd name="connsiteX138" fmla="*/ 4080670 w 6016499"/>
              <a:gd name="connsiteY138" fmla="*/ 2437262 h 3487140"/>
              <a:gd name="connsiteX139" fmla="*/ 4079589 w 6016499"/>
              <a:gd name="connsiteY139" fmla="*/ 2519521 h 3487140"/>
              <a:gd name="connsiteX140" fmla="*/ 3900475 w 6016499"/>
              <a:gd name="connsiteY140" fmla="*/ 2539400 h 3487140"/>
              <a:gd name="connsiteX141" fmla="*/ 3490220 w 6016499"/>
              <a:gd name="connsiteY141" fmla="*/ 2545679 h 3487140"/>
              <a:gd name="connsiteX142" fmla="*/ 3249848 w 6016499"/>
              <a:gd name="connsiteY142" fmla="*/ 2602944 h 3487140"/>
              <a:gd name="connsiteX143" fmla="*/ 3240241 w 6016499"/>
              <a:gd name="connsiteY143" fmla="*/ 2790460 h 3487140"/>
              <a:gd name="connsiteX144" fmla="*/ 3433578 w 6016499"/>
              <a:gd name="connsiteY144" fmla="*/ 3133385 h 3487140"/>
              <a:gd name="connsiteX145" fmla="*/ 3925468 w 6016499"/>
              <a:gd name="connsiteY145" fmla="*/ 3465290 h 3487140"/>
              <a:gd name="connsiteX146" fmla="*/ 4666214 w 6016499"/>
              <a:gd name="connsiteY146" fmla="*/ 3390434 h 3487140"/>
              <a:gd name="connsiteX147" fmla="*/ 5106037 w 6016499"/>
              <a:gd name="connsiteY147" fmla="*/ 3017940 h 3487140"/>
              <a:gd name="connsiteX148" fmla="*/ 5420018 w 6016499"/>
              <a:gd name="connsiteY148" fmla="*/ 2655510 h 3487140"/>
              <a:gd name="connsiteX149" fmla="*/ 5792512 w 6016499"/>
              <a:gd name="connsiteY149" fmla="*/ 3163577 h 3487140"/>
              <a:gd name="connsiteX150" fmla="*/ 6016499 w 6016499"/>
              <a:gd name="connsiteY150" fmla="*/ 3255443 h 3487140"/>
              <a:gd name="connsiteX0" fmla="*/ 777215 w 5792512"/>
              <a:gd name="connsiteY0" fmla="*/ 3295741 h 3487140"/>
              <a:gd name="connsiteX1" fmla="*/ 526113 w 5792512"/>
              <a:gd name="connsiteY1" fmla="*/ 3112384 h 3487140"/>
              <a:gd name="connsiteX2" fmla="*/ 219950 w 5792512"/>
              <a:gd name="connsiteY2" fmla="*/ 2750287 h 3487140"/>
              <a:gd name="connsiteX3" fmla="*/ 128418 w 5792512"/>
              <a:gd name="connsiteY3" fmla="*/ 2305432 h 3487140"/>
              <a:gd name="connsiteX4" fmla="*/ 256006 w 5792512"/>
              <a:gd name="connsiteY4" fmla="*/ 1919713 h 3487140"/>
              <a:gd name="connsiteX5" fmla="*/ 580218 w 5792512"/>
              <a:gd name="connsiteY5" fmla="*/ 1637837 h 3487140"/>
              <a:gd name="connsiteX6" fmla="*/ 1073522 w 5792512"/>
              <a:gd name="connsiteY6" fmla="*/ 1545972 h 3487140"/>
              <a:gd name="connsiteX7" fmla="*/ 1308197 w 5792512"/>
              <a:gd name="connsiteY7" fmla="*/ 1517651 h 3487140"/>
              <a:gd name="connsiteX8" fmla="*/ 1292934 w 5792512"/>
              <a:gd name="connsiteY8" fmla="*/ 1460718 h 3487140"/>
              <a:gd name="connsiteX9" fmla="*/ 1016880 w 5792512"/>
              <a:gd name="connsiteY9" fmla="*/ 1416969 h 3487140"/>
              <a:gd name="connsiteX10" fmla="*/ 497460 w 5792512"/>
              <a:gd name="connsiteY10" fmla="*/ 1517318 h 3487140"/>
              <a:gd name="connsiteX11" fmla="*/ 88162 w 5792512"/>
              <a:gd name="connsiteY11" fmla="*/ 1960593 h 3487140"/>
              <a:gd name="connsiteX12" fmla="*/ 28692 w 5792512"/>
              <a:gd name="connsiteY12" fmla="*/ 2569342 h 3487140"/>
              <a:gd name="connsiteX13" fmla="*/ 442399 w 5792512"/>
              <a:gd name="connsiteY13" fmla="*/ 3165532 h 3487140"/>
              <a:gd name="connsiteX14" fmla="*/ 1232384 w 5792512"/>
              <a:gd name="connsiteY14" fmla="*/ 3283181 h 3487140"/>
              <a:gd name="connsiteX15" fmla="*/ 1835020 w 5792512"/>
              <a:gd name="connsiteY15" fmla="*/ 2757481 h 3487140"/>
              <a:gd name="connsiteX16" fmla="*/ 1824789 w 5792512"/>
              <a:gd name="connsiteY16" fmla="*/ 1980430 h 3487140"/>
              <a:gd name="connsiteX17" fmla="*/ 1494755 w 5792512"/>
              <a:gd name="connsiteY17" fmla="*/ 1589139 h 3487140"/>
              <a:gd name="connsiteX18" fmla="*/ 1305701 w 5792512"/>
              <a:gd name="connsiteY18" fmla="*/ 1660710 h 3487140"/>
              <a:gd name="connsiteX19" fmla="*/ 1197284 w 5792512"/>
              <a:gd name="connsiteY19" fmla="*/ 2116627 h 3487140"/>
              <a:gd name="connsiteX20" fmla="*/ 973921 w 5792512"/>
              <a:gd name="connsiteY20" fmla="*/ 2374258 h 3487140"/>
              <a:gd name="connsiteX21" fmla="*/ 918985 w 5792512"/>
              <a:gd name="connsiteY21" fmla="*/ 2276986 h 3487140"/>
              <a:gd name="connsiteX22" fmla="*/ 1298257 w 5792512"/>
              <a:gd name="connsiteY22" fmla="*/ 2021601 h 3487140"/>
              <a:gd name="connsiteX23" fmla="*/ 1558176 w 5792512"/>
              <a:gd name="connsiteY23" fmla="*/ 1234153 h 3487140"/>
              <a:gd name="connsiteX24" fmla="*/ 1788276 w 5792512"/>
              <a:gd name="connsiteY24" fmla="*/ 725296 h 3487140"/>
              <a:gd name="connsiteX25" fmla="*/ 1896859 w 5792512"/>
              <a:gd name="connsiteY25" fmla="*/ 539984 h 3487140"/>
              <a:gd name="connsiteX26" fmla="*/ 1865711 w 5792512"/>
              <a:gd name="connsiteY26" fmla="*/ 435851 h 3487140"/>
              <a:gd name="connsiteX27" fmla="*/ 1759373 w 5792512"/>
              <a:gd name="connsiteY27" fmla="*/ 350265 h 3487140"/>
              <a:gd name="connsiteX28" fmla="*/ 1714085 w 5792512"/>
              <a:gd name="connsiteY28" fmla="*/ 209327 h 3487140"/>
              <a:gd name="connsiteX29" fmla="*/ 1758915 w 5792512"/>
              <a:gd name="connsiteY29" fmla="*/ 82237 h 3487140"/>
              <a:gd name="connsiteX30" fmla="*/ 1939195 w 5792512"/>
              <a:gd name="connsiteY30" fmla="*/ 6716 h 3487140"/>
              <a:gd name="connsiteX31" fmla="*/ 2207888 w 5792512"/>
              <a:gd name="connsiteY31" fmla="*/ 10167 h 3487140"/>
              <a:gd name="connsiteX32" fmla="*/ 2291561 w 5792512"/>
              <a:gd name="connsiteY32" fmla="*/ 49800 h 3487140"/>
              <a:gd name="connsiteX33" fmla="*/ 2244526 w 5792512"/>
              <a:gd name="connsiteY33" fmla="*/ 86812 h 3487140"/>
              <a:gd name="connsiteX34" fmla="*/ 2008603 w 5792512"/>
              <a:gd name="connsiteY34" fmla="*/ 91886 h 3487140"/>
              <a:gd name="connsiteX35" fmla="*/ 1765070 w 5792512"/>
              <a:gd name="connsiteY35" fmla="*/ 75833 h 3487140"/>
              <a:gd name="connsiteX36" fmla="*/ 1657319 w 5792512"/>
              <a:gd name="connsiteY36" fmla="*/ 176931 h 3487140"/>
              <a:gd name="connsiteX37" fmla="*/ 1672581 w 5792512"/>
              <a:gd name="connsiteY37" fmla="*/ 370393 h 3487140"/>
              <a:gd name="connsiteX38" fmla="*/ 1617354 w 5792512"/>
              <a:gd name="connsiteY38" fmla="*/ 589348 h 3487140"/>
              <a:gd name="connsiteX39" fmla="*/ 1460820 w 5792512"/>
              <a:gd name="connsiteY39" fmla="*/ 903953 h 3487140"/>
              <a:gd name="connsiteX40" fmla="*/ 1250349 w 5792512"/>
              <a:gd name="connsiteY40" fmla="*/ 922501 h 3487140"/>
              <a:gd name="connsiteX41" fmla="*/ 1055930 w 5792512"/>
              <a:gd name="connsiteY41" fmla="*/ 866816 h 3487140"/>
              <a:gd name="connsiteX42" fmla="*/ 997085 w 5792512"/>
              <a:gd name="connsiteY42" fmla="*/ 751038 h 3487140"/>
              <a:gd name="connsiteX43" fmla="*/ 1009021 w 5792512"/>
              <a:gd name="connsiteY43" fmla="*/ 369436 h 3487140"/>
              <a:gd name="connsiteX44" fmla="*/ 1070694 w 5792512"/>
              <a:gd name="connsiteY44" fmla="*/ 155805 h 3487140"/>
              <a:gd name="connsiteX45" fmla="*/ 1272058 w 5792512"/>
              <a:gd name="connsiteY45" fmla="*/ 156761 h 3487140"/>
              <a:gd name="connsiteX46" fmla="*/ 1524989 w 5792512"/>
              <a:gd name="connsiteY46" fmla="*/ 245175 h 3487140"/>
              <a:gd name="connsiteX47" fmla="*/ 1694081 w 5792512"/>
              <a:gd name="connsiteY47" fmla="*/ 357792 h 3487140"/>
              <a:gd name="connsiteX48" fmla="*/ 1798672 w 5792512"/>
              <a:gd name="connsiteY48" fmla="*/ 483301 h 3487140"/>
              <a:gd name="connsiteX49" fmla="*/ 1822876 w 5792512"/>
              <a:gd name="connsiteY49" fmla="*/ 600951 h 3487140"/>
              <a:gd name="connsiteX50" fmla="*/ 1795345 w 5792512"/>
              <a:gd name="connsiteY50" fmla="*/ 761726 h 3487140"/>
              <a:gd name="connsiteX51" fmla="*/ 1967266 w 5792512"/>
              <a:gd name="connsiteY51" fmla="*/ 1160004 h 3487140"/>
              <a:gd name="connsiteX52" fmla="*/ 2390246 w 5792512"/>
              <a:gd name="connsiteY52" fmla="*/ 1793622 h 3487140"/>
              <a:gd name="connsiteX53" fmla="*/ 2807737 w 5792512"/>
              <a:gd name="connsiteY53" fmla="*/ 2087475 h 3487140"/>
              <a:gd name="connsiteX54" fmla="*/ 2917360 w 5792512"/>
              <a:gd name="connsiteY54" fmla="*/ 2185620 h 3487140"/>
              <a:gd name="connsiteX55" fmla="*/ 2804411 w 5792512"/>
              <a:gd name="connsiteY55" fmla="*/ 2468120 h 3487140"/>
              <a:gd name="connsiteX56" fmla="*/ 2638312 w 5792512"/>
              <a:gd name="connsiteY56" fmla="*/ 2505548 h 3487140"/>
              <a:gd name="connsiteX57" fmla="*/ 2329862 w 5792512"/>
              <a:gd name="connsiteY57" fmla="*/ 2278109 h 3487140"/>
              <a:gd name="connsiteX58" fmla="*/ 1885173 w 5792512"/>
              <a:gd name="connsiteY58" fmla="*/ 1678800 h 3487140"/>
              <a:gd name="connsiteX59" fmla="*/ 1765320 w 5792512"/>
              <a:gd name="connsiteY59" fmla="*/ 1175432 h 3487140"/>
              <a:gd name="connsiteX60" fmla="*/ 1919774 w 5792512"/>
              <a:gd name="connsiteY60" fmla="*/ 1377420 h 3487140"/>
              <a:gd name="connsiteX61" fmla="*/ 2281414 w 5792512"/>
              <a:gd name="connsiteY61" fmla="*/ 2268710 h 3487140"/>
              <a:gd name="connsiteX62" fmla="*/ 2601216 w 5792512"/>
              <a:gd name="connsiteY62" fmla="*/ 2693105 h 3487140"/>
              <a:gd name="connsiteX63" fmla="*/ 2834644 w 5792512"/>
              <a:gd name="connsiteY63" fmla="*/ 2746586 h 3487140"/>
              <a:gd name="connsiteX64" fmla="*/ 3001865 w 5792512"/>
              <a:gd name="connsiteY64" fmla="*/ 2631432 h 3487140"/>
              <a:gd name="connsiteX65" fmla="*/ 3013052 w 5792512"/>
              <a:gd name="connsiteY65" fmla="*/ 2436680 h 3487140"/>
              <a:gd name="connsiteX66" fmla="*/ 2859222 w 5792512"/>
              <a:gd name="connsiteY66" fmla="*/ 2309258 h 3487140"/>
              <a:gd name="connsiteX67" fmla="*/ 2652036 w 5792512"/>
              <a:gd name="connsiteY67" fmla="*/ 2375007 h 3487140"/>
              <a:gd name="connsiteX68" fmla="*/ 2629537 w 5792512"/>
              <a:gd name="connsiteY68" fmla="*/ 2581402 h 3487140"/>
              <a:gd name="connsiteX69" fmla="*/ 2772222 w 5792512"/>
              <a:gd name="connsiteY69" fmla="*/ 2671064 h 3487140"/>
              <a:gd name="connsiteX70" fmla="*/ 2868787 w 5792512"/>
              <a:gd name="connsiteY70" fmla="*/ 2596831 h 3487140"/>
              <a:gd name="connsiteX71" fmla="*/ 2835601 w 5792512"/>
              <a:gd name="connsiteY71" fmla="*/ 2530750 h 3487140"/>
              <a:gd name="connsiteX72" fmla="*/ 2713543 w 5792512"/>
              <a:gd name="connsiteY72" fmla="*/ 2615379 h 3487140"/>
              <a:gd name="connsiteX73" fmla="*/ 2567864 w 5792512"/>
              <a:gd name="connsiteY73" fmla="*/ 2907028 h 3487140"/>
              <a:gd name="connsiteX74" fmla="*/ 2520039 w 5792512"/>
              <a:gd name="connsiteY74" fmla="*/ 3008333 h 3487140"/>
              <a:gd name="connsiteX75" fmla="*/ 2484191 w 5792512"/>
              <a:gd name="connsiteY75" fmla="*/ 3024053 h 3487140"/>
              <a:gd name="connsiteX76" fmla="*/ 2389165 w 5792512"/>
              <a:gd name="connsiteY76" fmla="*/ 3013989 h 3487140"/>
              <a:gd name="connsiteX77" fmla="*/ 2396068 w 5792512"/>
              <a:gd name="connsiteY77" fmla="*/ 2956724 h 3487140"/>
              <a:gd name="connsiteX78" fmla="*/ 2584831 w 5792512"/>
              <a:gd name="connsiteY78" fmla="*/ 2951068 h 3487140"/>
              <a:gd name="connsiteX79" fmla="*/ 2671041 w 5792512"/>
              <a:gd name="connsiteY79" fmla="*/ 2951068 h 3487140"/>
              <a:gd name="connsiteX80" fmla="*/ 2752219 w 5792512"/>
              <a:gd name="connsiteY80" fmla="*/ 2822066 h 3487140"/>
              <a:gd name="connsiteX81" fmla="*/ 2892533 w 5792512"/>
              <a:gd name="connsiteY81" fmla="*/ 2789337 h 3487140"/>
              <a:gd name="connsiteX82" fmla="*/ 3020246 w 5792512"/>
              <a:gd name="connsiteY82" fmla="*/ 2713815 h 3487140"/>
              <a:gd name="connsiteX83" fmla="*/ 3106456 w 5792512"/>
              <a:gd name="connsiteY83" fmla="*/ 2544556 h 3487140"/>
              <a:gd name="connsiteX84" fmla="*/ 3326035 w 5792512"/>
              <a:gd name="connsiteY84" fmla="*/ 2482883 h 3487140"/>
              <a:gd name="connsiteX85" fmla="*/ 3861009 w 5792512"/>
              <a:gd name="connsiteY85" fmla="*/ 2466831 h 3487140"/>
              <a:gd name="connsiteX86" fmla="*/ 4016751 w 5792512"/>
              <a:gd name="connsiteY86" fmla="*/ 2420918 h 3487140"/>
              <a:gd name="connsiteX87" fmla="*/ 3866664 w 5792512"/>
              <a:gd name="connsiteY87" fmla="*/ 2252907 h 3487140"/>
              <a:gd name="connsiteX88" fmla="*/ 3391285 w 5792512"/>
              <a:gd name="connsiteY88" fmla="*/ 1791709 h 3487140"/>
              <a:gd name="connsiteX89" fmla="*/ 3127166 w 5792512"/>
              <a:gd name="connsiteY89" fmla="*/ 1600118 h 3487140"/>
              <a:gd name="connsiteX90" fmla="*/ 3003196 w 5792512"/>
              <a:gd name="connsiteY90" fmla="*/ 1733529 h 3487140"/>
              <a:gd name="connsiteX91" fmla="*/ 2940898 w 5792512"/>
              <a:gd name="connsiteY91" fmla="*/ 1995900 h 3487140"/>
              <a:gd name="connsiteX92" fmla="*/ 2981778 w 5792512"/>
              <a:gd name="connsiteY92" fmla="*/ 2048133 h 3487140"/>
              <a:gd name="connsiteX93" fmla="*/ 3044699 w 5792512"/>
              <a:gd name="connsiteY93" fmla="*/ 1778817 h 3487140"/>
              <a:gd name="connsiteX94" fmla="*/ 3166466 w 5792512"/>
              <a:gd name="connsiteY94" fmla="*/ 1356918 h 3487140"/>
              <a:gd name="connsiteX95" fmla="*/ 3272803 w 5792512"/>
              <a:gd name="connsiteY95" fmla="*/ 986960 h 3487140"/>
              <a:gd name="connsiteX96" fmla="*/ 3243526 w 5792512"/>
              <a:gd name="connsiteY96" fmla="*/ 867107 h 3487140"/>
              <a:gd name="connsiteX97" fmla="*/ 3068612 w 5792512"/>
              <a:gd name="connsiteY97" fmla="*/ 840034 h 3487140"/>
              <a:gd name="connsiteX98" fmla="*/ 2924513 w 5792512"/>
              <a:gd name="connsiteY98" fmla="*/ 782769 h 3487140"/>
              <a:gd name="connsiteX99" fmla="*/ 2940857 w 5792512"/>
              <a:gd name="connsiteY99" fmla="*/ 714816 h 3487140"/>
              <a:gd name="connsiteX100" fmla="*/ 3114524 w 5792512"/>
              <a:gd name="connsiteY100" fmla="*/ 723008 h 3487140"/>
              <a:gd name="connsiteX101" fmla="*/ 3317135 w 5792512"/>
              <a:gd name="connsiteY101" fmla="*/ 729288 h 3487140"/>
              <a:gd name="connsiteX102" fmla="*/ 3483857 w 5792512"/>
              <a:gd name="connsiteY102" fmla="*/ 682087 h 3487140"/>
              <a:gd name="connsiteX103" fmla="*/ 3601506 w 5792512"/>
              <a:gd name="connsiteY103" fmla="*/ 703463 h 3487140"/>
              <a:gd name="connsiteX104" fmla="*/ 3624171 w 5792512"/>
              <a:gd name="connsiteY104" fmla="*/ 797199 h 3487140"/>
              <a:gd name="connsiteX105" fmla="*/ 3496458 w 5792512"/>
              <a:gd name="connsiteY105" fmla="*/ 890936 h 3487140"/>
              <a:gd name="connsiteX106" fmla="*/ 3326575 w 5792512"/>
              <a:gd name="connsiteY106" fmla="*/ 918009 h 3487140"/>
              <a:gd name="connsiteX107" fmla="*/ 3198862 w 5792512"/>
              <a:gd name="connsiteY107" fmla="*/ 1002306 h 3487140"/>
              <a:gd name="connsiteX108" fmla="*/ 3097972 w 5792512"/>
              <a:gd name="connsiteY108" fmla="*/ 1299902 h 3487140"/>
              <a:gd name="connsiteX109" fmla="*/ 3159022 w 5792512"/>
              <a:gd name="connsiteY109" fmla="*/ 1545930 h 3487140"/>
              <a:gd name="connsiteX110" fmla="*/ 3371697 w 5792512"/>
              <a:gd name="connsiteY110" fmla="*/ 1536490 h 3487140"/>
              <a:gd name="connsiteX111" fmla="*/ 3551228 w 5792512"/>
              <a:gd name="connsiteY111" fmla="*/ 1376048 h 3487140"/>
              <a:gd name="connsiteX112" fmla="*/ 3554389 w 5792512"/>
              <a:gd name="connsiteY112" fmla="*/ 1231949 h 3487140"/>
              <a:gd name="connsiteX113" fmla="*/ 3336348 w 5792512"/>
              <a:gd name="connsiteY113" fmla="*/ 1191693 h 3487140"/>
              <a:gd name="connsiteX114" fmla="*/ 3344832 w 5792512"/>
              <a:gd name="connsiteY114" fmla="*/ 1255238 h 3487140"/>
              <a:gd name="connsiteX115" fmla="*/ 3769850 w 5792512"/>
              <a:gd name="connsiteY115" fmla="*/ 1241722 h 3487140"/>
              <a:gd name="connsiteX116" fmla="*/ 4254670 w 5792512"/>
              <a:gd name="connsiteY116" fmla="*/ 1259646 h 3487140"/>
              <a:gd name="connsiteX117" fmla="*/ 4484022 w 5792512"/>
              <a:gd name="connsiteY117" fmla="*/ 1236981 h 3487140"/>
              <a:gd name="connsiteX118" fmla="*/ 4465766 w 5792512"/>
              <a:gd name="connsiteY118" fmla="*/ 1185995 h 3487140"/>
              <a:gd name="connsiteX119" fmla="*/ 4105248 w 5792512"/>
              <a:gd name="connsiteY119" fmla="*/ 1177512 h 3487140"/>
              <a:gd name="connsiteX120" fmla="*/ 3734668 w 5792512"/>
              <a:gd name="connsiteY120" fmla="*/ 1331342 h 3487140"/>
              <a:gd name="connsiteX121" fmla="*/ 3388914 w 5792512"/>
              <a:gd name="connsiteY121" fmla="*/ 1604110 h 3487140"/>
              <a:gd name="connsiteX122" fmla="*/ 3156111 w 5792512"/>
              <a:gd name="connsiteY122" fmla="*/ 1921252 h 3487140"/>
              <a:gd name="connsiteX123" fmla="*/ 3060461 w 5792512"/>
              <a:gd name="connsiteY123" fmla="*/ 2419255 h 3487140"/>
              <a:gd name="connsiteX124" fmla="*/ 3290769 w 5792512"/>
              <a:gd name="connsiteY124" fmla="*/ 3048465 h 3487140"/>
              <a:gd name="connsiteX125" fmla="*/ 3868994 w 5792512"/>
              <a:gd name="connsiteY125" fmla="*/ 3394510 h 3487140"/>
              <a:gd name="connsiteX126" fmla="*/ 4507643 w 5792512"/>
              <a:gd name="connsiteY126" fmla="*/ 3330632 h 3487140"/>
              <a:gd name="connsiteX127" fmla="*/ 5002818 w 5792512"/>
              <a:gd name="connsiteY127" fmla="*/ 2841404 h 3487140"/>
              <a:gd name="connsiteX128" fmla="*/ 5036171 w 5792512"/>
              <a:gd name="connsiteY128" fmla="*/ 2052999 h 3487140"/>
              <a:gd name="connsiteX129" fmla="*/ 4605164 w 5792512"/>
              <a:gd name="connsiteY129" fmla="*/ 1482011 h 3487140"/>
              <a:gd name="connsiteX130" fmla="*/ 4138310 w 5792512"/>
              <a:gd name="connsiteY130" fmla="*/ 1352717 h 3487140"/>
              <a:gd name="connsiteX131" fmla="*/ 3977868 w 5792512"/>
              <a:gd name="connsiteY131" fmla="*/ 1466624 h 3487140"/>
              <a:gd name="connsiteX132" fmla="*/ 3999909 w 5792512"/>
              <a:gd name="connsiteY132" fmla="*/ 2001140 h 3487140"/>
              <a:gd name="connsiteX133" fmla="*/ 4033885 w 5792512"/>
              <a:gd name="connsiteY133" fmla="*/ 2313208 h 3487140"/>
              <a:gd name="connsiteX134" fmla="*/ 4125585 w 5792512"/>
              <a:gd name="connsiteY134" fmla="*/ 2399085 h 3487140"/>
              <a:gd name="connsiteX135" fmla="*/ 4230051 w 5792512"/>
              <a:gd name="connsiteY135" fmla="*/ 2362905 h 3487140"/>
              <a:gd name="connsiteX136" fmla="*/ 4194660 w 5792512"/>
              <a:gd name="connsiteY136" fmla="*/ 2271372 h 3487140"/>
              <a:gd name="connsiteX137" fmla="*/ 4097056 w 5792512"/>
              <a:gd name="connsiteY137" fmla="*/ 2303394 h 3487140"/>
              <a:gd name="connsiteX138" fmla="*/ 4080670 w 5792512"/>
              <a:gd name="connsiteY138" fmla="*/ 2437262 h 3487140"/>
              <a:gd name="connsiteX139" fmla="*/ 4079589 w 5792512"/>
              <a:gd name="connsiteY139" fmla="*/ 2519521 h 3487140"/>
              <a:gd name="connsiteX140" fmla="*/ 3900475 w 5792512"/>
              <a:gd name="connsiteY140" fmla="*/ 2539400 h 3487140"/>
              <a:gd name="connsiteX141" fmla="*/ 3490220 w 5792512"/>
              <a:gd name="connsiteY141" fmla="*/ 2545679 h 3487140"/>
              <a:gd name="connsiteX142" fmla="*/ 3249848 w 5792512"/>
              <a:gd name="connsiteY142" fmla="*/ 2602944 h 3487140"/>
              <a:gd name="connsiteX143" fmla="*/ 3240241 w 5792512"/>
              <a:gd name="connsiteY143" fmla="*/ 2790460 h 3487140"/>
              <a:gd name="connsiteX144" fmla="*/ 3433578 w 5792512"/>
              <a:gd name="connsiteY144" fmla="*/ 3133385 h 3487140"/>
              <a:gd name="connsiteX145" fmla="*/ 3925468 w 5792512"/>
              <a:gd name="connsiteY145" fmla="*/ 3465290 h 3487140"/>
              <a:gd name="connsiteX146" fmla="*/ 4666214 w 5792512"/>
              <a:gd name="connsiteY146" fmla="*/ 3390434 h 3487140"/>
              <a:gd name="connsiteX147" fmla="*/ 5106037 w 5792512"/>
              <a:gd name="connsiteY147" fmla="*/ 3017940 h 3487140"/>
              <a:gd name="connsiteX148" fmla="*/ 5420018 w 5792512"/>
              <a:gd name="connsiteY148" fmla="*/ 2655510 h 3487140"/>
              <a:gd name="connsiteX149" fmla="*/ 5792512 w 5792512"/>
              <a:gd name="connsiteY149" fmla="*/ 3163577 h 3487140"/>
              <a:gd name="connsiteX0" fmla="*/ 777215 w 5420018"/>
              <a:gd name="connsiteY0" fmla="*/ 3295741 h 3487140"/>
              <a:gd name="connsiteX1" fmla="*/ 526113 w 5420018"/>
              <a:gd name="connsiteY1" fmla="*/ 3112384 h 3487140"/>
              <a:gd name="connsiteX2" fmla="*/ 219950 w 5420018"/>
              <a:gd name="connsiteY2" fmla="*/ 2750287 h 3487140"/>
              <a:gd name="connsiteX3" fmla="*/ 128418 w 5420018"/>
              <a:gd name="connsiteY3" fmla="*/ 2305432 h 3487140"/>
              <a:gd name="connsiteX4" fmla="*/ 256006 w 5420018"/>
              <a:gd name="connsiteY4" fmla="*/ 1919713 h 3487140"/>
              <a:gd name="connsiteX5" fmla="*/ 580218 w 5420018"/>
              <a:gd name="connsiteY5" fmla="*/ 1637837 h 3487140"/>
              <a:gd name="connsiteX6" fmla="*/ 1073522 w 5420018"/>
              <a:gd name="connsiteY6" fmla="*/ 1545972 h 3487140"/>
              <a:gd name="connsiteX7" fmla="*/ 1308197 w 5420018"/>
              <a:gd name="connsiteY7" fmla="*/ 1517651 h 3487140"/>
              <a:gd name="connsiteX8" fmla="*/ 1292934 w 5420018"/>
              <a:gd name="connsiteY8" fmla="*/ 1460718 h 3487140"/>
              <a:gd name="connsiteX9" fmla="*/ 1016880 w 5420018"/>
              <a:gd name="connsiteY9" fmla="*/ 1416969 h 3487140"/>
              <a:gd name="connsiteX10" fmla="*/ 497460 w 5420018"/>
              <a:gd name="connsiteY10" fmla="*/ 1517318 h 3487140"/>
              <a:gd name="connsiteX11" fmla="*/ 88162 w 5420018"/>
              <a:gd name="connsiteY11" fmla="*/ 1960593 h 3487140"/>
              <a:gd name="connsiteX12" fmla="*/ 28692 w 5420018"/>
              <a:gd name="connsiteY12" fmla="*/ 2569342 h 3487140"/>
              <a:gd name="connsiteX13" fmla="*/ 442399 w 5420018"/>
              <a:gd name="connsiteY13" fmla="*/ 3165532 h 3487140"/>
              <a:gd name="connsiteX14" fmla="*/ 1232384 w 5420018"/>
              <a:gd name="connsiteY14" fmla="*/ 3283181 h 3487140"/>
              <a:gd name="connsiteX15" fmla="*/ 1835020 w 5420018"/>
              <a:gd name="connsiteY15" fmla="*/ 2757481 h 3487140"/>
              <a:gd name="connsiteX16" fmla="*/ 1824789 w 5420018"/>
              <a:gd name="connsiteY16" fmla="*/ 1980430 h 3487140"/>
              <a:gd name="connsiteX17" fmla="*/ 1494755 w 5420018"/>
              <a:gd name="connsiteY17" fmla="*/ 1589139 h 3487140"/>
              <a:gd name="connsiteX18" fmla="*/ 1305701 w 5420018"/>
              <a:gd name="connsiteY18" fmla="*/ 1660710 h 3487140"/>
              <a:gd name="connsiteX19" fmla="*/ 1197284 w 5420018"/>
              <a:gd name="connsiteY19" fmla="*/ 2116627 h 3487140"/>
              <a:gd name="connsiteX20" fmla="*/ 973921 w 5420018"/>
              <a:gd name="connsiteY20" fmla="*/ 2374258 h 3487140"/>
              <a:gd name="connsiteX21" fmla="*/ 918985 w 5420018"/>
              <a:gd name="connsiteY21" fmla="*/ 2276986 h 3487140"/>
              <a:gd name="connsiteX22" fmla="*/ 1298257 w 5420018"/>
              <a:gd name="connsiteY22" fmla="*/ 2021601 h 3487140"/>
              <a:gd name="connsiteX23" fmla="*/ 1558176 w 5420018"/>
              <a:gd name="connsiteY23" fmla="*/ 1234153 h 3487140"/>
              <a:gd name="connsiteX24" fmla="*/ 1788276 w 5420018"/>
              <a:gd name="connsiteY24" fmla="*/ 725296 h 3487140"/>
              <a:gd name="connsiteX25" fmla="*/ 1896859 w 5420018"/>
              <a:gd name="connsiteY25" fmla="*/ 539984 h 3487140"/>
              <a:gd name="connsiteX26" fmla="*/ 1865711 w 5420018"/>
              <a:gd name="connsiteY26" fmla="*/ 435851 h 3487140"/>
              <a:gd name="connsiteX27" fmla="*/ 1759373 w 5420018"/>
              <a:gd name="connsiteY27" fmla="*/ 350265 h 3487140"/>
              <a:gd name="connsiteX28" fmla="*/ 1714085 w 5420018"/>
              <a:gd name="connsiteY28" fmla="*/ 209327 h 3487140"/>
              <a:gd name="connsiteX29" fmla="*/ 1758915 w 5420018"/>
              <a:gd name="connsiteY29" fmla="*/ 82237 h 3487140"/>
              <a:gd name="connsiteX30" fmla="*/ 1939195 w 5420018"/>
              <a:gd name="connsiteY30" fmla="*/ 6716 h 3487140"/>
              <a:gd name="connsiteX31" fmla="*/ 2207888 w 5420018"/>
              <a:gd name="connsiteY31" fmla="*/ 10167 h 3487140"/>
              <a:gd name="connsiteX32" fmla="*/ 2291561 w 5420018"/>
              <a:gd name="connsiteY32" fmla="*/ 49800 h 3487140"/>
              <a:gd name="connsiteX33" fmla="*/ 2244526 w 5420018"/>
              <a:gd name="connsiteY33" fmla="*/ 86812 h 3487140"/>
              <a:gd name="connsiteX34" fmla="*/ 2008603 w 5420018"/>
              <a:gd name="connsiteY34" fmla="*/ 91886 h 3487140"/>
              <a:gd name="connsiteX35" fmla="*/ 1765070 w 5420018"/>
              <a:gd name="connsiteY35" fmla="*/ 75833 h 3487140"/>
              <a:gd name="connsiteX36" fmla="*/ 1657319 w 5420018"/>
              <a:gd name="connsiteY36" fmla="*/ 176931 h 3487140"/>
              <a:gd name="connsiteX37" fmla="*/ 1672581 w 5420018"/>
              <a:gd name="connsiteY37" fmla="*/ 370393 h 3487140"/>
              <a:gd name="connsiteX38" fmla="*/ 1617354 w 5420018"/>
              <a:gd name="connsiteY38" fmla="*/ 589348 h 3487140"/>
              <a:gd name="connsiteX39" fmla="*/ 1460820 w 5420018"/>
              <a:gd name="connsiteY39" fmla="*/ 903953 h 3487140"/>
              <a:gd name="connsiteX40" fmla="*/ 1250349 w 5420018"/>
              <a:gd name="connsiteY40" fmla="*/ 922501 h 3487140"/>
              <a:gd name="connsiteX41" fmla="*/ 1055930 w 5420018"/>
              <a:gd name="connsiteY41" fmla="*/ 866816 h 3487140"/>
              <a:gd name="connsiteX42" fmla="*/ 997085 w 5420018"/>
              <a:gd name="connsiteY42" fmla="*/ 751038 h 3487140"/>
              <a:gd name="connsiteX43" fmla="*/ 1009021 w 5420018"/>
              <a:gd name="connsiteY43" fmla="*/ 369436 h 3487140"/>
              <a:gd name="connsiteX44" fmla="*/ 1070694 w 5420018"/>
              <a:gd name="connsiteY44" fmla="*/ 155805 h 3487140"/>
              <a:gd name="connsiteX45" fmla="*/ 1272058 w 5420018"/>
              <a:gd name="connsiteY45" fmla="*/ 156761 h 3487140"/>
              <a:gd name="connsiteX46" fmla="*/ 1524989 w 5420018"/>
              <a:gd name="connsiteY46" fmla="*/ 245175 h 3487140"/>
              <a:gd name="connsiteX47" fmla="*/ 1694081 w 5420018"/>
              <a:gd name="connsiteY47" fmla="*/ 357792 h 3487140"/>
              <a:gd name="connsiteX48" fmla="*/ 1798672 w 5420018"/>
              <a:gd name="connsiteY48" fmla="*/ 483301 h 3487140"/>
              <a:gd name="connsiteX49" fmla="*/ 1822876 w 5420018"/>
              <a:gd name="connsiteY49" fmla="*/ 600951 h 3487140"/>
              <a:gd name="connsiteX50" fmla="*/ 1795345 w 5420018"/>
              <a:gd name="connsiteY50" fmla="*/ 761726 h 3487140"/>
              <a:gd name="connsiteX51" fmla="*/ 1967266 w 5420018"/>
              <a:gd name="connsiteY51" fmla="*/ 1160004 h 3487140"/>
              <a:gd name="connsiteX52" fmla="*/ 2390246 w 5420018"/>
              <a:gd name="connsiteY52" fmla="*/ 1793622 h 3487140"/>
              <a:gd name="connsiteX53" fmla="*/ 2807737 w 5420018"/>
              <a:gd name="connsiteY53" fmla="*/ 2087475 h 3487140"/>
              <a:gd name="connsiteX54" fmla="*/ 2917360 w 5420018"/>
              <a:gd name="connsiteY54" fmla="*/ 2185620 h 3487140"/>
              <a:gd name="connsiteX55" fmla="*/ 2804411 w 5420018"/>
              <a:gd name="connsiteY55" fmla="*/ 2468120 h 3487140"/>
              <a:gd name="connsiteX56" fmla="*/ 2638312 w 5420018"/>
              <a:gd name="connsiteY56" fmla="*/ 2505548 h 3487140"/>
              <a:gd name="connsiteX57" fmla="*/ 2329862 w 5420018"/>
              <a:gd name="connsiteY57" fmla="*/ 2278109 h 3487140"/>
              <a:gd name="connsiteX58" fmla="*/ 1885173 w 5420018"/>
              <a:gd name="connsiteY58" fmla="*/ 1678800 h 3487140"/>
              <a:gd name="connsiteX59" fmla="*/ 1765320 w 5420018"/>
              <a:gd name="connsiteY59" fmla="*/ 1175432 h 3487140"/>
              <a:gd name="connsiteX60" fmla="*/ 1919774 w 5420018"/>
              <a:gd name="connsiteY60" fmla="*/ 1377420 h 3487140"/>
              <a:gd name="connsiteX61" fmla="*/ 2281414 w 5420018"/>
              <a:gd name="connsiteY61" fmla="*/ 2268710 h 3487140"/>
              <a:gd name="connsiteX62" fmla="*/ 2601216 w 5420018"/>
              <a:gd name="connsiteY62" fmla="*/ 2693105 h 3487140"/>
              <a:gd name="connsiteX63" fmla="*/ 2834644 w 5420018"/>
              <a:gd name="connsiteY63" fmla="*/ 2746586 h 3487140"/>
              <a:gd name="connsiteX64" fmla="*/ 3001865 w 5420018"/>
              <a:gd name="connsiteY64" fmla="*/ 2631432 h 3487140"/>
              <a:gd name="connsiteX65" fmla="*/ 3013052 w 5420018"/>
              <a:gd name="connsiteY65" fmla="*/ 2436680 h 3487140"/>
              <a:gd name="connsiteX66" fmla="*/ 2859222 w 5420018"/>
              <a:gd name="connsiteY66" fmla="*/ 2309258 h 3487140"/>
              <a:gd name="connsiteX67" fmla="*/ 2652036 w 5420018"/>
              <a:gd name="connsiteY67" fmla="*/ 2375007 h 3487140"/>
              <a:gd name="connsiteX68" fmla="*/ 2629537 w 5420018"/>
              <a:gd name="connsiteY68" fmla="*/ 2581402 h 3487140"/>
              <a:gd name="connsiteX69" fmla="*/ 2772222 w 5420018"/>
              <a:gd name="connsiteY69" fmla="*/ 2671064 h 3487140"/>
              <a:gd name="connsiteX70" fmla="*/ 2868787 w 5420018"/>
              <a:gd name="connsiteY70" fmla="*/ 2596831 h 3487140"/>
              <a:gd name="connsiteX71" fmla="*/ 2835601 w 5420018"/>
              <a:gd name="connsiteY71" fmla="*/ 2530750 h 3487140"/>
              <a:gd name="connsiteX72" fmla="*/ 2713543 w 5420018"/>
              <a:gd name="connsiteY72" fmla="*/ 2615379 h 3487140"/>
              <a:gd name="connsiteX73" fmla="*/ 2567864 w 5420018"/>
              <a:gd name="connsiteY73" fmla="*/ 2907028 h 3487140"/>
              <a:gd name="connsiteX74" fmla="*/ 2520039 w 5420018"/>
              <a:gd name="connsiteY74" fmla="*/ 3008333 h 3487140"/>
              <a:gd name="connsiteX75" fmla="*/ 2484191 w 5420018"/>
              <a:gd name="connsiteY75" fmla="*/ 3024053 h 3487140"/>
              <a:gd name="connsiteX76" fmla="*/ 2389165 w 5420018"/>
              <a:gd name="connsiteY76" fmla="*/ 3013989 h 3487140"/>
              <a:gd name="connsiteX77" fmla="*/ 2396068 w 5420018"/>
              <a:gd name="connsiteY77" fmla="*/ 2956724 h 3487140"/>
              <a:gd name="connsiteX78" fmla="*/ 2584831 w 5420018"/>
              <a:gd name="connsiteY78" fmla="*/ 2951068 h 3487140"/>
              <a:gd name="connsiteX79" fmla="*/ 2671041 w 5420018"/>
              <a:gd name="connsiteY79" fmla="*/ 2951068 h 3487140"/>
              <a:gd name="connsiteX80" fmla="*/ 2752219 w 5420018"/>
              <a:gd name="connsiteY80" fmla="*/ 2822066 h 3487140"/>
              <a:gd name="connsiteX81" fmla="*/ 2892533 w 5420018"/>
              <a:gd name="connsiteY81" fmla="*/ 2789337 h 3487140"/>
              <a:gd name="connsiteX82" fmla="*/ 3020246 w 5420018"/>
              <a:gd name="connsiteY82" fmla="*/ 2713815 h 3487140"/>
              <a:gd name="connsiteX83" fmla="*/ 3106456 w 5420018"/>
              <a:gd name="connsiteY83" fmla="*/ 2544556 h 3487140"/>
              <a:gd name="connsiteX84" fmla="*/ 3326035 w 5420018"/>
              <a:gd name="connsiteY84" fmla="*/ 2482883 h 3487140"/>
              <a:gd name="connsiteX85" fmla="*/ 3861009 w 5420018"/>
              <a:gd name="connsiteY85" fmla="*/ 2466831 h 3487140"/>
              <a:gd name="connsiteX86" fmla="*/ 4016751 w 5420018"/>
              <a:gd name="connsiteY86" fmla="*/ 2420918 h 3487140"/>
              <a:gd name="connsiteX87" fmla="*/ 3866664 w 5420018"/>
              <a:gd name="connsiteY87" fmla="*/ 2252907 h 3487140"/>
              <a:gd name="connsiteX88" fmla="*/ 3391285 w 5420018"/>
              <a:gd name="connsiteY88" fmla="*/ 1791709 h 3487140"/>
              <a:gd name="connsiteX89" fmla="*/ 3127166 w 5420018"/>
              <a:gd name="connsiteY89" fmla="*/ 1600118 h 3487140"/>
              <a:gd name="connsiteX90" fmla="*/ 3003196 w 5420018"/>
              <a:gd name="connsiteY90" fmla="*/ 1733529 h 3487140"/>
              <a:gd name="connsiteX91" fmla="*/ 2940898 w 5420018"/>
              <a:gd name="connsiteY91" fmla="*/ 1995900 h 3487140"/>
              <a:gd name="connsiteX92" fmla="*/ 2981778 w 5420018"/>
              <a:gd name="connsiteY92" fmla="*/ 2048133 h 3487140"/>
              <a:gd name="connsiteX93" fmla="*/ 3044699 w 5420018"/>
              <a:gd name="connsiteY93" fmla="*/ 1778817 h 3487140"/>
              <a:gd name="connsiteX94" fmla="*/ 3166466 w 5420018"/>
              <a:gd name="connsiteY94" fmla="*/ 1356918 h 3487140"/>
              <a:gd name="connsiteX95" fmla="*/ 3272803 w 5420018"/>
              <a:gd name="connsiteY95" fmla="*/ 986960 h 3487140"/>
              <a:gd name="connsiteX96" fmla="*/ 3243526 w 5420018"/>
              <a:gd name="connsiteY96" fmla="*/ 867107 h 3487140"/>
              <a:gd name="connsiteX97" fmla="*/ 3068612 w 5420018"/>
              <a:gd name="connsiteY97" fmla="*/ 840034 h 3487140"/>
              <a:gd name="connsiteX98" fmla="*/ 2924513 w 5420018"/>
              <a:gd name="connsiteY98" fmla="*/ 782769 h 3487140"/>
              <a:gd name="connsiteX99" fmla="*/ 2940857 w 5420018"/>
              <a:gd name="connsiteY99" fmla="*/ 714816 h 3487140"/>
              <a:gd name="connsiteX100" fmla="*/ 3114524 w 5420018"/>
              <a:gd name="connsiteY100" fmla="*/ 723008 h 3487140"/>
              <a:gd name="connsiteX101" fmla="*/ 3317135 w 5420018"/>
              <a:gd name="connsiteY101" fmla="*/ 729288 h 3487140"/>
              <a:gd name="connsiteX102" fmla="*/ 3483857 w 5420018"/>
              <a:gd name="connsiteY102" fmla="*/ 682087 h 3487140"/>
              <a:gd name="connsiteX103" fmla="*/ 3601506 w 5420018"/>
              <a:gd name="connsiteY103" fmla="*/ 703463 h 3487140"/>
              <a:gd name="connsiteX104" fmla="*/ 3624171 w 5420018"/>
              <a:gd name="connsiteY104" fmla="*/ 797199 h 3487140"/>
              <a:gd name="connsiteX105" fmla="*/ 3496458 w 5420018"/>
              <a:gd name="connsiteY105" fmla="*/ 890936 h 3487140"/>
              <a:gd name="connsiteX106" fmla="*/ 3326575 w 5420018"/>
              <a:gd name="connsiteY106" fmla="*/ 918009 h 3487140"/>
              <a:gd name="connsiteX107" fmla="*/ 3198862 w 5420018"/>
              <a:gd name="connsiteY107" fmla="*/ 1002306 h 3487140"/>
              <a:gd name="connsiteX108" fmla="*/ 3097972 w 5420018"/>
              <a:gd name="connsiteY108" fmla="*/ 1299902 h 3487140"/>
              <a:gd name="connsiteX109" fmla="*/ 3159022 w 5420018"/>
              <a:gd name="connsiteY109" fmla="*/ 1545930 h 3487140"/>
              <a:gd name="connsiteX110" fmla="*/ 3371697 w 5420018"/>
              <a:gd name="connsiteY110" fmla="*/ 1536490 h 3487140"/>
              <a:gd name="connsiteX111" fmla="*/ 3551228 w 5420018"/>
              <a:gd name="connsiteY111" fmla="*/ 1376048 h 3487140"/>
              <a:gd name="connsiteX112" fmla="*/ 3554389 w 5420018"/>
              <a:gd name="connsiteY112" fmla="*/ 1231949 h 3487140"/>
              <a:gd name="connsiteX113" fmla="*/ 3336348 w 5420018"/>
              <a:gd name="connsiteY113" fmla="*/ 1191693 h 3487140"/>
              <a:gd name="connsiteX114" fmla="*/ 3344832 w 5420018"/>
              <a:gd name="connsiteY114" fmla="*/ 1255238 h 3487140"/>
              <a:gd name="connsiteX115" fmla="*/ 3769850 w 5420018"/>
              <a:gd name="connsiteY115" fmla="*/ 1241722 h 3487140"/>
              <a:gd name="connsiteX116" fmla="*/ 4254670 w 5420018"/>
              <a:gd name="connsiteY116" fmla="*/ 1259646 h 3487140"/>
              <a:gd name="connsiteX117" fmla="*/ 4484022 w 5420018"/>
              <a:gd name="connsiteY117" fmla="*/ 1236981 h 3487140"/>
              <a:gd name="connsiteX118" fmla="*/ 4465766 w 5420018"/>
              <a:gd name="connsiteY118" fmla="*/ 1185995 h 3487140"/>
              <a:gd name="connsiteX119" fmla="*/ 4105248 w 5420018"/>
              <a:gd name="connsiteY119" fmla="*/ 1177512 h 3487140"/>
              <a:gd name="connsiteX120" fmla="*/ 3734668 w 5420018"/>
              <a:gd name="connsiteY120" fmla="*/ 1331342 h 3487140"/>
              <a:gd name="connsiteX121" fmla="*/ 3388914 w 5420018"/>
              <a:gd name="connsiteY121" fmla="*/ 1604110 h 3487140"/>
              <a:gd name="connsiteX122" fmla="*/ 3156111 w 5420018"/>
              <a:gd name="connsiteY122" fmla="*/ 1921252 h 3487140"/>
              <a:gd name="connsiteX123" fmla="*/ 3060461 w 5420018"/>
              <a:gd name="connsiteY123" fmla="*/ 2419255 h 3487140"/>
              <a:gd name="connsiteX124" fmla="*/ 3290769 w 5420018"/>
              <a:gd name="connsiteY124" fmla="*/ 3048465 h 3487140"/>
              <a:gd name="connsiteX125" fmla="*/ 3868994 w 5420018"/>
              <a:gd name="connsiteY125" fmla="*/ 3394510 h 3487140"/>
              <a:gd name="connsiteX126" fmla="*/ 4507643 w 5420018"/>
              <a:gd name="connsiteY126" fmla="*/ 3330632 h 3487140"/>
              <a:gd name="connsiteX127" fmla="*/ 5002818 w 5420018"/>
              <a:gd name="connsiteY127" fmla="*/ 2841404 h 3487140"/>
              <a:gd name="connsiteX128" fmla="*/ 5036171 w 5420018"/>
              <a:gd name="connsiteY128" fmla="*/ 2052999 h 3487140"/>
              <a:gd name="connsiteX129" fmla="*/ 4605164 w 5420018"/>
              <a:gd name="connsiteY129" fmla="*/ 1482011 h 3487140"/>
              <a:gd name="connsiteX130" fmla="*/ 4138310 w 5420018"/>
              <a:gd name="connsiteY130" fmla="*/ 1352717 h 3487140"/>
              <a:gd name="connsiteX131" fmla="*/ 3977868 w 5420018"/>
              <a:gd name="connsiteY131" fmla="*/ 1466624 h 3487140"/>
              <a:gd name="connsiteX132" fmla="*/ 3999909 w 5420018"/>
              <a:gd name="connsiteY132" fmla="*/ 2001140 h 3487140"/>
              <a:gd name="connsiteX133" fmla="*/ 4033885 w 5420018"/>
              <a:gd name="connsiteY133" fmla="*/ 2313208 h 3487140"/>
              <a:gd name="connsiteX134" fmla="*/ 4125585 w 5420018"/>
              <a:gd name="connsiteY134" fmla="*/ 2399085 h 3487140"/>
              <a:gd name="connsiteX135" fmla="*/ 4230051 w 5420018"/>
              <a:gd name="connsiteY135" fmla="*/ 2362905 h 3487140"/>
              <a:gd name="connsiteX136" fmla="*/ 4194660 w 5420018"/>
              <a:gd name="connsiteY136" fmla="*/ 2271372 h 3487140"/>
              <a:gd name="connsiteX137" fmla="*/ 4097056 w 5420018"/>
              <a:gd name="connsiteY137" fmla="*/ 2303394 h 3487140"/>
              <a:gd name="connsiteX138" fmla="*/ 4080670 w 5420018"/>
              <a:gd name="connsiteY138" fmla="*/ 2437262 h 3487140"/>
              <a:gd name="connsiteX139" fmla="*/ 4079589 w 5420018"/>
              <a:gd name="connsiteY139" fmla="*/ 2519521 h 3487140"/>
              <a:gd name="connsiteX140" fmla="*/ 3900475 w 5420018"/>
              <a:gd name="connsiteY140" fmla="*/ 2539400 h 3487140"/>
              <a:gd name="connsiteX141" fmla="*/ 3490220 w 5420018"/>
              <a:gd name="connsiteY141" fmla="*/ 2545679 h 3487140"/>
              <a:gd name="connsiteX142" fmla="*/ 3249848 w 5420018"/>
              <a:gd name="connsiteY142" fmla="*/ 2602944 h 3487140"/>
              <a:gd name="connsiteX143" fmla="*/ 3240241 w 5420018"/>
              <a:gd name="connsiteY143" fmla="*/ 2790460 h 3487140"/>
              <a:gd name="connsiteX144" fmla="*/ 3433578 w 5420018"/>
              <a:gd name="connsiteY144" fmla="*/ 3133385 h 3487140"/>
              <a:gd name="connsiteX145" fmla="*/ 3925468 w 5420018"/>
              <a:gd name="connsiteY145" fmla="*/ 3465290 h 3487140"/>
              <a:gd name="connsiteX146" fmla="*/ 4666214 w 5420018"/>
              <a:gd name="connsiteY146" fmla="*/ 3390434 h 3487140"/>
              <a:gd name="connsiteX147" fmla="*/ 5106037 w 5420018"/>
              <a:gd name="connsiteY147" fmla="*/ 3017940 h 3487140"/>
              <a:gd name="connsiteX148" fmla="*/ 5420018 w 5420018"/>
              <a:gd name="connsiteY148" fmla="*/ 2655510 h 3487140"/>
              <a:gd name="connsiteX0" fmla="*/ 777215 w 5106037"/>
              <a:gd name="connsiteY0" fmla="*/ 3295741 h 3487140"/>
              <a:gd name="connsiteX1" fmla="*/ 526113 w 5106037"/>
              <a:gd name="connsiteY1" fmla="*/ 3112384 h 3487140"/>
              <a:gd name="connsiteX2" fmla="*/ 219950 w 5106037"/>
              <a:gd name="connsiteY2" fmla="*/ 2750287 h 3487140"/>
              <a:gd name="connsiteX3" fmla="*/ 128418 w 5106037"/>
              <a:gd name="connsiteY3" fmla="*/ 2305432 h 3487140"/>
              <a:gd name="connsiteX4" fmla="*/ 256006 w 5106037"/>
              <a:gd name="connsiteY4" fmla="*/ 1919713 h 3487140"/>
              <a:gd name="connsiteX5" fmla="*/ 580218 w 5106037"/>
              <a:gd name="connsiteY5" fmla="*/ 1637837 h 3487140"/>
              <a:gd name="connsiteX6" fmla="*/ 1073522 w 5106037"/>
              <a:gd name="connsiteY6" fmla="*/ 1545972 h 3487140"/>
              <a:gd name="connsiteX7" fmla="*/ 1308197 w 5106037"/>
              <a:gd name="connsiteY7" fmla="*/ 1517651 h 3487140"/>
              <a:gd name="connsiteX8" fmla="*/ 1292934 w 5106037"/>
              <a:gd name="connsiteY8" fmla="*/ 1460718 h 3487140"/>
              <a:gd name="connsiteX9" fmla="*/ 1016880 w 5106037"/>
              <a:gd name="connsiteY9" fmla="*/ 1416969 h 3487140"/>
              <a:gd name="connsiteX10" fmla="*/ 497460 w 5106037"/>
              <a:gd name="connsiteY10" fmla="*/ 1517318 h 3487140"/>
              <a:gd name="connsiteX11" fmla="*/ 88162 w 5106037"/>
              <a:gd name="connsiteY11" fmla="*/ 1960593 h 3487140"/>
              <a:gd name="connsiteX12" fmla="*/ 28692 w 5106037"/>
              <a:gd name="connsiteY12" fmla="*/ 2569342 h 3487140"/>
              <a:gd name="connsiteX13" fmla="*/ 442399 w 5106037"/>
              <a:gd name="connsiteY13" fmla="*/ 3165532 h 3487140"/>
              <a:gd name="connsiteX14" fmla="*/ 1232384 w 5106037"/>
              <a:gd name="connsiteY14" fmla="*/ 3283181 h 3487140"/>
              <a:gd name="connsiteX15" fmla="*/ 1835020 w 5106037"/>
              <a:gd name="connsiteY15" fmla="*/ 2757481 h 3487140"/>
              <a:gd name="connsiteX16" fmla="*/ 1824789 w 5106037"/>
              <a:gd name="connsiteY16" fmla="*/ 1980430 h 3487140"/>
              <a:gd name="connsiteX17" fmla="*/ 1494755 w 5106037"/>
              <a:gd name="connsiteY17" fmla="*/ 1589139 h 3487140"/>
              <a:gd name="connsiteX18" fmla="*/ 1305701 w 5106037"/>
              <a:gd name="connsiteY18" fmla="*/ 1660710 h 3487140"/>
              <a:gd name="connsiteX19" fmla="*/ 1197284 w 5106037"/>
              <a:gd name="connsiteY19" fmla="*/ 2116627 h 3487140"/>
              <a:gd name="connsiteX20" fmla="*/ 973921 w 5106037"/>
              <a:gd name="connsiteY20" fmla="*/ 2374258 h 3487140"/>
              <a:gd name="connsiteX21" fmla="*/ 918985 w 5106037"/>
              <a:gd name="connsiteY21" fmla="*/ 2276986 h 3487140"/>
              <a:gd name="connsiteX22" fmla="*/ 1298257 w 5106037"/>
              <a:gd name="connsiteY22" fmla="*/ 2021601 h 3487140"/>
              <a:gd name="connsiteX23" fmla="*/ 1558176 w 5106037"/>
              <a:gd name="connsiteY23" fmla="*/ 1234153 h 3487140"/>
              <a:gd name="connsiteX24" fmla="*/ 1788276 w 5106037"/>
              <a:gd name="connsiteY24" fmla="*/ 725296 h 3487140"/>
              <a:gd name="connsiteX25" fmla="*/ 1896859 w 5106037"/>
              <a:gd name="connsiteY25" fmla="*/ 539984 h 3487140"/>
              <a:gd name="connsiteX26" fmla="*/ 1865711 w 5106037"/>
              <a:gd name="connsiteY26" fmla="*/ 435851 h 3487140"/>
              <a:gd name="connsiteX27" fmla="*/ 1759373 w 5106037"/>
              <a:gd name="connsiteY27" fmla="*/ 350265 h 3487140"/>
              <a:gd name="connsiteX28" fmla="*/ 1714085 w 5106037"/>
              <a:gd name="connsiteY28" fmla="*/ 209327 h 3487140"/>
              <a:gd name="connsiteX29" fmla="*/ 1758915 w 5106037"/>
              <a:gd name="connsiteY29" fmla="*/ 82237 h 3487140"/>
              <a:gd name="connsiteX30" fmla="*/ 1939195 w 5106037"/>
              <a:gd name="connsiteY30" fmla="*/ 6716 h 3487140"/>
              <a:gd name="connsiteX31" fmla="*/ 2207888 w 5106037"/>
              <a:gd name="connsiteY31" fmla="*/ 10167 h 3487140"/>
              <a:gd name="connsiteX32" fmla="*/ 2291561 w 5106037"/>
              <a:gd name="connsiteY32" fmla="*/ 49800 h 3487140"/>
              <a:gd name="connsiteX33" fmla="*/ 2244526 w 5106037"/>
              <a:gd name="connsiteY33" fmla="*/ 86812 h 3487140"/>
              <a:gd name="connsiteX34" fmla="*/ 2008603 w 5106037"/>
              <a:gd name="connsiteY34" fmla="*/ 91886 h 3487140"/>
              <a:gd name="connsiteX35" fmla="*/ 1765070 w 5106037"/>
              <a:gd name="connsiteY35" fmla="*/ 75833 h 3487140"/>
              <a:gd name="connsiteX36" fmla="*/ 1657319 w 5106037"/>
              <a:gd name="connsiteY36" fmla="*/ 176931 h 3487140"/>
              <a:gd name="connsiteX37" fmla="*/ 1672581 w 5106037"/>
              <a:gd name="connsiteY37" fmla="*/ 370393 h 3487140"/>
              <a:gd name="connsiteX38" fmla="*/ 1617354 w 5106037"/>
              <a:gd name="connsiteY38" fmla="*/ 589348 h 3487140"/>
              <a:gd name="connsiteX39" fmla="*/ 1460820 w 5106037"/>
              <a:gd name="connsiteY39" fmla="*/ 903953 h 3487140"/>
              <a:gd name="connsiteX40" fmla="*/ 1250349 w 5106037"/>
              <a:gd name="connsiteY40" fmla="*/ 922501 h 3487140"/>
              <a:gd name="connsiteX41" fmla="*/ 1055930 w 5106037"/>
              <a:gd name="connsiteY41" fmla="*/ 866816 h 3487140"/>
              <a:gd name="connsiteX42" fmla="*/ 997085 w 5106037"/>
              <a:gd name="connsiteY42" fmla="*/ 751038 h 3487140"/>
              <a:gd name="connsiteX43" fmla="*/ 1009021 w 5106037"/>
              <a:gd name="connsiteY43" fmla="*/ 369436 h 3487140"/>
              <a:gd name="connsiteX44" fmla="*/ 1070694 w 5106037"/>
              <a:gd name="connsiteY44" fmla="*/ 155805 h 3487140"/>
              <a:gd name="connsiteX45" fmla="*/ 1272058 w 5106037"/>
              <a:gd name="connsiteY45" fmla="*/ 156761 h 3487140"/>
              <a:gd name="connsiteX46" fmla="*/ 1524989 w 5106037"/>
              <a:gd name="connsiteY46" fmla="*/ 245175 h 3487140"/>
              <a:gd name="connsiteX47" fmla="*/ 1694081 w 5106037"/>
              <a:gd name="connsiteY47" fmla="*/ 357792 h 3487140"/>
              <a:gd name="connsiteX48" fmla="*/ 1798672 w 5106037"/>
              <a:gd name="connsiteY48" fmla="*/ 483301 h 3487140"/>
              <a:gd name="connsiteX49" fmla="*/ 1822876 w 5106037"/>
              <a:gd name="connsiteY49" fmla="*/ 600951 h 3487140"/>
              <a:gd name="connsiteX50" fmla="*/ 1795345 w 5106037"/>
              <a:gd name="connsiteY50" fmla="*/ 761726 h 3487140"/>
              <a:gd name="connsiteX51" fmla="*/ 1967266 w 5106037"/>
              <a:gd name="connsiteY51" fmla="*/ 1160004 h 3487140"/>
              <a:gd name="connsiteX52" fmla="*/ 2390246 w 5106037"/>
              <a:gd name="connsiteY52" fmla="*/ 1793622 h 3487140"/>
              <a:gd name="connsiteX53" fmla="*/ 2807737 w 5106037"/>
              <a:gd name="connsiteY53" fmla="*/ 2087475 h 3487140"/>
              <a:gd name="connsiteX54" fmla="*/ 2917360 w 5106037"/>
              <a:gd name="connsiteY54" fmla="*/ 2185620 h 3487140"/>
              <a:gd name="connsiteX55" fmla="*/ 2804411 w 5106037"/>
              <a:gd name="connsiteY55" fmla="*/ 2468120 h 3487140"/>
              <a:gd name="connsiteX56" fmla="*/ 2638312 w 5106037"/>
              <a:gd name="connsiteY56" fmla="*/ 2505548 h 3487140"/>
              <a:gd name="connsiteX57" fmla="*/ 2329862 w 5106037"/>
              <a:gd name="connsiteY57" fmla="*/ 2278109 h 3487140"/>
              <a:gd name="connsiteX58" fmla="*/ 1885173 w 5106037"/>
              <a:gd name="connsiteY58" fmla="*/ 1678800 h 3487140"/>
              <a:gd name="connsiteX59" fmla="*/ 1765320 w 5106037"/>
              <a:gd name="connsiteY59" fmla="*/ 1175432 h 3487140"/>
              <a:gd name="connsiteX60" fmla="*/ 1919774 w 5106037"/>
              <a:gd name="connsiteY60" fmla="*/ 1377420 h 3487140"/>
              <a:gd name="connsiteX61" fmla="*/ 2281414 w 5106037"/>
              <a:gd name="connsiteY61" fmla="*/ 2268710 h 3487140"/>
              <a:gd name="connsiteX62" fmla="*/ 2601216 w 5106037"/>
              <a:gd name="connsiteY62" fmla="*/ 2693105 h 3487140"/>
              <a:gd name="connsiteX63" fmla="*/ 2834644 w 5106037"/>
              <a:gd name="connsiteY63" fmla="*/ 2746586 h 3487140"/>
              <a:gd name="connsiteX64" fmla="*/ 3001865 w 5106037"/>
              <a:gd name="connsiteY64" fmla="*/ 2631432 h 3487140"/>
              <a:gd name="connsiteX65" fmla="*/ 3013052 w 5106037"/>
              <a:gd name="connsiteY65" fmla="*/ 2436680 h 3487140"/>
              <a:gd name="connsiteX66" fmla="*/ 2859222 w 5106037"/>
              <a:gd name="connsiteY66" fmla="*/ 2309258 h 3487140"/>
              <a:gd name="connsiteX67" fmla="*/ 2652036 w 5106037"/>
              <a:gd name="connsiteY67" fmla="*/ 2375007 h 3487140"/>
              <a:gd name="connsiteX68" fmla="*/ 2629537 w 5106037"/>
              <a:gd name="connsiteY68" fmla="*/ 2581402 h 3487140"/>
              <a:gd name="connsiteX69" fmla="*/ 2772222 w 5106037"/>
              <a:gd name="connsiteY69" fmla="*/ 2671064 h 3487140"/>
              <a:gd name="connsiteX70" fmla="*/ 2868787 w 5106037"/>
              <a:gd name="connsiteY70" fmla="*/ 2596831 h 3487140"/>
              <a:gd name="connsiteX71" fmla="*/ 2835601 w 5106037"/>
              <a:gd name="connsiteY71" fmla="*/ 2530750 h 3487140"/>
              <a:gd name="connsiteX72" fmla="*/ 2713543 w 5106037"/>
              <a:gd name="connsiteY72" fmla="*/ 2615379 h 3487140"/>
              <a:gd name="connsiteX73" fmla="*/ 2567864 w 5106037"/>
              <a:gd name="connsiteY73" fmla="*/ 2907028 h 3487140"/>
              <a:gd name="connsiteX74" fmla="*/ 2520039 w 5106037"/>
              <a:gd name="connsiteY74" fmla="*/ 3008333 h 3487140"/>
              <a:gd name="connsiteX75" fmla="*/ 2484191 w 5106037"/>
              <a:gd name="connsiteY75" fmla="*/ 3024053 h 3487140"/>
              <a:gd name="connsiteX76" fmla="*/ 2389165 w 5106037"/>
              <a:gd name="connsiteY76" fmla="*/ 3013989 h 3487140"/>
              <a:gd name="connsiteX77" fmla="*/ 2396068 w 5106037"/>
              <a:gd name="connsiteY77" fmla="*/ 2956724 h 3487140"/>
              <a:gd name="connsiteX78" fmla="*/ 2584831 w 5106037"/>
              <a:gd name="connsiteY78" fmla="*/ 2951068 h 3487140"/>
              <a:gd name="connsiteX79" fmla="*/ 2671041 w 5106037"/>
              <a:gd name="connsiteY79" fmla="*/ 2951068 h 3487140"/>
              <a:gd name="connsiteX80" fmla="*/ 2752219 w 5106037"/>
              <a:gd name="connsiteY80" fmla="*/ 2822066 h 3487140"/>
              <a:gd name="connsiteX81" fmla="*/ 2892533 w 5106037"/>
              <a:gd name="connsiteY81" fmla="*/ 2789337 h 3487140"/>
              <a:gd name="connsiteX82" fmla="*/ 3020246 w 5106037"/>
              <a:gd name="connsiteY82" fmla="*/ 2713815 h 3487140"/>
              <a:gd name="connsiteX83" fmla="*/ 3106456 w 5106037"/>
              <a:gd name="connsiteY83" fmla="*/ 2544556 h 3487140"/>
              <a:gd name="connsiteX84" fmla="*/ 3326035 w 5106037"/>
              <a:gd name="connsiteY84" fmla="*/ 2482883 h 3487140"/>
              <a:gd name="connsiteX85" fmla="*/ 3861009 w 5106037"/>
              <a:gd name="connsiteY85" fmla="*/ 2466831 h 3487140"/>
              <a:gd name="connsiteX86" fmla="*/ 4016751 w 5106037"/>
              <a:gd name="connsiteY86" fmla="*/ 2420918 h 3487140"/>
              <a:gd name="connsiteX87" fmla="*/ 3866664 w 5106037"/>
              <a:gd name="connsiteY87" fmla="*/ 2252907 h 3487140"/>
              <a:gd name="connsiteX88" fmla="*/ 3391285 w 5106037"/>
              <a:gd name="connsiteY88" fmla="*/ 1791709 h 3487140"/>
              <a:gd name="connsiteX89" fmla="*/ 3127166 w 5106037"/>
              <a:gd name="connsiteY89" fmla="*/ 1600118 h 3487140"/>
              <a:gd name="connsiteX90" fmla="*/ 3003196 w 5106037"/>
              <a:gd name="connsiteY90" fmla="*/ 1733529 h 3487140"/>
              <a:gd name="connsiteX91" fmla="*/ 2940898 w 5106037"/>
              <a:gd name="connsiteY91" fmla="*/ 1995900 h 3487140"/>
              <a:gd name="connsiteX92" fmla="*/ 2981778 w 5106037"/>
              <a:gd name="connsiteY92" fmla="*/ 2048133 h 3487140"/>
              <a:gd name="connsiteX93" fmla="*/ 3044699 w 5106037"/>
              <a:gd name="connsiteY93" fmla="*/ 1778817 h 3487140"/>
              <a:gd name="connsiteX94" fmla="*/ 3166466 w 5106037"/>
              <a:gd name="connsiteY94" fmla="*/ 1356918 h 3487140"/>
              <a:gd name="connsiteX95" fmla="*/ 3272803 w 5106037"/>
              <a:gd name="connsiteY95" fmla="*/ 986960 h 3487140"/>
              <a:gd name="connsiteX96" fmla="*/ 3243526 w 5106037"/>
              <a:gd name="connsiteY96" fmla="*/ 867107 h 3487140"/>
              <a:gd name="connsiteX97" fmla="*/ 3068612 w 5106037"/>
              <a:gd name="connsiteY97" fmla="*/ 840034 h 3487140"/>
              <a:gd name="connsiteX98" fmla="*/ 2924513 w 5106037"/>
              <a:gd name="connsiteY98" fmla="*/ 782769 h 3487140"/>
              <a:gd name="connsiteX99" fmla="*/ 2940857 w 5106037"/>
              <a:gd name="connsiteY99" fmla="*/ 714816 h 3487140"/>
              <a:gd name="connsiteX100" fmla="*/ 3114524 w 5106037"/>
              <a:gd name="connsiteY100" fmla="*/ 723008 h 3487140"/>
              <a:gd name="connsiteX101" fmla="*/ 3317135 w 5106037"/>
              <a:gd name="connsiteY101" fmla="*/ 729288 h 3487140"/>
              <a:gd name="connsiteX102" fmla="*/ 3483857 w 5106037"/>
              <a:gd name="connsiteY102" fmla="*/ 682087 h 3487140"/>
              <a:gd name="connsiteX103" fmla="*/ 3601506 w 5106037"/>
              <a:gd name="connsiteY103" fmla="*/ 703463 h 3487140"/>
              <a:gd name="connsiteX104" fmla="*/ 3624171 w 5106037"/>
              <a:gd name="connsiteY104" fmla="*/ 797199 h 3487140"/>
              <a:gd name="connsiteX105" fmla="*/ 3496458 w 5106037"/>
              <a:gd name="connsiteY105" fmla="*/ 890936 h 3487140"/>
              <a:gd name="connsiteX106" fmla="*/ 3326575 w 5106037"/>
              <a:gd name="connsiteY106" fmla="*/ 918009 h 3487140"/>
              <a:gd name="connsiteX107" fmla="*/ 3198862 w 5106037"/>
              <a:gd name="connsiteY107" fmla="*/ 1002306 h 3487140"/>
              <a:gd name="connsiteX108" fmla="*/ 3097972 w 5106037"/>
              <a:gd name="connsiteY108" fmla="*/ 1299902 h 3487140"/>
              <a:gd name="connsiteX109" fmla="*/ 3159022 w 5106037"/>
              <a:gd name="connsiteY109" fmla="*/ 1545930 h 3487140"/>
              <a:gd name="connsiteX110" fmla="*/ 3371697 w 5106037"/>
              <a:gd name="connsiteY110" fmla="*/ 1536490 h 3487140"/>
              <a:gd name="connsiteX111" fmla="*/ 3551228 w 5106037"/>
              <a:gd name="connsiteY111" fmla="*/ 1376048 h 3487140"/>
              <a:gd name="connsiteX112" fmla="*/ 3554389 w 5106037"/>
              <a:gd name="connsiteY112" fmla="*/ 1231949 h 3487140"/>
              <a:gd name="connsiteX113" fmla="*/ 3336348 w 5106037"/>
              <a:gd name="connsiteY113" fmla="*/ 1191693 h 3487140"/>
              <a:gd name="connsiteX114" fmla="*/ 3344832 w 5106037"/>
              <a:gd name="connsiteY114" fmla="*/ 1255238 h 3487140"/>
              <a:gd name="connsiteX115" fmla="*/ 3769850 w 5106037"/>
              <a:gd name="connsiteY115" fmla="*/ 1241722 h 3487140"/>
              <a:gd name="connsiteX116" fmla="*/ 4254670 w 5106037"/>
              <a:gd name="connsiteY116" fmla="*/ 1259646 h 3487140"/>
              <a:gd name="connsiteX117" fmla="*/ 4484022 w 5106037"/>
              <a:gd name="connsiteY117" fmla="*/ 1236981 h 3487140"/>
              <a:gd name="connsiteX118" fmla="*/ 4465766 w 5106037"/>
              <a:gd name="connsiteY118" fmla="*/ 1185995 h 3487140"/>
              <a:gd name="connsiteX119" fmla="*/ 4105248 w 5106037"/>
              <a:gd name="connsiteY119" fmla="*/ 1177512 h 3487140"/>
              <a:gd name="connsiteX120" fmla="*/ 3734668 w 5106037"/>
              <a:gd name="connsiteY120" fmla="*/ 1331342 h 3487140"/>
              <a:gd name="connsiteX121" fmla="*/ 3388914 w 5106037"/>
              <a:gd name="connsiteY121" fmla="*/ 1604110 h 3487140"/>
              <a:gd name="connsiteX122" fmla="*/ 3156111 w 5106037"/>
              <a:gd name="connsiteY122" fmla="*/ 1921252 h 3487140"/>
              <a:gd name="connsiteX123" fmla="*/ 3060461 w 5106037"/>
              <a:gd name="connsiteY123" fmla="*/ 2419255 h 3487140"/>
              <a:gd name="connsiteX124" fmla="*/ 3290769 w 5106037"/>
              <a:gd name="connsiteY124" fmla="*/ 3048465 h 3487140"/>
              <a:gd name="connsiteX125" fmla="*/ 3868994 w 5106037"/>
              <a:gd name="connsiteY125" fmla="*/ 3394510 h 3487140"/>
              <a:gd name="connsiteX126" fmla="*/ 4507643 w 5106037"/>
              <a:gd name="connsiteY126" fmla="*/ 3330632 h 3487140"/>
              <a:gd name="connsiteX127" fmla="*/ 5002818 w 5106037"/>
              <a:gd name="connsiteY127" fmla="*/ 2841404 h 3487140"/>
              <a:gd name="connsiteX128" fmla="*/ 5036171 w 5106037"/>
              <a:gd name="connsiteY128" fmla="*/ 2052999 h 3487140"/>
              <a:gd name="connsiteX129" fmla="*/ 4605164 w 5106037"/>
              <a:gd name="connsiteY129" fmla="*/ 1482011 h 3487140"/>
              <a:gd name="connsiteX130" fmla="*/ 4138310 w 5106037"/>
              <a:gd name="connsiteY130" fmla="*/ 1352717 h 3487140"/>
              <a:gd name="connsiteX131" fmla="*/ 3977868 w 5106037"/>
              <a:gd name="connsiteY131" fmla="*/ 1466624 h 3487140"/>
              <a:gd name="connsiteX132" fmla="*/ 3999909 w 5106037"/>
              <a:gd name="connsiteY132" fmla="*/ 2001140 h 3487140"/>
              <a:gd name="connsiteX133" fmla="*/ 4033885 w 5106037"/>
              <a:gd name="connsiteY133" fmla="*/ 2313208 h 3487140"/>
              <a:gd name="connsiteX134" fmla="*/ 4125585 w 5106037"/>
              <a:gd name="connsiteY134" fmla="*/ 2399085 h 3487140"/>
              <a:gd name="connsiteX135" fmla="*/ 4230051 w 5106037"/>
              <a:gd name="connsiteY135" fmla="*/ 2362905 h 3487140"/>
              <a:gd name="connsiteX136" fmla="*/ 4194660 w 5106037"/>
              <a:gd name="connsiteY136" fmla="*/ 2271372 h 3487140"/>
              <a:gd name="connsiteX137" fmla="*/ 4097056 w 5106037"/>
              <a:gd name="connsiteY137" fmla="*/ 2303394 h 3487140"/>
              <a:gd name="connsiteX138" fmla="*/ 4080670 w 5106037"/>
              <a:gd name="connsiteY138" fmla="*/ 2437262 h 3487140"/>
              <a:gd name="connsiteX139" fmla="*/ 4079589 w 5106037"/>
              <a:gd name="connsiteY139" fmla="*/ 2519521 h 3487140"/>
              <a:gd name="connsiteX140" fmla="*/ 3900475 w 5106037"/>
              <a:gd name="connsiteY140" fmla="*/ 2539400 h 3487140"/>
              <a:gd name="connsiteX141" fmla="*/ 3490220 w 5106037"/>
              <a:gd name="connsiteY141" fmla="*/ 2545679 h 3487140"/>
              <a:gd name="connsiteX142" fmla="*/ 3249848 w 5106037"/>
              <a:gd name="connsiteY142" fmla="*/ 2602944 h 3487140"/>
              <a:gd name="connsiteX143" fmla="*/ 3240241 w 5106037"/>
              <a:gd name="connsiteY143" fmla="*/ 2790460 h 3487140"/>
              <a:gd name="connsiteX144" fmla="*/ 3433578 w 5106037"/>
              <a:gd name="connsiteY144" fmla="*/ 3133385 h 3487140"/>
              <a:gd name="connsiteX145" fmla="*/ 3925468 w 5106037"/>
              <a:gd name="connsiteY145" fmla="*/ 3465290 h 3487140"/>
              <a:gd name="connsiteX146" fmla="*/ 4666214 w 5106037"/>
              <a:gd name="connsiteY146" fmla="*/ 3390434 h 3487140"/>
              <a:gd name="connsiteX147" fmla="*/ 5106037 w 5106037"/>
              <a:gd name="connsiteY147" fmla="*/ 3017940 h 3487140"/>
              <a:gd name="connsiteX0" fmla="*/ 777215 w 5088779"/>
              <a:gd name="connsiteY0" fmla="*/ 3295741 h 3487140"/>
              <a:gd name="connsiteX1" fmla="*/ 526113 w 5088779"/>
              <a:gd name="connsiteY1" fmla="*/ 3112384 h 3487140"/>
              <a:gd name="connsiteX2" fmla="*/ 219950 w 5088779"/>
              <a:gd name="connsiteY2" fmla="*/ 2750287 h 3487140"/>
              <a:gd name="connsiteX3" fmla="*/ 128418 w 5088779"/>
              <a:gd name="connsiteY3" fmla="*/ 2305432 h 3487140"/>
              <a:gd name="connsiteX4" fmla="*/ 256006 w 5088779"/>
              <a:gd name="connsiteY4" fmla="*/ 1919713 h 3487140"/>
              <a:gd name="connsiteX5" fmla="*/ 580218 w 5088779"/>
              <a:gd name="connsiteY5" fmla="*/ 1637837 h 3487140"/>
              <a:gd name="connsiteX6" fmla="*/ 1073522 w 5088779"/>
              <a:gd name="connsiteY6" fmla="*/ 1545972 h 3487140"/>
              <a:gd name="connsiteX7" fmla="*/ 1308197 w 5088779"/>
              <a:gd name="connsiteY7" fmla="*/ 1517651 h 3487140"/>
              <a:gd name="connsiteX8" fmla="*/ 1292934 w 5088779"/>
              <a:gd name="connsiteY8" fmla="*/ 1460718 h 3487140"/>
              <a:gd name="connsiteX9" fmla="*/ 1016880 w 5088779"/>
              <a:gd name="connsiteY9" fmla="*/ 1416969 h 3487140"/>
              <a:gd name="connsiteX10" fmla="*/ 497460 w 5088779"/>
              <a:gd name="connsiteY10" fmla="*/ 1517318 h 3487140"/>
              <a:gd name="connsiteX11" fmla="*/ 88162 w 5088779"/>
              <a:gd name="connsiteY11" fmla="*/ 1960593 h 3487140"/>
              <a:gd name="connsiteX12" fmla="*/ 28692 w 5088779"/>
              <a:gd name="connsiteY12" fmla="*/ 2569342 h 3487140"/>
              <a:gd name="connsiteX13" fmla="*/ 442399 w 5088779"/>
              <a:gd name="connsiteY13" fmla="*/ 3165532 h 3487140"/>
              <a:gd name="connsiteX14" fmla="*/ 1232384 w 5088779"/>
              <a:gd name="connsiteY14" fmla="*/ 3283181 h 3487140"/>
              <a:gd name="connsiteX15" fmla="*/ 1835020 w 5088779"/>
              <a:gd name="connsiteY15" fmla="*/ 2757481 h 3487140"/>
              <a:gd name="connsiteX16" fmla="*/ 1824789 w 5088779"/>
              <a:gd name="connsiteY16" fmla="*/ 1980430 h 3487140"/>
              <a:gd name="connsiteX17" fmla="*/ 1494755 w 5088779"/>
              <a:gd name="connsiteY17" fmla="*/ 1589139 h 3487140"/>
              <a:gd name="connsiteX18" fmla="*/ 1305701 w 5088779"/>
              <a:gd name="connsiteY18" fmla="*/ 1660710 h 3487140"/>
              <a:gd name="connsiteX19" fmla="*/ 1197284 w 5088779"/>
              <a:gd name="connsiteY19" fmla="*/ 2116627 h 3487140"/>
              <a:gd name="connsiteX20" fmla="*/ 973921 w 5088779"/>
              <a:gd name="connsiteY20" fmla="*/ 2374258 h 3487140"/>
              <a:gd name="connsiteX21" fmla="*/ 918985 w 5088779"/>
              <a:gd name="connsiteY21" fmla="*/ 2276986 h 3487140"/>
              <a:gd name="connsiteX22" fmla="*/ 1298257 w 5088779"/>
              <a:gd name="connsiteY22" fmla="*/ 2021601 h 3487140"/>
              <a:gd name="connsiteX23" fmla="*/ 1558176 w 5088779"/>
              <a:gd name="connsiteY23" fmla="*/ 1234153 h 3487140"/>
              <a:gd name="connsiteX24" fmla="*/ 1788276 w 5088779"/>
              <a:gd name="connsiteY24" fmla="*/ 725296 h 3487140"/>
              <a:gd name="connsiteX25" fmla="*/ 1896859 w 5088779"/>
              <a:gd name="connsiteY25" fmla="*/ 539984 h 3487140"/>
              <a:gd name="connsiteX26" fmla="*/ 1865711 w 5088779"/>
              <a:gd name="connsiteY26" fmla="*/ 435851 h 3487140"/>
              <a:gd name="connsiteX27" fmla="*/ 1759373 w 5088779"/>
              <a:gd name="connsiteY27" fmla="*/ 350265 h 3487140"/>
              <a:gd name="connsiteX28" fmla="*/ 1714085 w 5088779"/>
              <a:gd name="connsiteY28" fmla="*/ 209327 h 3487140"/>
              <a:gd name="connsiteX29" fmla="*/ 1758915 w 5088779"/>
              <a:gd name="connsiteY29" fmla="*/ 82237 h 3487140"/>
              <a:gd name="connsiteX30" fmla="*/ 1939195 w 5088779"/>
              <a:gd name="connsiteY30" fmla="*/ 6716 h 3487140"/>
              <a:gd name="connsiteX31" fmla="*/ 2207888 w 5088779"/>
              <a:gd name="connsiteY31" fmla="*/ 10167 h 3487140"/>
              <a:gd name="connsiteX32" fmla="*/ 2291561 w 5088779"/>
              <a:gd name="connsiteY32" fmla="*/ 49800 h 3487140"/>
              <a:gd name="connsiteX33" fmla="*/ 2244526 w 5088779"/>
              <a:gd name="connsiteY33" fmla="*/ 86812 h 3487140"/>
              <a:gd name="connsiteX34" fmla="*/ 2008603 w 5088779"/>
              <a:gd name="connsiteY34" fmla="*/ 91886 h 3487140"/>
              <a:gd name="connsiteX35" fmla="*/ 1765070 w 5088779"/>
              <a:gd name="connsiteY35" fmla="*/ 75833 h 3487140"/>
              <a:gd name="connsiteX36" fmla="*/ 1657319 w 5088779"/>
              <a:gd name="connsiteY36" fmla="*/ 176931 h 3487140"/>
              <a:gd name="connsiteX37" fmla="*/ 1672581 w 5088779"/>
              <a:gd name="connsiteY37" fmla="*/ 370393 h 3487140"/>
              <a:gd name="connsiteX38" fmla="*/ 1617354 w 5088779"/>
              <a:gd name="connsiteY38" fmla="*/ 589348 h 3487140"/>
              <a:gd name="connsiteX39" fmla="*/ 1460820 w 5088779"/>
              <a:gd name="connsiteY39" fmla="*/ 903953 h 3487140"/>
              <a:gd name="connsiteX40" fmla="*/ 1250349 w 5088779"/>
              <a:gd name="connsiteY40" fmla="*/ 922501 h 3487140"/>
              <a:gd name="connsiteX41" fmla="*/ 1055930 w 5088779"/>
              <a:gd name="connsiteY41" fmla="*/ 866816 h 3487140"/>
              <a:gd name="connsiteX42" fmla="*/ 997085 w 5088779"/>
              <a:gd name="connsiteY42" fmla="*/ 751038 h 3487140"/>
              <a:gd name="connsiteX43" fmla="*/ 1009021 w 5088779"/>
              <a:gd name="connsiteY43" fmla="*/ 369436 h 3487140"/>
              <a:gd name="connsiteX44" fmla="*/ 1070694 w 5088779"/>
              <a:gd name="connsiteY44" fmla="*/ 155805 h 3487140"/>
              <a:gd name="connsiteX45" fmla="*/ 1272058 w 5088779"/>
              <a:gd name="connsiteY45" fmla="*/ 156761 h 3487140"/>
              <a:gd name="connsiteX46" fmla="*/ 1524989 w 5088779"/>
              <a:gd name="connsiteY46" fmla="*/ 245175 h 3487140"/>
              <a:gd name="connsiteX47" fmla="*/ 1694081 w 5088779"/>
              <a:gd name="connsiteY47" fmla="*/ 357792 h 3487140"/>
              <a:gd name="connsiteX48" fmla="*/ 1798672 w 5088779"/>
              <a:gd name="connsiteY48" fmla="*/ 483301 h 3487140"/>
              <a:gd name="connsiteX49" fmla="*/ 1822876 w 5088779"/>
              <a:gd name="connsiteY49" fmla="*/ 600951 h 3487140"/>
              <a:gd name="connsiteX50" fmla="*/ 1795345 w 5088779"/>
              <a:gd name="connsiteY50" fmla="*/ 761726 h 3487140"/>
              <a:gd name="connsiteX51" fmla="*/ 1967266 w 5088779"/>
              <a:gd name="connsiteY51" fmla="*/ 1160004 h 3487140"/>
              <a:gd name="connsiteX52" fmla="*/ 2390246 w 5088779"/>
              <a:gd name="connsiteY52" fmla="*/ 1793622 h 3487140"/>
              <a:gd name="connsiteX53" fmla="*/ 2807737 w 5088779"/>
              <a:gd name="connsiteY53" fmla="*/ 2087475 h 3487140"/>
              <a:gd name="connsiteX54" fmla="*/ 2917360 w 5088779"/>
              <a:gd name="connsiteY54" fmla="*/ 2185620 h 3487140"/>
              <a:gd name="connsiteX55" fmla="*/ 2804411 w 5088779"/>
              <a:gd name="connsiteY55" fmla="*/ 2468120 h 3487140"/>
              <a:gd name="connsiteX56" fmla="*/ 2638312 w 5088779"/>
              <a:gd name="connsiteY56" fmla="*/ 2505548 h 3487140"/>
              <a:gd name="connsiteX57" fmla="*/ 2329862 w 5088779"/>
              <a:gd name="connsiteY57" fmla="*/ 2278109 h 3487140"/>
              <a:gd name="connsiteX58" fmla="*/ 1885173 w 5088779"/>
              <a:gd name="connsiteY58" fmla="*/ 1678800 h 3487140"/>
              <a:gd name="connsiteX59" fmla="*/ 1765320 w 5088779"/>
              <a:gd name="connsiteY59" fmla="*/ 1175432 h 3487140"/>
              <a:gd name="connsiteX60" fmla="*/ 1919774 w 5088779"/>
              <a:gd name="connsiteY60" fmla="*/ 1377420 h 3487140"/>
              <a:gd name="connsiteX61" fmla="*/ 2281414 w 5088779"/>
              <a:gd name="connsiteY61" fmla="*/ 2268710 h 3487140"/>
              <a:gd name="connsiteX62" fmla="*/ 2601216 w 5088779"/>
              <a:gd name="connsiteY62" fmla="*/ 2693105 h 3487140"/>
              <a:gd name="connsiteX63" fmla="*/ 2834644 w 5088779"/>
              <a:gd name="connsiteY63" fmla="*/ 2746586 h 3487140"/>
              <a:gd name="connsiteX64" fmla="*/ 3001865 w 5088779"/>
              <a:gd name="connsiteY64" fmla="*/ 2631432 h 3487140"/>
              <a:gd name="connsiteX65" fmla="*/ 3013052 w 5088779"/>
              <a:gd name="connsiteY65" fmla="*/ 2436680 h 3487140"/>
              <a:gd name="connsiteX66" fmla="*/ 2859222 w 5088779"/>
              <a:gd name="connsiteY66" fmla="*/ 2309258 h 3487140"/>
              <a:gd name="connsiteX67" fmla="*/ 2652036 w 5088779"/>
              <a:gd name="connsiteY67" fmla="*/ 2375007 h 3487140"/>
              <a:gd name="connsiteX68" fmla="*/ 2629537 w 5088779"/>
              <a:gd name="connsiteY68" fmla="*/ 2581402 h 3487140"/>
              <a:gd name="connsiteX69" fmla="*/ 2772222 w 5088779"/>
              <a:gd name="connsiteY69" fmla="*/ 2671064 h 3487140"/>
              <a:gd name="connsiteX70" fmla="*/ 2868787 w 5088779"/>
              <a:gd name="connsiteY70" fmla="*/ 2596831 h 3487140"/>
              <a:gd name="connsiteX71" fmla="*/ 2835601 w 5088779"/>
              <a:gd name="connsiteY71" fmla="*/ 2530750 h 3487140"/>
              <a:gd name="connsiteX72" fmla="*/ 2713543 w 5088779"/>
              <a:gd name="connsiteY72" fmla="*/ 2615379 h 3487140"/>
              <a:gd name="connsiteX73" fmla="*/ 2567864 w 5088779"/>
              <a:gd name="connsiteY73" fmla="*/ 2907028 h 3487140"/>
              <a:gd name="connsiteX74" fmla="*/ 2520039 w 5088779"/>
              <a:gd name="connsiteY74" fmla="*/ 3008333 h 3487140"/>
              <a:gd name="connsiteX75" fmla="*/ 2484191 w 5088779"/>
              <a:gd name="connsiteY75" fmla="*/ 3024053 h 3487140"/>
              <a:gd name="connsiteX76" fmla="*/ 2389165 w 5088779"/>
              <a:gd name="connsiteY76" fmla="*/ 3013989 h 3487140"/>
              <a:gd name="connsiteX77" fmla="*/ 2396068 w 5088779"/>
              <a:gd name="connsiteY77" fmla="*/ 2956724 h 3487140"/>
              <a:gd name="connsiteX78" fmla="*/ 2584831 w 5088779"/>
              <a:gd name="connsiteY78" fmla="*/ 2951068 h 3487140"/>
              <a:gd name="connsiteX79" fmla="*/ 2671041 w 5088779"/>
              <a:gd name="connsiteY79" fmla="*/ 2951068 h 3487140"/>
              <a:gd name="connsiteX80" fmla="*/ 2752219 w 5088779"/>
              <a:gd name="connsiteY80" fmla="*/ 2822066 h 3487140"/>
              <a:gd name="connsiteX81" fmla="*/ 2892533 w 5088779"/>
              <a:gd name="connsiteY81" fmla="*/ 2789337 h 3487140"/>
              <a:gd name="connsiteX82" fmla="*/ 3020246 w 5088779"/>
              <a:gd name="connsiteY82" fmla="*/ 2713815 h 3487140"/>
              <a:gd name="connsiteX83" fmla="*/ 3106456 w 5088779"/>
              <a:gd name="connsiteY83" fmla="*/ 2544556 h 3487140"/>
              <a:gd name="connsiteX84" fmla="*/ 3326035 w 5088779"/>
              <a:gd name="connsiteY84" fmla="*/ 2482883 h 3487140"/>
              <a:gd name="connsiteX85" fmla="*/ 3861009 w 5088779"/>
              <a:gd name="connsiteY85" fmla="*/ 2466831 h 3487140"/>
              <a:gd name="connsiteX86" fmla="*/ 4016751 w 5088779"/>
              <a:gd name="connsiteY86" fmla="*/ 2420918 h 3487140"/>
              <a:gd name="connsiteX87" fmla="*/ 3866664 w 5088779"/>
              <a:gd name="connsiteY87" fmla="*/ 2252907 h 3487140"/>
              <a:gd name="connsiteX88" fmla="*/ 3391285 w 5088779"/>
              <a:gd name="connsiteY88" fmla="*/ 1791709 h 3487140"/>
              <a:gd name="connsiteX89" fmla="*/ 3127166 w 5088779"/>
              <a:gd name="connsiteY89" fmla="*/ 1600118 h 3487140"/>
              <a:gd name="connsiteX90" fmla="*/ 3003196 w 5088779"/>
              <a:gd name="connsiteY90" fmla="*/ 1733529 h 3487140"/>
              <a:gd name="connsiteX91" fmla="*/ 2940898 w 5088779"/>
              <a:gd name="connsiteY91" fmla="*/ 1995900 h 3487140"/>
              <a:gd name="connsiteX92" fmla="*/ 2981778 w 5088779"/>
              <a:gd name="connsiteY92" fmla="*/ 2048133 h 3487140"/>
              <a:gd name="connsiteX93" fmla="*/ 3044699 w 5088779"/>
              <a:gd name="connsiteY93" fmla="*/ 1778817 h 3487140"/>
              <a:gd name="connsiteX94" fmla="*/ 3166466 w 5088779"/>
              <a:gd name="connsiteY94" fmla="*/ 1356918 h 3487140"/>
              <a:gd name="connsiteX95" fmla="*/ 3272803 w 5088779"/>
              <a:gd name="connsiteY95" fmla="*/ 986960 h 3487140"/>
              <a:gd name="connsiteX96" fmla="*/ 3243526 w 5088779"/>
              <a:gd name="connsiteY96" fmla="*/ 867107 h 3487140"/>
              <a:gd name="connsiteX97" fmla="*/ 3068612 w 5088779"/>
              <a:gd name="connsiteY97" fmla="*/ 840034 h 3487140"/>
              <a:gd name="connsiteX98" fmla="*/ 2924513 w 5088779"/>
              <a:gd name="connsiteY98" fmla="*/ 782769 h 3487140"/>
              <a:gd name="connsiteX99" fmla="*/ 2940857 w 5088779"/>
              <a:gd name="connsiteY99" fmla="*/ 714816 h 3487140"/>
              <a:gd name="connsiteX100" fmla="*/ 3114524 w 5088779"/>
              <a:gd name="connsiteY100" fmla="*/ 723008 h 3487140"/>
              <a:gd name="connsiteX101" fmla="*/ 3317135 w 5088779"/>
              <a:gd name="connsiteY101" fmla="*/ 729288 h 3487140"/>
              <a:gd name="connsiteX102" fmla="*/ 3483857 w 5088779"/>
              <a:gd name="connsiteY102" fmla="*/ 682087 h 3487140"/>
              <a:gd name="connsiteX103" fmla="*/ 3601506 w 5088779"/>
              <a:gd name="connsiteY103" fmla="*/ 703463 h 3487140"/>
              <a:gd name="connsiteX104" fmla="*/ 3624171 w 5088779"/>
              <a:gd name="connsiteY104" fmla="*/ 797199 h 3487140"/>
              <a:gd name="connsiteX105" fmla="*/ 3496458 w 5088779"/>
              <a:gd name="connsiteY105" fmla="*/ 890936 h 3487140"/>
              <a:gd name="connsiteX106" fmla="*/ 3326575 w 5088779"/>
              <a:gd name="connsiteY106" fmla="*/ 918009 h 3487140"/>
              <a:gd name="connsiteX107" fmla="*/ 3198862 w 5088779"/>
              <a:gd name="connsiteY107" fmla="*/ 1002306 h 3487140"/>
              <a:gd name="connsiteX108" fmla="*/ 3097972 w 5088779"/>
              <a:gd name="connsiteY108" fmla="*/ 1299902 h 3487140"/>
              <a:gd name="connsiteX109" fmla="*/ 3159022 w 5088779"/>
              <a:gd name="connsiteY109" fmla="*/ 1545930 h 3487140"/>
              <a:gd name="connsiteX110" fmla="*/ 3371697 w 5088779"/>
              <a:gd name="connsiteY110" fmla="*/ 1536490 h 3487140"/>
              <a:gd name="connsiteX111" fmla="*/ 3551228 w 5088779"/>
              <a:gd name="connsiteY111" fmla="*/ 1376048 h 3487140"/>
              <a:gd name="connsiteX112" fmla="*/ 3554389 w 5088779"/>
              <a:gd name="connsiteY112" fmla="*/ 1231949 h 3487140"/>
              <a:gd name="connsiteX113" fmla="*/ 3336348 w 5088779"/>
              <a:gd name="connsiteY113" fmla="*/ 1191693 h 3487140"/>
              <a:gd name="connsiteX114" fmla="*/ 3344832 w 5088779"/>
              <a:gd name="connsiteY114" fmla="*/ 1255238 h 3487140"/>
              <a:gd name="connsiteX115" fmla="*/ 3769850 w 5088779"/>
              <a:gd name="connsiteY115" fmla="*/ 1241722 h 3487140"/>
              <a:gd name="connsiteX116" fmla="*/ 4254670 w 5088779"/>
              <a:gd name="connsiteY116" fmla="*/ 1259646 h 3487140"/>
              <a:gd name="connsiteX117" fmla="*/ 4484022 w 5088779"/>
              <a:gd name="connsiteY117" fmla="*/ 1236981 h 3487140"/>
              <a:gd name="connsiteX118" fmla="*/ 4465766 w 5088779"/>
              <a:gd name="connsiteY118" fmla="*/ 1185995 h 3487140"/>
              <a:gd name="connsiteX119" fmla="*/ 4105248 w 5088779"/>
              <a:gd name="connsiteY119" fmla="*/ 1177512 h 3487140"/>
              <a:gd name="connsiteX120" fmla="*/ 3734668 w 5088779"/>
              <a:gd name="connsiteY120" fmla="*/ 1331342 h 3487140"/>
              <a:gd name="connsiteX121" fmla="*/ 3388914 w 5088779"/>
              <a:gd name="connsiteY121" fmla="*/ 1604110 h 3487140"/>
              <a:gd name="connsiteX122" fmla="*/ 3156111 w 5088779"/>
              <a:gd name="connsiteY122" fmla="*/ 1921252 h 3487140"/>
              <a:gd name="connsiteX123" fmla="*/ 3060461 w 5088779"/>
              <a:gd name="connsiteY123" fmla="*/ 2419255 h 3487140"/>
              <a:gd name="connsiteX124" fmla="*/ 3290769 w 5088779"/>
              <a:gd name="connsiteY124" fmla="*/ 3048465 h 3487140"/>
              <a:gd name="connsiteX125" fmla="*/ 3868994 w 5088779"/>
              <a:gd name="connsiteY125" fmla="*/ 3394510 h 3487140"/>
              <a:gd name="connsiteX126" fmla="*/ 4507643 w 5088779"/>
              <a:gd name="connsiteY126" fmla="*/ 3330632 h 3487140"/>
              <a:gd name="connsiteX127" fmla="*/ 5002818 w 5088779"/>
              <a:gd name="connsiteY127" fmla="*/ 2841404 h 3487140"/>
              <a:gd name="connsiteX128" fmla="*/ 5036171 w 5088779"/>
              <a:gd name="connsiteY128" fmla="*/ 2052999 h 3487140"/>
              <a:gd name="connsiteX129" fmla="*/ 4605164 w 5088779"/>
              <a:gd name="connsiteY129" fmla="*/ 1482011 h 3487140"/>
              <a:gd name="connsiteX130" fmla="*/ 4138310 w 5088779"/>
              <a:gd name="connsiteY130" fmla="*/ 1352717 h 3487140"/>
              <a:gd name="connsiteX131" fmla="*/ 3977868 w 5088779"/>
              <a:gd name="connsiteY131" fmla="*/ 1466624 h 3487140"/>
              <a:gd name="connsiteX132" fmla="*/ 3999909 w 5088779"/>
              <a:gd name="connsiteY132" fmla="*/ 2001140 h 3487140"/>
              <a:gd name="connsiteX133" fmla="*/ 4033885 w 5088779"/>
              <a:gd name="connsiteY133" fmla="*/ 2313208 h 3487140"/>
              <a:gd name="connsiteX134" fmla="*/ 4125585 w 5088779"/>
              <a:gd name="connsiteY134" fmla="*/ 2399085 h 3487140"/>
              <a:gd name="connsiteX135" fmla="*/ 4230051 w 5088779"/>
              <a:gd name="connsiteY135" fmla="*/ 2362905 h 3487140"/>
              <a:gd name="connsiteX136" fmla="*/ 4194660 w 5088779"/>
              <a:gd name="connsiteY136" fmla="*/ 2271372 h 3487140"/>
              <a:gd name="connsiteX137" fmla="*/ 4097056 w 5088779"/>
              <a:gd name="connsiteY137" fmla="*/ 2303394 h 3487140"/>
              <a:gd name="connsiteX138" fmla="*/ 4080670 w 5088779"/>
              <a:gd name="connsiteY138" fmla="*/ 2437262 h 3487140"/>
              <a:gd name="connsiteX139" fmla="*/ 4079589 w 5088779"/>
              <a:gd name="connsiteY139" fmla="*/ 2519521 h 3487140"/>
              <a:gd name="connsiteX140" fmla="*/ 3900475 w 5088779"/>
              <a:gd name="connsiteY140" fmla="*/ 2539400 h 3487140"/>
              <a:gd name="connsiteX141" fmla="*/ 3490220 w 5088779"/>
              <a:gd name="connsiteY141" fmla="*/ 2545679 h 3487140"/>
              <a:gd name="connsiteX142" fmla="*/ 3249848 w 5088779"/>
              <a:gd name="connsiteY142" fmla="*/ 2602944 h 3487140"/>
              <a:gd name="connsiteX143" fmla="*/ 3240241 w 5088779"/>
              <a:gd name="connsiteY143" fmla="*/ 2790460 h 3487140"/>
              <a:gd name="connsiteX144" fmla="*/ 3433578 w 5088779"/>
              <a:gd name="connsiteY144" fmla="*/ 3133385 h 3487140"/>
              <a:gd name="connsiteX145" fmla="*/ 3925468 w 5088779"/>
              <a:gd name="connsiteY145" fmla="*/ 3465290 h 3487140"/>
              <a:gd name="connsiteX146" fmla="*/ 4666214 w 5088779"/>
              <a:gd name="connsiteY146" fmla="*/ 3390434 h 3487140"/>
              <a:gd name="connsiteX0" fmla="*/ 777215 w 5088779"/>
              <a:gd name="connsiteY0" fmla="*/ 3295741 h 3465287"/>
              <a:gd name="connsiteX1" fmla="*/ 526113 w 5088779"/>
              <a:gd name="connsiteY1" fmla="*/ 3112384 h 3465287"/>
              <a:gd name="connsiteX2" fmla="*/ 219950 w 5088779"/>
              <a:gd name="connsiteY2" fmla="*/ 2750287 h 3465287"/>
              <a:gd name="connsiteX3" fmla="*/ 128418 w 5088779"/>
              <a:gd name="connsiteY3" fmla="*/ 2305432 h 3465287"/>
              <a:gd name="connsiteX4" fmla="*/ 256006 w 5088779"/>
              <a:gd name="connsiteY4" fmla="*/ 1919713 h 3465287"/>
              <a:gd name="connsiteX5" fmla="*/ 580218 w 5088779"/>
              <a:gd name="connsiteY5" fmla="*/ 1637837 h 3465287"/>
              <a:gd name="connsiteX6" fmla="*/ 1073522 w 5088779"/>
              <a:gd name="connsiteY6" fmla="*/ 1545972 h 3465287"/>
              <a:gd name="connsiteX7" fmla="*/ 1308197 w 5088779"/>
              <a:gd name="connsiteY7" fmla="*/ 1517651 h 3465287"/>
              <a:gd name="connsiteX8" fmla="*/ 1292934 w 5088779"/>
              <a:gd name="connsiteY8" fmla="*/ 1460718 h 3465287"/>
              <a:gd name="connsiteX9" fmla="*/ 1016880 w 5088779"/>
              <a:gd name="connsiteY9" fmla="*/ 1416969 h 3465287"/>
              <a:gd name="connsiteX10" fmla="*/ 497460 w 5088779"/>
              <a:gd name="connsiteY10" fmla="*/ 1517318 h 3465287"/>
              <a:gd name="connsiteX11" fmla="*/ 88162 w 5088779"/>
              <a:gd name="connsiteY11" fmla="*/ 1960593 h 3465287"/>
              <a:gd name="connsiteX12" fmla="*/ 28692 w 5088779"/>
              <a:gd name="connsiteY12" fmla="*/ 2569342 h 3465287"/>
              <a:gd name="connsiteX13" fmla="*/ 442399 w 5088779"/>
              <a:gd name="connsiteY13" fmla="*/ 3165532 h 3465287"/>
              <a:gd name="connsiteX14" fmla="*/ 1232384 w 5088779"/>
              <a:gd name="connsiteY14" fmla="*/ 3283181 h 3465287"/>
              <a:gd name="connsiteX15" fmla="*/ 1835020 w 5088779"/>
              <a:gd name="connsiteY15" fmla="*/ 2757481 h 3465287"/>
              <a:gd name="connsiteX16" fmla="*/ 1824789 w 5088779"/>
              <a:gd name="connsiteY16" fmla="*/ 1980430 h 3465287"/>
              <a:gd name="connsiteX17" fmla="*/ 1494755 w 5088779"/>
              <a:gd name="connsiteY17" fmla="*/ 1589139 h 3465287"/>
              <a:gd name="connsiteX18" fmla="*/ 1305701 w 5088779"/>
              <a:gd name="connsiteY18" fmla="*/ 1660710 h 3465287"/>
              <a:gd name="connsiteX19" fmla="*/ 1197284 w 5088779"/>
              <a:gd name="connsiteY19" fmla="*/ 2116627 h 3465287"/>
              <a:gd name="connsiteX20" fmla="*/ 973921 w 5088779"/>
              <a:gd name="connsiteY20" fmla="*/ 2374258 h 3465287"/>
              <a:gd name="connsiteX21" fmla="*/ 918985 w 5088779"/>
              <a:gd name="connsiteY21" fmla="*/ 2276986 h 3465287"/>
              <a:gd name="connsiteX22" fmla="*/ 1298257 w 5088779"/>
              <a:gd name="connsiteY22" fmla="*/ 2021601 h 3465287"/>
              <a:gd name="connsiteX23" fmla="*/ 1558176 w 5088779"/>
              <a:gd name="connsiteY23" fmla="*/ 1234153 h 3465287"/>
              <a:gd name="connsiteX24" fmla="*/ 1788276 w 5088779"/>
              <a:gd name="connsiteY24" fmla="*/ 725296 h 3465287"/>
              <a:gd name="connsiteX25" fmla="*/ 1896859 w 5088779"/>
              <a:gd name="connsiteY25" fmla="*/ 539984 h 3465287"/>
              <a:gd name="connsiteX26" fmla="*/ 1865711 w 5088779"/>
              <a:gd name="connsiteY26" fmla="*/ 435851 h 3465287"/>
              <a:gd name="connsiteX27" fmla="*/ 1759373 w 5088779"/>
              <a:gd name="connsiteY27" fmla="*/ 350265 h 3465287"/>
              <a:gd name="connsiteX28" fmla="*/ 1714085 w 5088779"/>
              <a:gd name="connsiteY28" fmla="*/ 209327 h 3465287"/>
              <a:gd name="connsiteX29" fmla="*/ 1758915 w 5088779"/>
              <a:gd name="connsiteY29" fmla="*/ 82237 h 3465287"/>
              <a:gd name="connsiteX30" fmla="*/ 1939195 w 5088779"/>
              <a:gd name="connsiteY30" fmla="*/ 6716 h 3465287"/>
              <a:gd name="connsiteX31" fmla="*/ 2207888 w 5088779"/>
              <a:gd name="connsiteY31" fmla="*/ 10167 h 3465287"/>
              <a:gd name="connsiteX32" fmla="*/ 2291561 w 5088779"/>
              <a:gd name="connsiteY32" fmla="*/ 49800 h 3465287"/>
              <a:gd name="connsiteX33" fmla="*/ 2244526 w 5088779"/>
              <a:gd name="connsiteY33" fmla="*/ 86812 h 3465287"/>
              <a:gd name="connsiteX34" fmla="*/ 2008603 w 5088779"/>
              <a:gd name="connsiteY34" fmla="*/ 91886 h 3465287"/>
              <a:gd name="connsiteX35" fmla="*/ 1765070 w 5088779"/>
              <a:gd name="connsiteY35" fmla="*/ 75833 h 3465287"/>
              <a:gd name="connsiteX36" fmla="*/ 1657319 w 5088779"/>
              <a:gd name="connsiteY36" fmla="*/ 176931 h 3465287"/>
              <a:gd name="connsiteX37" fmla="*/ 1672581 w 5088779"/>
              <a:gd name="connsiteY37" fmla="*/ 370393 h 3465287"/>
              <a:gd name="connsiteX38" fmla="*/ 1617354 w 5088779"/>
              <a:gd name="connsiteY38" fmla="*/ 589348 h 3465287"/>
              <a:gd name="connsiteX39" fmla="*/ 1460820 w 5088779"/>
              <a:gd name="connsiteY39" fmla="*/ 903953 h 3465287"/>
              <a:gd name="connsiteX40" fmla="*/ 1250349 w 5088779"/>
              <a:gd name="connsiteY40" fmla="*/ 922501 h 3465287"/>
              <a:gd name="connsiteX41" fmla="*/ 1055930 w 5088779"/>
              <a:gd name="connsiteY41" fmla="*/ 866816 h 3465287"/>
              <a:gd name="connsiteX42" fmla="*/ 997085 w 5088779"/>
              <a:gd name="connsiteY42" fmla="*/ 751038 h 3465287"/>
              <a:gd name="connsiteX43" fmla="*/ 1009021 w 5088779"/>
              <a:gd name="connsiteY43" fmla="*/ 369436 h 3465287"/>
              <a:gd name="connsiteX44" fmla="*/ 1070694 w 5088779"/>
              <a:gd name="connsiteY44" fmla="*/ 155805 h 3465287"/>
              <a:gd name="connsiteX45" fmla="*/ 1272058 w 5088779"/>
              <a:gd name="connsiteY45" fmla="*/ 156761 h 3465287"/>
              <a:gd name="connsiteX46" fmla="*/ 1524989 w 5088779"/>
              <a:gd name="connsiteY46" fmla="*/ 245175 h 3465287"/>
              <a:gd name="connsiteX47" fmla="*/ 1694081 w 5088779"/>
              <a:gd name="connsiteY47" fmla="*/ 357792 h 3465287"/>
              <a:gd name="connsiteX48" fmla="*/ 1798672 w 5088779"/>
              <a:gd name="connsiteY48" fmla="*/ 483301 h 3465287"/>
              <a:gd name="connsiteX49" fmla="*/ 1822876 w 5088779"/>
              <a:gd name="connsiteY49" fmla="*/ 600951 h 3465287"/>
              <a:gd name="connsiteX50" fmla="*/ 1795345 w 5088779"/>
              <a:gd name="connsiteY50" fmla="*/ 761726 h 3465287"/>
              <a:gd name="connsiteX51" fmla="*/ 1967266 w 5088779"/>
              <a:gd name="connsiteY51" fmla="*/ 1160004 h 3465287"/>
              <a:gd name="connsiteX52" fmla="*/ 2390246 w 5088779"/>
              <a:gd name="connsiteY52" fmla="*/ 1793622 h 3465287"/>
              <a:gd name="connsiteX53" fmla="*/ 2807737 w 5088779"/>
              <a:gd name="connsiteY53" fmla="*/ 2087475 h 3465287"/>
              <a:gd name="connsiteX54" fmla="*/ 2917360 w 5088779"/>
              <a:gd name="connsiteY54" fmla="*/ 2185620 h 3465287"/>
              <a:gd name="connsiteX55" fmla="*/ 2804411 w 5088779"/>
              <a:gd name="connsiteY55" fmla="*/ 2468120 h 3465287"/>
              <a:gd name="connsiteX56" fmla="*/ 2638312 w 5088779"/>
              <a:gd name="connsiteY56" fmla="*/ 2505548 h 3465287"/>
              <a:gd name="connsiteX57" fmla="*/ 2329862 w 5088779"/>
              <a:gd name="connsiteY57" fmla="*/ 2278109 h 3465287"/>
              <a:gd name="connsiteX58" fmla="*/ 1885173 w 5088779"/>
              <a:gd name="connsiteY58" fmla="*/ 1678800 h 3465287"/>
              <a:gd name="connsiteX59" fmla="*/ 1765320 w 5088779"/>
              <a:gd name="connsiteY59" fmla="*/ 1175432 h 3465287"/>
              <a:gd name="connsiteX60" fmla="*/ 1919774 w 5088779"/>
              <a:gd name="connsiteY60" fmla="*/ 1377420 h 3465287"/>
              <a:gd name="connsiteX61" fmla="*/ 2281414 w 5088779"/>
              <a:gd name="connsiteY61" fmla="*/ 2268710 h 3465287"/>
              <a:gd name="connsiteX62" fmla="*/ 2601216 w 5088779"/>
              <a:gd name="connsiteY62" fmla="*/ 2693105 h 3465287"/>
              <a:gd name="connsiteX63" fmla="*/ 2834644 w 5088779"/>
              <a:gd name="connsiteY63" fmla="*/ 2746586 h 3465287"/>
              <a:gd name="connsiteX64" fmla="*/ 3001865 w 5088779"/>
              <a:gd name="connsiteY64" fmla="*/ 2631432 h 3465287"/>
              <a:gd name="connsiteX65" fmla="*/ 3013052 w 5088779"/>
              <a:gd name="connsiteY65" fmla="*/ 2436680 h 3465287"/>
              <a:gd name="connsiteX66" fmla="*/ 2859222 w 5088779"/>
              <a:gd name="connsiteY66" fmla="*/ 2309258 h 3465287"/>
              <a:gd name="connsiteX67" fmla="*/ 2652036 w 5088779"/>
              <a:gd name="connsiteY67" fmla="*/ 2375007 h 3465287"/>
              <a:gd name="connsiteX68" fmla="*/ 2629537 w 5088779"/>
              <a:gd name="connsiteY68" fmla="*/ 2581402 h 3465287"/>
              <a:gd name="connsiteX69" fmla="*/ 2772222 w 5088779"/>
              <a:gd name="connsiteY69" fmla="*/ 2671064 h 3465287"/>
              <a:gd name="connsiteX70" fmla="*/ 2868787 w 5088779"/>
              <a:gd name="connsiteY70" fmla="*/ 2596831 h 3465287"/>
              <a:gd name="connsiteX71" fmla="*/ 2835601 w 5088779"/>
              <a:gd name="connsiteY71" fmla="*/ 2530750 h 3465287"/>
              <a:gd name="connsiteX72" fmla="*/ 2713543 w 5088779"/>
              <a:gd name="connsiteY72" fmla="*/ 2615379 h 3465287"/>
              <a:gd name="connsiteX73" fmla="*/ 2567864 w 5088779"/>
              <a:gd name="connsiteY73" fmla="*/ 2907028 h 3465287"/>
              <a:gd name="connsiteX74" fmla="*/ 2520039 w 5088779"/>
              <a:gd name="connsiteY74" fmla="*/ 3008333 h 3465287"/>
              <a:gd name="connsiteX75" fmla="*/ 2484191 w 5088779"/>
              <a:gd name="connsiteY75" fmla="*/ 3024053 h 3465287"/>
              <a:gd name="connsiteX76" fmla="*/ 2389165 w 5088779"/>
              <a:gd name="connsiteY76" fmla="*/ 3013989 h 3465287"/>
              <a:gd name="connsiteX77" fmla="*/ 2396068 w 5088779"/>
              <a:gd name="connsiteY77" fmla="*/ 2956724 h 3465287"/>
              <a:gd name="connsiteX78" fmla="*/ 2584831 w 5088779"/>
              <a:gd name="connsiteY78" fmla="*/ 2951068 h 3465287"/>
              <a:gd name="connsiteX79" fmla="*/ 2671041 w 5088779"/>
              <a:gd name="connsiteY79" fmla="*/ 2951068 h 3465287"/>
              <a:gd name="connsiteX80" fmla="*/ 2752219 w 5088779"/>
              <a:gd name="connsiteY80" fmla="*/ 2822066 h 3465287"/>
              <a:gd name="connsiteX81" fmla="*/ 2892533 w 5088779"/>
              <a:gd name="connsiteY81" fmla="*/ 2789337 h 3465287"/>
              <a:gd name="connsiteX82" fmla="*/ 3020246 w 5088779"/>
              <a:gd name="connsiteY82" fmla="*/ 2713815 h 3465287"/>
              <a:gd name="connsiteX83" fmla="*/ 3106456 w 5088779"/>
              <a:gd name="connsiteY83" fmla="*/ 2544556 h 3465287"/>
              <a:gd name="connsiteX84" fmla="*/ 3326035 w 5088779"/>
              <a:gd name="connsiteY84" fmla="*/ 2482883 h 3465287"/>
              <a:gd name="connsiteX85" fmla="*/ 3861009 w 5088779"/>
              <a:gd name="connsiteY85" fmla="*/ 2466831 h 3465287"/>
              <a:gd name="connsiteX86" fmla="*/ 4016751 w 5088779"/>
              <a:gd name="connsiteY86" fmla="*/ 2420918 h 3465287"/>
              <a:gd name="connsiteX87" fmla="*/ 3866664 w 5088779"/>
              <a:gd name="connsiteY87" fmla="*/ 2252907 h 3465287"/>
              <a:gd name="connsiteX88" fmla="*/ 3391285 w 5088779"/>
              <a:gd name="connsiteY88" fmla="*/ 1791709 h 3465287"/>
              <a:gd name="connsiteX89" fmla="*/ 3127166 w 5088779"/>
              <a:gd name="connsiteY89" fmla="*/ 1600118 h 3465287"/>
              <a:gd name="connsiteX90" fmla="*/ 3003196 w 5088779"/>
              <a:gd name="connsiteY90" fmla="*/ 1733529 h 3465287"/>
              <a:gd name="connsiteX91" fmla="*/ 2940898 w 5088779"/>
              <a:gd name="connsiteY91" fmla="*/ 1995900 h 3465287"/>
              <a:gd name="connsiteX92" fmla="*/ 2981778 w 5088779"/>
              <a:gd name="connsiteY92" fmla="*/ 2048133 h 3465287"/>
              <a:gd name="connsiteX93" fmla="*/ 3044699 w 5088779"/>
              <a:gd name="connsiteY93" fmla="*/ 1778817 h 3465287"/>
              <a:gd name="connsiteX94" fmla="*/ 3166466 w 5088779"/>
              <a:gd name="connsiteY94" fmla="*/ 1356918 h 3465287"/>
              <a:gd name="connsiteX95" fmla="*/ 3272803 w 5088779"/>
              <a:gd name="connsiteY95" fmla="*/ 986960 h 3465287"/>
              <a:gd name="connsiteX96" fmla="*/ 3243526 w 5088779"/>
              <a:gd name="connsiteY96" fmla="*/ 867107 h 3465287"/>
              <a:gd name="connsiteX97" fmla="*/ 3068612 w 5088779"/>
              <a:gd name="connsiteY97" fmla="*/ 840034 h 3465287"/>
              <a:gd name="connsiteX98" fmla="*/ 2924513 w 5088779"/>
              <a:gd name="connsiteY98" fmla="*/ 782769 h 3465287"/>
              <a:gd name="connsiteX99" fmla="*/ 2940857 w 5088779"/>
              <a:gd name="connsiteY99" fmla="*/ 714816 h 3465287"/>
              <a:gd name="connsiteX100" fmla="*/ 3114524 w 5088779"/>
              <a:gd name="connsiteY100" fmla="*/ 723008 h 3465287"/>
              <a:gd name="connsiteX101" fmla="*/ 3317135 w 5088779"/>
              <a:gd name="connsiteY101" fmla="*/ 729288 h 3465287"/>
              <a:gd name="connsiteX102" fmla="*/ 3483857 w 5088779"/>
              <a:gd name="connsiteY102" fmla="*/ 682087 h 3465287"/>
              <a:gd name="connsiteX103" fmla="*/ 3601506 w 5088779"/>
              <a:gd name="connsiteY103" fmla="*/ 703463 h 3465287"/>
              <a:gd name="connsiteX104" fmla="*/ 3624171 w 5088779"/>
              <a:gd name="connsiteY104" fmla="*/ 797199 h 3465287"/>
              <a:gd name="connsiteX105" fmla="*/ 3496458 w 5088779"/>
              <a:gd name="connsiteY105" fmla="*/ 890936 h 3465287"/>
              <a:gd name="connsiteX106" fmla="*/ 3326575 w 5088779"/>
              <a:gd name="connsiteY106" fmla="*/ 918009 h 3465287"/>
              <a:gd name="connsiteX107" fmla="*/ 3198862 w 5088779"/>
              <a:gd name="connsiteY107" fmla="*/ 1002306 h 3465287"/>
              <a:gd name="connsiteX108" fmla="*/ 3097972 w 5088779"/>
              <a:gd name="connsiteY108" fmla="*/ 1299902 h 3465287"/>
              <a:gd name="connsiteX109" fmla="*/ 3159022 w 5088779"/>
              <a:gd name="connsiteY109" fmla="*/ 1545930 h 3465287"/>
              <a:gd name="connsiteX110" fmla="*/ 3371697 w 5088779"/>
              <a:gd name="connsiteY110" fmla="*/ 1536490 h 3465287"/>
              <a:gd name="connsiteX111" fmla="*/ 3551228 w 5088779"/>
              <a:gd name="connsiteY111" fmla="*/ 1376048 h 3465287"/>
              <a:gd name="connsiteX112" fmla="*/ 3554389 w 5088779"/>
              <a:gd name="connsiteY112" fmla="*/ 1231949 h 3465287"/>
              <a:gd name="connsiteX113" fmla="*/ 3336348 w 5088779"/>
              <a:gd name="connsiteY113" fmla="*/ 1191693 h 3465287"/>
              <a:gd name="connsiteX114" fmla="*/ 3344832 w 5088779"/>
              <a:gd name="connsiteY114" fmla="*/ 1255238 h 3465287"/>
              <a:gd name="connsiteX115" fmla="*/ 3769850 w 5088779"/>
              <a:gd name="connsiteY115" fmla="*/ 1241722 h 3465287"/>
              <a:gd name="connsiteX116" fmla="*/ 4254670 w 5088779"/>
              <a:gd name="connsiteY116" fmla="*/ 1259646 h 3465287"/>
              <a:gd name="connsiteX117" fmla="*/ 4484022 w 5088779"/>
              <a:gd name="connsiteY117" fmla="*/ 1236981 h 3465287"/>
              <a:gd name="connsiteX118" fmla="*/ 4465766 w 5088779"/>
              <a:gd name="connsiteY118" fmla="*/ 1185995 h 3465287"/>
              <a:gd name="connsiteX119" fmla="*/ 4105248 w 5088779"/>
              <a:gd name="connsiteY119" fmla="*/ 1177512 h 3465287"/>
              <a:gd name="connsiteX120" fmla="*/ 3734668 w 5088779"/>
              <a:gd name="connsiteY120" fmla="*/ 1331342 h 3465287"/>
              <a:gd name="connsiteX121" fmla="*/ 3388914 w 5088779"/>
              <a:gd name="connsiteY121" fmla="*/ 1604110 h 3465287"/>
              <a:gd name="connsiteX122" fmla="*/ 3156111 w 5088779"/>
              <a:gd name="connsiteY122" fmla="*/ 1921252 h 3465287"/>
              <a:gd name="connsiteX123" fmla="*/ 3060461 w 5088779"/>
              <a:gd name="connsiteY123" fmla="*/ 2419255 h 3465287"/>
              <a:gd name="connsiteX124" fmla="*/ 3290769 w 5088779"/>
              <a:gd name="connsiteY124" fmla="*/ 3048465 h 3465287"/>
              <a:gd name="connsiteX125" fmla="*/ 3868994 w 5088779"/>
              <a:gd name="connsiteY125" fmla="*/ 3394510 h 3465287"/>
              <a:gd name="connsiteX126" fmla="*/ 4507643 w 5088779"/>
              <a:gd name="connsiteY126" fmla="*/ 3330632 h 3465287"/>
              <a:gd name="connsiteX127" fmla="*/ 5002818 w 5088779"/>
              <a:gd name="connsiteY127" fmla="*/ 2841404 h 3465287"/>
              <a:gd name="connsiteX128" fmla="*/ 5036171 w 5088779"/>
              <a:gd name="connsiteY128" fmla="*/ 2052999 h 3465287"/>
              <a:gd name="connsiteX129" fmla="*/ 4605164 w 5088779"/>
              <a:gd name="connsiteY129" fmla="*/ 1482011 h 3465287"/>
              <a:gd name="connsiteX130" fmla="*/ 4138310 w 5088779"/>
              <a:gd name="connsiteY130" fmla="*/ 1352717 h 3465287"/>
              <a:gd name="connsiteX131" fmla="*/ 3977868 w 5088779"/>
              <a:gd name="connsiteY131" fmla="*/ 1466624 h 3465287"/>
              <a:gd name="connsiteX132" fmla="*/ 3999909 w 5088779"/>
              <a:gd name="connsiteY132" fmla="*/ 2001140 h 3465287"/>
              <a:gd name="connsiteX133" fmla="*/ 4033885 w 5088779"/>
              <a:gd name="connsiteY133" fmla="*/ 2313208 h 3465287"/>
              <a:gd name="connsiteX134" fmla="*/ 4125585 w 5088779"/>
              <a:gd name="connsiteY134" fmla="*/ 2399085 h 3465287"/>
              <a:gd name="connsiteX135" fmla="*/ 4230051 w 5088779"/>
              <a:gd name="connsiteY135" fmla="*/ 2362905 h 3465287"/>
              <a:gd name="connsiteX136" fmla="*/ 4194660 w 5088779"/>
              <a:gd name="connsiteY136" fmla="*/ 2271372 h 3465287"/>
              <a:gd name="connsiteX137" fmla="*/ 4097056 w 5088779"/>
              <a:gd name="connsiteY137" fmla="*/ 2303394 h 3465287"/>
              <a:gd name="connsiteX138" fmla="*/ 4080670 w 5088779"/>
              <a:gd name="connsiteY138" fmla="*/ 2437262 h 3465287"/>
              <a:gd name="connsiteX139" fmla="*/ 4079589 w 5088779"/>
              <a:gd name="connsiteY139" fmla="*/ 2519521 h 3465287"/>
              <a:gd name="connsiteX140" fmla="*/ 3900475 w 5088779"/>
              <a:gd name="connsiteY140" fmla="*/ 2539400 h 3465287"/>
              <a:gd name="connsiteX141" fmla="*/ 3490220 w 5088779"/>
              <a:gd name="connsiteY141" fmla="*/ 2545679 h 3465287"/>
              <a:gd name="connsiteX142" fmla="*/ 3249848 w 5088779"/>
              <a:gd name="connsiteY142" fmla="*/ 2602944 h 3465287"/>
              <a:gd name="connsiteX143" fmla="*/ 3240241 w 5088779"/>
              <a:gd name="connsiteY143" fmla="*/ 2790460 h 3465287"/>
              <a:gd name="connsiteX144" fmla="*/ 3433578 w 5088779"/>
              <a:gd name="connsiteY144" fmla="*/ 3133385 h 3465287"/>
              <a:gd name="connsiteX145" fmla="*/ 3925468 w 5088779"/>
              <a:gd name="connsiteY145" fmla="*/ 3465290 h 3465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088779" h="3465287">
                <a:moveTo>
                  <a:pt x="777215" y="3295741"/>
                </a:moveTo>
                <a:cubicBezTo>
                  <a:pt x="734921" y="3254861"/>
                  <a:pt x="636277" y="3202669"/>
                  <a:pt x="526113" y="3112384"/>
                </a:cubicBezTo>
                <a:cubicBezTo>
                  <a:pt x="415950" y="3022099"/>
                  <a:pt x="294183" y="2893762"/>
                  <a:pt x="219950" y="2750287"/>
                </a:cubicBezTo>
                <a:cubicBezTo>
                  <a:pt x="145718" y="2606812"/>
                  <a:pt x="118978" y="2448283"/>
                  <a:pt x="128418" y="2305432"/>
                </a:cubicBezTo>
                <a:cubicBezTo>
                  <a:pt x="137858" y="2162622"/>
                  <a:pt x="183479" y="2035491"/>
                  <a:pt x="256006" y="1919713"/>
                </a:cubicBezTo>
                <a:cubicBezTo>
                  <a:pt x="328534" y="1803935"/>
                  <a:pt x="427927" y="1699510"/>
                  <a:pt x="580218" y="1637837"/>
                </a:cubicBezTo>
                <a:cubicBezTo>
                  <a:pt x="732468" y="1576164"/>
                  <a:pt x="937616" y="1557283"/>
                  <a:pt x="1073522" y="1545972"/>
                </a:cubicBezTo>
                <a:cubicBezTo>
                  <a:pt x="1209428" y="1534660"/>
                  <a:pt x="1276133" y="1530876"/>
                  <a:pt x="1308197" y="1517651"/>
                </a:cubicBezTo>
                <a:cubicBezTo>
                  <a:pt x="1340302" y="1504426"/>
                  <a:pt x="1337765" y="1481803"/>
                  <a:pt x="1292934" y="1460718"/>
                </a:cubicBezTo>
                <a:cubicBezTo>
                  <a:pt x="1248104" y="1439634"/>
                  <a:pt x="1160979" y="1420130"/>
                  <a:pt x="1016880" y="1416969"/>
                </a:cubicBezTo>
                <a:cubicBezTo>
                  <a:pt x="872782" y="1413808"/>
                  <a:pt x="671751" y="1427033"/>
                  <a:pt x="497460" y="1517318"/>
                </a:cubicBezTo>
                <a:cubicBezTo>
                  <a:pt x="323169" y="1607603"/>
                  <a:pt x="175619" y="1774991"/>
                  <a:pt x="88162" y="1960593"/>
                </a:cubicBezTo>
                <a:cubicBezTo>
                  <a:pt x="704" y="2146195"/>
                  <a:pt x="-26660" y="2350054"/>
                  <a:pt x="28692" y="2569342"/>
                </a:cubicBezTo>
                <a:cubicBezTo>
                  <a:pt x="84044" y="2788630"/>
                  <a:pt x="222155" y="3023305"/>
                  <a:pt x="442399" y="3165532"/>
                </a:cubicBezTo>
                <a:cubicBezTo>
                  <a:pt x="662601" y="3307718"/>
                  <a:pt x="964938" y="3357456"/>
                  <a:pt x="1232384" y="3283181"/>
                </a:cubicBezTo>
                <a:cubicBezTo>
                  <a:pt x="1499787" y="3208949"/>
                  <a:pt x="1732300" y="3010746"/>
                  <a:pt x="1835020" y="2757481"/>
                </a:cubicBezTo>
                <a:cubicBezTo>
                  <a:pt x="1937739" y="2504217"/>
                  <a:pt x="1910666" y="2195933"/>
                  <a:pt x="1824789" y="1980430"/>
                </a:cubicBezTo>
                <a:cubicBezTo>
                  <a:pt x="1738912" y="1764927"/>
                  <a:pt x="1594190" y="1642245"/>
                  <a:pt x="1494755" y="1589139"/>
                </a:cubicBezTo>
                <a:cubicBezTo>
                  <a:pt x="1395363" y="1536032"/>
                  <a:pt x="1341216" y="1552501"/>
                  <a:pt x="1305701" y="1660710"/>
                </a:cubicBezTo>
                <a:cubicBezTo>
                  <a:pt x="1270145" y="1768919"/>
                  <a:pt x="1253177" y="1968910"/>
                  <a:pt x="1197284" y="2116627"/>
                </a:cubicBezTo>
                <a:cubicBezTo>
                  <a:pt x="1141391" y="2264344"/>
                  <a:pt x="1046615" y="2359786"/>
                  <a:pt x="973921" y="2374258"/>
                </a:cubicBezTo>
                <a:cubicBezTo>
                  <a:pt x="901227" y="2388730"/>
                  <a:pt x="850658" y="2322191"/>
                  <a:pt x="918985" y="2276986"/>
                </a:cubicBezTo>
                <a:cubicBezTo>
                  <a:pt x="987312" y="2231781"/>
                  <a:pt x="1174495" y="2207910"/>
                  <a:pt x="1298257" y="2021601"/>
                </a:cubicBezTo>
                <a:cubicBezTo>
                  <a:pt x="1422020" y="1835292"/>
                  <a:pt x="1482321" y="1486544"/>
                  <a:pt x="1558176" y="1234153"/>
                </a:cubicBezTo>
                <a:cubicBezTo>
                  <a:pt x="1633988" y="981762"/>
                  <a:pt x="1725313" y="825686"/>
                  <a:pt x="1788276" y="725296"/>
                </a:cubicBezTo>
                <a:cubicBezTo>
                  <a:pt x="1851238" y="624905"/>
                  <a:pt x="1885839" y="580241"/>
                  <a:pt x="1896859" y="539984"/>
                </a:cubicBezTo>
                <a:cubicBezTo>
                  <a:pt x="1907880" y="499728"/>
                  <a:pt x="1895279" y="463839"/>
                  <a:pt x="1865711" y="435851"/>
                </a:cubicBezTo>
                <a:cubicBezTo>
                  <a:pt x="1836142" y="407863"/>
                  <a:pt x="1789565" y="387735"/>
                  <a:pt x="1759373" y="350265"/>
                </a:cubicBezTo>
                <a:cubicBezTo>
                  <a:pt x="1729181" y="312837"/>
                  <a:pt x="1715332" y="258067"/>
                  <a:pt x="1714085" y="209327"/>
                </a:cubicBezTo>
                <a:cubicBezTo>
                  <a:pt x="1712837" y="160545"/>
                  <a:pt x="1724149" y="117794"/>
                  <a:pt x="1758915" y="82237"/>
                </a:cubicBezTo>
                <a:cubicBezTo>
                  <a:pt x="1793682" y="46681"/>
                  <a:pt x="1851862" y="18360"/>
                  <a:pt x="1939195" y="6716"/>
                </a:cubicBezTo>
                <a:cubicBezTo>
                  <a:pt x="2026486" y="-4929"/>
                  <a:pt x="2142887" y="103"/>
                  <a:pt x="2207888" y="10167"/>
                </a:cubicBezTo>
                <a:cubicBezTo>
                  <a:pt x="2272846" y="20231"/>
                  <a:pt x="2286362" y="35327"/>
                  <a:pt x="2291561" y="49800"/>
                </a:cubicBezTo>
                <a:cubicBezTo>
                  <a:pt x="2296759" y="64272"/>
                  <a:pt x="2293598" y="78120"/>
                  <a:pt x="2244526" y="86812"/>
                </a:cubicBezTo>
                <a:cubicBezTo>
                  <a:pt x="2195453" y="95504"/>
                  <a:pt x="2100469" y="99122"/>
                  <a:pt x="2008603" y="91886"/>
                </a:cubicBezTo>
                <a:cubicBezTo>
                  <a:pt x="1916738" y="84649"/>
                  <a:pt x="1828033" y="66601"/>
                  <a:pt x="1765070" y="75833"/>
                </a:cubicBezTo>
                <a:cubicBezTo>
                  <a:pt x="1702149" y="85065"/>
                  <a:pt x="1665012" y="121537"/>
                  <a:pt x="1657319" y="176931"/>
                </a:cubicBezTo>
                <a:cubicBezTo>
                  <a:pt x="1649625" y="232283"/>
                  <a:pt x="1671333" y="306557"/>
                  <a:pt x="1672581" y="370393"/>
                </a:cubicBezTo>
                <a:cubicBezTo>
                  <a:pt x="1673829" y="434270"/>
                  <a:pt x="1654657" y="487751"/>
                  <a:pt x="1617354" y="589348"/>
                </a:cubicBezTo>
                <a:cubicBezTo>
                  <a:pt x="1580092" y="690945"/>
                  <a:pt x="1524698" y="840699"/>
                  <a:pt x="1460820" y="903953"/>
                </a:cubicBezTo>
                <a:cubicBezTo>
                  <a:pt x="1396943" y="967207"/>
                  <a:pt x="1324582" y="943918"/>
                  <a:pt x="1250349" y="922501"/>
                </a:cubicBezTo>
                <a:cubicBezTo>
                  <a:pt x="1176117" y="901125"/>
                  <a:pt x="1099971" y="881621"/>
                  <a:pt x="1055930" y="866816"/>
                </a:cubicBezTo>
                <a:cubicBezTo>
                  <a:pt x="1011890" y="852011"/>
                  <a:pt x="999913" y="841947"/>
                  <a:pt x="997085" y="751038"/>
                </a:cubicBezTo>
                <a:cubicBezTo>
                  <a:pt x="994257" y="660129"/>
                  <a:pt x="1000537" y="488333"/>
                  <a:pt x="1009021" y="369436"/>
                </a:cubicBezTo>
                <a:cubicBezTo>
                  <a:pt x="1017504" y="250498"/>
                  <a:pt x="1028192" y="184458"/>
                  <a:pt x="1070694" y="155805"/>
                </a:cubicBezTo>
                <a:cubicBezTo>
                  <a:pt x="1113154" y="127193"/>
                  <a:pt x="1187428" y="135968"/>
                  <a:pt x="1272058" y="156761"/>
                </a:cubicBezTo>
                <a:cubicBezTo>
                  <a:pt x="1356687" y="177513"/>
                  <a:pt x="1451713" y="210242"/>
                  <a:pt x="1524989" y="245175"/>
                </a:cubicBezTo>
                <a:cubicBezTo>
                  <a:pt x="1598307" y="280108"/>
                  <a:pt x="1649875" y="317203"/>
                  <a:pt x="1694081" y="357792"/>
                </a:cubicBezTo>
                <a:cubicBezTo>
                  <a:pt x="1738288" y="398381"/>
                  <a:pt x="1775093" y="442422"/>
                  <a:pt x="1798672" y="483301"/>
                </a:cubicBezTo>
                <a:cubicBezTo>
                  <a:pt x="1822252" y="524181"/>
                  <a:pt x="1832649" y="561942"/>
                  <a:pt x="1822876" y="600951"/>
                </a:cubicBezTo>
                <a:cubicBezTo>
                  <a:pt x="1813103" y="639959"/>
                  <a:pt x="1783244" y="680215"/>
                  <a:pt x="1795345" y="761726"/>
                </a:cubicBezTo>
                <a:cubicBezTo>
                  <a:pt x="1807447" y="843195"/>
                  <a:pt x="1861552" y="965917"/>
                  <a:pt x="1967266" y="1160004"/>
                </a:cubicBezTo>
                <a:cubicBezTo>
                  <a:pt x="2072980" y="1354131"/>
                  <a:pt x="2230261" y="1619622"/>
                  <a:pt x="2390246" y="1793622"/>
                </a:cubicBezTo>
                <a:cubicBezTo>
                  <a:pt x="2550231" y="1967580"/>
                  <a:pt x="2712878" y="2050005"/>
                  <a:pt x="2807737" y="2087475"/>
                </a:cubicBezTo>
                <a:cubicBezTo>
                  <a:pt x="2902597" y="2124903"/>
                  <a:pt x="2929629" y="2117376"/>
                  <a:pt x="2917360" y="2185620"/>
                </a:cubicBezTo>
                <a:cubicBezTo>
                  <a:pt x="2905092" y="2253906"/>
                  <a:pt x="2853483" y="2397963"/>
                  <a:pt x="2804411" y="2468120"/>
                </a:cubicBezTo>
                <a:cubicBezTo>
                  <a:pt x="2755338" y="2538277"/>
                  <a:pt x="2708761" y="2534492"/>
                  <a:pt x="2638312" y="2505548"/>
                </a:cubicBezTo>
                <a:cubicBezTo>
                  <a:pt x="2567823" y="2476603"/>
                  <a:pt x="2473462" y="2422499"/>
                  <a:pt x="2329862" y="2278109"/>
                </a:cubicBezTo>
                <a:cubicBezTo>
                  <a:pt x="2186263" y="2133719"/>
                  <a:pt x="1993383" y="1899003"/>
                  <a:pt x="1885173" y="1678800"/>
                </a:cubicBezTo>
                <a:cubicBezTo>
                  <a:pt x="1776964" y="1458598"/>
                  <a:pt x="1753343" y="1252826"/>
                  <a:pt x="1765320" y="1175432"/>
                </a:cubicBezTo>
                <a:cubicBezTo>
                  <a:pt x="1777255" y="1098039"/>
                  <a:pt x="1824789" y="1149025"/>
                  <a:pt x="1919774" y="1377420"/>
                </a:cubicBezTo>
                <a:cubicBezTo>
                  <a:pt x="2014800" y="1605815"/>
                  <a:pt x="2157318" y="2011662"/>
                  <a:pt x="2281414" y="2268710"/>
                </a:cubicBezTo>
                <a:cubicBezTo>
                  <a:pt x="2405509" y="2525759"/>
                  <a:pt x="2511223" y="2633968"/>
                  <a:pt x="2601216" y="2693105"/>
                </a:cubicBezTo>
                <a:cubicBezTo>
                  <a:pt x="2691211" y="2752241"/>
                  <a:pt x="2765443" y="2762305"/>
                  <a:pt x="2834644" y="2746586"/>
                </a:cubicBezTo>
                <a:cubicBezTo>
                  <a:pt x="2903844" y="2730866"/>
                  <a:pt x="2968055" y="2689320"/>
                  <a:pt x="3001865" y="2631432"/>
                </a:cubicBezTo>
                <a:cubicBezTo>
                  <a:pt x="3035675" y="2573542"/>
                  <a:pt x="3039127" y="2499310"/>
                  <a:pt x="3013052" y="2436680"/>
                </a:cubicBezTo>
                <a:cubicBezTo>
                  <a:pt x="2986935" y="2374092"/>
                  <a:pt x="2931251" y="2323106"/>
                  <a:pt x="2859222" y="2309258"/>
                </a:cubicBezTo>
                <a:cubicBezTo>
                  <a:pt x="2787193" y="2295409"/>
                  <a:pt x="2698780" y="2318698"/>
                  <a:pt x="2652036" y="2375007"/>
                </a:cubicBezTo>
                <a:cubicBezTo>
                  <a:pt x="2605334" y="2431315"/>
                  <a:pt x="2600302" y="2520686"/>
                  <a:pt x="2629537" y="2581402"/>
                </a:cubicBezTo>
                <a:cubicBezTo>
                  <a:pt x="2658773" y="2642119"/>
                  <a:pt x="2722359" y="2674224"/>
                  <a:pt x="2772222" y="2671064"/>
                </a:cubicBezTo>
                <a:cubicBezTo>
                  <a:pt x="2822085" y="2667903"/>
                  <a:pt x="2858265" y="2629518"/>
                  <a:pt x="2868787" y="2596831"/>
                </a:cubicBezTo>
                <a:cubicBezTo>
                  <a:pt x="2879308" y="2564144"/>
                  <a:pt x="2864212" y="2537071"/>
                  <a:pt x="2835601" y="2530750"/>
                </a:cubicBezTo>
                <a:cubicBezTo>
                  <a:pt x="2806989" y="2524470"/>
                  <a:pt x="2764820" y="2538942"/>
                  <a:pt x="2713543" y="2615379"/>
                </a:cubicBezTo>
                <a:cubicBezTo>
                  <a:pt x="2662266" y="2691816"/>
                  <a:pt x="2601840" y="2830259"/>
                  <a:pt x="2567864" y="2907028"/>
                </a:cubicBezTo>
                <a:cubicBezTo>
                  <a:pt x="2533888" y="2983797"/>
                  <a:pt x="2526318" y="2998893"/>
                  <a:pt x="2520039" y="3008333"/>
                </a:cubicBezTo>
                <a:cubicBezTo>
                  <a:pt x="2513760" y="3017774"/>
                  <a:pt x="2508727" y="3021558"/>
                  <a:pt x="2484191" y="3024053"/>
                </a:cubicBezTo>
                <a:cubicBezTo>
                  <a:pt x="2459655" y="3026590"/>
                  <a:pt x="2415614" y="3027838"/>
                  <a:pt x="2389165" y="3013989"/>
                </a:cubicBezTo>
                <a:cubicBezTo>
                  <a:pt x="2362757" y="3000141"/>
                  <a:pt x="2353941" y="2971196"/>
                  <a:pt x="2396068" y="2956724"/>
                </a:cubicBezTo>
                <a:cubicBezTo>
                  <a:pt x="2438238" y="2942252"/>
                  <a:pt x="2531351" y="2942252"/>
                  <a:pt x="2584831" y="2951068"/>
                </a:cubicBezTo>
                <a:cubicBezTo>
                  <a:pt x="2638312" y="2959885"/>
                  <a:pt x="2652160" y="2977476"/>
                  <a:pt x="2671041" y="2951068"/>
                </a:cubicBezTo>
                <a:cubicBezTo>
                  <a:pt x="2689922" y="2924661"/>
                  <a:pt x="2713834" y="2854171"/>
                  <a:pt x="2752219" y="2822066"/>
                </a:cubicBezTo>
                <a:cubicBezTo>
                  <a:pt x="2790603" y="2789961"/>
                  <a:pt x="2843460" y="2796282"/>
                  <a:pt x="2892533" y="2789337"/>
                </a:cubicBezTo>
                <a:cubicBezTo>
                  <a:pt x="2941606" y="2782434"/>
                  <a:pt x="2986935" y="2762264"/>
                  <a:pt x="3020246" y="2713815"/>
                </a:cubicBezTo>
                <a:cubicBezTo>
                  <a:pt x="3053599" y="2665366"/>
                  <a:pt x="3074975" y="2588597"/>
                  <a:pt x="3106456" y="2544556"/>
                </a:cubicBezTo>
                <a:cubicBezTo>
                  <a:pt x="3137896" y="2500516"/>
                  <a:pt x="3179441" y="2489204"/>
                  <a:pt x="3326035" y="2482883"/>
                </a:cubicBezTo>
                <a:cubicBezTo>
                  <a:pt x="3472629" y="2476603"/>
                  <a:pt x="3724313" y="2475314"/>
                  <a:pt x="3861009" y="2466831"/>
                </a:cubicBezTo>
                <a:cubicBezTo>
                  <a:pt x="3997705" y="2458347"/>
                  <a:pt x="4019413" y="2442627"/>
                  <a:pt x="4016751" y="2420918"/>
                </a:cubicBezTo>
                <a:cubicBezTo>
                  <a:pt x="4014090" y="2399210"/>
                  <a:pt x="3987017" y="2371513"/>
                  <a:pt x="3866664" y="2252907"/>
                </a:cubicBezTo>
                <a:cubicBezTo>
                  <a:pt x="3746312" y="2134302"/>
                  <a:pt x="3532721" y="1924787"/>
                  <a:pt x="3391285" y="1791709"/>
                </a:cubicBezTo>
                <a:cubicBezTo>
                  <a:pt x="3249889" y="1658631"/>
                  <a:pt x="3180647" y="1601989"/>
                  <a:pt x="3127166" y="1600118"/>
                </a:cubicBezTo>
                <a:cubicBezTo>
                  <a:pt x="3073686" y="1598246"/>
                  <a:pt x="3035924" y="1651103"/>
                  <a:pt x="3003196" y="1733529"/>
                </a:cubicBezTo>
                <a:cubicBezTo>
                  <a:pt x="2970467" y="1815954"/>
                  <a:pt x="2942811" y="1927947"/>
                  <a:pt x="2940898" y="1995900"/>
                </a:cubicBezTo>
                <a:cubicBezTo>
                  <a:pt x="2939027" y="2063853"/>
                  <a:pt x="2962940" y="2087766"/>
                  <a:pt x="2981778" y="2048133"/>
                </a:cubicBezTo>
                <a:cubicBezTo>
                  <a:pt x="3000659" y="2008501"/>
                  <a:pt x="3014507" y="1905324"/>
                  <a:pt x="3044699" y="1778817"/>
                </a:cubicBezTo>
                <a:cubicBezTo>
                  <a:pt x="3074891" y="1652351"/>
                  <a:pt x="3121469" y="1502596"/>
                  <a:pt x="3166466" y="1356918"/>
                </a:cubicBezTo>
                <a:cubicBezTo>
                  <a:pt x="3211463" y="1211239"/>
                  <a:pt x="3254880" y="1069677"/>
                  <a:pt x="3272803" y="986960"/>
                </a:cubicBezTo>
                <a:cubicBezTo>
                  <a:pt x="3290727" y="904202"/>
                  <a:pt x="3283200" y="880290"/>
                  <a:pt x="3243526" y="867107"/>
                </a:cubicBezTo>
                <a:cubicBezTo>
                  <a:pt x="3203894" y="853882"/>
                  <a:pt x="3132157" y="851387"/>
                  <a:pt x="3068612" y="840034"/>
                </a:cubicBezTo>
                <a:cubicBezTo>
                  <a:pt x="3005067" y="828722"/>
                  <a:pt x="2949673" y="808594"/>
                  <a:pt x="2924513" y="782769"/>
                </a:cubicBezTo>
                <a:cubicBezTo>
                  <a:pt x="2899353" y="756985"/>
                  <a:pt x="2904385" y="725504"/>
                  <a:pt x="2940857" y="714816"/>
                </a:cubicBezTo>
                <a:cubicBezTo>
                  <a:pt x="2977370" y="704128"/>
                  <a:pt x="3045323" y="714192"/>
                  <a:pt x="3114524" y="723008"/>
                </a:cubicBezTo>
                <a:cubicBezTo>
                  <a:pt x="3183724" y="731825"/>
                  <a:pt x="3254214" y="739352"/>
                  <a:pt x="3317135" y="729288"/>
                </a:cubicBezTo>
                <a:cubicBezTo>
                  <a:pt x="3380056" y="719224"/>
                  <a:pt x="3435408" y="691527"/>
                  <a:pt x="3483857" y="682087"/>
                </a:cubicBezTo>
                <a:cubicBezTo>
                  <a:pt x="3532306" y="672647"/>
                  <a:pt x="3573851" y="681463"/>
                  <a:pt x="3601506" y="703463"/>
                </a:cubicBezTo>
                <a:cubicBezTo>
                  <a:pt x="3629203" y="725504"/>
                  <a:pt x="3643052" y="760728"/>
                  <a:pt x="3624171" y="797199"/>
                </a:cubicBezTo>
                <a:cubicBezTo>
                  <a:pt x="3605291" y="833713"/>
                  <a:pt x="3553681" y="871432"/>
                  <a:pt x="3496458" y="890936"/>
                </a:cubicBezTo>
                <a:cubicBezTo>
                  <a:pt x="3439193" y="910441"/>
                  <a:pt x="3376272" y="911688"/>
                  <a:pt x="3326575" y="918009"/>
                </a:cubicBezTo>
                <a:cubicBezTo>
                  <a:pt x="3276879" y="924289"/>
                  <a:pt x="3240366" y="935642"/>
                  <a:pt x="3198862" y="1002306"/>
                </a:cubicBezTo>
                <a:cubicBezTo>
                  <a:pt x="3157317" y="1069011"/>
                  <a:pt x="3110781" y="1191069"/>
                  <a:pt x="3097972" y="1299902"/>
                </a:cubicBezTo>
                <a:cubicBezTo>
                  <a:pt x="3085163" y="1408735"/>
                  <a:pt x="3106165" y="1504385"/>
                  <a:pt x="3159022" y="1545930"/>
                </a:cubicBezTo>
                <a:cubicBezTo>
                  <a:pt x="3211879" y="1587475"/>
                  <a:pt x="3296591" y="1574875"/>
                  <a:pt x="3371697" y="1536490"/>
                </a:cubicBezTo>
                <a:cubicBezTo>
                  <a:pt x="3446803" y="1498105"/>
                  <a:pt x="3512219" y="1433937"/>
                  <a:pt x="3551228" y="1376048"/>
                </a:cubicBezTo>
                <a:cubicBezTo>
                  <a:pt x="3590236" y="1318159"/>
                  <a:pt x="3602837" y="1266549"/>
                  <a:pt x="3554389" y="1231949"/>
                </a:cubicBezTo>
                <a:cubicBezTo>
                  <a:pt x="3505940" y="1197349"/>
                  <a:pt x="3396442" y="1179716"/>
                  <a:pt x="3336348" y="1191693"/>
                </a:cubicBezTo>
                <a:cubicBezTo>
                  <a:pt x="3276255" y="1203628"/>
                  <a:pt x="3265567" y="1245174"/>
                  <a:pt x="3344832" y="1255238"/>
                </a:cubicBezTo>
                <a:cubicBezTo>
                  <a:pt x="3424096" y="1265302"/>
                  <a:pt x="3593355" y="1243926"/>
                  <a:pt x="3769850" y="1241722"/>
                </a:cubicBezTo>
                <a:cubicBezTo>
                  <a:pt x="3946345" y="1239518"/>
                  <a:pt x="4130076" y="1256527"/>
                  <a:pt x="4254670" y="1259646"/>
                </a:cubicBezTo>
                <a:cubicBezTo>
                  <a:pt x="4379265" y="1262806"/>
                  <a:pt x="4444681" y="1252077"/>
                  <a:pt x="4484022" y="1236981"/>
                </a:cubicBezTo>
                <a:cubicBezTo>
                  <a:pt x="4523363" y="1221885"/>
                  <a:pt x="4536546" y="1202381"/>
                  <a:pt x="4465766" y="1185995"/>
                </a:cubicBezTo>
                <a:cubicBezTo>
                  <a:pt x="4394985" y="1169652"/>
                  <a:pt x="4240198" y="1156427"/>
                  <a:pt x="4105248" y="1177512"/>
                </a:cubicBezTo>
                <a:cubicBezTo>
                  <a:pt x="3970299" y="1198596"/>
                  <a:pt x="3855145" y="1253948"/>
                  <a:pt x="3734668" y="1331342"/>
                </a:cubicBezTo>
                <a:cubicBezTo>
                  <a:pt x="3614191" y="1408735"/>
                  <a:pt x="3488349" y="1508128"/>
                  <a:pt x="3388914" y="1604110"/>
                </a:cubicBezTo>
                <a:cubicBezTo>
                  <a:pt x="3289480" y="1700051"/>
                  <a:pt x="3216495" y="1792540"/>
                  <a:pt x="3156111" y="1921252"/>
                </a:cubicBezTo>
                <a:cubicBezTo>
                  <a:pt x="3095726" y="2049922"/>
                  <a:pt x="3047902" y="2214772"/>
                  <a:pt x="3060461" y="2419255"/>
                </a:cubicBezTo>
                <a:cubicBezTo>
                  <a:pt x="3073062" y="2623738"/>
                  <a:pt x="3146046" y="2867895"/>
                  <a:pt x="3290769" y="3048465"/>
                </a:cubicBezTo>
                <a:cubicBezTo>
                  <a:pt x="3435492" y="3229035"/>
                  <a:pt x="3651951" y="3346061"/>
                  <a:pt x="3868994" y="3394510"/>
                </a:cubicBezTo>
                <a:cubicBezTo>
                  <a:pt x="4086077" y="3442958"/>
                  <a:pt x="4303784" y="3422830"/>
                  <a:pt x="4507643" y="3330632"/>
                </a:cubicBezTo>
                <a:cubicBezTo>
                  <a:pt x="4711502" y="3238434"/>
                  <a:pt x="4901513" y="3074249"/>
                  <a:pt x="5002818" y="2841404"/>
                </a:cubicBezTo>
                <a:cubicBezTo>
                  <a:pt x="5104125" y="2608600"/>
                  <a:pt x="5116725" y="2307220"/>
                  <a:pt x="5036171" y="2052999"/>
                </a:cubicBezTo>
                <a:cubicBezTo>
                  <a:pt x="4955617" y="1798820"/>
                  <a:pt x="4781992" y="1591800"/>
                  <a:pt x="4605164" y="1482011"/>
                </a:cubicBezTo>
                <a:cubicBezTo>
                  <a:pt x="4428379" y="1372221"/>
                  <a:pt x="4248391" y="1359621"/>
                  <a:pt x="4138310" y="1352717"/>
                </a:cubicBezTo>
                <a:cubicBezTo>
                  <a:pt x="4028188" y="1345814"/>
                  <a:pt x="3987932" y="1344525"/>
                  <a:pt x="3977868" y="1466624"/>
                </a:cubicBezTo>
                <a:cubicBezTo>
                  <a:pt x="3967804" y="1588681"/>
                  <a:pt x="3987932" y="1834086"/>
                  <a:pt x="3999909" y="2001140"/>
                </a:cubicBezTo>
                <a:cubicBezTo>
                  <a:pt x="4011844" y="2168195"/>
                  <a:pt x="4015629" y="2256900"/>
                  <a:pt x="4033885" y="2313208"/>
                </a:cubicBezTo>
                <a:cubicBezTo>
                  <a:pt x="4052142" y="2369517"/>
                  <a:pt x="4084871" y="2393430"/>
                  <a:pt x="4125585" y="2399085"/>
                </a:cubicBezTo>
                <a:cubicBezTo>
                  <a:pt x="4166340" y="2404741"/>
                  <a:pt x="4215080" y="2392182"/>
                  <a:pt x="4230051" y="2362905"/>
                </a:cubicBezTo>
                <a:cubicBezTo>
                  <a:pt x="4244980" y="2333628"/>
                  <a:pt x="4226100" y="2287716"/>
                  <a:pt x="4194660" y="2271372"/>
                </a:cubicBezTo>
                <a:cubicBezTo>
                  <a:pt x="4163179" y="2255028"/>
                  <a:pt x="4119138" y="2268211"/>
                  <a:pt x="4097056" y="2303394"/>
                </a:cubicBezTo>
                <a:cubicBezTo>
                  <a:pt x="4074973" y="2338576"/>
                  <a:pt x="4074849" y="2395758"/>
                  <a:pt x="4080670" y="2437262"/>
                </a:cubicBezTo>
                <a:cubicBezTo>
                  <a:pt x="4086493" y="2478808"/>
                  <a:pt x="4098262" y="2504675"/>
                  <a:pt x="4079589" y="2519521"/>
                </a:cubicBezTo>
                <a:cubicBezTo>
                  <a:pt x="4060917" y="2534368"/>
                  <a:pt x="4011844" y="2538152"/>
                  <a:pt x="3900475" y="2539400"/>
                </a:cubicBezTo>
                <a:cubicBezTo>
                  <a:pt x="3789105" y="2540647"/>
                  <a:pt x="3615438" y="2539400"/>
                  <a:pt x="3490220" y="2545679"/>
                </a:cubicBezTo>
                <a:cubicBezTo>
                  <a:pt x="3365002" y="2551959"/>
                  <a:pt x="3288232" y="2565807"/>
                  <a:pt x="3249848" y="2602944"/>
                </a:cubicBezTo>
                <a:cubicBezTo>
                  <a:pt x="3211463" y="2640081"/>
                  <a:pt x="3211463" y="2700466"/>
                  <a:pt x="3240241" y="2790460"/>
                </a:cubicBezTo>
                <a:cubicBezTo>
                  <a:pt x="3269019" y="2880454"/>
                  <a:pt x="3326617" y="2999975"/>
                  <a:pt x="3433578" y="3133385"/>
                </a:cubicBezTo>
                <a:cubicBezTo>
                  <a:pt x="3540540" y="3266796"/>
                  <a:pt x="3696907" y="3414014"/>
                  <a:pt x="3925468" y="3465290"/>
                </a:cubicBezTo>
              </a:path>
            </a:pathLst>
          </a:custGeom>
          <a:noFill/>
          <a:ln w="15875" cap="rnd">
            <a:solidFill>
              <a:schemeClr val="accent4"/>
            </a:solidFill>
            <a:prstDash val="solid"/>
            <a:miter/>
          </a:ln>
        </p:spPr>
        <p:txBody>
          <a:bodyPr rtlCol="0" anchor="ctr"/>
          <a:lstStyle/>
          <a:p>
            <a:endParaRPr lang="ja-JP" altLang="en-US"/>
          </a:p>
        </p:txBody>
      </p:sp>
      <p:sp>
        <p:nvSpPr>
          <p:cNvPr id="12" name="テキスト プレースホルダー 11">
            <a:extLst>
              <a:ext uri="{FF2B5EF4-FFF2-40B4-BE49-F238E27FC236}">
                <a16:creationId xmlns:a16="http://schemas.microsoft.com/office/drawing/2014/main" id="{A1364C17-3CB4-D6A1-374A-0345B1CCF956}"/>
              </a:ext>
            </a:extLst>
          </p:cNvPr>
          <p:cNvSpPr>
            <a:spLocks noGrp="1"/>
          </p:cNvSpPr>
          <p:nvPr>
            <p:ph type="body" sz="quarter" idx="14"/>
          </p:nvPr>
        </p:nvSpPr>
        <p:spPr>
          <a:xfrm>
            <a:off x="452438" y="1125538"/>
            <a:ext cx="9217025" cy="1008062"/>
          </a:xfrm>
        </p:spPr>
        <p:txBody>
          <a:bodyPr lIns="0" rIns="0">
            <a:normAutofit/>
          </a:bodyPr>
          <a:lstStyle>
            <a:lvl1pPr algn="l">
              <a:defRPr kumimoji="1" lang="ja-JP" altLang="en-US" sz="1200" b="1" dirty="0">
                <a:latin typeface="+mn-ea"/>
                <a:ea typeface="+mn-ea"/>
              </a:defRPr>
            </a:lvl1pPr>
          </a:lstStyle>
          <a:p>
            <a:pPr lvl="0"/>
            <a:endParaRPr kumimoji="1" lang="ja-JP" altLang="en-US"/>
          </a:p>
        </p:txBody>
      </p:sp>
      <p:sp>
        <p:nvSpPr>
          <p:cNvPr id="4" name="タイトル 1">
            <a:extLst>
              <a:ext uri="{FF2B5EF4-FFF2-40B4-BE49-F238E27FC236}">
                <a16:creationId xmlns:a16="http://schemas.microsoft.com/office/drawing/2014/main" id="{6855DD7D-F40F-F78E-D622-6883CF8F3AF9}"/>
              </a:ext>
            </a:extLst>
          </p:cNvPr>
          <p:cNvSpPr>
            <a:spLocks noGrp="1"/>
          </p:cNvSpPr>
          <p:nvPr>
            <p:ph type="title"/>
          </p:nvPr>
        </p:nvSpPr>
        <p:spPr>
          <a:xfrm>
            <a:off x="352482" y="434305"/>
            <a:ext cx="5419467" cy="428400"/>
          </a:xfrm>
        </p:spPr>
        <p:txBody>
          <a:bodyPr wrap="none">
            <a:noAutofit/>
          </a:bodyPr>
          <a:lstStyle>
            <a:lvl1pPr>
              <a:defRPr lang="ja-JP" altLang="en-US" sz="2000" b="1" dirty="0"/>
            </a:lvl1pPr>
          </a:lstStyle>
          <a:p>
            <a:pPr lvl="0"/>
            <a:r>
              <a:rPr kumimoji="1" lang="ja-JP" altLang="en-US"/>
              <a:t>マスター タイトルの書式設定</a:t>
            </a:r>
          </a:p>
        </p:txBody>
      </p:sp>
      <p:sp>
        <p:nvSpPr>
          <p:cNvPr id="13" name="テキスト プレースホルダー 51">
            <a:extLst>
              <a:ext uri="{FF2B5EF4-FFF2-40B4-BE49-F238E27FC236}">
                <a16:creationId xmlns:a16="http://schemas.microsoft.com/office/drawing/2014/main" id="{6EAAE791-E026-CA72-03D2-426A488F282C}"/>
              </a:ext>
            </a:extLst>
          </p:cNvPr>
          <p:cNvSpPr>
            <a:spLocks noGrp="1"/>
          </p:cNvSpPr>
          <p:nvPr>
            <p:ph type="body" sz="quarter" idx="13"/>
          </p:nvPr>
        </p:nvSpPr>
        <p:spPr>
          <a:xfrm>
            <a:off x="383811" y="212725"/>
            <a:ext cx="2228495" cy="259815"/>
          </a:xfrm>
          <a:noFill/>
        </p:spPr>
        <p:txBody>
          <a:bodyPr wrap="none" rtlCol="0">
            <a:spAutoFit/>
          </a:bodyPr>
          <a:lstStyle>
            <a:lvl1pPr marL="0" indent="0">
              <a:buFontTx/>
              <a:buNone/>
              <a:defRPr lang="ja-JP" altLang="en-US" sz="1200" b="1" dirty="0">
                <a:latin typeface="+mj-ea"/>
                <a:ea typeface="+mj-ea"/>
              </a:defRPr>
            </a:lvl1pPr>
          </a:lstStyle>
          <a:p>
            <a:pPr lvl="0"/>
            <a:r>
              <a:rPr kumimoji="1" lang="ja-JP" altLang="en-US"/>
              <a:t>マスター テキストの書式設定</a:t>
            </a:r>
          </a:p>
        </p:txBody>
      </p:sp>
    </p:spTree>
    <p:extLst>
      <p:ext uri="{BB962C8B-B14F-4D97-AF65-F5344CB8AC3E}">
        <p14:creationId xmlns:p14="http://schemas.microsoft.com/office/powerpoint/2010/main" val="4240738430"/>
      </p:ext>
    </p:extLst>
  </p:cSld>
  <p:clrMapOvr>
    <a:masterClrMapping/>
  </p:clrMapOvr>
  <p:extLst mod="1">
    <p:ext uri="{DCECCB84-F9BA-43D5-87BE-67443E8EF086}">
      <p15:sldGuideLst xmlns:p15="http://schemas.microsoft.com/office/powerpoint/2012/main">
        <p15:guide id="1" orient="horz" pos="70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緑線_タイトルなし">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590CD8F7-B765-3CB6-9036-61B8EBDC7AD2}"/>
              </a:ext>
            </a:extLst>
          </p:cNvPr>
          <p:cNvSpPr>
            <a:spLocks noGrp="1"/>
          </p:cNvSpPr>
          <p:nvPr>
            <p:ph type="dt" sz="half" idx="10"/>
          </p:nvPr>
        </p:nvSpPr>
        <p:spPr/>
        <p:txBody>
          <a:bodyPr/>
          <a:lstStyle/>
          <a:p>
            <a:fld id="{235797C6-404C-4948-ADB1-24D0E3C7A0CE}" type="datetime1">
              <a:rPr kumimoji="1" lang="ja-JP" altLang="en-US" smtClean="0"/>
              <a:t>2024/7/1</a:t>
            </a:fld>
            <a:endParaRPr kumimoji="1" lang="ja-JP" altLang="en-US"/>
          </a:p>
        </p:txBody>
      </p:sp>
      <p:sp>
        <p:nvSpPr>
          <p:cNvPr id="3" name="フッター プレースホルダー 2">
            <a:extLst>
              <a:ext uri="{FF2B5EF4-FFF2-40B4-BE49-F238E27FC236}">
                <a16:creationId xmlns:a16="http://schemas.microsoft.com/office/drawing/2014/main" id="{D766499A-ED94-0F69-099E-87D5B933CB6F}"/>
              </a:ext>
            </a:extLst>
          </p:cNvPr>
          <p:cNvSpPr>
            <a:spLocks noGrp="1"/>
          </p:cNvSpPr>
          <p:nvPr>
            <p:ph type="ftr" sz="quarter" idx="11"/>
          </p:nvPr>
        </p:nvSpPr>
        <p:spPr/>
        <p:txBody>
          <a:bodyPr/>
          <a:lstStyle/>
          <a:p>
            <a:r>
              <a:rPr kumimoji="1" lang="en-US" altLang="ja-JP"/>
              <a:t>© SHIDAX CORPORATION. All Right Reserved.</a:t>
            </a:r>
            <a:endParaRPr kumimoji="1" lang="ja-JP" altLang="en-US"/>
          </a:p>
        </p:txBody>
      </p:sp>
      <p:sp>
        <p:nvSpPr>
          <p:cNvPr id="5" name="スライド番号プレースホルダー 4">
            <a:extLst>
              <a:ext uri="{FF2B5EF4-FFF2-40B4-BE49-F238E27FC236}">
                <a16:creationId xmlns:a16="http://schemas.microsoft.com/office/drawing/2014/main" id="{3A43CC76-FD01-4D12-3976-5E659672B14F}"/>
              </a:ext>
            </a:extLst>
          </p:cNvPr>
          <p:cNvSpPr>
            <a:spLocks noGrp="1"/>
          </p:cNvSpPr>
          <p:nvPr>
            <p:ph type="sldNum" sz="quarter" idx="12"/>
          </p:nvPr>
        </p:nvSpPr>
        <p:spPr>
          <a:xfrm>
            <a:off x="7544584" y="6492875"/>
            <a:ext cx="2228850" cy="365125"/>
          </a:xfrm>
        </p:spPr>
        <p:txBody>
          <a:bodyPr/>
          <a:lstStyle>
            <a:lvl1pPr>
              <a:defRPr sz="1100" b="1">
                <a:solidFill>
                  <a:schemeClr val="tx1">
                    <a:lumMod val="50000"/>
                    <a:lumOff val="50000"/>
                  </a:schemeClr>
                </a:solidFill>
                <a:latin typeface="+mn-lt"/>
              </a:defRPr>
            </a:lvl1pPr>
          </a:lstStyle>
          <a:p>
            <a:fld id="{3DB74C4F-4DC2-4C31-8D08-159129179147}" type="slidenum">
              <a:rPr kumimoji="1" lang="ja-JP" altLang="en-US" smtClean="0"/>
              <a:pPr/>
              <a:t>‹#›</a:t>
            </a:fld>
            <a:endParaRPr kumimoji="1" lang="ja-JP" altLang="en-US"/>
          </a:p>
        </p:txBody>
      </p:sp>
      <p:sp>
        <p:nvSpPr>
          <p:cNvPr id="6" name="フリーフォーム: 図形 5">
            <a:extLst>
              <a:ext uri="{FF2B5EF4-FFF2-40B4-BE49-F238E27FC236}">
                <a16:creationId xmlns:a16="http://schemas.microsoft.com/office/drawing/2014/main" id="{7D8472CA-E133-8E30-FFBD-005A50E6BD3D}"/>
              </a:ext>
            </a:extLst>
          </p:cNvPr>
          <p:cNvSpPr/>
          <p:nvPr userDrawn="1"/>
        </p:nvSpPr>
        <p:spPr>
          <a:xfrm>
            <a:off x="0" y="724339"/>
            <a:ext cx="9956798" cy="179116"/>
          </a:xfrm>
          <a:custGeom>
            <a:avLst/>
            <a:gdLst>
              <a:gd name="connsiteX0" fmla="*/ 0 w 5915025"/>
              <a:gd name="connsiteY0" fmla="*/ 0 h 761742"/>
              <a:gd name="connsiteX1" fmla="*/ 2947987 w 5915025"/>
              <a:gd name="connsiteY1" fmla="*/ 733425 h 761742"/>
              <a:gd name="connsiteX2" fmla="*/ 5915025 w 5915025"/>
              <a:gd name="connsiteY2" fmla="*/ 552450 h 761742"/>
              <a:gd name="connsiteX0" fmla="*/ 0 w 8328025"/>
              <a:gd name="connsiteY0" fmla="*/ 0 h 733425"/>
              <a:gd name="connsiteX1" fmla="*/ 2947987 w 8328025"/>
              <a:gd name="connsiteY1" fmla="*/ 733425 h 733425"/>
              <a:gd name="connsiteX2" fmla="*/ 8328025 w 8328025"/>
              <a:gd name="connsiteY2" fmla="*/ 184150 h 733425"/>
              <a:gd name="connsiteX0" fmla="*/ 0 w 8328025"/>
              <a:gd name="connsiteY0" fmla="*/ 0 h 733425"/>
              <a:gd name="connsiteX1" fmla="*/ 2947987 w 8328025"/>
              <a:gd name="connsiteY1" fmla="*/ 733425 h 733425"/>
              <a:gd name="connsiteX2" fmla="*/ 8328025 w 8328025"/>
              <a:gd name="connsiteY2" fmla="*/ 184150 h 733425"/>
              <a:gd name="connsiteX0" fmla="*/ 0 w 8328025"/>
              <a:gd name="connsiteY0" fmla="*/ 0 h 755652"/>
              <a:gd name="connsiteX1" fmla="*/ 2947987 w 8328025"/>
              <a:gd name="connsiteY1" fmla="*/ 733425 h 755652"/>
              <a:gd name="connsiteX2" fmla="*/ 8328025 w 8328025"/>
              <a:gd name="connsiteY2" fmla="*/ 184150 h 755652"/>
              <a:gd name="connsiteX0" fmla="*/ 0 w 8328025"/>
              <a:gd name="connsiteY0" fmla="*/ 0 h 755652"/>
              <a:gd name="connsiteX1" fmla="*/ 2947987 w 8328025"/>
              <a:gd name="connsiteY1" fmla="*/ 733425 h 755652"/>
              <a:gd name="connsiteX2" fmla="*/ 8328025 w 8328025"/>
              <a:gd name="connsiteY2" fmla="*/ 184150 h 755652"/>
              <a:gd name="connsiteX0" fmla="*/ 0 w 10576775"/>
              <a:gd name="connsiteY0" fmla="*/ 332943 h 1069864"/>
              <a:gd name="connsiteX1" fmla="*/ 2947987 w 10576775"/>
              <a:gd name="connsiteY1" fmla="*/ 1066368 h 1069864"/>
              <a:gd name="connsiteX2" fmla="*/ 10576775 w 10576775"/>
              <a:gd name="connsiteY2" fmla="*/ 0 h 1069864"/>
              <a:gd name="connsiteX0" fmla="*/ 0 w 10576775"/>
              <a:gd name="connsiteY0" fmla="*/ 332943 h 1069865"/>
              <a:gd name="connsiteX1" fmla="*/ 2947987 w 10576775"/>
              <a:gd name="connsiteY1" fmla="*/ 1066368 h 1069865"/>
              <a:gd name="connsiteX2" fmla="*/ 10576775 w 10576775"/>
              <a:gd name="connsiteY2" fmla="*/ 0 h 1069865"/>
              <a:gd name="connsiteX0" fmla="*/ 0 w 10576775"/>
              <a:gd name="connsiteY0" fmla="*/ 332943 h 1237511"/>
              <a:gd name="connsiteX1" fmla="*/ 3669511 w 10576775"/>
              <a:gd name="connsiteY1" fmla="*/ 1234723 h 1237511"/>
              <a:gd name="connsiteX2" fmla="*/ 10576775 w 10576775"/>
              <a:gd name="connsiteY2" fmla="*/ 0 h 1237511"/>
              <a:gd name="connsiteX0" fmla="*/ 0 w 10576775"/>
              <a:gd name="connsiteY0" fmla="*/ 332943 h 1234776"/>
              <a:gd name="connsiteX1" fmla="*/ 3669511 w 10576775"/>
              <a:gd name="connsiteY1" fmla="*/ 1234723 h 1234776"/>
              <a:gd name="connsiteX2" fmla="*/ 10576775 w 10576775"/>
              <a:gd name="connsiteY2" fmla="*/ 0 h 1234776"/>
              <a:gd name="connsiteX0" fmla="*/ 0 w 10576775"/>
              <a:gd name="connsiteY0" fmla="*/ 332943 h 1251515"/>
              <a:gd name="connsiteX1" fmla="*/ 3669511 w 10576775"/>
              <a:gd name="connsiteY1" fmla="*/ 1234723 h 1251515"/>
              <a:gd name="connsiteX2" fmla="*/ 7221703 w 10576775"/>
              <a:gd name="connsiteY2" fmla="*/ 673308 h 1251515"/>
              <a:gd name="connsiteX3" fmla="*/ 10576775 w 10576775"/>
              <a:gd name="connsiteY3" fmla="*/ 0 h 1251515"/>
              <a:gd name="connsiteX0" fmla="*/ 0 w 10753148"/>
              <a:gd name="connsiteY0" fmla="*/ 0 h 918572"/>
              <a:gd name="connsiteX1" fmla="*/ 3669511 w 10753148"/>
              <a:gd name="connsiteY1" fmla="*/ 901780 h 918572"/>
              <a:gd name="connsiteX2" fmla="*/ 7221703 w 10753148"/>
              <a:gd name="connsiteY2" fmla="*/ 340365 h 918572"/>
              <a:gd name="connsiteX3" fmla="*/ 10753148 w 10753148"/>
              <a:gd name="connsiteY3" fmla="*/ 532873 h 918572"/>
              <a:gd name="connsiteX0" fmla="*/ 0 w 10753148"/>
              <a:gd name="connsiteY0" fmla="*/ 0 h 918572"/>
              <a:gd name="connsiteX1" fmla="*/ 3669511 w 10753148"/>
              <a:gd name="connsiteY1" fmla="*/ 901780 h 918572"/>
              <a:gd name="connsiteX2" fmla="*/ 7221703 w 10753148"/>
              <a:gd name="connsiteY2" fmla="*/ 340365 h 918572"/>
              <a:gd name="connsiteX3" fmla="*/ 10753148 w 10753148"/>
              <a:gd name="connsiteY3" fmla="*/ 532873 h 918572"/>
              <a:gd name="connsiteX0" fmla="*/ 0 w 10753148"/>
              <a:gd name="connsiteY0" fmla="*/ 0 h 918572"/>
              <a:gd name="connsiteX1" fmla="*/ 3669511 w 10753148"/>
              <a:gd name="connsiteY1" fmla="*/ 901780 h 918572"/>
              <a:gd name="connsiteX2" fmla="*/ 7221703 w 10753148"/>
              <a:gd name="connsiteY2" fmla="*/ 340365 h 918572"/>
              <a:gd name="connsiteX3" fmla="*/ 10753148 w 10753148"/>
              <a:gd name="connsiteY3" fmla="*/ 532873 h 918572"/>
              <a:gd name="connsiteX0" fmla="*/ 0 w 10753148"/>
              <a:gd name="connsiteY0" fmla="*/ 0 h 925735"/>
              <a:gd name="connsiteX1" fmla="*/ 3669511 w 10753148"/>
              <a:gd name="connsiteY1" fmla="*/ 901780 h 925735"/>
              <a:gd name="connsiteX2" fmla="*/ 7221703 w 10753148"/>
              <a:gd name="connsiteY2" fmla="*/ 340365 h 925735"/>
              <a:gd name="connsiteX3" fmla="*/ 10753148 w 10753148"/>
              <a:gd name="connsiteY3" fmla="*/ 532873 h 925735"/>
              <a:gd name="connsiteX0" fmla="*/ 0 w 10753148"/>
              <a:gd name="connsiteY0" fmla="*/ 0 h 1043474"/>
              <a:gd name="connsiteX1" fmla="*/ 3100309 w 10753148"/>
              <a:gd name="connsiteY1" fmla="*/ 1023536 h 1043474"/>
              <a:gd name="connsiteX2" fmla="*/ 7221703 w 10753148"/>
              <a:gd name="connsiteY2" fmla="*/ 340365 h 1043474"/>
              <a:gd name="connsiteX3" fmla="*/ 10753148 w 10753148"/>
              <a:gd name="connsiteY3" fmla="*/ 532873 h 1043474"/>
              <a:gd name="connsiteX0" fmla="*/ 0 w 10753148"/>
              <a:gd name="connsiteY0" fmla="*/ 0 h 1031142"/>
              <a:gd name="connsiteX1" fmla="*/ 3100309 w 10753148"/>
              <a:gd name="connsiteY1" fmla="*/ 1023536 h 1031142"/>
              <a:gd name="connsiteX2" fmla="*/ 7919177 w 10753148"/>
              <a:gd name="connsiteY2" fmla="*/ 432006 h 1031142"/>
              <a:gd name="connsiteX3" fmla="*/ 10753148 w 10753148"/>
              <a:gd name="connsiteY3" fmla="*/ 532873 h 1031142"/>
              <a:gd name="connsiteX0" fmla="*/ 0 w 10753148"/>
              <a:gd name="connsiteY0" fmla="*/ 0 h 1028248"/>
              <a:gd name="connsiteX1" fmla="*/ 3100309 w 10753148"/>
              <a:gd name="connsiteY1" fmla="*/ 1023536 h 1028248"/>
              <a:gd name="connsiteX2" fmla="*/ 7919177 w 10753148"/>
              <a:gd name="connsiteY2" fmla="*/ 432006 h 1028248"/>
              <a:gd name="connsiteX3" fmla="*/ 10753148 w 10753148"/>
              <a:gd name="connsiteY3" fmla="*/ 532873 h 1028248"/>
              <a:gd name="connsiteX0" fmla="*/ 0 w 10753148"/>
              <a:gd name="connsiteY0" fmla="*/ 0 h 1034490"/>
              <a:gd name="connsiteX1" fmla="*/ 3100309 w 10753148"/>
              <a:gd name="connsiteY1" fmla="*/ 1023536 h 1034490"/>
              <a:gd name="connsiteX2" fmla="*/ 10753148 w 10753148"/>
              <a:gd name="connsiteY2" fmla="*/ 532873 h 1034490"/>
              <a:gd name="connsiteX0" fmla="*/ 0 w 10945554"/>
              <a:gd name="connsiteY0" fmla="*/ 16986 h 1040530"/>
              <a:gd name="connsiteX1" fmla="*/ 3100309 w 10945554"/>
              <a:gd name="connsiteY1" fmla="*/ 1040522 h 1040530"/>
              <a:gd name="connsiteX2" fmla="*/ 10945554 w 10945554"/>
              <a:gd name="connsiteY2" fmla="*/ 0 h 1040530"/>
              <a:gd name="connsiteX0" fmla="*/ 0 w 10945554"/>
              <a:gd name="connsiteY0" fmla="*/ 16986 h 1055583"/>
              <a:gd name="connsiteX1" fmla="*/ 3100309 w 10945554"/>
              <a:gd name="connsiteY1" fmla="*/ 1040522 h 1055583"/>
              <a:gd name="connsiteX2" fmla="*/ 10945554 w 10945554"/>
              <a:gd name="connsiteY2" fmla="*/ 0 h 1055583"/>
              <a:gd name="connsiteX0" fmla="*/ 0 w 10945554"/>
              <a:gd name="connsiteY0" fmla="*/ 16986 h 1055577"/>
              <a:gd name="connsiteX1" fmla="*/ 3100309 w 10945554"/>
              <a:gd name="connsiteY1" fmla="*/ 1040522 h 1055577"/>
              <a:gd name="connsiteX2" fmla="*/ 10945554 w 10945554"/>
              <a:gd name="connsiteY2" fmla="*/ 0 h 1055577"/>
              <a:gd name="connsiteX0" fmla="*/ 0 w 10945554"/>
              <a:gd name="connsiteY0" fmla="*/ 16986 h 1055577"/>
              <a:gd name="connsiteX1" fmla="*/ 3100309 w 10945554"/>
              <a:gd name="connsiteY1" fmla="*/ 1040522 h 1055577"/>
              <a:gd name="connsiteX2" fmla="*/ 10945554 w 10945554"/>
              <a:gd name="connsiteY2" fmla="*/ 0 h 1055577"/>
              <a:gd name="connsiteX0" fmla="*/ 0 w 10945554"/>
              <a:gd name="connsiteY0" fmla="*/ 16986 h 1055577"/>
              <a:gd name="connsiteX1" fmla="*/ 3100309 w 10945554"/>
              <a:gd name="connsiteY1" fmla="*/ 1040522 h 1055577"/>
              <a:gd name="connsiteX2" fmla="*/ 10945554 w 10945554"/>
              <a:gd name="connsiteY2" fmla="*/ 0 h 1055577"/>
              <a:gd name="connsiteX0" fmla="*/ 0 w 10945554"/>
              <a:gd name="connsiteY0" fmla="*/ 16986 h 1055577"/>
              <a:gd name="connsiteX1" fmla="*/ 3100309 w 10945554"/>
              <a:gd name="connsiteY1" fmla="*/ 1040522 h 1055577"/>
              <a:gd name="connsiteX2" fmla="*/ 10945554 w 10945554"/>
              <a:gd name="connsiteY2" fmla="*/ 0 h 1055577"/>
            </a:gdLst>
            <a:ahLst/>
            <a:cxnLst>
              <a:cxn ang="0">
                <a:pos x="connsiteX0" y="connsiteY0"/>
              </a:cxn>
              <a:cxn ang="0">
                <a:pos x="connsiteX1" y="connsiteY1"/>
              </a:cxn>
              <a:cxn ang="0">
                <a:pos x="connsiteX2" y="connsiteY2"/>
              </a:cxn>
            </a:cxnLst>
            <a:rect l="l" t="t" r="r" b="b"/>
            <a:pathLst>
              <a:path w="10945554" h="1055577">
                <a:moveTo>
                  <a:pt x="0" y="16986"/>
                </a:moveTo>
                <a:cubicBezTo>
                  <a:pt x="135247" y="1083393"/>
                  <a:pt x="1276050" y="1043353"/>
                  <a:pt x="3100309" y="1040522"/>
                </a:cubicBezTo>
                <a:cubicBezTo>
                  <a:pt x="4924568" y="1037691"/>
                  <a:pt x="8786019" y="1270669"/>
                  <a:pt x="10945554" y="0"/>
                </a:cubicBezTo>
              </a:path>
            </a:pathLst>
          </a:cu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7" name="グラフィックス 6">
            <a:extLst>
              <a:ext uri="{FF2B5EF4-FFF2-40B4-BE49-F238E27FC236}">
                <a16:creationId xmlns:a16="http://schemas.microsoft.com/office/drawing/2014/main" id="{9DC6F92E-6B8C-02C2-AB94-5BEFD506C8D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8406818" y="210781"/>
            <a:ext cx="1026676" cy="233049"/>
          </a:xfrm>
          <a:prstGeom prst="rect">
            <a:avLst/>
          </a:prstGeom>
        </p:spPr>
      </p:pic>
      <p:sp>
        <p:nvSpPr>
          <p:cNvPr id="8" name="フリーフォーム: 図形 7">
            <a:extLst>
              <a:ext uri="{FF2B5EF4-FFF2-40B4-BE49-F238E27FC236}">
                <a16:creationId xmlns:a16="http://schemas.microsoft.com/office/drawing/2014/main" id="{04770AE3-DA02-7881-6B6C-A46E455CFE0C}"/>
              </a:ext>
            </a:extLst>
          </p:cNvPr>
          <p:cNvSpPr/>
          <p:nvPr userDrawn="1"/>
        </p:nvSpPr>
        <p:spPr>
          <a:xfrm rot="650446">
            <a:off x="11520" y="611212"/>
            <a:ext cx="81972" cy="130278"/>
          </a:xfrm>
          <a:custGeom>
            <a:avLst/>
            <a:gdLst>
              <a:gd name="connsiteX0" fmla="*/ 6253 w 177898"/>
              <a:gd name="connsiteY0" fmla="*/ 282666 h 282735"/>
              <a:gd name="connsiteX1" fmla="*/ 50703 w 177898"/>
              <a:gd name="connsiteY1" fmla="*/ 22316 h 282735"/>
              <a:gd name="connsiteX2" fmla="*/ 177703 w 177898"/>
              <a:gd name="connsiteY2" fmla="*/ 47716 h 282735"/>
              <a:gd name="connsiteX3" fmla="*/ 6253 w 177898"/>
              <a:gd name="connsiteY3" fmla="*/ 282666 h 282735"/>
            </a:gdLst>
            <a:ahLst/>
            <a:cxnLst>
              <a:cxn ang="0">
                <a:pos x="connsiteX0" y="connsiteY0"/>
              </a:cxn>
              <a:cxn ang="0">
                <a:pos x="connsiteX1" y="connsiteY1"/>
              </a:cxn>
              <a:cxn ang="0">
                <a:pos x="connsiteX2" y="connsiteY2"/>
              </a:cxn>
              <a:cxn ang="0">
                <a:pos x="connsiteX3" y="connsiteY3"/>
              </a:cxn>
            </a:cxnLst>
            <a:rect l="l" t="t" r="r" b="b"/>
            <a:pathLst>
              <a:path w="177898" h="282735">
                <a:moveTo>
                  <a:pt x="6253" y="282666"/>
                </a:moveTo>
                <a:cubicBezTo>
                  <a:pt x="-14914" y="278433"/>
                  <a:pt x="22128" y="61474"/>
                  <a:pt x="50703" y="22316"/>
                </a:cubicBezTo>
                <a:cubicBezTo>
                  <a:pt x="79278" y="-16842"/>
                  <a:pt x="182995" y="-2026"/>
                  <a:pt x="177703" y="47716"/>
                </a:cubicBezTo>
                <a:cubicBezTo>
                  <a:pt x="172411" y="97458"/>
                  <a:pt x="27420" y="286899"/>
                  <a:pt x="6253" y="282666"/>
                </a:cubicBezTo>
                <a:close/>
              </a:path>
            </a:pathLst>
          </a:cu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グラフィックス 6">
            <a:extLst>
              <a:ext uri="{FF2B5EF4-FFF2-40B4-BE49-F238E27FC236}">
                <a16:creationId xmlns:a16="http://schemas.microsoft.com/office/drawing/2014/main" id="{45D729C5-C88C-0BFC-FA56-B1B325E1D3CD}"/>
              </a:ext>
            </a:extLst>
          </p:cNvPr>
          <p:cNvSpPr/>
          <p:nvPr userDrawn="1"/>
        </p:nvSpPr>
        <p:spPr>
          <a:xfrm flipH="1">
            <a:off x="7538926" y="387159"/>
            <a:ext cx="690674" cy="470326"/>
          </a:xfrm>
          <a:custGeom>
            <a:avLst/>
            <a:gdLst>
              <a:gd name="connsiteX0" fmla="*/ 0 w 9875100"/>
              <a:gd name="connsiteY0" fmla="*/ 3339656 h 3487140"/>
              <a:gd name="connsiteX1" fmla="*/ 659859 w 9875100"/>
              <a:gd name="connsiteY1" fmla="*/ 3395424 h 3487140"/>
              <a:gd name="connsiteX2" fmla="*/ 984944 w 9875100"/>
              <a:gd name="connsiteY2" fmla="*/ 2916759 h 3487140"/>
              <a:gd name="connsiteX3" fmla="*/ 1241411 w 9875100"/>
              <a:gd name="connsiteY3" fmla="*/ 2898295 h 3487140"/>
              <a:gd name="connsiteX4" fmla="*/ 1470762 w 9875100"/>
              <a:gd name="connsiteY4" fmla="*/ 3416675 h 3487140"/>
              <a:gd name="connsiteX5" fmla="*/ 1630581 w 9875100"/>
              <a:gd name="connsiteY5" fmla="*/ 3205871 h 3487140"/>
              <a:gd name="connsiteX6" fmla="*/ 1889834 w 9875100"/>
              <a:gd name="connsiteY6" fmla="*/ 2696848 h 3487140"/>
              <a:gd name="connsiteX7" fmla="*/ 2164182 w 9875100"/>
              <a:gd name="connsiteY7" fmla="*/ 2954187 h 3487140"/>
              <a:gd name="connsiteX8" fmla="*/ 2511516 w 9875100"/>
              <a:gd name="connsiteY8" fmla="*/ 3339906 h 3487140"/>
              <a:gd name="connsiteX9" fmla="*/ 2969638 w 9875100"/>
              <a:gd name="connsiteY9" fmla="*/ 3385485 h 3487140"/>
              <a:gd name="connsiteX10" fmla="*/ 3048320 w 9875100"/>
              <a:gd name="connsiteY10" fmla="*/ 3295741 h 3487140"/>
              <a:gd name="connsiteX11" fmla="*/ 2797218 w 9875100"/>
              <a:gd name="connsiteY11" fmla="*/ 3112384 h 3487140"/>
              <a:gd name="connsiteX12" fmla="*/ 2491055 w 9875100"/>
              <a:gd name="connsiteY12" fmla="*/ 2750287 h 3487140"/>
              <a:gd name="connsiteX13" fmla="*/ 2399523 w 9875100"/>
              <a:gd name="connsiteY13" fmla="*/ 2305432 h 3487140"/>
              <a:gd name="connsiteX14" fmla="*/ 2527111 w 9875100"/>
              <a:gd name="connsiteY14" fmla="*/ 1919713 h 3487140"/>
              <a:gd name="connsiteX15" fmla="*/ 2851323 w 9875100"/>
              <a:gd name="connsiteY15" fmla="*/ 1637837 h 3487140"/>
              <a:gd name="connsiteX16" fmla="*/ 3344627 w 9875100"/>
              <a:gd name="connsiteY16" fmla="*/ 1545972 h 3487140"/>
              <a:gd name="connsiteX17" fmla="*/ 3579302 w 9875100"/>
              <a:gd name="connsiteY17" fmla="*/ 1517651 h 3487140"/>
              <a:gd name="connsiteX18" fmla="*/ 3564039 w 9875100"/>
              <a:gd name="connsiteY18" fmla="*/ 1460718 h 3487140"/>
              <a:gd name="connsiteX19" fmla="*/ 3287985 w 9875100"/>
              <a:gd name="connsiteY19" fmla="*/ 1416969 h 3487140"/>
              <a:gd name="connsiteX20" fmla="*/ 2768565 w 9875100"/>
              <a:gd name="connsiteY20" fmla="*/ 1517318 h 3487140"/>
              <a:gd name="connsiteX21" fmla="*/ 2359267 w 9875100"/>
              <a:gd name="connsiteY21" fmla="*/ 1960593 h 3487140"/>
              <a:gd name="connsiteX22" fmla="*/ 2299797 w 9875100"/>
              <a:gd name="connsiteY22" fmla="*/ 2569342 h 3487140"/>
              <a:gd name="connsiteX23" fmla="*/ 2713504 w 9875100"/>
              <a:gd name="connsiteY23" fmla="*/ 3165532 h 3487140"/>
              <a:gd name="connsiteX24" fmla="*/ 3503489 w 9875100"/>
              <a:gd name="connsiteY24" fmla="*/ 3283181 h 3487140"/>
              <a:gd name="connsiteX25" fmla="*/ 4106125 w 9875100"/>
              <a:gd name="connsiteY25" fmla="*/ 2757481 h 3487140"/>
              <a:gd name="connsiteX26" fmla="*/ 4095894 w 9875100"/>
              <a:gd name="connsiteY26" fmla="*/ 1980430 h 3487140"/>
              <a:gd name="connsiteX27" fmla="*/ 3765860 w 9875100"/>
              <a:gd name="connsiteY27" fmla="*/ 1589139 h 3487140"/>
              <a:gd name="connsiteX28" fmla="*/ 3576806 w 9875100"/>
              <a:gd name="connsiteY28" fmla="*/ 1660710 h 3487140"/>
              <a:gd name="connsiteX29" fmla="*/ 3468389 w 9875100"/>
              <a:gd name="connsiteY29" fmla="*/ 2116627 h 3487140"/>
              <a:gd name="connsiteX30" fmla="*/ 3245026 w 9875100"/>
              <a:gd name="connsiteY30" fmla="*/ 2374258 h 3487140"/>
              <a:gd name="connsiteX31" fmla="*/ 3190090 w 9875100"/>
              <a:gd name="connsiteY31" fmla="*/ 2276986 h 3487140"/>
              <a:gd name="connsiteX32" fmla="*/ 3569362 w 9875100"/>
              <a:gd name="connsiteY32" fmla="*/ 2021601 h 3487140"/>
              <a:gd name="connsiteX33" fmla="*/ 3829281 w 9875100"/>
              <a:gd name="connsiteY33" fmla="*/ 1234153 h 3487140"/>
              <a:gd name="connsiteX34" fmla="*/ 4059381 w 9875100"/>
              <a:gd name="connsiteY34" fmla="*/ 725296 h 3487140"/>
              <a:gd name="connsiteX35" fmla="*/ 4167964 w 9875100"/>
              <a:gd name="connsiteY35" fmla="*/ 539984 h 3487140"/>
              <a:gd name="connsiteX36" fmla="*/ 4136816 w 9875100"/>
              <a:gd name="connsiteY36" fmla="*/ 435851 h 3487140"/>
              <a:gd name="connsiteX37" fmla="*/ 4030478 w 9875100"/>
              <a:gd name="connsiteY37" fmla="*/ 350265 h 3487140"/>
              <a:gd name="connsiteX38" fmla="*/ 3985190 w 9875100"/>
              <a:gd name="connsiteY38" fmla="*/ 209327 h 3487140"/>
              <a:gd name="connsiteX39" fmla="*/ 4030020 w 9875100"/>
              <a:gd name="connsiteY39" fmla="*/ 82237 h 3487140"/>
              <a:gd name="connsiteX40" fmla="*/ 4210300 w 9875100"/>
              <a:gd name="connsiteY40" fmla="*/ 6716 h 3487140"/>
              <a:gd name="connsiteX41" fmla="*/ 4478993 w 9875100"/>
              <a:gd name="connsiteY41" fmla="*/ 10167 h 3487140"/>
              <a:gd name="connsiteX42" fmla="*/ 4562666 w 9875100"/>
              <a:gd name="connsiteY42" fmla="*/ 49800 h 3487140"/>
              <a:gd name="connsiteX43" fmla="*/ 4515631 w 9875100"/>
              <a:gd name="connsiteY43" fmla="*/ 86812 h 3487140"/>
              <a:gd name="connsiteX44" fmla="*/ 4279708 w 9875100"/>
              <a:gd name="connsiteY44" fmla="*/ 91886 h 3487140"/>
              <a:gd name="connsiteX45" fmla="*/ 4036175 w 9875100"/>
              <a:gd name="connsiteY45" fmla="*/ 75833 h 3487140"/>
              <a:gd name="connsiteX46" fmla="*/ 3928424 w 9875100"/>
              <a:gd name="connsiteY46" fmla="*/ 176931 h 3487140"/>
              <a:gd name="connsiteX47" fmla="*/ 3943686 w 9875100"/>
              <a:gd name="connsiteY47" fmla="*/ 370393 h 3487140"/>
              <a:gd name="connsiteX48" fmla="*/ 3888459 w 9875100"/>
              <a:gd name="connsiteY48" fmla="*/ 589348 h 3487140"/>
              <a:gd name="connsiteX49" fmla="*/ 3731925 w 9875100"/>
              <a:gd name="connsiteY49" fmla="*/ 903953 h 3487140"/>
              <a:gd name="connsiteX50" fmla="*/ 3521454 w 9875100"/>
              <a:gd name="connsiteY50" fmla="*/ 922501 h 3487140"/>
              <a:gd name="connsiteX51" fmla="*/ 3327035 w 9875100"/>
              <a:gd name="connsiteY51" fmla="*/ 866816 h 3487140"/>
              <a:gd name="connsiteX52" fmla="*/ 3268190 w 9875100"/>
              <a:gd name="connsiteY52" fmla="*/ 751038 h 3487140"/>
              <a:gd name="connsiteX53" fmla="*/ 3280126 w 9875100"/>
              <a:gd name="connsiteY53" fmla="*/ 369436 h 3487140"/>
              <a:gd name="connsiteX54" fmla="*/ 3341799 w 9875100"/>
              <a:gd name="connsiteY54" fmla="*/ 155805 h 3487140"/>
              <a:gd name="connsiteX55" fmla="*/ 3543163 w 9875100"/>
              <a:gd name="connsiteY55" fmla="*/ 156761 h 3487140"/>
              <a:gd name="connsiteX56" fmla="*/ 3796094 w 9875100"/>
              <a:gd name="connsiteY56" fmla="*/ 245175 h 3487140"/>
              <a:gd name="connsiteX57" fmla="*/ 3965186 w 9875100"/>
              <a:gd name="connsiteY57" fmla="*/ 357792 h 3487140"/>
              <a:gd name="connsiteX58" fmla="*/ 4069777 w 9875100"/>
              <a:gd name="connsiteY58" fmla="*/ 483301 h 3487140"/>
              <a:gd name="connsiteX59" fmla="*/ 4093981 w 9875100"/>
              <a:gd name="connsiteY59" fmla="*/ 600951 h 3487140"/>
              <a:gd name="connsiteX60" fmla="*/ 4066450 w 9875100"/>
              <a:gd name="connsiteY60" fmla="*/ 761726 h 3487140"/>
              <a:gd name="connsiteX61" fmla="*/ 4238371 w 9875100"/>
              <a:gd name="connsiteY61" fmla="*/ 1160004 h 3487140"/>
              <a:gd name="connsiteX62" fmla="*/ 4661351 w 9875100"/>
              <a:gd name="connsiteY62" fmla="*/ 1793622 h 3487140"/>
              <a:gd name="connsiteX63" fmla="*/ 5078842 w 9875100"/>
              <a:gd name="connsiteY63" fmla="*/ 2087475 h 3487140"/>
              <a:gd name="connsiteX64" fmla="*/ 5188465 w 9875100"/>
              <a:gd name="connsiteY64" fmla="*/ 2185620 h 3487140"/>
              <a:gd name="connsiteX65" fmla="*/ 5075516 w 9875100"/>
              <a:gd name="connsiteY65" fmla="*/ 2468120 h 3487140"/>
              <a:gd name="connsiteX66" fmla="*/ 4909417 w 9875100"/>
              <a:gd name="connsiteY66" fmla="*/ 2505548 h 3487140"/>
              <a:gd name="connsiteX67" fmla="*/ 4600967 w 9875100"/>
              <a:gd name="connsiteY67" fmla="*/ 2278109 h 3487140"/>
              <a:gd name="connsiteX68" fmla="*/ 4156278 w 9875100"/>
              <a:gd name="connsiteY68" fmla="*/ 1678800 h 3487140"/>
              <a:gd name="connsiteX69" fmla="*/ 4036425 w 9875100"/>
              <a:gd name="connsiteY69" fmla="*/ 1175432 h 3487140"/>
              <a:gd name="connsiteX70" fmla="*/ 4190879 w 9875100"/>
              <a:gd name="connsiteY70" fmla="*/ 1377420 h 3487140"/>
              <a:gd name="connsiteX71" fmla="*/ 4552519 w 9875100"/>
              <a:gd name="connsiteY71" fmla="*/ 2268710 h 3487140"/>
              <a:gd name="connsiteX72" fmla="*/ 4872321 w 9875100"/>
              <a:gd name="connsiteY72" fmla="*/ 2693105 h 3487140"/>
              <a:gd name="connsiteX73" fmla="*/ 5105749 w 9875100"/>
              <a:gd name="connsiteY73" fmla="*/ 2746586 h 3487140"/>
              <a:gd name="connsiteX74" fmla="*/ 5272970 w 9875100"/>
              <a:gd name="connsiteY74" fmla="*/ 2631432 h 3487140"/>
              <a:gd name="connsiteX75" fmla="*/ 5284157 w 9875100"/>
              <a:gd name="connsiteY75" fmla="*/ 2436680 h 3487140"/>
              <a:gd name="connsiteX76" fmla="*/ 5130327 w 9875100"/>
              <a:gd name="connsiteY76" fmla="*/ 2309258 h 3487140"/>
              <a:gd name="connsiteX77" fmla="*/ 4923141 w 9875100"/>
              <a:gd name="connsiteY77" fmla="*/ 2375007 h 3487140"/>
              <a:gd name="connsiteX78" fmla="*/ 4900642 w 9875100"/>
              <a:gd name="connsiteY78" fmla="*/ 2581402 h 3487140"/>
              <a:gd name="connsiteX79" fmla="*/ 5043327 w 9875100"/>
              <a:gd name="connsiteY79" fmla="*/ 2671064 h 3487140"/>
              <a:gd name="connsiteX80" fmla="*/ 5139892 w 9875100"/>
              <a:gd name="connsiteY80" fmla="*/ 2596831 h 3487140"/>
              <a:gd name="connsiteX81" fmla="*/ 5106706 w 9875100"/>
              <a:gd name="connsiteY81" fmla="*/ 2530750 h 3487140"/>
              <a:gd name="connsiteX82" fmla="*/ 4984648 w 9875100"/>
              <a:gd name="connsiteY82" fmla="*/ 2615379 h 3487140"/>
              <a:gd name="connsiteX83" fmla="*/ 4838969 w 9875100"/>
              <a:gd name="connsiteY83" fmla="*/ 2907028 h 3487140"/>
              <a:gd name="connsiteX84" fmla="*/ 4791144 w 9875100"/>
              <a:gd name="connsiteY84" fmla="*/ 3008333 h 3487140"/>
              <a:gd name="connsiteX85" fmla="*/ 4755296 w 9875100"/>
              <a:gd name="connsiteY85" fmla="*/ 3024053 h 3487140"/>
              <a:gd name="connsiteX86" fmla="*/ 4660270 w 9875100"/>
              <a:gd name="connsiteY86" fmla="*/ 3013989 h 3487140"/>
              <a:gd name="connsiteX87" fmla="*/ 4667173 w 9875100"/>
              <a:gd name="connsiteY87" fmla="*/ 2956724 h 3487140"/>
              <a:gd name="connsiteX88" fmla="*/ 4855936 w 9875100"/>
              <a:gd name="connsiteY88" fmla="*/ 2951068 h 3487140"/>
              <a:gd name="connsiteX89" fmla="*/ 4942146 w 9875100"/>
              <a:gd name="connsiteY89" fmla="*/ 2951068 h 3487140"/>
              <a:gd name="connsiteX90" fmla="*/ 5023324 w 9875100"/>
              <a:gd name="connsiteY90" fmla="*/ 2822066 h 3487140"/>
              <a:gd name="connsiteX91" fmla="*/ 5163638 w 9875100"/>
              <a:gd name="connsiteY91" fmla="*/ 2789337 h 3487140"/>
              <a:gd name="connsiteX92" fmla="*/ 5291351 w 9875100"/>
              <a:gd name="connsiteY92" fmla="*/ 2713815 h 3487140"/>
              <a:gd name="connsiteX93" fmla="*/ 5377561 w 9875100"/>
              <a:gd name="connsiteY93" fmla="*/ 2544556 h 3487140"/>
              <a:gd name="connsiteX94" fmla="*/ 5597140 w 9875100"/>
              <a:gd name="connsiteY94" fmla="*/ 2482883 h 3487140"/>
              <a:gd name="connsiteX95" fmla="*/ 6132114 w 9875100"/>
              <a:gd name="connsiteY95" fmla="*/ 2466831 h 3487140"/>
              <a:gd name="connsiteX96" fmla="*/ 6287856 w 9875100"/>
              <a:gd name="connsiteY96" fmla="*/ 2420918 h 3487140"/>
              <a:gd name="connsiteX97" fmla="*/ 6137769 w 9875100"/>
              <a:gd name="connsiteY97" fmla="*/ 2252907 h 3487140"/>
              <a:gd name="connsiteX98" fmla="*/ 5662390 w 9875100"/>
              <a:gd name="connsiteY98" fmla="*/ 1791709 h 3487140"/>
              <a:gd name="connsiteX99" fmla="*/ 5398271 w 9875100"/>
              <a:gd name="connsiteY99" fmla="*/ 1600118 h 3487140"/>
              <a:gd name="connsiteX100" fmla="*/ 5274301 w 9875100"/>
              <a:gd name="connsiteY100" fmla="*/ 1733529 h 3487140"/>
              <a:gd name="connsiteX101" fmla="*/ 5212003 w 9875100"/>
              <a:gd name="connsiteY101" fmla="*/ 1995900 h 3487140"/>
              <a:gd name="connsiteX102" fmla="*/ 5252883 w 9875100"/>
              <a:gd name="connsiteY102" fmla="*/ 2048133 h 3487140"/>
              <a:gd name="connsiteX103" fmla="*/ 5315804 w 9875100"/>
              <a:gd name="connsiteY103" fmla="*/ 1778817 h 3487140"/>
              <a:gd name="connsiteX104" fmla="*/ 5437571 w 9875100"/>
              <a:gd name="connsiteY104" fmla="*/ 1356918 h 3487140"/>
              <a:gd name="connsiteX105" fmla="*/ 5543908 w 9875100"/>
              <a:gd name="connsiteY105" fmla="*/ 986960 h 3487140"/>
              <a:gd name="connsiteX106" fmla="*/ 5514631 w 9875100"/>
              <a:gd name="connsiteY106" fmla="*/ 867107 h 3487140"/>
              <a:gd name="connsiteX107" fmla="*/ 5339717 w 9875100"/>
              <a:gd name="connsiteY107" fmla="*/ 840034 h 3487140"/>
              <a:gd name="connsiteX108" fmla="*/ 5195618 w 9875100"/>
              <a:gd name="connsiteY108" fmla="*/ 782769 h 3487140"/>
              <a:gd name="connsiteX109" fmla="*/ 5211962 w 9875100"/>
              <a:gd name="connsiteY109" fmla="*/ 714816 h 3487140"/>
              <a:gd name="connsiteX110" fmla="*/ 5385629 w 9875100"/>
              <a:gd name="connsiteY110" fmla="*/ 723008 h 3487140"/>
              <a:gd name="connsiteX111" fmla="*/ 5588240 w 9875100"/>
              <a:gd name="connsiteY111" fmla="*/ 729288 h 3487140"/>
              <a:gd name="connsiteX112" fmla="*/ 5754962 w 9875100"/>
              <a:gd name="connsiteY112" fmla="*/ 682087 h 3487140"/>
              <a:gd name="connsiteX113" fmla="*/ 5872611 w 9875100"/>
              <a:gd name="connsiteY113" fmla="*/ 703463 h 3487140"/>
              <a:gd name="connsiteX114" fmla="*/ 5895276 w 9875100"/>
              <a:gd name="connsiteY114" fmla="*/ 797199 h 3487140"/>
              <a:gd name="connsiteX115" fmla="*/ 5767563 w 9875100"/>
              <a:gd name="connsiteY115" fmla="*/ 890936 h 3487140"/>
              <a:gd name="connsiteX116" fmla="*/ 5597680 w 9875100"/>
              <a:gd name="connsiteY116" fmla="*/ 918009 h 3487140"/>
              <a:gd name="connsiteX117" fmla="*/ 5469967 w 9875100"/>
              <a:gd name="connsiteY117" fmla="*/ 1002306 h 3487140"/>
              <a:gd name="connsiteX118" fmla="*/ 5369077 w 9875100"/>
              <a:gd name="connsiteY118" fmla="*/ 1299902 h 3487140"/>
              <a:gd name="connsiteX119" fmla="*/ 5430127 w 9875100"/>
              <a:gd name="connsiteY119" fmla="*/ 1545930 h 3487140"/>
              <a:gd name="connsiteX120" fmla="*/ 5642802 w 9875100"/>
              <a:gd name="connsiteY120" fmla="*/ 1536490 h 3487140"/>
              <a:gd name="connsiteX121" fmla="*/ 5822333 w 9875100"/>
              <a:gd name="connsiteY121" fmla="*/ 1376048 h 3487140"/>
              <a:gd name="connsiteX122" fmla="*/ 5825494 w 9875100"/>
              <a:gd name="connsiteY122" fmla="*/ 1231949 h 3487140"/>
              <a:gd name="connsiteX123" fmla="*/ 5607453 w 9875100"/>
              <a:gd name="connsiteY123" fmla="*/ 1191693 h 3487140"/>
              <a:gd name="connsiteX124" fmla="*/ 5615937 w 9875100"/>
              <a:gd name="connsiteY124" fmla="*/ 1255238 h 3487140"/>
              <a:gd name="connsiteX125" fmla="*/ 6040955 w 9875100"/>
              <a:gd name="connsiteY125" fmla="*/ 1241722 h 3487140"/>
              <a:gd name="connsiteX126" fmla="*/ 6525775 w 9875100"/>
              <a:gd name="connsiteY126" fmla="*/ 1259646 h 3487140"/>
              <a:gd name="connsiteX127" fmla="*/ 6755127 w 9875100"/>
              <a:gd name="connsiteY127" fmla="*/ 1236981 h 3487140"/>
              <a:gd name="connsiteX128" fmla="*/ 6736871 w 9875100"/>
              <a:gd name="connsiteY128" fmla="*/ 1185995 h 3487140"/>
              <a:gd name="connsiteX129" fmla="*/ 6376353 w 9875100"/>
              <a:gd name="connsiteY129" fmla="*/ 1177512 h 3487140"/>
              <a:gd name="connsiteX130" fmla="*/ 6005773 w 9875100"/>
              <a:gd name="connsiteY130" fmla="*/ 1331342 h 3487140"/>
              <a:gd name="connsiteX131" fmla="*/ 5660019 w 9875100"/>
              <a:gd name="connsiteY131" fmla="*/ 1604110 h 3487140"/>
              <a:gd name="connsiteX132" fmla="*/ 5427216 w 9875100"/>
              <a:gd name="connsiteY132" fmla="*/ 1921252 h 3487140"/>
              <a:gd name="connsiteX133" fmla="*/ 5331566 w 9875100"/>
              <a:gd name="connsiteY133" fmla="*/ 2419255 h 3487140"/>
              <a:gd name="connsiteX134" fmla="*/ 5561874 w 9875100"/>
              <a:gd name="connsiteY134" fmla="*/ 3048465 h 3487140"/>
              <a:gd name="connsiteX135" fmla="*/ 6140099 w 9875100"/>
              <a:gd name="connsiteY135" fmla="*/ 3394510 h 3487140"/>
              <a:gd name="connsiteX136" fmla="*/ 6778748 w 9875100"/>
              <a:gd name="connsiteY136" fmla="*/ 3330632 h 3487140"/>
              <a:gd name="connsiteX137" fmla="*/ 7273923 w 9875100"/>
              <a:gd name="connsiteY137" fmla="*/ 2841404 h 3487140"/>
              <a:gd name="connsiteX138" fmla="*/ 7307276 w 9875100"/>
              <a:gd name="connsiteY138" fmla="*/ 2052999 h 3487140"/>
              <a:gd name="connsiteX139" fmla="*/ 6876269 w 9875100"/>
              <a:gd name="connsiteY139" fmla="*/ 1482011 h 3487140"/>
              <a:gd name="connsiteX140" fmla="*/ 6409415 w 9875100"/>
              <a:gd name="connsiteY140" fmla="*/ 1352717 h 3487140"/>
              <a:gd name="connsiteX141" fmla="*/ 6248973 w 9875100"/>
              <a:gd name="connsiteY141" fmla="*/ 1466624 h 3487140"/>
              <a:gd name="connsiteX142" fmla="*/ 6271014 w 9875100"/>
              <a:gd name="connsiteY142" fmla="*/ 2001140 h 3487140"/>
              <a:gd name="connsiteX143" fmla="*/ 6304990 w 9875100"/>
              <a:gd name="connsiteY143" fmla="*/ 2313208 h 3487140"/>
              <a:gd name="connsiteX144" fmla="*/ 6396690 w 9875100"/>
              <a:gd name="connsiteY144" fmla="*/ 2399085 h 3487140"/>
              <a:gd name="connsiteX145" fmla="*/ 6501156 w 9875100"/>
              <a:gd name="connsiteY145" fmla="*/ 2362905 h 3487140"/>
              <a:gd name="connsiteX146" fmla="*/ 6465765 w 9875100"/>
              <a:gd name="connsiteY146" fmla="*/ 2271372 h 3487140"/>
              <a:gd name="connsiteX147" fmla="*/ 6368161 w 9875100"/>
              <a:gd name="connsiteY147" fmla="*/ 2303394 h 3487140"/>
              <a:gd name="connsiteX148" fmla="*/ 6351775 w 9875100"/>
              <a:gd name="connsiteY148" fmla="*/ 2437262 h 3487140"/>
              <a:gd name="connsiteX149" fmla="*/ 6350694 w 9875100"/>
              <a:gd name="connsiteY149" fmla="*/ 2519521 h 3487140"/>
              <a:gd name="connsiteX150" fmla="*/ 6171580 w 9875100"/>
              <a:gd name="connsiteY150" fmla="*/ 2539400 h 3487140"/>
              <a:gd name="connsiteX151" fmla="*/ 5761325 w 9875100"/>
              <a:gd name="connsiteY151" fmla="*/ 2545679 h 3487140"/>
              <a:gd name="connsiteX152" fmla="*/ 5520953 w 9875100"/>
              <a:gd name="connsiteY152" fmla="*/ 2602944 h 3487140"/>
              <a:gd name="connsiteX153" fmla="*/ 5511346 w 9875100"/>
              <a:gd name="connsiteY153" fmla="*/ 2790460 h 3487140"/>
              <a:gd name="connsiteX154" fmla="*/ 5704683 w 9875100"/>
              <a:gd name="connsiteY154" fmla="*/ 3133385 h 3487140"/>
              <a:gd name="connsiteX155" fmla="*/ 6196573 w 9875100"/>
              <a:gd name="connsiteY155" fmla="*/ 3465290 h 3487140"/>
              <a:gd name="connsiteX156" fmla="*/ 6937319 w 9875100"/>
              <a:gd name="connsiteY156" fmla="*/ 3390434 h 3487140"/>
              <a:gd name="connsiteX157" fmla="*/ 7377142 w 9875100"/>
              <a:gd name="connsiteY157" fmla="*/ 3017940 h 3487140"/>
              <a:gd name="connsiteX158" fmla="*/ 7691123 w 9875100"/>
              <a:gd name="connsiteY158" fmla="*/ 2655510 h 3487140"/>
              <a:gd name="connsiteX159" fmla="*/ 8063617 w 9875100"/>
              <a:gd name="connsiteY159" fmla="*/ 3163577 h 3487140"/>
              <a:gd name="connsiteX160" fmla="*/ 8287604 w 9875100"/>
              <a:gd name="connsiteY160" fmla="*/ 3255443 h 3487140"/>
              <a:gd name="connsiteX161" fmla="*/ 8365621 w 9875100"/>
              <a:gd name="connsiteY161" fmla="*/ 2786675 h 3487140"/>
              <a:gd name="connsiteX162" fmla="*/ 8675194 w 9875100"/>
              <a:gd name="connsiteY162" fmla="*/ 2869724 h 3487140"/>
              <a:gd name="connsiteX163" fmla="*/ 8913986 w 9875100"/>
              <a:gd name="connsiteY163" fmla="*/ 3245046 h 3487140"/>
              <a:gd name="connsiteX164" fmla="*/ 9286479 w 9875100"/>
              <a:gd name="connsiteY164" fmla="*/ 3329676 h 3487140"/>
              <a:gd name="connsiteX165" fmla="*/ 9875101 w 9875100"/>
              <a:gd name="connsiteY165" fmla="*/ 3217682 h 3487140"/>
              <a:gd name="connsiteX0" fmla="*/ 0 w 9215242"/>
              <a:gd name="connsiteY0" fmla="*/ 3395424 h 3487140"/>
              <a:gd name="connsiteX1" fmla="*/ 325085 w 9215242"/>
              <a:gd name="connsiteY1" fmla="*/ 2916759 h 3487140"/>
              <a:gd name="connsiteX2" fmla="*/ 581552 w 9215242"/>
              <a:gd name="connsiteY2" fmla="*/ 2898295 h 3487140"/>
              <a:gd name="connsiteX3" fmla="*/ 810903 w 9215242"/>
              <a:gd name="connsiteY3" fmla="*/ 3416675 h 3487140"/>
              <a:gd name="connsiteX4" fmla="*/ 970722 w 9215242"/>
              <a:gd name="connsiteY4" fmla="*/ 3205871 h 3487140"/>
              <a:gd name="connsiteX5" fmla="*/ 1229975 w 9215242"/>
              <a:gd name="connsiteY5" fmla="*/ 2696848 h 3487140"/>
              <a:gd name="connsiteX6" fmla="*/ 1504323 w 9215242"/>
              <a:gd name="connsiteY6" fmla="*/ 2954187 h 3487140"/>
              <a:gd name="connsiteX7" fmla="*/ 1851657 w 9215242"/>
              <a:gd name="connsiteY7" fmla="*/ 3339906 h 3487140"/>
              <a:gd name="connsiteX8" fmla="*/ 2309779 w 9215242"/>
              <a:gd name="connsiteY8" fmla="*/ 3385485 h 3487140"/>
              <a:gd name="connsiteX9" fmla="*/ 2388461 w 9215242"/>
              <a:gd name="connsiteY9" fmla="*/ 3295741 h 3487140"/>
              <a:gd name="connsiteX10" fmla="*/ 2137359 w 9215242"/>
              <a:gd name="connsiteY10" fmla="*/ 3112384 h 3487140"/>
              <a:gd name="connsiteX11" fmla="*/ 1831196 w 9215242"/>
              <a:gd name="connsiteY11" fmla="*/ 2750287 h 3487140"/>
              <a:gd name="connsiteX12" fmla="*/ 1739664 w 9215242"/>
              <a:gd name="connsiteY12" fmla="*/ 2305432 h 3487140"/>
              <a:gd name="connsiteX13" fmla="*/ 1867252 w 9215242"/>
              <a:gd name="connsiteY13" fmla="*/ 1919713 h 3487140"/>
              <a:gd name="connsiteX14" fmla="*/ 2191464 w 9215242"/>
              <a:gd name="connsiteY14" fmla="*/ 1637837 h 3487140"/>
              <a:gd name="connsiteX15" fmla="*/ 2684768 w 9215242"/>
              <a:gd name="connsiteY15" fmla="*/ 1545972 h 3487140"/>
              <a:gd name="connsiteX16" fmla="*/ 2919443 w 9215242"/>
              <a:gd name="connsiteY16" fmla="*/ 1517651 h 3487140"/>
              <a:gd name="connsiteX17" fmla="*/ 2904180 w 9215242"/>
              <a:gd name="connsiteY17" fmla="*/ 1460718 h 3487140"/>
              <a:gd name="connsiteX18" fmla="*/ 2628126 w 9215242"/>
              <a:gd name="connsiteY18" fmla="*/ 1416969 h 3487140"/>
              <a:gd name="connsiteX19" fmla="*/ 2108706 w 9215242"/>
              <a:gd name="connsiteY19" fmla="*/ 1517318 h 3487140"/>
              <a:gd name="connsiteX20" fmla="*/ 1699408 w 9215242"/>
              <a:gd name="connsiteY20" fmla="*/ 1960593 h 3487140"/>
              <a:gd name="connsiteX21" fmla="*/ 1639938 w 9215242"/>
              <a:gd name="connsiteY21" fmla="*/ 2569342 h 3487140"/>
              <a:gd name="connsiteX22" fmla="*/ 2053645 w 9215242"/>
              <a:gd name="connsiteY22" fmla="*/ 3165532 h 3487140"/>
              <a:gd name="connsiteX23" fmla="*/ 2843630 w 9215242"/>
              <a:gd name="connsiteY23" fmla="*/ 3283181 h 3487140"/>
              <a:gd name="connsiteX24" fmla="*/ 3446266 w 9215242"/>
              <a:gd name="connsiteY24" fmla="*/ 2757481 h 3487140"/>
              <a:gd name="connsiteX25" fmla="*/ 3436035 w 9215242"/>
              <a:gd name="connsiteY25" fmla="*/ 1980430 h 3487140"/>
              <a:gd name="connsiteX26" fmla="*/ 3106001 w 9215242"/>
              <a:gd name="connsiteY26" fmla="*/ 1589139 h 3487140"/>
              <a:gd name="connsiteX27" fmla="*/ 2916947 w 9215242"/>
              <a:gd name="connsiteY27" fmla="*/ 1660710 h 3487140"/>
              <a:gd name="connsiteX28" fmla="*/ 2808530 w 9215242"/>
              <a:gd name="connsiteY28" fmla="*/ 2116627 h 3487140"/>
              <a:gd name="connsiteX29" fmla="*/ 2585167 w 9215242"/>
              <a:gd name="connsiteY29" fmla="*/ 2374258 h 3487140"/>
              <a:gd name="connsiteX30" fmla="*/ 2530231 w 9215242"/>
              <a:gd name="connsiteY30" fmla="*/ 2276986 h 3487140"/>
              <a:gd name="connsiteX31" fmla="*/ 2909503 w 9215242"/>
              <a:gd name="connsiteY31" fmla="*/ 2021601 h 3487140"/>
              <a:gd name="connsiteX32" fmla="*/ 3169422 w 9215242"/>
              <a:gd name="connsiteY32" fmla="*/ 1234153 h 3487140"/>
              <a:gd name="connsiteX33" fmla="*/ 3399522 w 9215242"/>
              <a:gd name="connsiteY33" fmla="*/ 725296 h 3487140"/>
              <a:gd name="connsiteX34" fmla="*/ 3508105 w 9215242"/>
              <a:gd name="connsiteY34" fmla="*/ 539984 h 3487140"/>
              <a:gd name="connsiteX35" fmla="*/ 3476957 w 9215242"/>
              <a:gd name="connsiteY35" fmla="*/ 435851 h 3487140"/>
              <a:gd name="connsiteX36" fmla="*/ 3370619 w 9215242"/>
              <a:gd name="connsiteY36" fmla="*/ 350265 h 3487140"/>
              <a:gd name="connsiteX37" fmla="*/ 3325331 w 9215242"/>
              <a:gd name="connsiteY37" fmla="*/ 209327 h 3487140"/>
              <a:gd name="connsiteX38" fmla="*/ 3370161 w 9215242"/>
              <a:gd name="connsiteY38" fmla="*/ 82237 h 3487140"/>
              <a:gd name="connsiteX39" fmla="*/ 3550441 w 9215242"/>
              <a:gd name="connsiteY39" fmla="*/ 6716 h 3487140"/>
              <a:gd name="connsiteX40" fmla="*/ 3819134 w 9215242"/>
              <a:gd name="connsiteY40" fmla="*/ 10167 h 3487140"/>
              <a:gd name="connsiteX41" fmla="*/ 3902807 w 9215242"/>
              <a:gd name="connsiteY41" fmla="*/ 49800 h 3487140"/>
              <a:gd name="connsiteX42" fmla="*/ 3855772 w 9215242"/>
              <a:gd name="connsiteY42" fmla="*/ 86812 h 3487140"/>
              <a:gd name="connsiteX43" fmla="*/ 3619849 w 9215242"/>
              <a:gd name="connsiteY43" fmla="*/ 91886 h 3487140"/>
              <a:gd name="connsiteX44" fmla="*/ 3376316 w 9215242"/>
              <a:gd name="connsiteY44" fmla="*/ 75833 h 3487140"/>
              <a:gd name="connsiteX45" fmla="*/ 3268565 w 9215242"/>
              <a:gd name="connsiteY45" fmla="*/ 176931 h 3487140"/>
              <a:gd name="connsiteX46" fmla="*/ 3283827 w 9215242"/>
              <a:gd name="connsiteY46" fmla="*/ 370393 h 3487140"/>
              <a:gd name="connsiteX47" fmla="*/ 3228600 w 9215242"/>
              <a:gd name="connsiteY47" fmla="*/ 589348 h 3487140"/>
              <a:gd name="connsiteX48" fmla="*/ 3072066 w 9215242"/>
              <a:gd name="connsiteY48" fmla="*/ 903953 h 3487140"/>
              <a:gd name="connsiteX49" fmla="*/ 2861595 w 9215242"/>
              <a:gd name="connsiteY49" fmla="*/ 922501 h 3487140"/>
              <a:gd name="connsiteX50" fmla="*/ 2667176 w 9215242"/>
              <a:gd name="connsiteY50" fmla="*/ 866816 h 3487140"/>
              <a:gd name="connsiteX51" fmla="*/ 2608331 w 9215242"/>
              <a:gd name="connsiteY51" fmla="*/ 751038 h 3487140"/>
              <a:gd name="connsiteX52" fmla="*/ 2620267 w 9215242"/>
              <a:gd name="connsiteY52" fmla="*/ 369436 h 3487140"/>
              <a:gd name="connsiteX53" fmla="*/ 2681940 w 9215242"/>
              <a:gd name="connsiteY53" fmla="*/ 155805 h 3487140"/>
              <a:gd name="connsiteX54" fmla="*/ 2883304 w 9215242"/>
              <a:gd name="connsiteY54" fmla="*/ 156761 h 3487140"/>
              <a:gd name="connsiteX55" fmla="*/ 3136235 w 9215242"/>
              <a:gd name="connsiteY55" fmla="*/ 245175 h 3487140"/>
              <a:gd name="connsiteX56" fmla="*/ 3305327 w 9215242"/>
              <a:gd name="connsiteY56" fmla="*/ 357792 h 3487140"/>
              <a:gd name="connsiteX57" fmla="*/ 3409918 w 9215242"/>
              <a:gd name="connsiteY57" fmla="*/ 483301 h 3487140"/>
              <a:gd name="connsiteX58" fmla="*/ 3434122 w 9215242"/>
              <a:gd name="connsiteY58" fmla="*/ 600951 h 3487140"/>
              <a:gd name="connsiteX59" fmla="*/ 3406591 w 9215242"/>
              <a:gd name="connsiteY59" fmla="*/ 761726 h 3487140"/>
              <a:gd name="connsiteX60" fmla="*/ 3578512 w 9215242"/>
              <a:gd name="connsiteY60" fmla="*/ 1160004 h 3487140"/>
              <a:gd name="connsiteX61" fmla="*/ 4001492 w 9215242"/>
              <a:gd name="connsiteY61" fmla="*/ 1793622 h 3487140"/>
              <a:gd name="connsiteX62" fmla="*/ 4418983 w 9215242"/>
              <a:gd name="connsiteY62" fmla="*/ 2087475 h 3487140"/>
              <a:gd name="connsiteX63" fmla="*/ 4528606 w 9215242"/>
              <a:gd name="connsiteY63" fmla="*/ 2185620 h 3487140"/>
              <a:gd name="connsiteX64" fmla="*/ 4415657 w 9215242"/>
              <a:gd name="connsiteY64" fmla="*/ 2468120 h 3487140"/>
              <a:gd name="connsiteX65" fmla="*/ 4249558 w 9215242"/>
              <a:gd name="connsiteY65" fmla="*/ 2505548 h 3487140"/>
              <a:gd name="connsiteX66" fmla="*/ 3941108 w 9215242"/>
              <a:gd name="connsiteY66" fmla="*/ 2278109 h 3487140"/>
              <a:gd name="connsiteX67" fmla="*/ 3496419 w 9215242"/>
              <a:gd name="connsiteY67" fmla="*/ 1678800 h 3487140"/>
              <a:gd name="connsiteX68" fmla="*/ 3376566 w 9215242"/>
              <a:gd name="connsiteY68" fmla="*/ 1175432 h 3487140"/>
              <a:gd name="connsiteX69" fmla="*/ 3531020 w 9215242"/>
              <a:gd name="connsiteY69" fmla="*/ 1377420 h 3487140"/>
              <a:gd name="connsiteX70" fmla="*/ 3892660 w 9215242"/>
              <a:gd name="connsiteY70" fmla="*/ 2268710 h 3487140"/>
              <a:gd name="connsiteX71" fmla="*/ 4212462 w 9215242"/>
              <a:gd name="connsiteY71" fmla="*/ 2693105 h 3487140"/>
              <a:gd name="connsiteX72" fmla="*/ 4445890 w 9215242"/>
              <a:gd name="connsiteY72" fmla="*/ 2746586 h 3487140"/>
              <a:gd name="connsiteX73" fmla="*/ 4613111 w 9215242"/>
              <a:gd name="connsiteY73" fmla="*/ 2631432 h 3487140"/>
              <a:gd name="connsiteX74" fmla="*/ 4624298 w 9215242"/>
              <a:gd name="connsiteY74" fmla="*/ 2436680 h 3487140"/>
              <a:gd name="connsiteX75" fmla="*/ 4470468 w 9215242"/>
              <a:gd name="connsiteY75" fmla="*/ 2309258 h 3487140"/>
              <a:gd name="connsiteX76" fmla="*/ 4263282 w 9215242"/>
              <a:gd name="connsiteY76" fmla="*/ 2375007 h 3487140"/>
              <a:gd name="connsiteX77" fmla="*/ 4240783 w 9215242"/>
              <a:gd name="connsiteY77" fmla="*/ 2581402 h 3487140"/>
              <a:gd name="connsiteX78" fmla="*/ 4383468 w 9215242"/>
              <a:gd name="connsiteY78" fmla="*/ 2671064 h 3487140"/>
              <a:gd name="connsiteX79" fmla="*/ 4480033 w 9215242"/>
              <a:gd name="connsiteY79" fmla="*/ 2596831 h 3487140"/>
              <a:gd name="connsiteX80" fmla="*/ 4446847 w 9215242"/>
              <a:gd name="connsiteY80" fmla="*/ 2530750 h 3487140"/>
              <a:gd name="connsiteX81" fmla="*/ 4324789 w 9215242"/>
              <a:gd name="connsiteY81" fmla="*/ 2615379 h 3487140"/>
              <a:gd name="connsiteX82" fmla="*/ 4179110 w 9215242"/>
              <a:gd name="connsiteY82" fmla="*/ 2907028 h 3487140"/>
              <a:gd name="connsiteX83" fmla="*/ 4131285 w 9215242"/>
              <a:gd name="connsiteY83" fmla="*/ 3008333 h 3487140"/>
              <a:gd name="connsiteX84" fmla="*/ 4095437 w 9215242"/>
              <a:gd name="connsiteY84" fmla="*/ 3024053 h 3487140"/>
              <a:gd name="connsiteX85" fmla="*/ 4000411 w 9215242"/>
              <a:gd name="connsiteY85" fmla="*/ 3013989 h 3487140"/>
              <a:gd name="connsiteX86" fmla="*/ 4007314 w 9215242"/>
              <a:gd name="connsiteY86" fmla="*/ 2956724 h 3487140"/>
              <a:gd name="connsiteX87" fmla="*/ 4196077 w 9215242"/>
              <a:gd name="connsiteY87" fmla="*/ 2951068 h 3487140"/>
              <a:gd name="connsiteX88" fmla="*/ 4282287 w 9215242"/>
              <a:gd name="connsiteY88" fmla="*/ 2951068 h 3487140"/>
              <a:gd name="connsiteX89" fmla="*/ 4363465 w 9215242"/>
              <a:gd name="connsiteY89" fmla="*/ 2822066 h 3487140"/>
              <a:gd name="connsiteX90" fmla="*/ 4503779 w 9215242"/>
              <a:gd name="connsiteY90" fmla="*/ 2789337 h 3487140"/>
              <a:gd name="connsiteX91" fmla="*/ 4631492 w 9215242"/>
              <a:gd name="connsiteY91" fmla="*/ 2713815 h 3487140"/>
              <a:gd name="connsiteX92" fmla="*/ 4717702 w 9215242"/>
              <a:gd name="connsiteY92" fmla="*/ 2544556 h 3487140"/>
              <a:gd name="connsiteX93" fmla="*/ 4937281 w 9215242"/>
              <a:gd name="connsiteY93" fmla="*/ 2482883 h 3487140"/>
              <a:gd name="connsiteX94" fmla="*/ 5472255 w 9215242"/>
              <a:gd name="connsiteY94" fmla="*/ 2466831 h 3487140"/>
              <a:gd name="connsiteX95" fmla="*/ 5627997 w 9215242"/>
              <a:gd name="connsiteY95" fmla="*/ 2420918 h 3487140"/>
              <a:gd name="connsiteX96" fmla="*/ 5477910 w 9215242"/>
              <a:gd name="connsiteY96" fmla="*/ 2252907 h 3487140"/>
              <a:gd name="connsiteX97" fmla="*/ 5002531 w 9215242"/>
              <a:gd name="connsiteY97" fmla="*/ 1791709 h 3487140"/>
              <a:gd name="connsiteX98" fmla="*/ 4738412 w 9215242"/>
              <a:gd name="connsiteY98" fmla="*/ 1600118 h 3487140"/>
              <a:gd name="connsiteX99" fmla="*/ 4614442 w 9215242"/>
              <a:gd name="connsiteY99" fmla="*/ 1733529 h 3487140"/>
              <a:gd name="connsiteX100" fmla="*/ 4552144 w 9215242"/>
              <a:gd name="connsiteY100" fmla="*/ 1995900 h 3487140"/>
              <a:gd name="connsiteX101" fmla="*/ 4593024 w 9215242"/>
              <a:gd name="connsiteY101" fmla="*/ 2048133 h 3487140"/>
              <a:gd name="connsiteX102" fmla="*/ 4655945 w 9215242"/>
              <a:gd name="connsiteY102" fmla="*/ 1778817 h 3487140"/>
              <a:gd name="connsiteX103" fmla="*/ 4777712 w 9215242"/>
              <a:gd name="connsiteY103" fmla="*/ 1356918 h 3487140"/>
              <a:gd name="connsiteX104" fmla="*/ 4884049 w 9215242"/>
              <a:gd name="connsiteY104" fmla="*/ 986960 h 3487140"/>
              <a:gd name="connsiteX105" fmla="*/ 4854772 w 9215242"/>
              <a:gd name="connsiteY105" fmla="*/ 867107 h 3487140"/>
              <a:gd name="connsiteX106" fmla="*/ 4679858 w 9215242"/>
              <a:gd name="connsiteY106" fmla="*/ 840034 h 3487140"/>
              <a:gd name="connsiteX107" fmla="*/ 4535759 w 9215242"/>
              <a:gd name="connsiteY107" fmla="*/ 782769 h 3487140"/>
              <a:gd name="connsiteX108" fmla="*/ 4552103 w 9215242"/>
              <a:gd name="connsiteY108" fmla="*/ 714816 h 3487140"/>
              <a:gd name="connsiteX109" fmla="*/ 4725770 w 9215242"/>
              <a:gd name="connsiteY109" fmla="*/ 723008 h 3487140"/>
              <a:gd name="connsiteX110" fmla="*/ 4928381 w 9215242"/>
              <a:gd name="connsiteY110" fmla="*/ 729288 h 3487140"/>
              <a:gd name="connsiteX111" fmla="*/ 5095103 w 9215242"/>
              <a:gd name="connsiteY111" fmla="*/ 682087 h 3487140"/>
              <a:gd name="connsiteX112" fmla="*/ 5212752 w 9215242"/>
              <a:gd name="connsiteY112" fmla="*/ 703463 h 3487140"/>
              <a:gd name="connsiteX113" fmla="*/ 5235417 w 9215242"/>
              <a:gd name="connsiteY113" fmla="*/ 797199 h 3487140"/>
              <a:gd name="connsiteX114" fmla="*/ 5107704 w 9215242"/>
              <a:gd name="connsiteY114" fmla="*/ 890936 h 3487140"/>
              <a:gd name="connsiteX115" fmla="*/ 4937821 w 9215242"/>
              <a:gd name="connsiteY115" fmla="*/ 918009 h 3487140"/>
              <a:gd name="connsiteX116" fmla="*/ 4810108 w 9215242"/>
              <a:gd name="connsiteY116" fmla="*/ 1002306 h 3487140"/>
              <a:gd name="connsiteX117" fmla="*/ 4709218 w 9215242"/>
              <a:gd name="connsiteY117" fmla="*/ 1299902 h 3487140"/>
              <a:gd name="connsiteX118" fmla="*/ 4770268 w 9215242"/>
              <a:gd name="connsiteY118" fmla="*/ 1545930 h 3487140"/>
              <a:gd name="connsiteX119" fmla="*/ 4982943 w 9215242"/>
              <a:gd name="connsiteY119" fmla="*/ 1536490 h 3487140"/>
              <a:gd name="connsiteX120" fmla="*/ 5162474 w 9215242"/>
              <a:gd name="connsiteY120" fmla="*/ 1376048 h 3487140"/>
              <a:gd name="connsiteX121" fmla="*/ 5165635 w 9215242"/>
              <a:gd name="connsiteY121" fmla="*/ 1231949 h 3487140"/>
              <a:gd name="connsiteX122" fmla="*/ 4947594 w 9215242"/>
              <a:gd name="connsiteY122" fmla="*/ 1191693 h 3487140"/>
              <a:gd name="connsiteX123" fmla="*/ 4956078 w 9215242"/>
              <a:gd name="connsiteY123" fmla="*/ 1255238 h 3487140"/>
              <a:gd name="connsiteX124" fmla="*/ 5381096 w 9215242"/>
              <a:gd name="connsiteY124" fmla="*/ 1241722 h 3487140"/>
              <a:gd name="connsiteX125" fmla="*/ 5865916 w 9215242"/>
              <a:gd name="connsiteY125" fmla="*/ 1259646 h 3487140"/>
              <a:gd name="connsiteX126" fmla="*/ 6095268 w 9215242"/>
              <a:gd name="connsiteY126" fmla="*/ 1236981 h 3487140"/>
              <a:gd name="connsiteX127" fmla="*/ 6077012 w 9215242"/>
              <a:gd name="connsiteY127" fmla="*/ 1185995 h 3487140"/>
              <a:gd name="connsiteX128" fmla="*/ 5716494 w 9215242"/>
              <a:gd name="connsiteY128" fmla="*/ 1177512 h 3487140"/>
              <a:gd name="connsiteX129" fmla="*/ 5345914 w 9215242"/>
              <a:gd name="connsiteY129" fmla="*/ 1331342 h 3487140"/>
              <a:gd name="connsiteX130" fmla="*/ 5000160 w 9215242"/>
              <a:gd name="connsiteY130" fmla="*/ 1604110 h 3487140"/>
              <a:gd name="connsiteX131" fmla="*/ 4767357 w 9215242"/>
              <a:gd name="connsiteY131" fmla="*/ 1921252 h 3487140"/>
              <a:gd name="connsiteX132" fmla="*/ 4671707 w 9215242"/>
              <a:gd name="connsiteY132" fmla="*/ 2419255 h 3487140"/>
              <a:gd name="connsiteX133" fmla="*/ 4902015 w 9215242"/>
              <a:gd name="connsiteY133" fmla="*/ 3048465 h 3487140"/>
              <a:gd name="connsiteX134" fmla="*/ 5480240 w 9215242"/>
              <a:gd name="connsiteY134" fmla="*/ 3394510 h 3487140"/>
              <a:gd name="connsiteX135" fmla="*/ 6118889 w 9215242"/>
              <a:gd name="connsiteY135" fmla="*/ 3330632 h 3487140"/>
              <a:gd name="connsiteX136" fmla="*/ 6614064 w 9215242"/>
              <a:gd name="connsiteY136" fmla="*/ 2841404 h 3487140"/>
              <a:gd name="connsiteX137" fmla="*/ 6647417 w 9215242"/>
              <a:gd name="connsiteY137" fmla="*/ 2052999 h 3487140"/>
              <a:gd name="connsiteX138" fmla="*/ 6216410 w 9215242"/>
              <a:gd name="connsiteY138" fmla="*/ 1482011 h 3487140"/>
              <a:gd name="connsiteX139" fmla="*/ 5749556 w 9215242"/>
              <a:gd name="connsiteY139" fmla="*/ 1352717 h 3487140"/>
              <a:gd name="connsiteX140" fmla="*/ 5589114 w 9215242"/>
              <a:gd name="connsiteY140" fmla="*/ 1466624 h 3487140"/>
              <a:gd name="connsiteX141" fmla="*/ 5611155 w 9215242"/>
              <a:gd name="connsiteY141" fmla="*/ 2001140 h 3487140"/>
              <a:gd name="connsiteX142" fmla="*/ 5645131 w 9215242"/>
              <a:gd name="connsiteY142" fmla="*/ 2313208 h 3487140"/>
              <a:gd name="connsiteX143" fmla="*/ 5736831 w 9215242"/>
              <a:gd name="connsiteY143" fmla="*/ 2399085 h 3487140"/>
              <a:gd name="connsiteX144" fmla="*/ 5841297 w 9215242"/>
              <a:gd name="connsiteY144" fmla="*/ 2362905 h 3487140"/>
              <a:gd name="connsiteX145" fmla="*/ 5805906 w 9215242"/>
              <a:gd name="connsiteY145" fmla="*/ 2271372 h 3487140"/>
              <a:gd name="connsiteX146" fmla="*/ 5708302 w 9215242"/>
              <a:gd name="connsiteY146" fmla="*/ 2303394 h 3487140"/>
              <a:gd name="connsiteX147" fmla="*/ 5691916 w 9215242"/>
              <a:gd name="connsiteY147" fmla="*/ 2437262 h 3487140"/>
              <a:gd name="connsiteX148" fmla="*/ 5690835 w 9215242"/>
              <a:gd name="connsiteY148" fmla="*/ 2519521 h 3487140"/>
              <a:gd name="connsiteX149" fmla="*/ 5511721 w 9215242"/>
              <a:gd name="connsiteY149" fmla="*/ 2539400 h 3487140"/>
              <a:gd name="connsiteX150" fmla="*/ 5101466 w 9215242"/>
              <a:gd name="connsiteY150" fmla="*/ 2545679 h 3487140"/>
              <a:gd name="connsiteX151" fmla="*/ 4861094 w 9215242"/>
              <a:gd name="connsiteY151" fmla="*/ 2602944 h 3487140"/>
              <a:gd name="connsiteX152" fmla="*/ 4851487 w 9215242"/>
              <a:gd name="connsiteY152" fmla="*/ 2790460 h 3487140"/>
              <a:gd name="connsiteX153" fmla="*/ 5044824 w 9215242"/>
              <a:gd name="connsiteY153" fmla="*/ 3133385 h 3487140"/>
              <a:gd name="connsiteX154" fmla="*/ 5536714 w 9215242"/>
              <a:gd name="connsiteY154" fmla="*/ 3465290 h 3487140"/>
              <a:gd name="connsiteX155" fmla="*/ 6277460 w 9215242"/>
              <a:gd name="connsiteY155" fmla="*/ 3390434 h 3487140"/>
              <a:gd name="connsiteX156" fmla="*/ 6717283 w 9215242"/>
              <a:gd name="connsiteY156" fmla="*/ 3017940 h 3487140"/>
              <a:gd name="connsiteX157" fmla="*/ 7031264 w 9215242"/>
              <a:gd name="connsiteY157" fmla="*/ 2655510 h 3487140"/>
              <a:gd name="connsiteX158" fmla="*/ 7403758 w 9215242"/>
              <a:gd name="connsiteY158" fmla="*/ 3163577 h 3487140"/>
              <a:gd name="connsiteX159" fmla="*/ 7627745 w 9215242"/>
              <a:gd name="connsiteY159" fmla="*/ 3255443 h 3487140"/>
              <a:gd name="connsiteX160" fmla="*/ 7705762 w 9215242"/>
              <a:gd name="connsiteY160" fmla="*/ 2786675 h 3487140"/>
              <a:gd name="connsiteX161" fmla="*/ 8015335 w 9215242"/>
              <a:gd name="connsiteY161" fmla="*/ 2869724 h 3487140"/>
              <a:gd name="connsiteX162" fmla="*/ 8254127 w 9215242"/>
              <a:gd name="connsiteY162" fmla="*/ 3245046 h 3487140"/>
              <a:gd name="connsiteX163" fmla="*/ 8626620 w 9215242"/>
              <a:gd name="connsiteY163" fmla="*/ 3329676 h 3487140"/>
              <a:gd name="connsiteX164" fmla="*/ 9215242 w 9215242"/>
              <a:gd name="connsiteY164" fmla="*/ 3217682 h 3487140"/>
              <a:gd name="connsiteX0" fmla="*/ 0 w 8890157"/>
              <a:gd name="connsiteY0" fmla="*/ 2916759 h 3487140"/>
              <a:gd name="connsiteX1" fmla="*/ 256467 w 8890157"/>
              <a:gd name="connsiteY1" fmla="*/ 2898295 h 3487140"/>
              <a:gd name="connsiteX2" fmla="*/ 485818 w 8890157"/>
              <a:gd name="connsiteY2" fmla="*/ 3416675 h 3487140"/>
              <a:gd name="connsiteX3" fmla="*/ 645637 w 8890157"/>
              <a:gd name="connsiteY3" fmla="*/ 3205871 h 3487140"/>
              <a:gd name="connsiteX4" fmla="*/ 904890 w 8890157"/>
              <a:gd name="connsiteY4" fmla="*/ 2696848 h 3487140"/>
              <a:gd name="connsiteX5" fmla="*/ 1179238 w 8890157"/>
              <a:gd name="connsiteY5" fmla="*/ 2954187 h 3487140"/>
              <a:gd name="connsiteX6" fmla="*/ 1526572 w 8890157"/>
              <a:gd name="connsiteY6" fmla="*/ 3339906 h 3487140"/>
              <a:gd name="connsiteX7" fmla="*/ 1984694 w 8890157"/>
              <a:gd name="connsiteY7" fmla="*/ 3385485 h 3487140"/>
              <a:gd name="connsiteX8" fmla="*/ 2063376 w 8890157"/>
              <a:gd name="connsiteY8" fmla="*/ 3295741 h 3487140"/>
              <a:gd name="connsiteX9" fmla="*/ 1812274 w 8890157"/>
              <a:gd name="connsiteY9" fmla="*/ 3112384 h 3487140"/>
              <a:gd name="connsiteX10" fmla="*/ 1506111 w 8890157"/>
              <a:gd name="connsiteY10" fmla="*/ 2750287 h 3487140"/>
              <a:gd name="connsiteX11" fmla="*/ 1414579 w 8890157"/>
              <a:gd name="connsiteY11" fmla="*/ 2305432 h 3487140"/>
              <a:gd name="connsiteX12" fmla="*/ 1542167 w 8890157"/>
              <a:gd name="connsiteY12" fmla="*/ 1919713 h 3487140"/>
              <a:gd name="connsiteX13" fmla="*/ 1866379 w 8890157"/>
              <a:gd name="connsiteY13" fmla="*/ 1637837 h 3487140"/>
              <a:gd name="connsiteX14" fmla="*/ 2359683 w 8890157"/>
              <a:gd name="connsiteY14" fmla="*/ 1545972 h 3487140"/>
              <a:gd name="connsiteX15" fmla="*/ 2594358 w 8890157"/>
              <a:gd name="connsiteY15" fmla="*/ 1517651 h 3487140"/>
              <a:gd name="connsiteX16" fmla="*/ 2579095 w 8890157"/>
              <a:gd name="connsiteY16" fmla="*/ 1460718 h 3487140"/>
              <a:gd name="connsiteX17" fmla="*/ 2303041 w 8890157"/>
              <a:gd name="connsiteY17" fmla="*/ 1416969 h 3487140"/>
              <a:gd name="connsiteX18" fmla="*/ 1783621 w 8890157"/>
              <a:gd name="connsiteY18" fmla="*/ 1517318 h 3487140"/>
              <a:gd name="connsiteX19" fmla="*/ 1374323 w 8890157"/>
              <a:gd name="connsiteY19" fmla="*/ 1960593 h 3487140"/>
              <a:gd name="connsiteX20" fmla="*/ 1314853 w 8890157"/>
              <a:gd name="connsiteY20" fmla="*/ 2569342 h 3487140"/>
              <a:gd name="connsiteX21" fmla="*/ 1728560 w 8890157"/>
              <a:gd name="connsiteY21" fmla="*/ 3165532 h 3487140"/>
              <a:gd name="connsiteX22" fmla="*/ 2518545 w 8890157"/>
              <a:gd name="connsiteY22" fmla="*/ 3283181 h 3487140"/>
              <a:gd name="connsiteX23" fmla="*/ 3121181 w 8890157"/>
              <a:gd name="connsiteY23" fmla="*/ 2757481 h 3487140"/>
              <a:gd name="connsiteX24" fmla="*/ 3110950 w 8890157"/>
              <a:gd name="connsiteY24" fmla="*/ 1980430 h 3487140"/>
              <a:gd name="connsiteX25" fmla="*/ 2780916 w 8890157"/>
              <a:gd name="connsiteY25" fmla="*/ 1589139 h 3487140"/>
              <a:gd name="connsiteX26" fmla="*/ 2591862 w 8890157"/>
              <a:gd name="connsiteY26" fmla="*/ 1660710 h 3487140"/>
              <a:gd name="connsiteX27" fmla="*/ 2483445 w 8890157"/>
              <a:gd name="connsiteY27" fmla="*/ 2116627 h 3487140"/>
              <a:gd name="connsiteX28" fmla="*/ 2260082 w 8890157"/>
              <a:gd name="connsiteY28" fmla="*/ 2374258 h 3487140"/>
              <a:gd name="connsiteX29" fmla="*/ 2205146 w 8890157"/>
              <a:gd name="connsiteY29" fmla="*/ 2276986 h 3487140"/>
              <a:gd name="connsiteX30" fmla="*/ 2584418 w 8890157"/>
              <a:gd name="connsiteY30" fmla="*/ 2021601 h 3487140"/>
              <a:gd name="connsiteX31" fmla="*/ 2844337 w 8890157"/>
              <a:gd name="connsiteY31" fmla="*/ 1234153 h 3487140"/>
              <a:gd name="connsiteX32" fmla="*/ 3074437 w 8890157"/>
              <a:gd name="connsiteY32" fmla="*/ 725296 h 3487140"/>
              <a:gd name="connsiteX33" fmla="*/ 3183020 w 8890157"/>
              <a:gd name="connsiteY33" fmla="*/ 539984 h 3487140"/>
              <a:gd name="connsiteX34" fmla="*/ 3151872 w 8890157"/>
              <a:gd name="connsiteY34" fmla="*/ 435851 h 3487140"/>
              <a:gd name="connsiteX35" fmla="*/ 3045534 w 8890157"/>
              <a:gd name="connsiteY35" fmla="*/ 350265 h 3487140"/>
              <a:gd name="connsiteX36" fmla="*/ 3000246 w 8890157"/>
              <a:gd name="connsiteY36" fmla="*/ 209327 h 3487140"/>
              <a:gd name="connsiteX37" fmla="*/ 3045076 w 8890157"/>
              <a:gd name="connsiteY37" fmla="*/ 82237 h 3487140"/>
              <a:gd name="connsiteX38" fmla="*/ 3225356 w 8890157"/>
              <a:gd name="connsiteY38" fmla="*/ 6716 h 3487140"/>
              <a:gd name="connsiteX39" fmla="*/ 3494049 w 8890157"/>
              <a:gd name="connsiteY39" fmla="*/ 10167 h 3487140"/>
              <a:gd name="connsiteX40" fmla="*/ 3577722 w 8890157"/>
              <a:gd name="connsiteY40" fmla="*/ 49800 h 3487140"/>
              <a:gd name="connsiteX41" fmla="*/ 3530687 w 8890157"/>
              <a:gd name="connsiteY41" fmla="*/ 86812 h 3487140"/>
              <a:gd name="connsiteX42" fmla="*/ 3294764 w 8890157"/>
              <a:gd name="connsiteY42" fmla="*/ 91886 h 3487140"/>
              <a:gd name="connsiteX43" fmla="*/ 3051231 w 8890157"/>
              <a:gd name="connsiteY43" fmla="*/ 75833 h 3487140"/>
              <a:gd name="connsiteX44" fmla="*/ 2943480 w 8890157"/>
              <a:gd name="connsiteY44" fmla="*/ 176931 h 3487140"/>
              <a:gd name="connsiteX45" fmla="*/ 2958742 w 8890157"/>
              <a:gd name="connsiteY45" fmla="*/ 370393 h 3487140"/>
              <a:gd name="connsiteX46" fmla="*/ 2903515 w 8890157"/>
              <a:gd name="connsiteY46" fmla="*/ 589348 h 3487140"/>
              <a:gd name="connsiteX47" fmla="*/ 2746981 w 8890157"/>
              <a:gd name="connsiteY47" fmla="*/ 903953 h 3487140"/>
              <a:gd name="connsiteX48" fmla="*/ 2536510 w 8890157"/>
              <a:gd name="connsiteY48" fmla="*/ 922501 h 3487140"/>
              <a:gd name="connsiteX49" fmla="*/ 2342091 w 8890157"/>
              <a:gd name="connsiteY49" fmla="*/ 866816 h 3487140"/>
              <a:gd name="connsiteX50" fmla="*/ 2283246 w 8890157"/>
              <a:gd name="connsiteY50" fmla="*/ 751038 h 3487140"/>
              <a:gd name="connsiteX51" fmla="*/ 2295182 w 8890157"/>
              <a:gd name="connsiteY51" fmla="*/ 369436 h 3487140"/>
              <a:gd name="connsiteX52" fmla="*/ 2356855 w 8890157"/>
              <a:gd name="connsiteY52" fmla="*/ 155805 h 3487140"/>
              <a:gd name="connsiteX53" fmla="*/ 2558219 w 8890157"/>
              <a:gd name="connsiteY53" fmla="*/ 156761 h 3487140"/>
              <a:gd name="connsiteX54" fmla="*/ 2811150 w 8890157"/>
              <a:gd name="connsiteY54" fmla="*/ 245175 h 3487140"/>
              <a:gd name="connsiteX55" fmla="*/ 2980242 w 8890157"/>
              <a:gd name="connsiteY55" fmla="*/ 357792 h 3487140"/>
              <a:gd name="connsiteX56" fmla="*/ 3084833 w 8890157"/>
              <a:gd name="connsiteY56" fmla="*/ 483301 h 3487140"/>
              <a:gd name="connsiteX57" fmla="*/ 3109037 w 8890157"/>
              <a:gd name="connsiteY57" fmla="*/ 600951 h 3487140"/>
              <a:gd name="connsiteX58" fmla="*/ 3081506 w 8890157"/>
              <a:gd name="connsiteY58" fmla="*/ 761726 h 3487140"/>
              <a:gd name="connsiteX59" fmla="*/ 3253427 w 8890157"/>
              <a:gd name="connsiteY59" fmla="*/ 1160004 h 3487140"/>
              <a:gd name="connsiteX60" fmla="*/ 3676407 w 8890157"/>
              <a:gd name="connsiteY60" fmla="*/ 1793622 h 3487140"/>
              <a:gd name="connsiteX61" fmla="*/ 4093898 w 8890157"/>
              <a:gd name="connsiteY61" fmla="*/ 2087475 h 3487140"/>
              <a:gd name="connsiteX62" fmla="*/ 4203521 w 8890157"/>
              <a:gd name="connsiteY62" fmla="*/ 2185620 h 3487140"/>
              <a:gd name="connsiteX63" fmla="*/ 4090572 w 8890157"/>
              <a:gd name="connsiteY63" fmla="*/ 2468120 h 3487140"/>
              <a:gd name="connsiteX64" fmla="*/ 3924473 w 8890157"/>
              <a:gd name="connsiteY64" fmla="*/ 2505548 h 3487140"/>
              <a:gd name="connsiteX65" fmla="*/ 3616023 w 8890157"/>
              <a:gd name="connsiteY65" fmla="*/ 2278109 h 3487140"/>
              <a:gd name="connsiteX66" fmla="*/ 3171334 w 8890157"/>
              <a:gd name="connsiteY66" fmla="*/ 1678800 h 3487140"/>
              <a:gd name="connsiteX67" fmla="*/ 3051481 w 8890157"/>
              <a:gd name="connsiteY67" fmla="*/ 1175432 h 3487140"/>
              <a:gd name="connsiteX68" fmla="*/ 3205935 w 8890157"/>
              <a:gd name="connsiteY68" fmla="*/ 1377420 h 3487140"/>
              <a:gd name="connsiteX69" fmla="*/ 3567575 w 8890157"/>
              <a:gd name="connsiteY69" fmla="*/ 2268710 h 3487140"/>
              <a:gd name="connsiteX70" fmla="*/ 3887377 w 8890157"/>
              <a:gd name="connsiteY70" fmla="*/ 2693105 h 3487140"/>
              <a:gd name="connsiteX71" fmla="*/ 4120805 w 8890157"/>
              <a:gd name="connsiteY71" fmla="*/ 2746586 h 3487140"/>
              <a:gd name="connsiteX72" fmla="*/ 4288026 w 8890157"/>
              <a:gd name="connsiteY72" fmla="*/ 2631432 h 3487140"/>
              <a:gd name="connsiteX73" fmla="*/ 4299213 w 8890157"/>
              <a:gd name="connsiteY73" fmla="*/ 2436680 h 3487140"/>
              <a:gd name="connsiteX74" fmla="*/ 4145383 w 8890157"/>
              <a:gd name="connsiteY74" fmla="*/ 2309258 h 3487140"/>
              <a:gd name="connsiteX75" fmla="*/ 3938197 w 8890157"/>
              <a:gd name="connsiteY75" fmla="*/ 2375007 h 3487140"/>
              <a:gd name="connsiteX76" fmla="*/ 3915698 w 8890157"/>
              <a:gd name="connsiteY76" fmla="*/ 2581402 h 3487140"/>
              <a:gd name="connsiteX77" fmla="*/ 4058383 w 8890157"/>
              <a:gd name="connsiteY77" fmla="*/ 2671064 h 3487140"/>
              <a:gd name="connsiteX78" fmla="*/ 4154948 w 8890157"/>
              <a:gd name="connsiteY78" fmla="*/ 2596831 h 3487140"/>
              <a:gd name="connsiteX79" fmla="*/ 4121762 w 8890157"/>
              <a:gd name="connsiteY79" fmla="*/ 2530750 h 3487140"/>
              <a:gd name="connsiteX80" fmla="*/ 3999704 w 8890157"/>
              <a:gd name="connsiteY80" fmla="*/ 2615379 h 3487140"/>
              <a:gd name="connsiteX81" fmla="*/ 3854025 w 8890157"/>
              <a:gd name="connsiteY81" fmla="*/ 2907028 h 3487140"/>
              <a:gd name="connsiteX82" fmla="*/ 3806200 w 8890157"/>
              <a:gd name="connsiteY82" fmla="*/ 3008333 h 3487140"/>
              <a:gd name="connsiteX83" fmla="*/ 3770352 w 8890157"/>
              <a:gd name="connsiteY83" fmla="*/ 3024053 h 3487140"/>
              <a:gd name="connsiteX84" fmla="*/ 3675326 w 8890157"/>
              <a:gd name="connsiteY84" fmla="*/ 3013989 h 3487140"/>
              <a:gd name="connsiteX85" fmla="*/ 3682229 w 8890157"/>
              <a:gd name="connsiteY85" fmla="*/ 2956724 h 3487140"/>
              <a:gd name="connsiteX86" fmla="*/ 3870992 w 8890157"/>
              <a:gd name="connsiteY86" fmla="*/ 2951068 h 3487140"/>
              <a:gd name="connsiteX87" fmla="*/ 3957202 w 8890157"/>
              <a:gd name="connsiteY87" fmla="*/ 2951068 h 3487140"/>
              <a:gd name="connsiteX88" fmla="*/ 4038380 w 8890157"/>
              <a:gd name="connsiteY88" fmla="*/ 2822066 h 3487140"/>
              <a:gd name="connsiteX89" fmla="*/ 4178694 w 8890157"/>
              <a:gd name="connsiteY89" fmla="*/ 2789337 h 3487140"/>
              <a:gd name="connsiteX90" fmla="*/ 4306407 w 8890157"/>
              <a:gd name="connsiteY90" fmla="*/ 2713815 h 3487140"/>
              <a:gd name="connsiteX91" fmla="*/ 4392617 w 8890157"/>
              <a:gd name="connsiteY91" fmla="*/ 2544556 h 3487140"/>
              <a:gd name="connsiteX92" fmla="*/ 4612196 w 8890157"/>
              <a:gd name="connsiteY92" fmla="*/ 2482883 h 3487140"/>
              <a:gd name="connsiteX93" fmla="*/ 5147170 w 8890157"/>
              <a:gd name="connsiteY93" fmla="*/ 2466831 h 3487140"/>
              <a:gd name="connsiteX94" fmla="*/ 5302912 w 8890157"/>
              <a:gd name="connsiteY94" fmla="*/ 2420918 h 3487140"/>
              <a:gd name="connsiteX95" fmla="*/ 5152825 w 8890157"/>
              <a:gd name="connsiteY95" fmla="*/ 2252907 h 3487140"/>
              <a:gd name="connsiteX96" fmla="*/ 4677446 w 8890157"/>
              <a:gd name="connsiteY96" fmla="*/ 1791709 h 3487140"/>
              <a:gd name="connsiteX97" fmla="*/ 4413327 w 8890157"/>
              <a:gd name="connsiteY97" fmla="*/ 1600118 h 3487140"/>
              <a:gd name="connsiteX98" fmla="*/ 4289357 w 8890157"/>
              <a:gd name="connsiteY98" fmla="*/ 1733529 h 3487140"/>
              <a:gd name="connsiteX99" fmla="*/ 4227059 w 8890157"/>
              <a:gd name="connsiteY99" fmla="*/ 1995900 h 3487140"/>
              <a:gd name="connsiteX100" fmla="*/ 4267939 w 8890157"/>
              <a:gd name="connsiteY100" fmla="*/ 2048133 h 3487140"/>
              <a:gd name="connsiteX101" fmla="*/ 4330860 w 8890157"/>
              <a:gd name="connsiteY101" fmla="*/ 1778817 h 3487140"/>
              <a:gd name="connsiteX102" fmla="*/ 4452627 w 8890157"/>
              <a:gd name="connsiteY102" fmla="*/ 1356918 h 3487140"/>
              <a:gd name="connsiteX103" fmla="*/ 4558964 w 8890157"/>
              <a:gd name="connsiteY103" fmla="*/ 986960 h 3487140"/>
              <a:gd name="connsiteX104" fmla="*/ 4529687 w 8890157"/>
              <a:gd name="connsiteY104" fmla="*/ 867107 h 3487140"/>
              <a:gd name="connsiteX105" fmla="*/ 4354773 w 8890157"/>
              <a:gd name="connsiteY105" fmla="*/ 840034 h 3487140"/>
              <a:gd name="connsiteX106" fmla="*/ 4210674 w 8890157"/>
              <a:gd name="connsiteY106" fmla="*/ 782769 h 3487140"/>
              <a:gd name="connsiteX107" fmla="*/ 4227018 w 8890157"/>
              <a:gd name="connsiteY107" fmla="*/ 714816 h 3487140"/>
              <a:gd name="connsiteX108" fmla="*/ 4400685 w 8890157"/>
              <a:gd name="connsiteY108" fmla="*/ 723008 h 3487140"/>
              <a:gd name="connsiteX109" fmla="*/ 4603296 w 8890157"/>
              <a:gd name="connsiteY109" fmla="*/ 729288 h 3487140"/>
              <a:gd name="connsiteX110" fmla="*/ 4770018 w 8890157"/>
              <a:gd name="connsiteY110" fmla="*/ 682087 h 3487140"/>
              <a:gd name="connsiteX111" fmla="*/ 4887667 w 8890157"/>
              <a:gd name="connsiteY111" fmla="*/ 703463 h 3487140"/>
              <a:gd name="connsiteX112" fmla="*/ 4910332 w 8890157"/>
              <a:gd name="connsiteY112" fmla="*/ 797199 h 3487140"/>
              <a:gd name="connsiteX113" fmla="*/ 4782619 w 8890157"/>
              <a:gd name="connsiteY113" fmla="*/ 890936 h 3487140"/>
              <a:gd name="connsiteX114" fmla="*/ 4612736 w 8890157"/>
              <a:gd name="connsiteY114" fmla="*/ 918009 h 3487140"/>
              <a:gd name="connsiteX115" fmla="*/ 4485023 w 8890157"/>
              <a:gd name="connsiteY115" fmla="*/ 1002306 h 3487140"/>
              <a:gd name="connsiteX116" fmla="*/ 4384133 w 8890157"/>
              <a:gd name="connsiteY116" fmla="*/ 1299902 h 3487140"/>
              <a:gd name="connsiteX117" fmla="*/ 4445183 w 8890157"/>
              <a:gd name="connsiteY117" fmla="*/ 1545930 h 3487140"/>
              <a:gd name="connsiteX118" fmla="*/ 4657858 w 8890157"/>
              <a:gd name="connsiteY118" fmla="*/ 1536490 h 3487140"/>
              <a:gd name="connsiteX119" fmla="*/ 4837389 w 8890157"/>
              <a:gd name="connsiteY119" fmla="*/ 1376048 h 3487140"/>
              <a:gd name="connsiteX120" fmla="*/ 4840550 w 8890157"/>
              <a:gd name="connsiteY120" fmla="*/ 1231949 h 3487140"/>
              <a:gd name="connsiteX121" fmla="*/ 4622509 w 8890157"/>
              <a:gd name="connsiteY121" fmla="*/ 1191693 h 3487140"/>
              <a:gd name="connsiteX122" fmla="*/ 4630993 w 8890157"/>
              <a:gd name="connsiteY122" fmla="*/ 1255238 h 3487140"/>
              <a:gd name="connsiteX123" fmla="*/ 5056011 w 8890157"/>
              <a:gd name="connsiteY123" fmla="*/ 1241722 h 3487140"/>
              <a:gd name="connsiteX124" fmla="*/ 5540831 w 8890157"/>
              <a:gd name="connsiteY124" fmla="*/ 1259646 h 3487140"/>
              <a:gd name="connsiteX125" fmla="*/ 5770183 w 8890157"/>
              <a:gd name="connsiteY125" fmla="*/ 1236981 h 3487140"/>
              <a:gd name="connsiteX126" fmla="*/ 5751927 w 8890157"/>
              <a:gd name="connsiteY126" fmla="*/ 1185995 h 3487140"/>
              <a:gd name="connsiteX127" fmla="*/ 5391409 w 8890157"/>
              <a:gd name="connsiteY127" fmla="*/ 1177512 h 3487140"/>
              <a:gd name="connsiteX128" fmla="*/ 5020829 w 8890157"/>
              <a:gd name="connsiteY128" fmla="*/ 1331342 h 3487140"/>
              <a:gd name="connsiteX129" fmla="*/ 4675075 w 8890157"/>
              <a:gd name="connsiteY129" fmla="*/ 1604110 h 3487140"/>
              <a:gd name="connsiteX130" fmla="*/ 4442272 w 8890157"/>
              <a:gd name="connsiteY130" fmla="*/ 1921252 h 3487140"/>
              <a:gd name="connsiteX131" fmla="*/ 4346622 w 8890157"/>
              <a:gd name="connsiteY131" fmla="*/ 2419255 h 3487140"/>
              <a:gd name="connsiteX132" fmla="*/ 4576930 w 8890157"/>
              <a:gd name="connsiteY132" fmla="*/ 3048465 h 3487140"/>
              <a:gd name="connsiteX133" fmla="*/ 5155155 w 8890157"/>
              <a:gd name="connsiteY133" fmla="*/ 3394510 h 3487140"/>
              <a:gd name="connsiteX134" fmla="*/ 5793804 w 8890157"/>
              <a:gd name="connsiteY134" fmla="*/ 3330632 h 3487140"/>
              <a:gd name="connsiteX135" fmla="*/ 6288979 w 8890157"/>
              <a:gd name="connsiteY135" fmla="*/ 2841404 h 3487140"/>
              <a:gd name="connsiteX136" fmla="*/ 6322332 w 8890157"/>
              <a:gd name="connsiteY136" fmla="*/ 2052999 h 3487140"/>
              <a:gd name="connsiteX137" fmla="*/ 5891325 w 8890157"/>
              <a:gd name="connsiteY137" fmla="*/ 1482011 h 3487140"/>
              <a:gd name="connsiteX138" fmla="*/ 5424471 w 8890157"/>
              <a:gd name="connsiteY138" fmla="*/ 1352717 h 3487140"/>
              <a:gd name="connsiteX139" fmla="*/ 5264029 w 8890157"/>
              <a:gd name="connsiteY139" fmla="*/ 1466624 h 3487140"/>
              <a:gd name="connsiteX140" fmla="*/ 5286070 w 8890157"/>
              <a:gd name="connsiteY140" fmla="*/ 2001140 h 3487140"/>
              <a:gd name="connsiteX141" fmla="*/ 5320046 w 8890157"/>
              <a:gd name="connsiteY141" fmla="*/ 2313208 h 3487140"/>
              <a:gd name="connsiteX142" fmla="*/ 5411746 w 8890157"/>
              <a:gd name="connsiteY142" fmla="*/ 2399085 h 3487140"/>
              <a:gd name="connsiteX143" fmla="*/ 5516212 w 8890157"/>
              <a:gd name="connsiteY143" fmla="*/ 2362905 h 3487140"/>
              <a:gd name="connsiteX144" fmla="*/ 5480821 w 8890157"/>
              <a:gd name="connsiteY144" fmla="*/ 2271372 h 3487140"/>
              <a:gd name="connsiteX145" fmla="*/ 5383217 w 8890157"/>
              <a:gd name="connsiteY145" fmla="*/ 2303394 h 3487140"/>
              <a:gd name="connsiteX146" fmla="*/ 5366831 w 8890157"/>
              <a:gd name="connsiteY146" fmla="*/ 2437262 h 3487140"/>
              <a:gd name="connsiteX147" fmla="*/ 5365750 w 8890157"/>
              <a:gd name="connsiteY147" fmla="*/ 2519521 h 3487140"/>
              <a:gd name="connsiteX148" fmla="*/ 5186636 w 8890157"/>
              <a:gd name="connsiteY148" fmla="*/ 2539400 h 3487140"/>
              <a:gd name="connsiteX149" fmla="*/ 4776381 w 8890157"/>
              <a:gd name="connsiteY149" fmla="*/ 2545679 h 3487140"/>
              <a:gd name="connsiteX150" fmla="*/ 4536009 w 8890157"/>
              <a:gd name="connsiteY150" fmla="*/ 2602944 h 3487140"/>
              <a:gd name="connsiteX151" fmla="*/ 4526402 w 8890157"/>
              <a:gd name="connsiteY151" fmla="*/ 2790460 h 3487140"/>
              <a:gd name="connsiteX152" fmla="*/ 4719739 w 8890157"/>
              <a:gd name="connsiteY152" fmla="*/ 3133385 h 3487140"/>
              <a:gd name="connsiteX153" fmla="*/ 5211629 w 8890157"/>
              <a:gd name="connsiteY153" fmla="*/ 3465290 h 3487140"/>
              <a:gd name="connsiteX154" fmla="*/ 5952375 w 8890157"/>
              <a:gd name="connsiteY154" fmla="*/ 3390434 h 3487140"/>
              <a:gd name="connsiteX155" fmla="*/ 6392198 w 8890157"/>
              <a:gd name="connsiteY155" fmla="*/ 3017940 h 3487140"/>
              <a:gd name="connsiteX156" fmla="*/ 6706179 w 8890157"/>
              <a:gd name="connsiteY156" fmla="*/ 2655510 h 3487140"/>
              <a:gd name="connsiteX157" fmla="*/ 7078673 w 8890157"/>
              <a:gd name="connsiteY157" fmla="*/ 3163577 h 3487140"/>
              <a:gd name="connsiteX158" fmla="*/ 7302660 w 8890157"/>
              <a:gd name="connsiteY158" fmla="*/ 3255443 h 3487140"/>
              <a:gd name="connsiteX159" fmla="*/ 7380677 w 8890157"/>
              <a:gd name="connsiteY159" fmla="*/ 2786675 h 3487140"/>
              <a:gd name="connsiteX160" fmla="*/ 7690250 w 8890157"/>
              <a:gd name="connsiteY160" fmla="*/ 2869724 h 3487140"/>
              <a:gd name="connsiteX161" fmla="*/ 7929042 w 8890157"/>
              <a:gd name="connsiteY161" fmla="*/ 3245046 h 3487140"/>
              <a:gd name="connsiteX162" fmla="*/ 8301535 w 8890157"/>
              <a:gd name="connsiteY162" fmla="*/ 3329676 h 3487140"/>
              <a:gd name="connsiteX163" fmla="*/ 8890157 w 8890157"/>
              <a:gd name="connsiteY163" fmla="*/ 3217682 h 3487140"/>
              <a:gd name="connsiteX0" fmla="*/ 0 w 8633690"/>
              <a:gd name="connsiteY0" fmla="*/ 2898295 h 3487140"/>
              <a:gd name="connsiteX1" fmla="*/ 229351 w 8633690"/>
              <a:gd name="connsiteY1" fmla="*/ 3416675 h 3487140"/>
              <a:gd name="connsiteX2" fmla="*/ 389170 w 8633690"/>
              <a:gd name="connsiteY2" fmla="*/ 3205871 h 3487140"/>
              <a:gd name="connsiteX3" fmla="*/ 648423 w 8633690"/>
              <a:gd name="connsiteY3" fmla="*/ 2696848 h 3487140"/>
              <a:gd name="connsiteX4" fmla="*/ 922771 w 8633690"/>
              <a:gd name="connsiteY4" fmla="*/ 2954187 h 3487140"/>
              <a:gd name="connsiteX5" fmla="*/ 1270105 w 8633690"/>
              <a:gd name="connsiteY5" fmla="*/ 3339906 h 3487140"/>
              <a:gd name="connsiteX6" fmla="*/ 1728227 w 8633690"/>
              <a:gd name="connsiteY6" fmla="*/ 3385485 h 3487140"/>
              <a:gd name="connsiteX7" fmla="*/ 1806909 w 8633690"/>
              <a:gd name="connsiteY7" fmla="*/ 3295741 h 3487140"/>
              <a:gd name="connsiteX8" fmla="*/ 1555807 w 8633690"/>
              <a:gd name="connsiteY8" fmla="*/ 3112384 h 3487140"/>
              <a:gd name="connsiteX9" fmla="*/ 1249644 w 8633690"/>
              <a:gd name="connsiteY9" fmla="*/ 2750287 h 3487140"/>
              <a:gd name="connsiteX10" fmla="*/ 1158112 w 8633690"/>
              <a:gd name="connsiteY10" fmla="*/ 2305432 h 3487140"/>
              <a:gd name="connsiteX11" fmla="*/ 1285700 w 8633690"/>
              <a:gd name="connsiteY11" fmla="*/ 1919713 h 3487140"/>
              <a:gd name="connsiteX12" fmla="*/ 1609912 w 8633690"/>
              <a:gd name="connsiteY12" fmla="*/ 1637837 h 3487140"/>
              <a:gd name="connsiteX13" fmla="*/ 2103216 w 8633690"/>
              <a:gd name="connsiteY13" fmla="*/ 1545972 h 3487140"/>
              <a:gd name="connsiteX14" fmla="*/ 2337891 w 8633690"/>
              <a:gd name="connsiteY14" fmla="*/ 1517651 h 3487140"/>
              <a:gd name="connsiteX15" fmla="*/ 2322628 w 8633690"/>
              <a:gd name="connsiteY15" fmla="*/ 1460718 h 3487140"/>
              <a:gd name="connsiteX16" fmla="*/ 2046574 w 8633690"/>
              <a:gd name="connsiteY16" fmla="*/ 1416969 h 3487140"/>
              <a:gd name="connsiteX17" fmla="*/ 1527154 w 8633690"/>
              <a:gd name="connsiteY17" fmla="*/ 1517318 h 3487140"/>
              <a:gd name="connsiteX18" fmla="*/ 1117856 w 8633690"/>
              <a:gd name="connsiteY18" fmla="*/ 1960593 h 3487140"/>
              <a:gd name="connsiteX19" fmla="*/ 1058386 w 8633690"/>
              <a:gd name="connsiteY19" fmla="*/ 2569342 h 3487140"/>
              <a:gd name="connsiteX20" fmla="*/ 1472093 w 8633690"/>
              <a:gd name="connsiteY20" fmla="*/ 3165532 h 3487140"/>
              <a:gd name="connsiteX21" fmla="*/ 2262078 w 8633690"/>
              <a:gd name="connsiteY21" fmla="*/ 3283181 h 3487140"/>
              <a:gd name="connsiteX22" fmla="*/ 2864714 w 8633690"/>
              <a:gd name="connsiteY22" fmla="*/ 2757481 h 3487140"/>
              <a:gd name="connsiteX23" fmla="*/ 2854483 w 8633690"/>
              <a:gd name="connsiteY23" fmla="*/ 1980430 h 3487140"/>
              <a:gd name="connsiteX24" fmla="*/ 2524449 w 8633690"/>
              <a:gd name="connsiteY24" fmla="*/ 1589139 h 3487140"/>
              <a:gd name="connsiteX25" fmla="*/ 2335395 w 8633690"/>
              <a:gd name="connsiteY25" fmla="*/ 1660710 h 3487140"/>
              <a:gd name="connsiteX26" fmla="*/ 2226978 w 8633690"/>
              <a:gd name="connsiteY26" fmla="*/ 2116627 h 3487140"/>
              <a:gd name="connsiteX27" fmla="*/ 2003615 w 8633690"/>
              <a:gd name="connsiteY27" fmla="*/ 2374258 h 3487140"/>
              <a:gd name="connsiteX28" fmla="*/ 1948679 w 8633690"/>
              <a:gd name="connsiteY28" fmla="*/ 2276986 h 3487140"/>
              <a:gd name="connsiteX29" fmla="*/ 2327951 w 8633690"/>
              <a:gd name="connsiteY29" fmla="*/ 2021601 h 3487140"/>
              <a:gd name="connsiteX30" fmla="*/ 2587870 w 8633690"/>
              <a:gd name="connsiteY30" fmla="*/ 1234153 h 3487140"/>
              <a:gd name="connsiteX31" fmla="*/ 2817970 w 8633690"/>
              <a:gd name="connsiteY31" fmla="*/ 725296 h 3487140"/>
              <a:gd name="connsiteX32" fmla="*/ 2926553 w 8633690"/>
              <a:gd name="connsiteY32" fmla="*/ 539984 h 3487140"/>
              <a:gd name="connsiteX33" fmla="*/ 2895405 w 8633690"/>
              <a:gd name="connsiteY33" fmla="*/ 435851 h 3487140"/>
              <a:gd name="connsiteX34" fmla="*/ 2789067 w 8633690"/>
              <a:gd name="connsiteY34" fmla="*/ 350265 h 3487140"/>
              <a:gd name="connsiteX35" fmla="*/ 2743779 w 8633690"/>
              <a:gd name="connsiteY35" fmla="*/ 209327 h 3487140"/>
              <a:gd name="connsiteX36" fmla="*/ 2788609 w 8633690"/>
              <a:gd name="connsiteY36" fmla="*/ 82237 h 3487140"/>
              <a:gd name="connsiteX37" fmla="*/ 2968889 w 8633690"/>
              <a:gd name="connsiteY37" fmla="*/ 6716 h 3487140"/>
              <a:gd name="connsiteX38" fmla="*/ 3237582 w 8633690"/>
              <a:gd name="connsiteY38" fmla="*/ 10167 h 3487140"/>
              <a:gd name="connsiteX39" fmla="*/ 3321255 w 8633690"/>
              <a:gd name="connsiteY39" fmla="*/ 49800 h 3487140"/>
              <a:gd name="connsiteX40" fmla="*/ 3274220 w 8633690"/>
              <a:gd name="connsiteY40" fmla="*/ 86812 h 3487140"/>
              <a:gd name="connsiteX41" fmla="*/ 3038297 w 8633690"/>
              <a:gd name="connsiteY41" fmla="*/ 91886 h 3487140"/>
              <a:gd name="connsiteX42" fmla="*/ 2794764 w 8633690"/>
              <a:gd name="connsiteY42" fmla="*/ 75833 h 3487140"/>
              <a:gd name="connsiteX43" fmla="*/ 2687013 w 8633690"/>
              <a:gd name="connsiteY43" fmla="*/ 176931 h 3487140"/>
              <a:gd name="connsiteX44" fmla="*/ 2702275 w 8633690"/>
              <a:gd name="connsiteY44" fmla="*/ 370393 h 3487140"/>
              <a:gd name="connsiteX45" fmla="*/ 2647048 w 8633690"/>
              <a:gd name="connsiteY45" fmla="*/ 589348 h 3487140"/>
              <a:gd name="connsiteX46" fmla="*/ 2490514 w 8633690"/>
              <a:gd name="connsiteY46" fmla="*/ 903953 h 3487140"/>
              <a:gd name="connsiteX47" fmla="*/ 2280043 w 8633690"/>
              <a:gd name="connsiteY47" fmla="*/ 922501 h 3487140"/>
              <a:gd name="connsiteX48" fmla="*/ 2085624 w 8633690"/>
              <a:gd name="connsiteY48" fmla="*/ 866816 h 3487140"/>
              <a:gd name="connsiteX49" fmla="*/ 2026779 w 8633690"/>
              <a:gd name="connsiteY49" fmla="*/ 751038 h 3487140"/>
              <a:gd name="connsiteX50" fmla="*/ 2038715 w 8633690"/>
              <a:gd name="connsiteY50" fmla="*/ 369436 h 3487140"/>
              <a:gd name="connsiteX51" fmla="*/ 2100388 w 8633690"/>
              <a:gd name="connsiteY51" fmla="*/ 155805 h 3487140"/>
              <a:gd name="connsiteX52" fmla="*/ 2301752 w 8633690"/>
              <a:gd name="connsiteY52" fmla="*/ 156761 h 3487140"/>
              <a:gd name="connsiteX53" fmla="*/ 2554683 w 8633690"/>
              <a:gd name="connsiteY53" fmla="*/ 245175 h 3487140"/>
              <a:gd name="connsiteX54" fmla="*/ 2723775 w 8633690"/>
              <a:gd name="connsiteY54" fmla="*/ 357792 h 3487140"/>
              <a:gd name="connsiteX55" fmla="*/ 2828366 w 8633690"/>
              <a:gd name="connsiteY55" fmla="*/ 483301 h 3487140"/>
              <a:gd name="connsiteX56" fmla="*/ 2852570 w 8633690"/>
              <a:gd name="connsiteY56" fmla="*/ 600951 h 3487140"/>
              <a:gd name="connsiteX57" fmla="*/ 2825039 w 8633690"/>
              <a:gd name="connsiteY57" fmla="*/ 761726 h 3487140"/>
              <a:gd name="connsiteX58" fmla="*/ 2996960 w 8633690"/>
              <a:gd name="connsiteY58" fmla="*/ 1160004 h 3487140"/>
              <a:gd name="connsiteX59" fmla="*/ 3419940 w 8633690"/>
              <a:gd name="connsiteY59" fmla="*/ 1793622 h 3487140"/>
              <a:gd name="connsiteX60" fmla="*/ 3837431 w 8633690"/>
              <a:gd name="connsiteY60" fmla="*/ 2087475 h 3487140"/>
              <a:gd name="connsiteX61" fmla="*/ 3947054 w 8633690"/>
              <a:gd name="connsiteY61" fmla="*/ 2185620 h 3487140"/>
              <a:gd name="connsiteX62" fmla="*/ 3834105 w 8633690"/>
              <a:gd name="connsiteY62" fmla="*/ 2468120 h 3487140"/>
              <a:gd name="connsiteX63" fmla="*/ 3668006 w 8633690"/>
              <a:gd name="connsiteY63" fmla="*/ 2505548 h 3487140"/>
              <a:gd name="connsiteX64" fmla="*/ 3359556 w 8633690"/>
              <a:gd name="connsiteY64" fmla="*/ 2278109 h 3487140"/>
              <a:gd name="connsiteX65" fmla="*/ 2914867 w 8633690"/>
              <a:gd name="connsiteY65" fmla="*/ 1678800 h 3487140"/>
              <a:gd name="connsiteX66" fmla="*/ 2795014 w 8633690"/>
              <a:gd name="connsiteY66" fmla="*/ 1175432 h 3487140"/>
              <a:gd name="connsiteX67" fmla="*/ 2949468 w 8633690"/>
              <a:gd name="connsiteY67" fmla="*/ 1377420 h 3487140"/>
              <a:gd name="connsiteX68" fmla="*/ 3311108 w 8633690"/>
              <a:gd name="connsiteY68" fmla="*/ 2268710 h 3487140"/>
              <a:gd name="connsiteX69" fmla="*/ 3630910 w 8633690"/>
              <a:gd name="connsiteY69" fmla="*/ 2693105 h 3487140"/>
              <a:gd name="connsiteX70" fmla="*/ 3864338 w 8633690"/>
              <a:gd name="connsiteY70" fmla="*/ 2746586 h 3487140"/>
              <a:gd name="connsiteX71" fmla="*/ 4031559 w 8633690"/>
              <a:gd name="connsiteY71" fmla="*/ 2631432 h 3487140"/>
              <a:gd name="connsiteX72" fmla="*/ 4042746 w 8633690"/>
              <a:gd name="connsiteY72" fmla="*/ 2436680 h 3487140"/>
              <a:gd name="connsiteX73" fmla="*/ 3888916 w 8633690"/>
              <a:gd name="connsiteY73" fmla="*/ 2309258 h 3487140"/>
              <a:gd name="connsiteX74" fmla="*/ 3681730 w 8633690"/>
              <a:gd name="connsiteY74" fmla="*/ 2375007 h 3487140"/>
              <a:gd name="connsiteX75" fmla="*/ 3659231 w 8633690"/>
              <a:gd name="connsiteY75" fmla="*/ 2581402 h 3487140"/>
              <a:gd name="connsiteX76" fmla="*/ 3801916 w 8633690"/>
              <a:gd name="connsiteY76" fmla="*/ 2671064 h 3487140"/>
              <a:gd name="connsiteX77" fmla="*/ 3898481 w 8633690"/>
              <a:gd name="connsiteY77" fmla="*/ 2596831 h 3487140"/>
              <a:gd name="connsiteX78" fmla="*/ 3865295 w 8633690"/>
              <a:gd name="connsiteY78" fmla="*/ 2530750 h 3487140"/>
              <a:gd name="connsiteX79" fmla="*/ 3743237 w 8633690"/>
              <a:gd name="connsiteY79" fmla="*/ 2615379 h 3487140"/>
              <a:gd name="connsiteX80" fmla="*/ 3597558 w 8633690"/>
              <a:gd name="connsiteY80" fmla="*/ 2907028 h 3487140"/>
              <a:gd name="connsiteX81" fmla="*/ 3549733 w 8633690"/>
              <a:gd name="connsiteY81" fmla="*/ 3008333 h 3487140"/>
              <a:gd name="connsiteX82" fmla="*/ 3513885 w 8633690"/>
              <a:gd name="connsiteY82" fmla="*/ 3024053 h 3487140"/>
              <a:gd name="connsiteX83" fmla="*/ 3418859 w 8633690"/>
              <a:gd name="connsiteY83" fmla="*/ 3013989 h 3487140"/>
              <a:gd name="connsiteX84" fmla="*/ 3425762 w 8633690"/>
              <a:gd name="connsiteY84" fmla="*/ 2956724 h 3487140"/>
              <a:gd name="connsiteX85" fmla="*/ 3614525 w 8633690"/>
              <a:gd name="connsiteY85" fmla="*/ 2951068 h 3487140"/>
              <a:gd name="connsiteX86" fmla="*/ 3700735 w 8633690"/>
              <a:gd name="connsiteY86" fmla="*/ 2951068 h 3487140"/>
              <a:gd name="connsiteX87" fmla="*/ 3781913 w 8633690"/>
              <a:gd name="connsiteY87" fmla="*/ 2822066 h 3487140"/>
              <a:gd name="connsiteX88" fmla="*/ 3922227 w 8633690"/>
              <a:gd name="connsiteY88" fmla="*/ 2789337 h 3487140"/>
              <a:gd name="connsiteX89" fmla="*/ 4049940 w 8633690"/>
              <a:gd name="connsiteY89" fmla="*/ 2713815 h 3487140"/>
              <a:gd name="connsiteX90" fmla="*/ 4136150 w 8633690"/>
              <a:gd name="connsiteY90" fmla="*/ 2544556 h 3487140"/>
              <a:gd name="connsiteX91" fmla="*/ 4355729 w 8633690"/>
              <a:gd name="connsiteY91" fmla="*/ 2482883 h 3487140"/>
              <a:gd name="connsiteX92" fmla="*/ 4890703 w 8633690"/>
              <a:gd name="connsiteY92" fmla="*/ 2466831 h 3487140"/>
              <a:gd name="connsiteX93" fmla="*/ 5046445 w 8633690"/>
              <a:gd name="connsiteY93" fmla="*/ 2420918 h 3487140"/>
              <a:gd name="connsiteX94" fmla="*/ 4896358 w 8633690"/>
              <a:gd name="connsiteY94" fmla="*/ 2252907 h 3487140"/>
              <a:gd name="connsiteX95" fmla="*/ 4420979 w 8633690"/>
              <a:gd name="connsiteY95" fmla="*/ 1791709 h 3487140"/>
              <a:gd name="connsiteX96" fmla="*/ 4156860 w 8633690"/>
              <a:gd name="connsiteY96" fmla="*/ 1600118 h 3487140"/>
              <a:gd name="connsiteX97" fmla="*/ 4032890 w 8633690"/>
              <a:gd name="connsiteY97" fmla="*/ 1733529 h 3487140"/>
              <a:gd name="connsiteX98" fmla="*/ 3970592 w 8633690"/>
              <a:gd name="connsiteY98" fmla="*/ 1995900 h 3487140"/>
              <a:gd name="connsiteX99" fmla="*/ 4011472 w 8633690"/>
              <a:gd name="connsiteY99" fmla="*/ 2048133 h 3487140"/>
              <a:gd name="connsiteX100" fmla="*/ 4074393 w 8633690"/>
              <a:gd name="connsiteY100" fmla="*/ 1778817 h 3487140"/>
              <a:gd name="connsiteX101" fmla="*/ 4196160 w 8633690"/>
              <a:gd name="connsiteY101" fmla="*/ 1356918 h 3487140"/>
              <a:gd name="connsiteX102" fmla="*/ 4302497 w 8633690"/>
              <a:gd name="connsiteY102" fmla="*/ 986960 h 3487140"/>
              <a:gd name="connsiteX103" fmla="*/ 4273220 w 8633690"/>
              <a:gd name="connsiteY103" fmla="*/ 867107 h 3487140"/>
              <a:gd name="connsiteX104" fmla="*/ 4098306 w 8633690"/>
              <a:gd name="connsiteY104" fmla="*/ 840034 h 3487140"/>
              <a:gd name="connsiteX105" fmla="*/ 3954207 w 8633690"/>
              <a:gd name="connsiteY105" fmla="*/ 782769 h 3487140"/>
              <a:gd name="connsiteX106" fmla="*/ 3970551 w 8633690"/>
              <a:gd name="connsiteY106" fmla="*/ 714816 h 3487140"/>
              <a:gd name="connsiteX107" fmla="*/ 4144218 w 8633690"/>
              <a:gd name="connsiteY107" fmla="*/ 723008 h 3487140"/>
              <a:gd name="connsiteX108" fmla="*/ 4346829 w 8633690"/>
              <a:gd name="connsiteY108" fmla="*/ 729288 h 3487140"/>
              <a:gd name="connsiteX109" fmla="*/ 4513551 w 8633690"/>
              <a:gd name="connsiteY109" fmla="*/ 682087 h 3487140"/>
              <a:gd name="connsiteX110" fmla="*/ 4631200 w 8633690"/>
              <a:gd name="connsiteY110" fmla="*/ 703463 h 3487140"/>
              <a:gd name="connsiteX111" fmla="*/ 4653865 w 8633690"/>
              <a:gd name="connsiteY111" fmla="*/ 797199 h 3487140"/>
              <a:gd name="connsiteX112" fmla="*/ 4526152 w 8633690"/>
              <a:gd name="connsiteY112" fmla="*/ 890936 h 3487140"/>
              <a:gd name="connsiteX113" fmla="*/ 4356269 w 8633690"/>
              <a:gd name="connsiteY113" fmla="*/ 918009 h 3487140"/>
              <a:gd name="connsiteX114" fmla="*/ 4228556 w 8633690"/>
              <a:gd name="connsiteY114" fmla="*/ 1002306 h 3487140"/>
              <a:gd name="connsiteX115" fmla="*/ 4127666 w 8633690"/>
              <a:gd name="connsiteY115" fmla="*/ 1299902 h 3487140"/>
              <a:gd name="connsiteX116" fmla="*/ 4188716 w 8633690"/>
              <a:gd name="connsiteY116" fmla="*/ 1545930 h 3487140"/>
              <a:gd name="connsiteX117" fmla="*/ 4401391 w 8633690"/>
              <a:gd name="connsiteY117" fmla="*/ 1536490 h 3487140"/>
              <a:gd name="connsiteX118" fmla="*/ 4580922 w 8633690"/>
              <a:gd name="connsiteY118" fmla="*/ 1376048 h 3487140"/>
              <a:gd name="connsiteX119" fmla="*/ 4584083 w 8633690"/>
              <a:gd name="connsiteY119" fmla="*/ 1231949 h 3487140"/>
              <a:gd name="connsiteX120" fmla="*/ 4366042 w 8633690"/>
              <a:gd name="connsiteY120" fmla="*/ 1191693 h 3487140"/>
              <a:gd name="connsiteX121" fmla="*/ 4374526 w 8633690"/>
              <a:gd name="connsiteY121" fmla="*/ 1255238 h 3487140"/>
              <a:gd name="connsiteX122" fmla="*/ 4799544 w 8633690"/>
              <a:gd name="connsiteY122" fmla="*/ 1241722 h 3487140"/>
              <a:gd name="connsiteX123" fmla="*/ 5284364 w 8633690"/>
              <a:gd name="connsiteY123" fmla="*/ 1259646 h 3487140"/>
              <a:gd name="connsiteX124" fmla="*/ 5513716 w 8633690"/>
              <a:gd name="connsiteY124" fmla="*/ 1236981 h 3487140"/>
              <a:gd name="connsiteX125" fmla="*/ 5495460 w 8633690"/>
              <a:gd name="connsiteY125" fmla="*/ 1185995 h 3487140"/>
              <a:gd name="connsiteX126" fmla="*/ 5134942 w 8633690"/>
              <a:gd name="connsiteY126" fmla="*/ 1177512 h 3487140"/>
              <a:gd name="connsiteX127" fmla="*/ 4764362 w 8633690"/>
              <a:gd name="connsiteY127" fmla="*/ 1331342 h 3487140"/>
              <a:gd name="connsiteX128" fmla="*/ 4418608 w 8633690"/>
              <a:gd name="connsiteY128" fmla="*/ 1604110 h 3487140"/>
              <a:gd name="connsiteX129" fmla="*/ 4185805 w 8633690"/>
              <a:gd name="connsiteY129" fmla="*/ 1921252 h 3487140"/>
              <a:gd name="connsiteX130" fmla="*/ 4090155 w 8633690"/>
              <a:gd name="connsiteY130" fmla="*/ 2419255 h 3487140"/>
              <a:gd name="connsiteX131" fmla="*/ 4320463 w 8633690"/>
              <a:gd name="connsiteY131" fmla="*/ 3048465 h 3487140"/>
              <a:gd name="connsiteX132" fmla="*/ 4898688 w 8633690"/>
              <a:gd name="connsiteY132" fmla="*/ 3394510 h 3487140"/>
              <a:gd name="connsiteX133" fmla="*/ 5537337 w 8633690"/>
              <a:gd name="connsiteY133" fmla="*/ 3330632 h 3487140"/>
              <a:gd name="connsiteX134" fmla="*/ 6032512 w 8633690"/>
              <a:gd name="connsiteY134" fmla="*/ 2841404 h 3487140"/>
              <a:gd name="connsiteX135" fmla="*/ 6065865 w 8633690"/>
              <a:gd name="connsiteY135" fmla="*/ 2052999 h 3487140"/>
              <a:gd name="connsiteX136" fmla="*/ 5634858 w 8633690"/>
              <a:gd name="connsiteY136" fmla="*/ 1482011 h 3487140"/>
              <a:gd name="connsiteX137" fmla="*/ 5168004 w 8633690"/>
              <a:gd name="connsiteY137" fmla="*/ 1352717 h 3487140"/>
              <a:gd name="connsiteX138" fmla="*/ 5007562 w 8633690"/>
              <a:gd name="connsiteY138" fmla="*/ 1466624 h 3487140"/>
              <a:gd name="connsiteX139" fmla="*/ 5029603 w 8633690"/>
              <a:gd name="connsiteY139" fmla="*/ 2001140 h 3487140"/>
              <a:gd name="connsiteX140" fmla="*/ 5063579 w 8633690"/>
              <a:gd name="connsiteY140" fmla="*/ 2313208 h 3487140"/>
              <a:gd name="connsiteX141" fmla="*/ 5155279 w 8633690"/>
              <a:gd name="connsiteY141" fmla="*/ 2399085 h 3487140"/>
              <a:gd name="connsiteX142" fmla="*/ 5259745 w 8633690"/>
              <a:gd name="connsiteY142" fmla="*/ 2362905 h 3487140"/>
              <a:gd name="connsiteX143" fmla="*/ 5224354 w 8633690"/>
              <a:gd name="connsiteY143" fmla="*/ 2271372 h 3487140"/>
              <a:gd name="connsiteX144" fmla="*/ 5126750 w 8633690"/>
              <a:gd name="connsiteY144" fmla="*/ 2303394 h 3487140"/>
              <a:gd name="connsiteX145" fmla="*/ 5110364 w 8633690"/>
              <a:gd name="connsiteY145" fmla="*/ 2437262 h 3487140"/>
              <a:gd name="connsiteX146" fmla="*/ 5109283 w 8633690"/>
              <a:gd name="connsiteY146" fmla="*/ 2519521 h 3487140"/>
              <a:gd name="connsiteX147" fmla="*/ 4930169 w 8633690"/>
              <a:gd name="connsiteY147" fmla="*/ 2539400 h 3487140"/>
              <a:gd name="connsiteX148" fmla="*/ 4519914 w 8633690"/>
              <a:gd name="connsiteY148" fmla="*/ 2545679 h 3487140"/>
              <a:gd name="connsiteX149" fmla="*/ 4279542 w 8633690"/>
              <a:gd name="connsiteY149" fmla="*/ 2602944 h 3487140"/>
              <a:gd name="connsiteX150" fmla="*/ 4269935 w 8633690"/>
              <a:gd name="connsiteY150" fmla="*/ 2790460 h 3487140"/>
              <a:gd name="connsiteX151" fmla="*/ 4463272 w 8633690"/>
              <a:gd name="connsiteY151" fmla="*/ 3133385 h 3487140"/>
              <a:gd name="connsiteX152" fmla="*/ 4955162 w 8633690"/>
              <a:gd name="connsiteY152" fmla="*/ 3465290 h 3487140"/>
              <a:gd name="connsiteX153" fmla="*/ 5695908 w 8633690"/>
              <a:gd name="connsiteY153" fmla="*/ 3390434 h 3487140"/>
              <a:gd name="connsiteX154" fmla="*/ 6135731 w 8633690"/>
              <a:gd name="connsiteY154" fmla="*/ 3017940 h 3487140"/>
              <a:gd name="connsiteX155" fmla="*/ 6449712 w 8633690"/>
              <a:gd name="connsiteY155" fmla="*/ 2655510 h 3487140"/>
              <a:gd name="connsiteX156" fmla="*/ 6822206 w 8633690"/>
              <a:gd name="connsiteY156" fmla="*/ 3163577 h 3487140"/>
              <a:gd name="connsiteX157" fmla="*/ 7046193 w 8633690"/>
              <a:gd name="connsiteY157" fmla="*/ 3255443 h 3487140"/>
              <a:gd name="connsiteX158" fmla="*/ 7124210 w 8633690"/>
              <a:gd name="connsiteY158" fmla="*/ 2786675 h 3487140"/>
              <a:gd name="connsiteX159" fmla="*/ 7433783 w 8633690"/>
              <a:gd name="connsiteY159" fmla="*/ 2869724 h 3487140"/>
              <a:gd name="connsiteX160" fmla="*/ 7672575 w 8633690"/>
              <a:gd name="connsiteY160" fmla="*/ 3245046 h 3487140"/>
              <a:gd name="connsiteX161" fmla="*/ 8045068 w 8633690"/>
              <a:gd name="connsiteY161" fmla="*/ 3329676 h 3487140"/>
              <a:gd name="connsiteX162" fmla="*/ 8633690 w 8633690"/>
              <a:gd name="connsiteY162" fmla="*/ 3217682 h 3487140"/>
              <a:gd name="connsiteX0" fmla="*/ 0 w 8404339"/>
              <a:gd name="connsiteY0" fmla="*/ 3416675 h 3487140"/>
              <a:gd name="connsiteX1" fmla="*/ 159819 w 8404339"/>
              <a:gd name="connsiteY1" fmla="*/ 3205871 h 3487140"/>
              <a:gd name="connsiteX2" fmla="*/ 419072 w 8404339"/>
              <a:gd name="connsiteY2" fmla="*/ 2696848 h 3487140"/>
              <a:gd name="connsiteX3" fmla="*/ 693420 w 8404339"/>
              <a:gd name="connsiteY3" fmla="*/ 2954187 h 3487140"/>
              <a:gd name="connsiteX4" fmla="*/ 1040754 w 8404339"/>
              <a:gd name="connsiteY4" fmla="*/ 3339906 h 3487140"/>
              <a:gd name="connsiteX5" fmla="*/ 1498876 w 8404339"/>
              <a:gd name="connsiteY5" fmla="*/ 3385485 h 3487140"/>
              <a:gd name="connsiteX6" fmla="*/ 1577558 w 8404339"/>
              <a:gd name="connsiteY6" fmla="*/ 3295741 h 3487140"/>
              <a:gd name="connsiteX7" fmla="*/ 1326456 w 8404339"/>
              <a:gd name="connsiteY7" fmla="*/ 3112384 h 3487140"/>
              <a:gd name="connsiteX8" fmla="*/ 1020293 w 8404339"/>
              <a:gd name="connsiteY8" fmla="*/ 2750287 h 3487140"/>
              <a:gd name="connsiteX9" fmla="*/ 928761 w 8404339"/>
              <a:gd name="connsiteY9" fmla="*/ 2305432 h 3487140"/>
              <a:gd name="connsiteX10" fmla="*/ 1056349 w 8404339"/>
              <a:gd name="connsiteY10" fmla="*/ 1919713 h 3487140"/>
              <a:gd name="connsiteX11" fmla="*/ 1380561 w 8404339"/>
              <a:gd name="connsiteY11" fmla="*/ 1637837 h 3487140"/>
              <a:gd name="connsiteX12" fmla="*/ 1873865 w 8404339"/>
              <a:gd name="connsiteY12" fmla="*/ 1545972 h 3487140"/>
              <a:gd name="connsiteX13" fmla="*/ 2108540 w 8404339"/>
              <a:gd name="connsiteY13" fmla="*/ 1517651 h 3487140"/>
              <a:gd name="connsiteX14" fmla="*/ 2093277 w 8404339"/>
              <a:gd name="connsiteY14" fmla="*/ 1460718 h 3487140"/>
              <a:gd name="connsiteX15" fmla="*/ 1817223 w 8404339"/>
              <a:gd name="connsiteY15" fmla="*/ 1416969 h 3487140"/>
              <a:gd name="connsiteX16" fmla="*/ 1297803 w 8404339"/>
              <a:gd name="connsiteY16" fmla="*/ 1517318 h 3487140"/>
              <a:gd name="connsiteX17" fmla="*/ 888505 w 8404339"/>
              <a:gd name="connsiteY17" fmla="*/ 1960593 h 3487140"/>
              <a:gd name="connsiteX18" fmla="*/ 829035 w 8404339"/>
              <a:gd name="connsiteY18" fmla="*/ 2569342 h 3487140"/>
              <a:gd name="connsiteX19" fmla="*/ 1242742 w 8404339"/>
              <a:gd name="connsiteY19" fmla="*/ 3165532 h 3487140"/>
              <a:gd name="connsiteX20" fmla="*/ 2032727 w 8404339"/>
              <a:gd name="connsiteY20" fmla="*/ 3283181 h 3487140"/>
              <a:gd name="connsiteX21" fmla="*/ 2635363 w 8404339"/>
              <a:gd name="connsiteY21" fmla="*/ 2757481 h 3487140"/>
              <a:gd name="connsiteX22" fmla="*/ 2625132 w 8404339"/>
              <a:gd name="connsiteY22" fmla="*/ 1980430 h 3487140"/>
              <a:gd name="connsiteX23" fmla="*/ 2295098 w 8404339"/>
              <a:gd name="connsiteY23" fmla="*/ 1589139 h 3487140"/>
              <a:gd name="connsiteX24" fmla="*/ 2106044 w 8404339"/>
              <a:gd name="connsiteY24" fmla="*/ 1660710 h 3487140"/>
              <a:gd name="connsiteX25" fmla="*/ 1997627 w 8404339"/>
              <a:gd name="connsiteY25" fmla="*/ 2116627 h 3487140"/>
              <a:gd name="connsiteX26" fmla="*/ 1774264 w 8404339"/>
              <a:gd name="connsiteY26" fmla="*/ 2374258 h 3487140"/>
              <a:gd name="connsiteX27" fmla="*/ 1719328 w 8404339"/>
              <a:gd name="connsiteY27" fmla="*/ 2276986 h 3487140"/>
              <a:gd name="connsiteX28" fmla="*/ 2098600 w 8404339"/>
              <a:gd name="connsiteY28" fmla="*/ 2021601 h 3487140"/>
              <a:gd name="connsiteX29" fmla="*/ 2358519 w 8404339"/>
              <a:gd name="connsiteY29" fmla="*/ 1234153 h 3487140"/>
              <a:gd name="connsiteX30" fmla="*/ 2588619 w 8404339"/>
              <a:gd name="connsiteY30" fmla="*/ 725296 h 3487140"/>
              <a:gd name="connsiteX31" fmla="*/ 2697202 w 8404339"/>
              <a:gd name="connsiteY31" fmla="*/ 539984 h 3487140"/>
              <a:gd name="connsiteX32" fmla="*/ 2666054 w 8404339"/>
              <a:gd name="connsiteY32" fmla="*/ 435851 h 3487140"/>
              <a:gd name="connsiteX33" fmla="*/ 2559716 w 8404339"/>
              <a:gd name="connsiteY33" fmla="*/ 350265 h 3487140"/>
              <a:gd name="connsiteX34" fmla="*/ 2514428 w 8404339"/>
              <a:gd name="connsiteY34" fmla="*/ 209327 h 3487140"/>
              <a:gd name="connsiteX35" fmla="*/ 2559258 w 8404339"/>
              <a:gd name="connsiteY35" fmla="*/ 82237 h 3487140"/>
              <a:gd name="connsiteX36" fmla="*/ 2739538 w 8404339"/>
              <a:gd name="connsiteY36" fmla="*/ 6716 h 3487140"/>
              <a:gd name="connsiteX37" fmla="*/ 3008231 w 8404339"/>
              <a:gd name="connsiteY37" fmla="*/ 10167 h 3487140"/>
              <a:gd name="connsiteX38" fmla="*/ 3091904 w 8404339"/>
              <a:gd name="connsiteY38" fmla="*/ 49800 h 3487140"/>
              <a:gd name="connsiteX39" fmla="*/ 3044869 w 8404339"/>
              <a:gd name="connsiteY39" fmla="*/ 86812 h 3487140"/>
              <a:gd name="connsiteX40" fmla="*/ 2808946 w 8404339"/>
              <a:gd name="connsiteY40" fmla="*/ 91886 h 3487140"/>
              <a:gd name="connsiteX41" fmla="*/ 2565413 w 8404339"/>
              <a:gd name="connsiteY41" fmla="*/ 75833 h 3487140"/>
              <a:gd name="connsiteX42" fmla="*/ 2457662 w 8404339"/>
              <a:gd name="connsiteY42" fmla="*/ 176931 h 3487140"/>
              <a:gd name="connsiteX43" fmla="*/ 2472924 w 8404339"/>
              <a:gd name="connsiteY43" fmla="*/ 370393 h 3487140"/>
              <a:gd name="connsiteX44" fmla="*/ 2417697 w 8404339"/>
              <a:gd name="connsiteY44" fmla="*/ 589348 h 3487140"/>
              <a:gd name="connsiteX45" fmla="*/ 2261163 w 8404339"/>
              <a:gd name="connsiteY45" fmla="*/ 903953 h 3487140"/>
              <a:gd name="connsiteX46" fmla="*/ 2050692 w 8404339"/>
              <a:gd name="connsiteY46" fmla="*/ 922501 h 3487140"/>
              <a:gd name="connsiteX47" fmla="*/ 1856273 w 8404339"/>
              <a:gd name="connsiteY47" fmla="*/ 866816 h 3487140"/>
              <a:gd name="connsiteX48" fmla="*/ 1797428 w 8404339"/>
              <a:gd name="connsiteY48" fmla="*/ 751038 h 3487140"/>
              <a:gd name="connsiteX49" fmla="*/ 1809364 w 8404339"/>
              <a:gd name="connsiteY49" fmla="*/ 369436 h 3487140"/>
              <a:gd name="connsiteX50" fmla="*/ 1871037 w 8404339"/>
              <a:gd name="connsiteY50" fmla="*/ 155805 h 3487140"/>
              <a:gd name="connsiteX51" fmla="*/ 2072401 w 8404339"/>
              <a:gd name="connsiteY51" fmla="*/ 156761 h 3487140"/>
              <a:gd name="connsiteX52" fmla="*/ 2325332 w 8404339"/>
              <a:gd name="connsiteY52" fmla="*/ 245175 h 3487140"/>
              <a:gd name="connsiteX53" fmla="*/ 2494424 w 8404339"/>
              <a:gd name="connsiteY53" fmla="*/ 357792 h 3487140"/>
              <a:gd name="connsiteX54" fmla="*/ 2599015 w 8404339"/>
              <a:gd name="connsiteY54" fmla="*/ 483301 h 3487140"/>
              <a:gd name="connsiteX55" fmla="*/ 2623219 w 8404339"/>
              <a:gd name="connsiteY55" fmla="*/ 600951 h 3487140"/>
              <a:gd name="connsiteX56" fmla="*/ 2595688 w 8404339"/>
              <a:gd name="connsiteY56" fmla="*/ 761726 h 3487140"/>
              <a:gd name="connsiteX57" fmla="*/ 2767609 w 8404339"/>
              <a:gd name="connsiteY57" fmla="*/ 1160004 h 3487140"/>
              <a:gd name="connsiteX58" fmla="*/ 3190589 w 8404339"/>
              <a:gd name="connsiteY58" fmla="*/ 1793622 h 3487140"/>
              <a:gd name="connsiteX59" fmla="*/ 3608080 w 8404339"/>
              <a:gd name="connsiteY59" fmla="*/ 2087475 h 3487140"/>
              <a:gd name="connsiteX60" fmla="*/ 3717703 w 8404339"/>
              <a:gd name="connsiteY60" fmla="*/ 2185620 h 3487140"/>
              <a:gd name="connsiteX61" fmla="*/ 3604754 w 8404339"/>
              <a:gd name="connsiteY61" fmla="*/ 2468120 h 3487140"/>
              <a:gd name="connsiteX62" fmla="*/ 3438655 w 8404339"/>
              <a:gd name="connsiteY62" fmla="*/ 2505548 h 3487140"/>
              <a:gd name="connsiteX63" fmla="*/ 3130205 w 8404339"/>
              <a:gd name="connsiteY63" fmla="*/ 2278109 h 3487140"/>
              <a:gd name="connsiteX64" fmla="*/ 2685516 w 8404339"/>
              <a:gd name="connsiteY64" fmla="*/ 1678800 h 3487140"/>
              <a:gd name="connsiteX65" fmla="*/ 2565663 w 8404339"/>
              <a:gd name="connsiteY65" fmla="*/ 1175432 h 3487140"/>
              <a:gd name="connsiteX66" fmla="*/ 2720117 w 8404339"/>
              <a:gd name="connsiteY66" fmla="*/ 1377420 h 3487140"/>
              <a:gd name="connsiteX67" fmla="*/ 3081757 w 8404339"/>
              <a:gd name="connsiteY67" fmla="*/ 2268710 h 3487140"/>
              <a:gd name="connsiteX68" fmla="*/ 3401559 w 8404339"/>
              <a:gd name="connsiteY68" fmla="*/ 2693105 h 3487140"/>
              <a:gd name="connsiteX69" fmla="*/ 3634987 w 8404339"/>
              <a:gd name="connsiteY69" fmla="*/ 2746586 h 3487140"/>
              <a:gd name="connsiteX70" fmla="*/ 3802208 w 8404339"/>
              <a:gd name="connsiteY70" fmla="*/ 2631432 h 3487140"/>
              <a:gd name="connsiteX71" fmla="*/ 3813395 w 8404339"/>
              <a:gd name="connsiteY71" fmla="*/ 2436680 h 3487140"/>
              <a:gd name="connsiteX72" fmla="*/ 3659565 w 8404339"/>
              <a:gd name="connsiteY72" fmla="*/ 2309258 h 3487140"/>
              <a:gd name="connsiteX73" fmla="*/ 3452379 w 8404339"/>
              <a:gd name="connsiteY73" fmla="*/ 2375007 h 3487140"/>
              <a:gd name="connsiteX74" fmla="*/ 3429880 w 8404339"/>
              <a:gd name="connsiteY74" fmla="*/ 2581402 h 3487140"/>
              <a:gd name="connsiteX75" fmla="*/ 3572565 w 8404339"/>
              <a:gd name="connsiteY75" fmla="*/ 2671064 h 3487140"/>
              <a:gd name="connsiteX76" fmla="*/ 3669130 w 8404339"/>
              <a:gd name="connsiteY76" fmla="*/ 2596831 h 3487140"/>
              <a:gd name="connsiteX77" fmla="*/ 3635944 w 8404339"/>
              <a:gd name="connsiteY77" fmla="*/ 2530750 h 3487140"/>
              <a:gd name="connsiteX78" fmla="*/ 3513886 w 8404339"/>
              <a:gd name="connsiteY78" fmla="*/ 2615379 h 3487140"/>
              <a:gd name="connsiteX79" fmla="*/ 3368207 w 8404339"/>
              <a:gd name="connsiteY79" fmla="*/ 2907028 h 3487140"/>
              <a:gd name="connsiteX80" fmla="*/ 3320382 w 8404339"/>
              <a:gd name="connsiteY80" fmla="*/ 3008333 h 3487140"/>
              <a:gd name="connsiteX81" fmla="*/ 3284534 w 8404339"/>
              <a:gd name="connsiteY81" fmla="*/ 3024053 h 3487140"/>
              <a:gd name="connsiteX82" fmla="*/ 3189508 w 8404339"/>
              <a:gd name="connsiteY82" fmla="*/ 3013989 h 3487140"/>
              <a:gd name="connsiteX83" fmla="*/ 3196411 w 8404339"/>
              <a:gd name="connsiteY83" fmla="*/ 2956724 h 3487140"/>
              <a:gd name="connsiteX84" fmla="*/ 3385174 w 8404339"/>
              <a:gd name="connsiteY84" fmla="*/ 2951068 h 3487140"/>
              <a:gd name="connsiteX85" fmla="*/ 3471384 w 8404339"/>
              <a:gd name="connsiteY85" fmla="*/ 2951068 h 3487140"/>
              <a:gd name="connsiteX86" fmla="*/ 3552562 w 8404339"/>
              <a:gd name="connsiteY86" fmla="*/ 2822066 h 3487140"/>
              <a:gd name="connsiteX87" fmla="*/ 3692876 w 8404339"/>
              <a:gd name="connsiteY87" fmla="*/ 2789337 h 3487140"/>
              <a:gd name="connsiteX88" fmla="*/ 3820589 w 8404339"/>
              <a:gd name="connsiteY88" fmla="*/ 2713815 h 3487140"/>
              <a:gd name="connsiteX89" fmla="*/ 3906799 w 8404339"/>
              <a:gd name="connsiteY89" fmla="*/ 2544556 h 3487140"/>
              <a:gd name="connsiteX90" fmla="*/ 4126378 w 8404339"/>
              <a:gd name="connsiteY90" fmla="*/ 2482883 h 3487140"/>
              <a:gd name="connsiteX91" fmla="*/ 4661352 w 8404339"/>
              <a:gd name="connsiteY91" fmla="*/ 2466831 h 3487140"/>
              <a:gd name="connsiteX92" fmla="*/ 4817094 w 8404339"/>
              <a:gd name="connsiteY92" fmla="*/ 2420918 h 3487140"/>
              <a:gd name="connsiteX93" fmla="*/ 4667007 w 8404339"/>
              <a:gd name="connsiteY93" fmla="*/ 2252907 h 3487140"/>
              <a:gd name="connsiteX94" fmla="*/ 4191628 w 8404339"/>
              <a:gd name="connsiteY94" fmla="*/ 1791709 h 3487140"/>
              <a:gd name="connsiteX95" fmla="*/ 3927509 w 8404339"/>
              <a:gd name="connsiteY95" fmla="*/ 1600118 h 3487140"/>
              <a:gd name="connsiteX96" fmla="*/ 3803539 w 8404339"/>
              <a:gd name="connsiteY96" fmla="*/ 1733529 h 3487140"/>
              <a:gd name="connsiteX97" fmla="*/ 3741241 w 8404339"/>
              <a:gd name="connsiteY97" fmla="*/ 1995900 h 3487140"/>
              <a:gd name="connsiteX98" fmla="*/ 3782121 w 8404339"/>
              <a:gd name="connsiteY98" fmla="*/ 2048133 h 3487140"/>
              <a:gd name="connsiteX99" fmla="*/ 3845042 w 8404339"/>
              <a:gd name="connsiteY99" fmla="*/ 1778817 h 3487140"/>
              <a:gd name="connsiteX100" fmla="*/ 3966809 w 8404339"/>
              <a:gd name="connsiteY100" fmla="*/ 1356918 h 3487140"/>
              <a:gd name="connsiteX101" fmla="*/ 4073146 w 8404339"/>
              <a:gd name="connsiteY101" fmla="*/ 986960 h 3487140"/>
              <a:gd name="connsiteX102" fmla="*/ 4043869 w 8404339"/>
              <a:gd name="connsiteY102" fmla="*/ 867107 h 3487140"/>
              <a:gd name="connsiteX103" fmla="*/ 3868955 w 8404339"/>
              <a:gd name="connsiteY103" fmla="*/ 840034 h 3487140"/>
              <a:gd name="connsiteX104" fmla="*/ 3724856 w 8404339"/>
              <a:gd name="connsiteY104" fmla="*/ 782769 h 3487140"/>
              <a:gd name="connsiteX105" fmla="*/ 3741200 w 8404339"/>
              <a:gd name="connsiteY105" fmla="*/ 714816 h 3487140"/>
              <a:gd name="connsiteX106" fmla="*/ 3914867 w 8404339"/>
              <a:gd name="connsiteY106" fmla="*/ 723008 h 3487140"/>
              <a:gd name="connsiteX107" fmla="*/ 4117478 w 8404339"/>
              <a:gd name="connsiteY107" fmla="*/ 729288 h 3487140"/>
              <a:gd name="connsiteX108" fmla="*/ 4284200 w 8404339"/>
              <a:gd name="connsiteY108" fmla="*/ 682087 h 3487140"/>
              <a:gd name="connsiteX109" fmla="*/ 4401849 w 8404339"/>
              <a:gd name="connsiteY109" fmla="*/ 703463 h 3487140"/>
              <a:gd name="connsiteX110" fmla="*/ 4424514 w 8404339"/>
              <a:gd name="connsiteY110" fmla="*/ 797199 h 3487140"/>
              <a:gd name="connsiteX111" fmla="*/ 4296801 w 8404339"/>
              <a:gd name="connsiteY111" fmla="*/ 890936 h 3487140"/>
              <a:gd name="connsiteX112" fmla="*/ 4126918 w 8404339"/>
              <a:gd name="connsiteY112" fmla="*/ 918009 h 3487140"/>
              <a:gd name="connsiteX113" fmla="*/ 3999205 w 8404339"/>
              <a:gd name="connsiteY113" fmla="*/ 1002306 h 3487140"/>
              <a:gd name="connsiteX114" fmla="*/ 3898315 w 8404339"/>
              <a:gd name="connsiteY114" fmla="*/ 1299902 h 3487140"/>
              <a:gd name="connsiteX115" fmla="*/ 3959365 w 8404339"/>
              <a:gd name="connsiteY115" fmla="*/ 1545930 h 3487140"/>
              <a:gd name="connsiteX116" fmla="*/ 4172040 w 8404339"/>
              <a:gd name="connsiteY116" fmla="*/ 1536490 h 3487140"/>
              <a:gd name="connsiteX117" fmla="*/ 4351571 w 8404339"/>
              <a:gd name="connsiteY117" fmla="*/ 1376048 h 3487140"/>
              <a:gd name="connsiteX118" fmla="*/ 4354732 w 8404339"/>
              <a:gd name="connsiteY118" fmla="*/ 1231949 h 3487140"/>
              <a:gd name="connsiteX119" fmla="*/ 4136691 w 8404339"/>
              <a:gd name="connsiteY119" fmla="*/ 1191693 h 3487140"/>
              <a:gd name="connsiteX120" fmla="*/ 4145175 w 8404339"/>
              <a:gd name="connsiteY120" fmla="*/ 1255238 h 3487140"/>
              <a:gd name="connsiteX121" fmla="*/ 4570193 w 8404339"/>
              <a:gd name="connsiteY121" fmla="*/ 1241722 h 3487140"/>
              <a:gd name="connsiteX122" fmla="*/ 5055013 w 8404339"/>
              <a:gd name="connsiteY122" fmla="*/ 1259646 h 3487140"/>
              <a:gd name="connsiteX123" fmla="*/ 5284365 w 8404339"/>
              <a:gd name="connsiteY123" fmla="*/ 1236981 h 3487140"/>
              <a:gd name="connsiteX124" fmla="*/ 5266109 w 8404339"/>
              <a:gd name="connsiteY124" fmla="*/ 1185995 h 3487140"/>
              <a:gd name="connsiteX125" fmla="*/ 4905591 w 8404339"/>
              <a:gd name="connsiteY125" fmla="*/ 1177512 h 3487140"/>
              <a:gd name="connsiteX126" fmla="*/ 4535011 w 8404339"/>
              <a:gd name="connsiteY126" fmla="*/ 1331342 h 3487140"/>
              <a:gd name="connsiteX127" fmla="*/ 4189257 w 8404339"/>
              <a:gd name="connsiteY127" fmla="*/ 1604110 h 3487140"/>
              <a:gd name="connsiteX128" fmla="*/ 3956454 w 8404339"/>
              <a:gd name="connsiteY128" fmla="*/ 1921252 h 3487140"/>
              <a:gd name="connsiteX129" fmla="*/ 3860804 w 8404339"/>
              <a:gd name="connsiteY129" fmla="*/ 2419255 h 3487140"/>
              <a:gd name="connsiteX130" fmla="*/ 4091112 w 8404339"/>
              <a:gd name="connsiteY130" fmla="*/ 3048465 h 3487140"/>
              <a:gd name="connsiteX131" fmla="*/ 4669337 w 8404339"/>
              <a:gd name="connsiteY131" fmla="*/ 3394510 h 3487140"/>
              <a:gd name="connsiteX132" fmla="*/ 5307986 w 8404339"/>
              <a:gd name="connsiteY132" fmla="*/ 3330632 h 3487140"/>
              <a:gd name="connsiteX133" fmla="*/ 5803161 w 8404339"/>
              <a:gd name="connsiteY133" fmla="*/ 2841404 h 3487140"/>
              <a:gd name="connsiteX134" fmla="*/ 5836514 w 8404339"/>
              <a:gd name="connsiteY134" fmla="*/ 2052999 h 3487140"/>
              <a:gd name="connsiteX135" fmla="*/ 5405507 w 8404339"/>
              <a:gd name="connsiteY135" fmla="*/ 1482011 h 3487140"/>
              <a:gd name="connsiteX136" fmla="*/ 4938653 w 8404339"/>
              <a:gd name="connsiteY136" fmla="*/ 1352717 h 3487140"/>
              <a:gd name="connsiteX137" fmla="*/ 4778211 w 8404339"/>
              <a:gd name="connsiteY137" fmla="*/ 1466624 h 3487140"/>
              <a:gd name="connsiteX138" fmla="*/ 4800252 w 8404339"/>
              <a:gd name="connsiteY138" fmla="*/ 2001140 h 3487140"/>
              <a:gd name="connsiteX139" fmla="*/ 4834228 w 8404339"/>
              <a:gd name="connsiteY139" fmla="*/ 2313208 h 3487140"/>
              <a:gd name="connsiteX140" fmla="*/ 4925928 w 8404339"/>
              <a:gd name="connsiteY140" fmla="*/ 2399085 h 3487140"/>
              <a:gd name="connsiteX141" fmla="*/ 5030394 w 8404339"/>
              <a:gd name="connsiteY141" fmla="*/ 2362905 h 3487140"/>
              <a:gd name="connsiteX142" fmla="*/ 4995003 w 8404339"/>
              <a:gd name="connsiteY142" fmla="*/ 2271372 h 3487140"/>
              <a:gd name="connsiteX143" fmla="*/ 4897399 w 8404339"/>
              <a:gd name="connsiteY143" fmla="*/ 2303394 h 3487140"/>
              <a:gd name="connsiteX144" fmla="*/ 4881013 w 8404339"/>
              <a:gd name="connsiteY144" fmla="*/ 2437262 h 3487140"/>
              <a:gd name="connsiteX145" fmla="*/ 4879932 w 8404339"/>
              <a:gd name="connsiteY145" fmla="*/ 2519521 h 3487140"/>
              <a:gd name="connsiteX146" fmla="*/ 4700818 w 8404339"/>
              <a:gd name="connsiteY146" fmla="*/ 2539400 h 3487140"/>
              <a:gd name="connsiteX147" fmla="*/ 4290563 w 8404339"/>
              <a:gd name="connsiteY147" fmla="*/ 2545679 h 3487140"/>
              <a:gd name="connsiteX148" fmla="*/ 4050191 w 8404339"/>
              <a:gd name="connsiteY148" fmla="*/ 2602944 h 3487140"/>
              <a:gd name="connsiteX149" fmla="*/ 4040584 w 8404339"/>
              <a:gd name="connsiteY149" fmla="*/ 2790460 h 3487140"/>
              <a:gd name="connsiteX150" fmla="*/ 4233921 w 8404339"/>
              <a:gd name="connsiteY150" fmla="*/ 3133385 h 3487140"/>
              <a:gd name="connsiteX151" fmla="*/ 4725811 w 8404339"/>
              <a:gd name="connsiteY151" fmla="*/ 3465290 h 3487140"/>
              <a:gd name="connsiteX152" fmla="*/ 5466557 w 8404339"/>
              <a:gd name="connsiteY152" fmla="*/ 3390434 h 3487140"/>
              <a:gd name="connsiteX153" fmla="*/ 5906380 w 8404339"/>
              <a:gd name="connsiteY153" fmla="*/ 3017940 h 3487140"/>
              <a:gd name="connsiteX154" fmla="*/ 6220361 w 8404339"/>
              <a:gd name="connsiteY154" fmla="*/ 2655510 h 3487140"/>
              <a:gd name="connsiteX155" fmla="*/ 6592855 w 8404339"/>
              <a:gd name="connsiteY155" fmla="*/ 3163577 h 3487140"/>
              <a:gd name="connsiteX156" fmla="*/ 6816842 w 8404339"/>
              <a:gd name="connsiteY156" fmla="*/ 3255443 h 3487140"/>
              <a:gd name="connsiteX157" fmla="*/ 6894859 w 8404339"/>
              <a:gd name="connsiteY157" fmla="*/ 2786675 h 3487140"/>
              <a:gd name="connsiteX158" fmla="*/ 7204432 w 8404339"/>
              <a:gd name="connsiteY158" fmla="*/ 2869724 h 3487140"/>
              <a:gd name="connsiteX159" fmla="*/ 7443224 w 8404339"/>
              <a:gd name="connsiteY159" fmla="*/ 3245046 h 3487140"/>
              <a:gd name="connsiteX160" fmla="*/ 7815717 w 8404339"/>
              <a:gd name="connsiteY160" fmla="*/ 3329676 h 3487140"/>
              <a:gd name="connsiteX161" fmla="*/ 8404339 w 8404339"/>
              <a:gd name="connsiteY161" fmla="*/ 3217682 h 3487140"/>
              <a:gd name="connsiteX0" fmla="*/ 0 w 8244520"/>
              <a:gd name="connsiteY0" fmla="*/ 3205871 h 3487140"/>
              <a:gd name="connsiteX1" fmla="*/ 259253 w 8244520"/>
              <a:gd name="connsiteY1" fmla="*/ 2696848 h 3487140"/>
              <a:gd name="connsiteX2" fmla="*/ 533601 w 8244520"/>
              <a:gd name="connsiteY2" fmla="*/ 2954187 h 3487140"/>
              <a:gd name="connsiteX3" fmla="*/ 880935 w 8244520"/>
              <a:gd name="connsiteY3" fmla="*/ 3339906 h 3487140"/>
              <a:gd name="connsiteX4" fmla="*/ 1339057 w 8244520"/>
              <a:gd name="connsiteY4" fmla="*/ 3385485 h 3487140"/>
              <a:gd name="connsiteX5" fmla="*/ 1417739 w 8244520"/>
              <a:gd name="connsiteY5" fmla="*/ 3295741 h 3487140"/>
              <a:gd name="connsiteX6" fmla="*/ 1166637 w 8244520"/>
              <a:gd name="connsiteY6" fmla="*/ 3112384 h 3487140"/>
              <a:gd name="connsiteX7" fmla="*/ 860474 w 8244520"/>
              <a:gd name="connsiteY7" fmla="*/ 2750287 h 3487140"/>
              <a:gd name="connsiteX8" fmla="*/ 768942 w 8244520"/>
              <a:gd name="connsiteY8" fmla="*/ 2305432 h 3487140"/>
              <a:gd name="connsiteX9" fmla="*/ 896530 w 8244520"/>
              <a:gd name="connsiteY9" fmla="*/ 1919713 h 3487140"/>
              <a:gd name="connsiteX10" fmla="*/ 1220742 w 8244520"/>
              <a:gd name="connsiteY10" fmla="*/ 1637837 h 3487140"/>
              <a:gd name="connsiteX11" fmla="*/ 1714046 w 8244520"/>
              <a:gd name="connsiteY11" fmla="*/ 1545972 h 3487140"/>
              <a:gd name="connsiteX12" fmla="*/ 1948721 w 8244520"/>
              <a:gd name="connsiteY12" fmla="*/ 1517651 h 3487140"/>
              <a:gd name="connsiteX13" fmla="*/ 1933458 w 8244520"/>
              <a:gd name="connsiteY13" fmla="*/ 1460718 h 3487140"/>
              <a:gd name="connsiteX14" fmla="*/ 1657404 w 8244520"/>
              <a:gd name="connsiteY14" fmla="*/ 1416969 h 3487140"/>
              <a:gd name="connsiteX15" fmla="*/ 1137984 w 8244520"/>
              <a:gd name="connsiteY15" fmla="*/ 1517318 h 3487140"/>
              <a:gd name="connsiteX16" fmla="*/ 728686 w 8244520"/>
              <a:gd name="connsiteY16" fmla="*/ 1960593 h 3487140"/>
              <a:gd name="connsiteX17" fmla="*/ 669216 w 8244520"/>
              <a:gd name="connsiteY17" fmla="*/ 2569342 h 3487140"/>
              <a:gd name="connsiteX18" fmla="*/ 1082923 w 8244520"/>
              <a:gd name="connsiteY18" fmla="*/ 3165532 h 3487140"/>
              <a:gd name="connsiteX19" fmla="*/ 1872908 w 8244520"/>
              <a:gd name="connsiteY19" fmla="*/ 3283181 h 3487140"/>
              <a:gd name="connsiteX20" fmla="*/ 2475544 w 8244520"/>
              <a:gd name="connsiteY20" fmla="*/ 2757481 h 3487140"/>
              <a:gd name="connsiteX21" fmla="*/ 2465313 w 8244520"/>
              <a:gd name="connsiteY21" fmla="*/ 1980430 h 3487140"/>
              <a:gd name="connsiteX22" fmla="*/ 2135279 w 8244520"/>
              <a:gd name="connsiteY22" fmla="*/ 1589139 h 3487140"/>
              <a:gd name="connsiteX23" fmla="*/ 1946225 w 8244520"/>
              <a:gd name="connsiteY23" fmla="*/ 1660710 h 3487140"/>
              <a:gd name="connsiteX24" fmla="*/ 1837808 w 8244520"/>
              <a:gd name="connsiteY24" fmla="*/ 2116627 h 3487140"/>
              <a:gd name="connsiteX25" fmla="*/ 1614445 w 8244520"/>
              <a:gd name="connsiteY25" fmla="*/ 2374258 h 3487140"/>
              <a:gd name="connsiteX26" fmla="*/ 1559509 w 8244520"/>
              <a:gd name="connsiteY26" fmla="*/ 2276986 h 3487140"/>
              <a:gd name="connsiteX27" fmla="*/ 1938781 w 8244520"/>
              <a:gd name="connsiteY27" fmla="*/ 2021601 h 3487140"/>
              <a:gd name="connsiteX28" fmla="*/ 2198700 w 8244520"/>
              <a:gd name="connsiteY28" fmla="*/ 1234153 h 3487140"/>
              <a:gd name="connsiteX29" fmla="*/ 2428800 w 8244520"/>
              <a:gd name="connsiteY29" fmla="*/ 725296 h 3487140"/>
              <a:gd name="connsiteX30" fmla="*/ 2537383 w 8244520"/>
              <a:gd name="connsiteY30" fmla="*/ 539984 h 3487140"/>
              <a:gd name="connsiteX31" fmla="*/ 2506235 w 8244520"/>
              <a:gd name="connsiteY31" fmla="*/ 435851 h 3487140"/>
              <a:gd name="connsiteX32" fmla="*/ 2399897 w 8244520"/>
              <a:gd name="connsiteY32" fmla="*/ 350265 h 3487140"/>
              <a:gd name="connsiteX33" fmla="*/ 2354609 w 8244520"/>
              <a:gd name="connsiteY33" fmla="*/ 209327 h 3487140"/>
              <a:gd name="connsiteX34" fmla="*/ 2399439 w 8244520"/>
              <a:gd name="connsiteY34" fmla="*/ 82237 h 3487140"/>
              <a:gd name="connsiteX35" fmla="*/ 2579719 w 8244520"/>
              <a:gd name="connsiteY35" fmla="*/ 6716 h 3487140"/>
              <a:gd name="connsiteX36" fmla="*/ 2848412 w 8244520"/>
              <a:gd name="connsiteY36" fmla="*/ 10167 h 3487140"/>
              <a:gd name="connsiteX37" fmla="*/ 2932085 w 8244520"/>
              <a:gd name="connsiteY37" fmla="*/ 49800 h 3487140"/>
              <a:gd name="connsiteX38" fmla="*/ 2885050 w 8244520"/>
              <a:gd name="connsiteY38" fmla="*/ 86812 h 3487140"/>
              <a:gd name="connsiteX39" fmla="*/ 2649127 w 8244520"/>
              <a:gd name="connsiteY39" fmla="*/ 91886 h 3487140"/>
              <a:gd name="connsiteX40" fmla="*/ 2405594 w 8244520"/>
              <a:gd name="connsiteY40" fmla="*/ 75833 h 3487140"/>
              <a:gd name="connsiteX41" fmla="*/ 2297843 w 8244520"/>
              <a:gd name="connsiteY41" fmla="*/ 176931 h 3487140"/>
              <a:gd name="connsiteX42" fmla="*/ 2313105 w 8244520"/>
              <a:gd name="connsiteY42" fmla="*/ 370393 h 3487140"/>
              <a:gd name="connsiteX43" fmla="*/ 2257878 w 8244520"/>
              <a:gd name="connsiteY43" fmla="*/ 589348 h 3487140"/>
              <a:gd name="connsiteX44" fmla="*/ 2101344 w 8244520"/>
              <a:gd name="connsiteY44" fmla="*/ 903953 h 3487140"/>
              <a:gd name="connsiteX45" fmla="*/ 1890873 w 8244520"/>
              <a:gd name="connsiteY45" fmla="*/ 922501 h 3487140"/>
              <a:gd name="connsiteX46" fmla="*/ 1696454 w 8244520"/>
              <a:gd name="connsiteY46" fmla="*/ 866816 h 3487140"/>
              <a:gd name="connsiteX47" fmla="*/ 1637609 w 8244520"/>
              <a:gd name="connsiteY47" fmla="*/ 751038 h 3487140"/>
              <a:gd name="connsiteX48" fmla="*/ 1649545 w 8244520"/>
              <a:gd name="connsiteY48" fmla="*/ 369436 h 3487140"/>
              <a:gd name="connsiteX49" fmla="*/ 1711218 w 8244520"/>
              <a:gd name="connsiteY49" fmla="*/ 155805 h 3487140"/>
              <a:gd name="connsiteX50" fmla="*/ 1912582 w 8244520"/>
              <a:gd name="connsiteY50" fmla="*/ 156761 h 3487140"/>
              <a:gd name="connsiteX51" fmla="*/ 2165513 w 8244520"/>
              <a:gd name="connsiteY51" fmla="*/ 245175 h 3487140"/>
              <a:gd name="connsiteX52" fmla="*/ 2334605 w 8244520"/>
              <a:gd name="connsiteY52" fmla="*/ 357792 h 3487140"/>
              <a:gd name="connsiteX53" fmla="*/ 2439196 w 8244520"/>
              <a:gd name="connsiteY53" fmla="*/ 483301 h 3487140"/>
              <a:gd name="connsiteX54" fmla="*/ 2463400 w 8244520"/>
              <a:gd name="connsiteY54" fmla="*/ 600951 h 3487140"/>
              <a:gd name="connsiteX55" fmla="*/ 2435869 w 8244520"/>
              <a:gd name="connsiteY55" fmla="*/ 761726 h 3487140"/>
              <a:gd name="connsiteX56" fmla="*/ 2607790 w 8244520"/>
              <a:gd name="connsiteY56" fmla="*/ 1160004 h 3487140"/>
              <a:gd name="connsiteX57" fmla="*/ 3030770 w 8244520"/>
              <a:gd name="connsiteY57" fmla="*/ 1793622 h 3487140"/>
              <a:gd name="connsiteX58" fmla="*/ 3448261 w 8244520"/>
              <a:gd name="connsiteY58" fmla="*/ 2087475 h 3487140"/>
              <a:gd name="connsiteX59" fmla="*/ 3557884 w 8244520"/>
              <a:gd name="connsiteY59" fmla="*/ 2185620 h 3487140"/>
              <a:gd name="connsiteX60" fmla="*/ 3444935 w 8244520"/>
              <a:gd name="connsiteY60" fmla="*/ 2468120 h 3487140"/>
              <a:gd name="connsiteX61" fmla="*/ 3278836 w 8244520"/>
              <a:gd name="connsiteY61" fmla="*/ 2505548 h 3487140"/>
              <a:gd name="connsiteX62" fmla="*/ 2970386 w 8244520"/>
              <a:gd name="connsiteY62" fmla="*/ 2278109 h 3487140"/>
              <a:gd name="connsiteX63" fmla="*/ 2525697 w 8244520"/>
              <a:gd name="connsiteY63" fmla="*/ 1678800 h 3487140"/>
              <a:gd name="connsiteX64" fmla="*/ 2405844 w 8244520"/>
              <a:gd name="connsiteY64" fmla="*/ 1175432 h 3487140"/>
              <a:gd name="connsiteX65" fmla="*/ 2560298 w 8244520"/>
              <a:gd name="connsiteY65" fmla="*/ 1377420 h 3487140"/>
              <a:gd name="connsiteX66" fmla="*/ 2921938 w 8244520"/>
              <a:gd name="connsiteY66" fmla="*/ 2268710 h 3487140"/>
              <a:gd name="connsiteX67" fmla="*/ 3241740 w 8244520"/>
              <a:gd name="connsiteY67" fmla="*/ 2693105 h 3487140"/>
              <a:gd name="connsiteX68" fmla="*/ 3475168 w 8244520"/>
              <a:gd name="connsiteY68" fmla="*/ 2746586 h 3487140"/>
              <a:gd name="connsiteX69" fmla="*/ 3642389 w 8244520"/>
              <a:gd name="connsiteY69" fmla="*/ 2631432 h 3487140"/>
              <a:gd name="connsiteX70" fmla="*/ 3653576 w 8244520"/>
              <a:gd name="connsiteY70" fmla="*/ 2436680 h 3487140"/>
              <a:gd name="connsiteX71" fmla="*/ 3499746 w 8244520"/>
              <a:gd name="connsiteY71" fmla="*/ 2309258 h 3487140"/>
              <a:gd name="connsiteX72" fmla="*/ 3292560 w 8244520"/>
              <a:gd name="connsiteY72" fmla="*/ 2375007 h 3487140"/>
              <a:gd name="connsiteX73" fmla="*/ 3270061 w 8244520"/>
              <a:gd name="connsiteY73" fmla="*/ 2581402 h 3487140"/>
              <a:gd name="connsiteX74" fmla="*/ 3412746 w 8244520"/>
              <a:gd name="connsiteY74" fmla="*/ 2671064 h 3487140"/>
              <a:gd name="connsiteX75" fmla="*/ 3509311 w 8244520"/>
              <a:gd name="connsiteY75" fmla="*/ 2596831 h 3487140"/>
              <a:gd name="connsiteX76" fmla="*/ 3476125 w 8244520"/>
              <a:gd name="connsiteY76" fmla="*/ 2530750 h 3487140"/>
              <a:gd name="connsiteX77" fmla="*/ 3354067 w 8244520"/>
              <a:gd name="connsiteY77" fmla="*/ 2615379 h 3487140"/>
              <a:gd name="connsiteX78" fmla="*/ 3208388 w 8244520"/>
              <a:gd name="connsiteY78" fmla="*/ 2907028 h 3487140"/>
              <a:gd name="connsiteX79" fmla="*/ 3160563 w 8244520"/>
              <a:gd name="connsiteY79" fmla="*/ 3008333 h 3487140"/>
              <a:gd name="connsiteX80" fmla="*/ 3124715 w 8244520"/>
              <a:gd name="connsiteY80" fmla="*/ 3024053 h 3487140"/>
              <a:gd name="connsiteX81" fmla="*/ 3029689 w 8244520"/>
              <a:gd name="connsiteY81" fmla="*/ 3013989 h 3487140"/>
              <a:gd name="connsiteX82" fmla="*/ 3036592 w 8244520"/>
              <a:gd name="connsiteY82" fmla="*/ 2956724 h 3487140"/>
              <a:gd name="connsiteX83" fmla="*/ 3225355 w 8244520"/>
              <a:gd name="connsiteY83" fmla="*/ 2951068 h 3487140"/>
              <a:gd name="connsiteX84" fmla="*/ 3311565 w 8244520"/>
              <a:gd name="connsiteY84" fmla="*/ 2951068 h 3487140"/>
              <a:gd name="connsiteX85" fmla="*/ 3392743 w 8244520"/>
              <a:gd name="connsiteY85" fmla="*/ 2822066 h 3487140"/>
              <a:gd name="connsiteX86" fmla="*/ 3533057 w 8244520"/>
              <a:gd name="connsiteY86" fmla="*/ 2789337 h 3487140"/>
              <a:gd name="connsiteX87" fmla="*/ 3660770 w 8244520"/>
              <a:gd name="connsiteY87" fmla="*/ 2713815 h 3487140"/>
              <a:gd name="connsiteX88" fmla="*/ 3746980 w 8244520"/>
              <a:gd name="connsiteY88" fmla="*/ 2544556 h 3487140"/>
              <a:gd name="connsiteX89" fmla="*/ 3966559 w 8244520"/>
              <a:gd name="connsiteY89" fmla="*/ 2482883 h 3487140"/>
              <a:gd name="connsiteX90" fmla="*/ 4501533 w 8244520"/>
              <a:gd name="connsiteY90" fmla="*/ 2466831 h 3487140"/>
              <a:gd name="connsiteX91" fmla="*/ 4657275 w 8244520"/>
              <a:gd name="connsiteY91" fmla="*/ 2420918 h 3487140"/>
              <a:gd name="connsiteX92" fmla="*/ 4507188 w 8244520"/>
              <a:gd name="connsiteY92" fmla="*/ 2252907 h 3487140"/>
              <a:gd name="connsiteX93" fmla="*/ 4031809 w 8244520"/>
              <a:gd name="connsiteY93" fmla="*/ 1791709 h 3487140"/>
              <a:gd name="connsiteX94" fmla="*/ 3767690 w 8244520"/>
              <a:gd name="connsiteY94" fmla="*/ 1600118 h 3487140"/>
              <a:gd name="connsiteX95" fmla="*/ 3643720 w 8244520"/>
              <a:gd name="connsiteY95" fmla="*/ 1733529 h 3487140"/>
              <a:gd name="connsiteX96" fmla="*/ 3581422 w 8244520"/>
              <a:gd name="connsiteY96" fmla="*/ 1995900 h 3487140"/>
              <a:gd name="connsiteX97" fmla="*/ 3622302 w 8244520"/>
              <a:gd name="connsiteY97" fmla="*/ 2048133 h 3487140"/>
              <a:gd name="connsiteX98" fmla="*/ 3685223 w 8244520"/>
              <a:gd name="connsiteY98" fmla="*/ 1778817 h 3487140"/>
              <a:gd name="connsiteX99" fmla="*/ 3806990 w 8244520"/>
              <a:gd name="connsiteY99" fmla="*/ 1356918 h 3487140"/>
              <a:gd name="connsiteX100" fmla="*/ 3913327 w 8244520"/>
              <a:gd name="connsiteY100" fmla="*/ 986960 h 3487140"/>
              <a:gd name="connsiteX101" fmla="*/ 3884050 w 8244520"/>
              <a:gd name="connsiteY101" fmla="*/ 867107 h 3487140"/>
              <a:gd name="connsiteX102" fmla="*/ 3709136 w 8244520"/>
              <a:gd name="connsiteY102" fmla="*/ 840034 h 3487140"/>
              <a:gd name="connsiteX103" fmla="*/ 3565037 w 8244520"/>
              <a:gd name="connsiteY103" fmla="*/ 782769 h 3487140"/>
              <a:gd name="connsiteX104" fmla="*/ 3581381 w 8244520"/>
              <a:gd name="connsiteY104" fmla="*/ 714816 h 3487140"/>
              <a:gd name="connsiteX105" fmla="*/ 3755048 w 8244520"/>
              <a:gd name="connsiteY105" fmla="*/ 723008 h 3487140"/>
              <a:gd name="connsiteX106" fmla="*/ 3957659 w 8244520"/>
              <a:gd name="connsiteY106" fmla="*/ 729288 h 3487140"/>
              <a:gd name="connsiteX107" fmla="*/ 4124381 w 8244520"/>
              <a:gd name="connsiteY107" fmla="*/ 682087 h 3487140"/>
              <a:gd name="connsiteX108" fmla="*/ 4242030 w 8244520"/>
              <a:gd name="connsiteY108" fmla="*/ 703463 h 3487140"/>
              <a:gd name="connsiteX109" fmla="*/ 4264695 w 8244520"/>
              <a:gd name="connsiteY109" fmla="*/ 797199 h 3487140"/>
              <a:gd name="connsiteX110" fmla="*/ 4136982 w 8244520"/>
              <a:gd name="connsiteY110" fmla="*/ 890936 h 3487140"/>
              <a:gd name="connsiteX111" fmla="*/ 3967099 w 8244520"/>
              <a:gd name="connsiteY111" fmla="*/ 918009 h 3487140"/>
              <a:gd name="connsiteX112" fmla="*/ 3839386 w 8244520"/>
              <a:gd name="connsiteY112" fmla="*/ 1002306 h 3487140"/>
              <a:gd name="connsiteX113" fmla="*/ 3738496 w 8244520"/>
              <a:gd name="connsiteY113" fmla="*/ 1299902 h 3487140"/>
              <a:gd name="connsiteX114" fmla="*/ 3799546 w 8244520"/>
              <a:gd name="connsiteY114" fmla="*/ 1545930 h 3487140"/>
              <a:gd name="connsiteX115" fmla="*/ 4012221 w 8244520"/>
              <a:gd name="connsiteY115" fmla="*/ 1536490 h 3487140"/>
              <a:gd name="connsiteX116" fmla="*/ 4191752 w 8244520"/>
              <a:gd name="connsiteY116" fmla="*/ 1376048 h 3487140"/>
              <a:gd name="connsiteX117" fmla="*/ 4194913 w 8244520"/>
              <a:gd name="connsiteY117" fmla="*/ 1231949 h 3487140"/>
              <a:gd name="connsiteX118" fmla="*/ 3976872 w 8244520"/>
              <a:gd name="connsiteY118" fmla="*/ 1191693 h 3487140"/>
              <a:gd name="connsiteX119" fmla="*/ 3985356 w 8244520"/>
              <a:gd name="connsiteY119" fmla="*/ 1255238 h 3487140"/>
              <a:gd name="connsiteX120" fmla="*/ 4410374 w 8244520"/>
              <a:gd name="connsiteY120" fmla="*/ 1241722 h 3487140"/>
              <a:gd name="connsiteX121" fmla="*/ 4895194 w 8244520"/>
              <a:gd name="connsiteY121" fmla="*/ 1259646 h 3487140"/>
              <a:gd name="connsiteX122" fmla="*/ 5124546 w 8244520"/>
              <a:gd name="connsiteY122" fmla="*/ 1236981 h 3487140"/>
              <a:gd name="connsiteX123" fmla="*/ 5106290 w 8244520"/>
              <a:gd name="connsiteY123" fmla="*/ 1185995 h 3487140"/>
              <a:gd name="connsiteX124" fmla="*/ 4745772 w 8244520"/>
              <a:gd name="connsiteY124" fmla="*/ 1177512 h 3487140"/>
              <a:gd name="connsiteX125" fmla="*/ 4375192 w 8244520"/>
              <a:gd name="connsiteY125" fmla="*/ 1331342 h 3487140"/>
              <a:gd name="connsiteX126" fmla="*/ 4029438 w 8244520"/>
              <a:gd name="connsiteY126" fmla="*/ 1604110 h 3487140"/>
              <a:gd name="connsiteX127" fmla="*/ 3796635 w 8244520"/>
              <a:gd name="connsiteY127" fmla="*/ 1921252 h 3487140"/>
              <a:gd name="connsiteX128" fmla="*/ 3700985 w 8244520"/>
              <a:gd name="connsiteY128" fmla="*/ 2419255 h 3487140"/>
              <a:gd name="connsiteX129" fmla="*/ 3931293 w 8244520"/>
              <a:gd name="connsiteY129" fmla="*/ 3048465 h 3487140"/>
              <a:gd name="connsiteX130" fmla="*/ 4509518 w 8244520"/>
              <a:gd name="connsiteY130" fmla="*/ 3394510 h 3487140"/>
              <a:gd name="connsiteX131" fmla="*/ 5148167 w 8244520"/>
              <a:gd name="connsiteY131" fmla="*/ 3330632 h 3487140"/>
              <a:gd name="connsiteX132" fmla="*/ 5643342 w 8244520"/>
              <a:gd name="connsiteY132" fmla="*/ 2841404 h 3487140"/>
              <a:gd name="connsiteX133" fmla="*/ 5676695 w 8244520"/>
              <a:gd name="connsiteY133" fmla="*/ 2052999 h 3487140"/>
              <a:gd name="connsiteX134" fmla="*/ 5245688 w 8244520"/>
              <a:gd name="connsiteY134" fmla="*/ 1482011 h 3487140"/>
              <a:gd name="connsiteX135" fmla="*/ 4778834 w 8244520"/>
              <a:gd name="connsiteY135" fmla="*/ 1352717 h 3487140"/>
              <a:gd name="connsiteX136" fmla="*/ 4618392 w 8244520"/>
              <a:gd name="connsiteY136" fmla="*/ 1466624 h 3487140"/>
              <a:gd name="connsiteX137" fmla="*/ 4640433 w 8244520"/>
              <a:gd name="connsiteY137" fmla="*/ 2001140 h 3487140"/>
              <a:gd name="connsiteX138" fmla="*/ 4674409 w 8244520"/>
              <a:gd name="connsiteY138" fmla="*/ 2313208 h 3487140"/>
              <a:gd name="connsiteX139" fmla="*/ 4766109 w 8244520"/>
              <a:gd name="connsiteY139" fmla="*/ 2399085 h 3487140"/>
              <a:gd name="connsiteX140" fmla="*/ 4870575 w 8244520"/>
              <a:gd name="connsiteY140" fmla="*/ 2362905 h 3487140"/>
              <a:gd name="connsiteX141" fmla="*/ 4835184 w 8244520"/>
              <a:gd name="connsiteY141" fmla="*/ 2271372 h 3487140"/>
              <a:gd name="connsiteX142" fmla="*/ 4737580 w 8244520"/>
              <a:gd name="connsiteY142" fmla="*/ 2303394 h 3487140"/>
              <a:gd name="connsiteX143" fmla="*/ 4721194 w 8244520"/>
              <a:gd name="connsiteY143" fmla="*/ 2437262 h 3487140"/>
              <a:gd name="connsiteX144" fmla="*/ 4720113 w 8244520"/>
              <a:gd name="connsiteY144" fmla="*/ 2519521 h 3487140"/>
              <a:gd name="connsiteX145" fmla="*/ 4540999 w 8244520"/>
              <a:gd name="connsiteY145" fmla="*/ 2539400 h 3487140"/>
              <a:gd name="connsiteX146" fmla="*/ 4130744 w 8244520"/>
              <a:gd name="connsiteY146" fmla="*/ 2545679 h 3487140"/>
              <a:gd name="connsiteX147" fmla="*/ 3890372 w 8244520"/>
              <a:gd name="connsiteY147" fmla="*/ 2602944 h 3487140"/>
              <a:gd name="connsiteX148" fmla="*/ 3880765 w 8244520"/>
              <a:gd name="connsiteY148" fmla="*/ 2790460 h 3487140"/>
              <a:gd name="connsiteX149" fmla="*/ 4074102 w 8244520"/>
              <a:gd name="connsiteY149" fmla="*/ 3133385 h 3487140"/>
              <a:gd name="connsiteX150" fmla="*/ 4565992 w 8244520"/>
              <a:gd name="connsiteY150" fmla="*/ 3465290 h 3487140"/>
              <a:gd name="connsiteX151" fmla="*/ 5306738 w 8244520"/>
              <a:gd name="connsiteY151" fmla="*/ 3390434 h 3487140"/>
              <a:gd name="connsiteX152" fmla="*/ 5746561 w 8244520"/>
              <a:gd name="connsiteY152" fmla="*/ 3017940 h 3487140"/>
              <a:gd name="connsiteX153" fmla="*/ 6060542 w 8244520"/>
              <a:gd name="connsiteY153" fmla="*/ 2655510 h 3487140"/>
              <a:gd name="connsiteX154" fmla="*/ 6433036 w 8244520"/>
              <a:gd name="connsiteY154" fmla="*/ 3163577 h 3487140"/>
              <a:gd name="connsiteX155" fmla="*/ 6657023 w 8244520"/>
              <a:gd name="connsiteY155" fmla="*/ 3255443 h 3487140"/>
              <a:gd name="connsiteX156" fmla="*/ 6735040 w 8244520"/>
              <a:gd name="connsiteY156" fmla="*/ 2786675 h 3487140"/>
              <a:gd name="connsiteX157" fmla="*/ 7044613 w 8244520"/>
              <a:gd name="connsiteY157" fmla="*/ 2869724 h 3487140"/>
              <a:gd name="connsiteX158" fmla="*/ 7283405 w 8244520"/>
              <a:gd name="connsiteY158" fmla="*/ 3245046 h 3487140"/>
              <a:gd name="connsiteX159" fmla="*/ 7655898 w 8244520"/>
              <a:gd name="connsiteY159" fmla="*/ 3329676 h 3487140"/>
              <a:gd name="connsiteX160" fmla="*/ 8244520 w 8244520"/>
              <a:gd name="connsiteY160" fmla="*/ 3217682 h 3487140"/>
              <a:gd name="connsiteX0" fmla="*/ 0 w 7985267"/>
              <a:gd name="connsiteY0" fmla="*/ 2696848 h 3487140"/>
              <a:gd name="connsiteX1" fmla="*/ 274348 w 7985267"/>
              <a:gd name="connsiteY1" fmla="*/ 2954187 h 3487140"/>
              <a:gd name="connsiteX2" fmla="*/ 621682 w 7985267"/>
              <a:gd name="connsiteY2" fmla="*/ 3339906 h 3487140"/>
              <a:gd name="connsiteX3" fmla="*/ 1079804 w 7985267"/>
              <a:gd name="connsiteY3" fmla="*/ 3385485 h 3487140"/>
              <a:gd name="connsiteX4" fmla="*/ 1158486 w 7985267"/>
              <a:gd name="connsiteY4" fmla="*/ 3295741 h 3487140"/>
              <a:gd name="connsiteX5" fmla="*/ 907384 w 7985267"/>
              <a:gd name="connsiteY5" fmla="*/ 3112384 h 3487140"/>
              <a:gd name="connsiteX6" fmla="*/ 601221 w 7985267"/>
              <a:gd name="connsiteY6" fmla="*/ 2750287 h 3487140"/>
              <a:gd name="connsiteX7" fmla="*/ 509689 w 7985267"/>
              <a:gd name="connsiteY7" fmla="*/ 2305432 h 3487140"/>
              <a:gd name="connsiteX8" fmla="*/ 637277 w 7985267"/>
              <a:gd name="connsiteY8" fmla="*/ 1919713 h 3487140"/>
              <a:gd name="connsiteX9" fmla="*/ 961489 w 7985267"/>
              <a:gd name="connsiteY9" fmla="*/ 1637837 h 3487140"/>
              <a:gd name="connsiteX10" fmla="*/ 1454793 w 7985267"/>
              <a:gd name="connsiteY10" fmla="*/ 1545972 h 3487140"/>
              <a:gd name="connsiteX11" fmla="*/ 1689468 w 7985267"/>
              <a:gd name="connsiteY11" fmla="*/ 1517651 h 3487140"/>
              <a:gd name="connsiteX12" fmla="*/ 1674205 w 7985267"/>
              <a:gd name="connsiteY12" fmla="*/ 1460718 h 3487140"/>
              <a:gd name="connsiteX13" fmla="*/ 1398151 w 7985267"/>
              <a:gd name="connsiteY13" fmla="*/ 1416969 h 3487140"/>
              <a:gd name="connsiteX14" fmla="*/ 878731 w 7985267"/>
              <a:gd name="connsiteY14" fmla="*/ 1517318 h 3487140"/>
              <a:gd name="connsiteX15" fmla="*/ 469433 w 7985267"/>
              <a:gd name="connsiteY15" fmla="*/ 1960593 h 3487140"/>
              <a:gd name="connsiteX16" fmla="*/ 409963 w 7985267"/>
              <a:gd name="connsiteY16" fmla="*/ 2569342 h 3487140"/>
              <a:gd name="connsiteX17" fmla="*/ 823670 w 7985267"/>
              <a:gd name="connsiteY17" fmla="*/ 3165532 h 3487140"/>
              <a:gd name="connsiteX18" fmla="*/ 1613655 w 7985267"/>
              <a:gd name="connsiteY18" fmla="*/ 3283181 h 3487140"/>
              <a:gd name="connsiteX19" fmla="*/ 2216291 w 7985267"/>
              <a:gd name="connsiteY19" fmla="*/ 2757481 h 3487140"/>
              <a:gd name="connsiteX20" fmla="*/ 2206060 w 7985267"/>
              <a:gd name="connsiteY20" fmla="*/ 1980430 h 3487140"/>
              <a:gd name="connsiteX21" fmla="*/ 1876026 w 7985267"/>
              <a:gd name="connsiteY21" fmla="*/ 1589139 h 3487140"/>
              <a:gd name="connsiteX22" fmla="*/ 1686972 w 7985267"/>
              <a:gd name="connsiteY22" fmla="*/ 1660710 h 3487140"/>
              <a:gd name="connsiteX23" fmla="*/ 1578555 w 7985267"/>
              <a:gd name="connsiteY23" fmla="*/ 2116627 h 3487140"/>
              <a:gd name="connsiteX24" fmla="*/ 1355192 w 7985267"/>
              <a:gd name="connsiteY24" fmla="*/ 2374258 h 3487140"/>
              <a:gd name="connsiteX25" fmla="*/ 1300256 w 7985267"/>
              <a:gd name="connsiteY25" fmla="*/ 2276986 h 3487140"/>
              <a:gd name="connsiteX26" fmla="*/ 1679528 w 7985267"/>
              <a:gd name="connsiteY26" fmla="*/ 2021601 h 3487140"/>
              <a:gd name="connsiteX27" fmla="*/ 1939447 w 7985267"/>
              <a:gd name="connsiteY27" fmla="*/ 1234153 h 3487140"/>
              <a:gd name="connsiteX28" fmla="*/ 2169547 w 7985267"/>
              <a:gd name="connsiteY28" fmla="*/ 725296 h 3487140"/>
              <a:gd name="connsiteX29" fmla="*/ 2278130 w 7985267"/>
              <a:gd name="connsiteY29" fmla="*/ 539984 h 3487140"/>
              <a:gd name="connsiteX30" fmla="*/ 2246982 w 7985267"/>
              <a:gd name="connsiteY30" fmla="*/ 435851 h 3487140"/>
              <a:gd name="connsiteX31" fmla="*/ 2140644 w 7985267"/>
              <a:gd name="connsiteY31" fmla="*/ 350265 h 3487140"/>
              <a:gd name="connsiteX32" fmla="*/ 2095356 w 7985267"/>
              <a:gd name="connsiteY32" fmla="*/ 209327 h 3487140"/>
              <a:gd name="connsiteX33" fmla="*/ 2140186 w 7985267"/>
              <a:gd name="connsiteY33" fmla="*/ 82237 h 3487140"/>
              <a:gd name="connsiteX34" fmla="*/ 2320466 w 7985267"/>
              <a:gd name="connsiteY34" fmla="*/ 6716 h 3487140"/>
              <a:gd name="connsiteX35" fmla="*/ 2589159 w 7985267"/>
              <a:gd name="connsiteY35" fmla="*/ 10167 h 3487140"/>
              <a:gd name="connsiteX36" fmla="*/ 2672832 w 7985267"/>
              <a:gd name="connsiteY36" fmla="*/ 49800 h 3487140"/>
              <a:gd name="connsiteX37" fmla="*/ 2625797 w 7985267"/>
              <a:gd name="connsiteY37" fmla="*/ 86812 h 3487140"/>
              <a:gd name="connsiteX38" fmla="*/ 2389874 w 7985267"/>
              <a:gd name="connsiteY38" fmla="*/ 91886 h 3487140"/>
              <a:gd name="connsiteX39" fmla="*/ 2146341 w 7985267"/>
              <a:gd name="connsiteY39" fmla="*/ 75833 h 3487140"/>
              <a:gd name="connsiteX40" fmla="*/ 2038590 w 7985267"/>
              <a:gd name="connsiteY40" fmla="*/ 176931 h 3487140"/>
              <a:gd name="connsiteX41" fmla="*/ 2053852 w 7985267"/>
              <a:gd name="connsiteY41" fmla="*/ 370393 h 3487140"/>
              <a:gd name="connsiteX42" fmla="*/ 1998625 w 7985267"/>
              <a:gd name="connsiteY42" fmla="*/ 589348 h 3487140"/>
              <a:gd name="connsiteX43" fmla="*/ 1842091 w 7985267"/>
              <a:gd name="connsiteY43" fmla="*/ 903953 h 3487140"/>
              <a:gd name="connsiteX44" fmla="*/ 1631620 w 7985267"/>
              <a:gd name="connsiteY44" fmla="*/ 922501 h 3487140"/>
              <a:gd name="connsiteX45" fmla="*/ 1437201 w 7985267"/>
              <a:gd name="connsiteY45" fmla="*/ 866816 h 3487140"/>
              <a:gd name="connsiteX46" fmla="*/ 1378356 w 7985267"/>
              <a:gd name="connsiteY46" fmla="*/ 751038 h 3487140"/>
              <a:gd name="connsiteX47" fmla="*/ 1390292 w 7985267"/>
              <a:gd name="connsiteY47" fmla="*/ 369436 h 3487140"/>
              <a:gd name="connsiteX48" fmla="*/ 1451965 w 7985267"/>
              <a:gd name="connsiteY48" fmla="*/ 155805 h 3487140"/>
              <a:gd name="connsiteX49" fmla="*/ 1653329 w 7985267"/>
              <a:gd name="connsiteY49" fmla="*/ 156761 h 3487140"/>
              <a:gd name="connsiteX50" fmla="*/ 1906260 w 7985267"/>
              <a:gd name="connsiteY50" fmla="*/ 245175 h 3487140"/>
              <a:gd name="connsiteX51" fmla="*/ 2075352 w 7985267"/>
              <a:gd name="connsiteY51" fmla="*/ 357792 h 3487140"/>
              <a:gd name="connsiteX52" fmla="*/ 2179943 w 7985267"/>
              <a:gd name="connsiteY52" fmla="*/ 483301 h 3487140"/>
              <a:gd name="connsiteX53" fmla="*/ 2204147 w 7985267"/>
              <a:gd name="connsiteY53" fmla="*/ 600951 h 3487140"/>
              <a:gd name="connsiteX54" fmla="*/ 2176616 w 7985267"/>
              <a:gd name="connsiteY54" fmla="*/ 761726 h 3487140"/>
              <a:gd name="connsiteX55" fmla="*/ 2348537 w 7985267"/>
              <a:gd name="connsiteY55" fmla="*/ 1160004 h 3487140"/>
              <a:gd name="connsiteX56" fmla="*/ 2771517 w 7985267"/>
              <a:gd name="connsiteY56" fmla="*/ 1793622 h 3487140"/>
              <a:gd name="connsiteX57" fmla="*/ 3189008 w 7985267"/>
              <a:gd name="connsiteY57" fmla="*/ 2087475 h 3487140"/>
              <a:gd name="connsiteX58" fmla="*/ 3298631 w 7985267"/>
              <a:gd name="connsiteY58" fmla="*/ 2185620 h 3487140"/>
              <a:gd name="connsiteX59" fmla="*/ 3185682 w 7985267"/>
              <a:gd name="connsiteY59" fmla="*/ 2468120 h 3487140"/>
              <a:gd name="connsiteX60" fmla="*/ 3019583 w 7985267"/>
              <a:gd name="connsiteY60" fmla="*/ 2505548 h 3487140"/>
              <a:gd name="connsiteX61" fmla="*/ 2711133 w 7985267"/>
              <a:gd name="connsiteY61" fmla="*/ 2278109 h 3487140"/>
              <a:gd name="connsiteX62" fmla="*/ 2266444 w 7985267"/>
              <a:gd name="connsiteY62" fmla="*/ 1678800 h 3487140"/>
              <a:gd name="connsiteX63" fmla="*/ 2146591 w 7985267"/>
              <a:gd name="connsiteY63" fmla="*/ 1175432 h 3487140"/>
              <a:gd name="connsiteX64" fmla="*/ 2301045 w 7985267"/>
              <a:gd name="connsiteY64" fmla="*/ 1377420 h 3487140"/>
              <a:gd name="connsiteX65" fmla="*/ 2662685 w 7985267"/>
              <a:gd name="connsiteY65" fmla="*/ 2268710 h 3487140"/>
              <a:gd name="connsiteX66" fmla="*/ 2982487 w 7985267"/>
              <a:gd name="connsiteY66" fmla="*/ 2693105 h 3487140"/>
              <a:gd name="connsiteX67" fmla="*/ 3215915 w 7985267"/>
              <a:gd name="connsiteY67" fmla="*/ 2746586 h 3487140"/>
              <a:gd name="connsiteX68" fmla="*/ 3383136 w 7985267"/>
              <a:gd name="connsiteY68" fmla="*/ 2631432 h 3487140"/>
              <a:gd name="connsiteX69" fmla="*/ 3394323 w 7985267"/>
              <a:gd name="connsiteY69" fmla="*/ 2436680 h 3487140"/>
              <a:gd name="connsiteX70" fmla="*/ 3240493 w 7985267"/>
              <a:gd name="connsiteY70" fmla="*/ 2309258 h 3487140"/>
              <a:gd name="connsiteX71" fmla="*/ 3033307 w 7985267"/>
              <a:gd name="connsiteY71" fmla="*/ 2375007 h 3487140"/>
              <a:gd name="connsiteX72" fmla="*/ 3010808 w 7985267"/>
              <a:gd name="connsiteY72" fmla="*/ 2581402 h 3487140"/>
              <a:gd name="connsiteX73" fmla="*/ 3153493 w 7985267"/>
              <a:gd name="connsiteY73" fmla="*/ 2671064 h 3487140"/>
              <a:gd name="connsiteX74" fmla="*/ 3250058 w 7985267"/>
              <a:gd name="connsiteY74" fmla="*/ 2596831 h 3487140"/>
              <a:gd name="connsiteX75" fmla="*/ 3216872 w 7985267"/>
              <a:gd name="connsiteY75" fmla="*/ 2530750 h 3487140"/>
              <a:gd name="connsiteX76" fmla="*/ 3094814 w 7985267"/>
              <a:gd name="connsiteY76" fmla="*/ 2615379 h 3487140"/>
              <a:gd name="connsiteX77" fmla="*/ 2949135 w 7985267"/>
              <a:gd name="connsiteY77" fmla="*/ 2907028 h 3487140"/>
              <a:gd name="connsiteX78" fmla="*/ 2901310 w 7985267"/>
              <a:gd name="connsiteY78" fmla="*/ 3008333 h 3487140"/>
              <a:gd name="connsiteX79" fmla="*/ 2865462 w 7985267"/>
              <a:gd name="connsiteY79" fmla="*/ 3024053 h 3487140"/>
              <a:gd name="connsiteX80" fmla="*/ 2770436 w 7985267"/>
              <a:gd name="connsiteY80" fmla="*/ 3013989 h 3487140"/>
              <a:gd name="connsiteX81" fmla="*/ 2777339 w 7985267"/>
              <a:gd name="connsiteY81" fmla="*/ 2956724 h 3487140"/>
              <a:gd name="connsiteX82" fmla="*/ 2966102 w 7985267"/>
              <a:gd name="connsiteY82" fmla="*/ 2951068 h 3487140"/>
              <a:gd name="connsiteX83" fmla="*/ 3052312 w 7985267"/>
              <a:gd name="connsiteY83" fmla="*/ 2951068 h 3487140"/>
              <a:gd name="connsiteX84" fmla="*/ 3133490 w 7985267"/>
              <a:gd name="connsiteY84" fmla="*/ 2822066 h 3487140"/>
              <a:gd name="connsiteX85" fmla="*/ 3273804 w 7985267"/>
              <a:gd name="connsiteY85" fmla="*/ 2789337 h 3487140"/>
              <a:gd name="connsiteX86" fmla="*/ 3401517 w 7985267"/>
              <a:gd name="connsiteY86" fmla="*/ 2713815 h 3487140"/>
              <a:gd name="connsiteX87" fmla="*/ 3487727 w 7985267"/>
              <a:gd name="connsiteY87" fmla="*/ 2544556 h 3487140"/>
              <a:gd name="connsiteX88" fmla="*/ 3707306 w 7985267"/>
              <a:gd name="connsiteY88" fmla="*/ 2482883 h 3487140"/>
              <a:gd name="connsiteX89" fmla="*/ 4242280 w 7985267"/>
              <a:gd name="connsiteY89" fmla="*/ 2466831 h 3487140"/>
              <a:gd name="connsiteX90" fmla="*/ 4398022 w 7985267"/>
              <a:gd name="connsiteY90" fmla="*/ 2420918 h 3487140"/>
              <a:gd name="connsiteX91" fmla="*/ 4247935 w 7985267"/>
              <a:gd name="connsiteY91" fmla="*/ 2252907 h 3487140"/>
              <a:gd name="connsiteX92" fmla="*/ 3772556 w 7985267"/>
              <a:gd name="connsiteY92" fmla="*/ 1791709 h 3487140"/>
              <a:gd name="connsiteX93" fmla="*/ 3508437 w 7985267"/>
              <a:gd name="connsiteY93" fmla="*/ 1600118 h 3487140"/>
              <a:gd name="connsiteX94" fmla="*/ 3384467 w 7985267"/>
              <a:gd name="connsiteY94" fmla="*/ 1733529 h 3487140"/>
              <a:gd name="connsiteX95" fmla="*/ 3322169 w 7985267"/>
              <a:gd name="connsiteY95" fmla="*/ 1995900 h 3487140"/>
              <a:gd name="connsiteX96" fmla="*/ 3363049 w 7985267"/>
              <a:gd name="connsiteY96" fmla="*/ 2048133 h 3487140"/>
              <a:gd name="connsiteX97" fmla="*/ 3425970 w 7985267"/>
              <a:gd name="connsiteY97" fmla="*/ 1778817 h 3487140"/>
              <a:gd name="connsiteX98" fmla="*/ 3547737 w 7985267"/>
              <a:gd name="connsiteY98" fmla="*/ 1356918 h 3487140"/>
              <a:gd name="connsiteX99" fmla="*/ 3654074 w 7985267"/>
              <a:gd name="connsiteY99" fmla="*/ 986960 h 3487140"/>
              <a:gd name="connsiteX100" fmla="*/ 3624797 w 7985267"/>
              <a:gd name="connsiteY100" fmla="*/ 867107 h 3487140"/>
              <a:gd name="connsiteX101" fmla="*/ 3449883 w 7985267"/>
              <a:gd name="connsiteY101" fmla="*/ 840034 h 3487140"/>
              <a:gd name="connsiteX102" fmla="*/ 3305784 w 7985267"/>
              <a:gd name="connsiteY102" fmla="*/ 782769 h 3487140"/>
              <a:gd name="connsiteX103" fmla="*/ 3322128 w 7985267"/>
              <a:gd name="connsiteY103" fmla="*/ 714816 h 3487140"/>
              <a:gd name="connsiteX104" fmla="*/ 3495795 w 7985267"/>
              <a:gd name="connsiteY104" fmla="*/ 723008 h 3487140"/>
              <a:gd name="connsiteX105" fmla="*/ 3698406 w 7985267"/>
              <a:gd name="connsiteY105" fmla="*/ 729288 h 3487140"/>
              <a:gd name="connsiteX106" fmla="*/ 3865128 w 7985267"/>
              <a:gd name="connsiteY106" fmla="*/ 682087 h 3487140"/>
              <a:gd name="connsiteX107" fmla="*/ 3982777 w 7985267"/>
              <a:gd name="connsiteY107" fmla="*/ 703463 h 3487140"/>
              <a:gd name="connsiteX108" fmla="*/ 4005442 w 7985267"/>
              <a:gd name="connsiteY108" fmla="*/ 797199 h 3487140"/>
              <a:gd name="connsiteX109" fmla="*/ 3877729 w 7985267"/>
              <a:gd name="connsiteY109" fmla="*/ 890936 h 3487140"/>
              <a:gd name="connsiteX110" fmla="*/ 3707846 w 7985267"/>
              <a:gd name="connsiteY110" fmla="*/ 918009 h 3487140"/>
              <a:gd name="connsiteX111" fmla="*/ 3580133 w 7985267"/>
              <a:gd name="connsiteY111" fmla="*/ 1002306 h 3487140"/>
              <a:gd name="connsiteX112" fmla="*/ 3479243 w 7985267"/>
              <a:gd name="connsiteY112" fmla="*/ 1299902 h 3487140"/>
              <a:gd name="connsiteX113" fmla="*/ 3540293 w 7985267"/>
              <a:gd name="connsiteY113" fmla="*/ 1545930 h 3487140"/>
              <a:gd name="connsiteX114" fmla="*/ 3752968 w 7985267"/>
              <a:gd name="connsiteY114" fmla="*/ 1536490 h 3487140"/>
              <a:gd name="connsiteX115" fmla="*/ 3932499 w 7985267"/>
              <a:gd name="connsiteY115" fmla="*/ 1376048 h 3487140"/>
              <a:gd name="connsiteX116" fmla="*/ 3935660 w 7985267"/>
              <a:gd name="connsiteY116" fmla="*/ 1231949 h 3487140"/>
              <a:gd name="connsiteX117" fmla="*/ 3717619 w 7985267"/>
              <a:gd name="connsiteY117" fmla="*/ 1191693 h 3487140"/>
              <a:gd name="connsiteX118" fmla="*/ 3726103 w 7985267"/>
              <a:gd name="connsiteY118" fmla="*/ 1255238 h 3487140"/>
              <a:gd name="connsiteX119" fmla="*/ 4151121 w 7985267"/>
              <a:gd name="connsiteY119" fmla="*/ 1241722 h 3487140"/>
              <a:gd name="connsiteX120" fmla="*/ 4635941 w 7985267"/>
              <a:gd name="connsiteY120" fmla="*/ 1259646 h 3487140"/>
              <a:gd name="connsiteX121" fmla="*/ 4865293 w 7985267"/>
              <a:gd name="connsiteY121" fmla="*/ 1236981 h 3487140"/>
              <a:gd name="connsiteX122" fmla="*/ 4847037 w 7985267"/>
              <a:gd name="connsiteY122" fmla="*/ 1185995 h 3487140"/>
              <a:gd name="connsiteX123" fmla="*/ 4486519 w 7985267"/>
              <a:gd name="connsiteY123" fmla="*/ 1177512 h 3487140"/>
              <a:gd name="connsiteX124" fmla="*/ 4115939 w 7985267"/>
              <a:gd name="connsiteY124" fmla="*/ 1331342 h 3487140"/>
              <a:gd name="connsiteX125" fmla="*/ 3770185 w 7985267"/>
              <a:gd name="connsiteY125" fmla="*/ 1604110 h 3487140"/>
              <a:gd name="connsiteX126" fmla="*/ 3537382 w 7985267"/>
              <a:gd name="connsiteY126" fmla="*/ 1921252 h 3487140"/>
              <a:gd name="connsiteX127" fmla="*/ 3441732 w 7985267"/>
              <a:gd name="connsiteY127" fmla="*/ 2419255 h 3487140"/>
              <a:gd name="connsiteX128" fmla="*/ 3672040 w 7985267"/>
              <a:gd name="connsiteY128" fmla="*/ 3048465 h 3487140"/>
              <a:gd name="connsiteX129" fmla="*/ 4250265 w 7985267"/>
              <a:gd name="connsiteY129" fmla="*/ 3394510 h 3487140"/>
              <a:gd name="connsiteX130" fmla="*/ 4888914 w 7985267"/>
              <a:gd name="connsiteY130" fmla="*/ 3330632 h 3487140"/>
              <a:gd name="connsiteX131" fmla="*/ 5384089 w 7985267"/>
              <a:gd name="connsiteY131" fmla="*/ 2841404 h 3487140"/>
              <a:gd name="connsiteX132" fmla="*/ 5417442 w 7985267"/>
              <a:gd name="connsiteY132" fmla="*/ 2052999 h 3487140"/>
              <a:gd name="connsiteX133" fmla="*/ 4986435 w 7985267"/>
              <a:gd name="connsiteY133" fmla="*/ 1482011 h 3487140"/>
              <a:gd name="connsiteX134" fmla="*/ 4519581 w 7985267"/>
              <a:gd name="connsiteY134" fmla="*/ 1352717 h 3487140"/>
              <a:gd name="connsiteX135" fmla="*/ 4359139 w 7985267"/>
              <a:gd name="connsiteY135" fmla="*/ 1466624 h 3487140"/>
              <a:gd name="connsiteX136" fmla="*/ 4381180 w 7985267"/>
              <a:gd name="connsiteY136" fmla="*/ 2001140 h 3487140"/>
              <a:gd name="connsiteX137" fmla="*/ 4415156 w 7985267"/>
              <a:gd name="connsiteY137" fmla="*/ 2313208 h 3487140"/>
              <a:gd name="connsiteX138" fmla="*/ 4506856 w 7985267"/>
              <a:gd name="connsiteY138" fmla="*/ 2399085 h 3487140"/>
              <a:gd name="connsiteX139" fmla="*/ 4611322 w 7985267"/>
              <a:gd name="connsiteY139" fmla="*/ 2362905 h 3487140"/>
              <a:gd name="connsiteX140" fmla="*/ 4575931 w 7985267"/>
              <a:gd name="connsiteY140" fmla="*/ 2271372 h 3487140"/>
              <a:gd name="connsiteX141" fmla="*/ 4478327 w 7985267"/>
              <a:gd name="connsiteY141" fmla="*/ 2303394 h 3487140"/>
              <a:gd name="connsiteX142" fmla="*/ 4461941 w 7985267"/>
              <a:gd name="connsiteY142" fmla="*/ 2437262 h 3487140"/>
              <a:gd name="connsiteX143" fmla="*/ 4460860 w 7985267"/>
              <a:gd name="connsiteY143" fmla="*/ 2519521 h 3487140"/>
              <a:gd name="connsiteX144" fmla="*/ 4281746 w 7985267"/>
              <a:gd name="connsiteY144" fmla="*/ 2539400 h 3487140"/>
              <a:gd name="connsiteX145" fmla="*/ 3871491 w 7985267"/>
              <a:gd name="connsiteY145" fmla="*/ 2545679 h 3487140"/>
              <a:gd name="connsiteX146" fmla="*/ 3631119 w 7985267"/>
              <a:gd name="connsiteY146" fmla="*/ 2602944 h 3487140"/>
              <a:gd name="connsiteX147" fmla="*/ 3621512 w 7985267"/>
              <a:gd name="connsiteY147" fmla="*/ 2790460 h 3487140"/>
              <a:gd name="connsiteX148" fmla="*/ 3814849 w 7985267"/>
              <a:gd name="connsiteY148" fmla="*/ 3133385 h 3487140"/>
              <a:gd name="connsiteX149" fmla="*/ 4306739 w 7985267"/>
              <a:gd name="connsiteY149" fmla="*/ 3465290 h 3487140"/>
              <a:gd name="connsiteX150" fmla="*/ 5047485 w 7985267"/>
              <a:gd name="connsiteY150" fmla="*/ 3390434 h 3487140"/>
              <a:gd name="connsiteX151" fmla="*/ 5487308 w 7985267"/>
              <a:gd name="connsiteY151" fmla="*/ 3017940 h 3487140"/>
              <a:gd name="connsiteX152" fmla="*/ 5801289 w 7985267"/>
              <a:gd name="connsiteY152" fmla="*/ 2655510 h 3487140"/>
              <a:gd name="connsiteX153" fmla="*/ 6173783 w 7985267"/>
              <a:gd name="connsiteY153" fmla="*/ 3163577 h 3487140"/>
              <a:gd name="connsiteX154" fmla="*/ 6397770 w 7985267"/>
              <a:gd name="connsiteY154" fmla="*/ 3255443 h 3487140"/>
              <a:gd name="connsiteX155" fmla="*/ 6475787 w 7985267"/>
              <a:gd name="connsiteY155" fmla="*/ 2786675 h 3487140"/>
              <a:gd name="connsiteX156" fmla="*/ 6785360 w 7985267"/>
              <a:gd name="connsiteY156" fmla="*/ 2869724 h 3487140"/>
              <a:gd name="connsiteX157" fmla="*/ 7024152 w 7985267"/>
              <a:gd name="connsiteY157" fmla="*/ 3245046 h 3487140"/>
              <a:gd name="connsiteX158" fmla="*/ 7396645 w 7985267"/>
              <a:gd name="connsiteY158" fmla="*/ 3329676 h 3487140"/>
              <a:gd name="connsiteX159" fmla="*/ 7985267 w 7985267"/>
              <a:gd name="connsiteY159" fmla="*/ 3217682 h 3487140"/>
              <a:gd name="connsiteX0" fmla="*/ 0 w 7710919"/>
              <a:gd name="connsiteY0" fmla="*/ 2954187 h 3487140"/>
              <a:gd name="connsiteX1" fmla="*/ 347334 w 7710919"/>
              <a:gd name="connsiteY1" fmla="*/ 3339906 h 3487140"/>
              <a:gd name="connsiteX2" fmla="*/ 805456 w 7710919"/>
              <a:gd name="connsiteY2" fmla="*/ 3385485 h 3487140"/>
              <a:gd name="connsiteX3" fmla="*/ 884138 w 7710919"/>
              <a:gd name="connsiteY3" fmla="*/ 3295741 h 3487140"/>
              <a:gd name="connsiteX4" fmla="*/ 633036 w 7710919"/>
              <a:gd name="connsiteY4" fmla="*/ 3112384 h 3487140"/>
              <a:gd name="connsiteX5" fmla="*/ 326873 w 7710919"/>
              <a:gd name="connsiteY5" fmla="*/ 2750287 h 3487140"/>
              <a:gd name="connsiteX6" fmla="*/ 235341 w 7710919"/>
              <a:gd name="connsiteY6" fmla="*/ 2305432 h 3487140"/>
              <a:gd name="connsiteX7" fmla="*/ 362929 w 7710919"/>
              <a:gd name="connsiteY7" fmla="*/ 1919713 h 3487140"/>
              <a:gd name="connsiteX8" fmla="*/ 687141 w 7710919"/>
              <a:gd name="connsiteY8" fmla="*/ 1637837 h 3487140"/>
              <a:gd name="connsiteX9" fmla="*/ 1180445 w 7710919"/>
              <a:gd name="connsiteY9" fmla="*/ 1545972 h 3487140"/>
              <a:gd name="connsiteX10" fmla="*/ 1415120 w 7710919"/>
              <a:gd name="connsiteY10" fmla="*/ 1517651 h 3487140"/>
              <a:gd name="connsiteX11" fmla="*/ 1399857 w 7710919"/>
              <a:gd name="connsiteY11" fmla="*/ 1460718 h 3487140"/>
              <a:gd name="connsiteX12" fmla="*/ 1123803 w 7710919"/>
              <a:gd name="connsiteY12" fmla="*/ 1416969 h 3487140"/>
              <a:gd name="connsiteX13" fmla="*/ 604383 w 7710919"/>
              <a:gd name="connsiteY13" fmla="*/ 1517318 h 3487140"/>
              <a:gd name="connsiteX14" fmla="*/ 195085 w 7710919"/>
              <a:gd name="connsiteY14" fmla="*/ 1960593 h 3487140"/>
              <a:gd name="connsiteX15" fmla="*/ 135615 w 7710919"/>
              <a:gd name="connsiteY15" fmla="*/ 2569342 h 3487140"/>
              <a:gd name="connsiteX16" fmla="*/ 549322 w 7710919"/>
              <a:gd name="connsiteY16" fmla="*/ 3165532 h 3487140"/>
              <a:gd name="connsiteX17" fmla="*/ 1339307 w 7710919"/>
              <a:gd name="connsiteY17" fmla="*/ 3283181 h 3487140"/>
              <a:gd name="connsiteX18" fmla="*/ 1941943 w 7710919"/>
              <a:gd name="connsiteY18" fmla="*/ 2757481 h 3487140"/>
              <a:gd name="connsiteX19" fmla="*/ 1931712 w 7710919"/>
              <a:gd name="connsiteY19" fmla="*/ 1980430 h 3487140"/>
              <a:gd name="connsiteX20" fmla="*/ 1601678 w 7710919"/>
              <a:gd name="connsiteY20" fmla="*/ 1589139 h 3487140"/>
              <a:gd name="connsiteX21" fmla="*/ 1412624 w 7710919"/>
              <a:gd name="connsiteY21" fmla="*/ 1660710 h 3487140"/>
              <a:gd name="connsiteX22" fmla="*/ 1304207 w 7710919"/>
              <a:gd name="connsiteY22" fmla="*/ 2116627 h 3487140"/>
              <a:gd name="connsiteX23" fmla="*/ 1080844 w 7710919"/>
              <a:gd name="connsiteY23" fmla="*/ 2374258 h 3487140"/>
              <a:gd name="connsiteX24" fmla="*/ 1025908 w 7710919"/>
              <a:gd name="connsiteY24" fmla="*/ 2276986 h 3487140"/>
              <a:gd name="connsiteX25" fmla="*/ 1405180 w 7710919"/>
              <a:gd name="connsiteY25" fmla="*/ 2021601 h 3487140"/>
              <a:gd name="connsiteX26" fmla="*/ 1665099 w 7710919"/>
              <a:gd name="connsiteY26" fmla="*/ 1234153 h 3487140"/>
              <a:gd name="connsiteX27" fmla="*/ 1895199 w 7710919"/>
              <a:gd name="connsiteY27" fmla="*/ 725296 h 3487140"/>
              <a:gd name="connsiteX28" fmla="*/ 2003782 w 7710919"/>
              <a:gd name="connsiteY28" fmla="*/ 539984 h 3487140"/>
              <a:gd name="connsiteX29" fmla="*/ 1972634 w 7710919"/>
              <a:gd name="connsiteY29" fmla="*/ 435851 h 3487140"/>
              <a:gd name="connsiteX30" fmla="*/ 1866296 w 7710919"/>
              <a:gd name="connsiteY30" fmla="*/ 350265 h 3487140"/>
              <a:gd name="connsiteX31" fmla="*/ 1821008 w 7710919"/>
              <a:gd name="connsiteY31" fmla="*/ 209327 h 3487140"/>
              <a:gd name="connsiteX32" fmla="*/ 1865838 w 7710919"/>
              <a:gd name="connsiteY32" fmla="*/ 82237 h 3487140"/>
              <a:gd name="connsiteX33" fmla="*/ 2046118 w 7710919"/>
              <a:gd name="connsiteY33" fmla="*/ 6716 h 3487140"/>
              <a:gd name="connsiteX34" fmla="*/ 2314811 w 7710919"/>
              <a:gd name="connsiteY34" fmla="*/ 10167 h 3487140"/>
              <a:gd name="connsiteX35" fmla="*/ 2398484 w 7710919"/>
              <a:gd name="connsiteY35" fmla="*/ 49800 h 3487140"/>
              <a:gd name="connsiteX36" fmla="*/ 2351449 w 7710919"/>
              <a:gd name="connsiteY36" fmla="*/ 86812 h 3487140"/>
              <a:gd name="connsiteX37" fmla="*/ 2115526 w 7710919"/>
              <a:gd name="connsiteY37" fmla="*/ 91886 h 3487140"/>
              <a:gd name="connsiteX38" fmla="*/ 1871993 w 7710919"/>
              <a:gd name="connsiteY38" fmla="*/ 75833 h 3487140"/>
              <a:gd name="connsiteX39" fmla="*/ 1764242 w 7710919"/>
              <a:gd name="connsiteY39" fmla="*/ 176931 h 3487140"/>
              <a:gd name="connsiteX40" fmla="*/ 1779504 w 7710919"/>
              <a:gd name="connsiteY40" fmla="*/ 370393 h 3487140"/>
              <a:gd name="connsiteX41" fmla="*/ 1724277 w 7710919"/>
              <a:gd name="connsiteY41" fmla="*/ 589348 h 3487140"/>
              <a:gd name="connsiteX42" fmla="*/ 1567743 w 7710919"/>
              <a:gd name="connsiteY42" fmla="*/ 903953 h 3487140"/>
              <a:gd name="connsiteX43" fmla="*/ 1357272 w 7710919"/>
              <a:gd name="connsiteY43" fmla="*/ 922501 h 3487140"/>
              <a:gd name="connsiteX44" fmla="*/ 1162853 w 7710919"/>
              <a:gd name="connsiteY44" fmla="*/ 866816 h 3487140"/>
              <a:gd name="connsiteX45" fmla="*/ 1104008 w 7710919"/>
              <a:gd name="connsiteY45" fmla="*/ 751038 h 3487140"/>
              <a:gd name="connsiteX46" fmla="*/ 1115944 w 7710919"/>
              <a:gd name="connsiteY46" fmla="*/ 369436 h 3487140"/>
              <a:gd name="connsiteX47" fmla="*/ 1177617 w 7710919"/>
              <a:gd name="connsiteY47" fmla="*/ 155805 h 3487140"/>
              <a:gd name="connsiteX48" fmla="*/ 1378981 w 7710919"/>
              <a:gd name="connsiteY48" fmla="*/ 156761 h 3487140"/>
              <a:gd name="connsiteX49" fmla="*/ 1631912 w 7710919"/>
              <a:gd name="connsiteY49" fmla="*/ 245175 h 3487140"/>
              <a:gd name="connsiteX50" fmla="*/ 1801004 w 7710919"/>
              <a:gd name="connsiteY50" fmla="*/ 357792 h 3487140"/>
              <a:gd name="connsiteX51" fmla="*/ 1905595 w 7710919"/>
              <a:gd name="connsiteY51" fmla="*/ 483301 h 3487140"/>
              <a:gd name="connsiteX52" fmla="*/ 1929799 w 7710919"/>
              <a:gd name="connsiteY52" fmla="*/ 600951 h 3487140"/>
              <a:gd name="connsiteX53" fmla="*/ 1902268 w 7710919"/>
              <a:gd name="connsiteY53" fmla="*/ 761726 h 3487140"/>
              <a:gd name="connsiteX54" fmla="*/ 2074189 w 7710919"/>
              <a:gd name="connsiteY54" fmla="*/ 1160004 h 3487140"/>
              <a:gd name="connsiteX55" fmla="*/ 2497169 w 7710919"/>
              <a:gd name="connsiteY55" fmla="*/ 1793622 h 3487140"/>
              <a:gd name="connsiteX56" fmla="*/ 2914660 w 7710919"/>
              <a:gd name="connsiteY56" fmla="*/ 2087475 h 3487140"/>
              <a:gd name="connsiteX57" fmla="*/ 3024283 w 7710919"/>
              <a:gd name="connsiteY57" fmla="*/ 2185620 h 3487140"/>
              <a:gd name="connsiteX58" fmla="*/ 2911334 w 7710919"/>
              <a:gd name="connsiteY58" fmla="*/ 2468120 h 3487140"/>
              <a:gd name="connsiteX59" fmla="*/ 2745235 w 7710919"/>
              <a:gd name="connsiteY59" fmla="*/ 2505548 h 3487140"/>
              <a:gd name="connsiteX60" fmla="*/ 2436785 w 7710919"/>
              <a:gd name="connsiteY60" fmla="*/ 2278109 h 3487140"/>
              <a:gd name="connsiteX61" fmla="*/ 1992096 w 7710919"/>
              <a:gd name="connsiteY61" fmla="*/ 1678800 h 3487140"/>
              <a:gd name="connsiteX62" fmla="*/ 1872243 w 7710919"/>
              <a:gd name="connsiteY62" fmla="*/ 1175432 h 3487140"/>
              <a:gd name="connsiteX63" fmla="*/ 2026697 w 7710919"/>
              <a:gd name="connsiteY63" fmla="*/ 1377420 h 3487140"/>
              <a:gd name="connsiteX64" fmla="*/ 2388337 w 7710919"/>
              <a:gd name="connsiteY64" fmla="*/ 2268710 h 3487140"/>
              <a:gd name="connsiteX65" fmla="*/ 2708139 w 7710919"/>
              <a:gd name="connsiteY65" fmla="*/ 2693105 h 3487140"/>
              <a:gd name="connsiteX66" fmla="*/ 2941567 w 7710919"/>
              <a:gd name="connsiteY66" fmla="*/ 2746586 h 3487140"/>
              <a:gd name="connsiteX67" fmla="*/ 3108788 w 7710919"/>
              <a:gd name="connsiteY67" fmla="*/ 2631432 h 3487140"/>
              <a:gd name="connsiteX68" fmla="*/ 3119975 w 7710919"/>
              <a:gd name="connsiteY68" fmla="*/ 2436680 h 3487140"/>
              <a:gd name="connsiteX69" fmla="*/ 2966145 w 7710919"/>
              <a:gd name="connsiteY69" fmla="*/ 2309258 h 3487140"/>
              <a:gd name="connsiteX70" fmla="*/ 2758959 w 7710919"/>
              <a:gd name="connsiteY70" fmla="*/ 2375007 h 3487140"/>
              <a:gd name="connsiteX71" fmla="*/ 2736460 w 7710919"/>
              <a:gd name="connsiteY71" fmla="*/ 2581402 h 3487140"/>
              <a:gd name="connsiteX72" fmla="*/ 2879145 w 7710919"/>
              <a:gd name="connsiteY72" fmla="*/ 2671064 h 3487140"/>
              <a:gd name="connsiteX73" fmla="*/ 2975710 w 7710919"/>
              <a:gd name="connsiteY73" fmla="*/ 2596831 h 3487140"/>
              <a:gd name="connsiteX74" fmla="*/ 2942524 w 7710919"/>
              <a:gd name="connsiteY74" fmla="*/ 2530750 h 3487140"/>
              <a:gd name="connsiteX75" fmla="*/ 2820466 w 7710919"/>
              <a:gd name="connsiteY75" fmla="*/ 2615379 h 3487140"/>
              <a:gd name="connsiteX76" fmla="*/ 2674787 w 7710919"/>
              <a:gd name="connsiteY76" fmla="*/ 2907028 h 3487140"/>
              <a:gd name="connsiteX77" fmla="*/ 2626962 w 7710919"/>
              <a:gd name="connsiteY77" fmla="*/ 3008333 h 3487140"/>
              <a:gd name="connsiteX78" fmla="*/ 2591114 w 7710919"/>
              <a:gd name="connsiteY78" fmla="*/ 3024053 h 3487140"/>
              <a:gd name="connsiteX79" fmla="*/ 2496088 w 7710919"/>
              <a:gd name="connsiteY79" fmla="*/ 3013989 h 3487140"/>
              <a:gd name="connsiteX80" fmla="*/ 2502991 w 7710919"/>
              <a:gd name="connsiteY80" fmla="*/ 2956724 h 3487140"/>
              <a:gd name="connsiteX81" fmla="*/ 2691754 w 7710919"/>
              <a:gd name="connsiteY81" fmla="*/ 2951068 h 3487140"/>
              <a:gd name="connsiteX82" fmla="*/ 2777964 w 7710919"/>
              <a:gd name="connsiteY82" fmla="*/ 2951068 h 3487140"/>
              <a:gd name="connsiteX83" fmla="*/ 2859142 w 7710919"/>
              <a:gd name="connsiteY83" fmla="*/ 2822066 h 3487140"/>
              <a:gd name="connsiteX84" fmla="*/ 2999456 w 7710919"/>
              <a:gd name="connsiteY84" fmla="*/ 2789337 h 3487140"/>
              <a:gd name="connsiteX85" fmla="*/ 3127169 w 7710919"/>
              <a:gd name="connsiteY85" fmla="*/ 2713815 h 3487140"/>
              <a:gd name="connsiteX86" fmla="*/ 3213379 w 7710919"/>
              <a:gd name="connsiteY86" fmla="*/ 2544556 h 3487140"/>
              <a:gd name="connsiteX87" fmla="*/ 3432958 w 7710919"/>
              <a:gd name="connsiteY87" fmla="*/ 2482883 h 3487140"/>
              <a:gd name="connsiteX88" fmla="*/ 3967932 w 7710919"/>
              <a:gd name="connsiteY88" fmla="*/ 2466831 h 3487140"/>
              <a:gd name="connsiteX89" fmla="*/ 4123674 w 7710919"/>
              <a:gd name="connsiteY89" fmla="*/ 2420918 h 3487140"/>
              <a:gd name="connsiteX90" fmla="*/ 3973587 w 7710919"/>
              <a:gd name="connsiteY90" fmla="*/ 2252907 h 3487140"/>
              <a:gd name="connsiteX91" fmla="*/ 3498208 w 7710919"/>
              <a:gd name="connsiteY91" fmla="*/ 1791709 h 3487140"/>
              <a:gd name="connsiteX92" fmla="*/ 3234089 w 7710919"/>
              <a:gd name="connsiteY92" fmla="*/ 1600118 h 3487140"/>
              <a:gd name="connsiteX93" fmla="*/ 3110119 w 7710919"/>
              <a:gd name="connsiteY93" fmla="*/ 1733529 h 3487140"/>
              <a:gd name="connsiteX94" fmla="*/ 3047821 w 7710919"/>
              <a:gd name="connsiteY94" fmla="*/ 1995900 h 3487140"/>
              <a:gd name="connsiteX95" fmla="*/ 3088701 w 7710919"/>
              <a:gd name="connsiteY95" fmla="*/ 2048133 h 3487140"/>
              <a:gd name="connsiteX96" fmla="*/ 3151622 w 7710919"/>
              <a:gd name="connsiteY96" fmla="*/ 1778817 h 3487140"/>
              <a:gd name="connsiteX97" fmla="*/ 3273389 w 7710919"/>
              <a:gd name="connsiteY97" fmla="*/ 1356918 h 3487140"/>
              <a:gd name="connsiteX98" fmla="*/ 3379726 w 7710919"/>
              <a:gd name="connsiteY98" fmla="*/ 986960 h 3487140"/>
              <a:gd name="connsiteX99" fmla="*/ 3350449 w 7710919"/>
              <a:gd name="connsiteY99" fmla="*/ 867107 h 3487140"/>
              <a:gd name="connsiteX100" fmla="*/ 3175535 w 7710919"/>
              <a:gd name="connsiteY100" fmla="*/ 840034 h 3487140"/>
              <a:gd name="connsiteX101" fmla="*/ 3031436 w 7710919"/>
              <a:gd name="connsiteY101" fmla="*/ 782769 h 3487140"/>
              <a:gd name="connsiteX102" fmla="*/ 3047780 w 7710919"/>
              <a:gd name="connsiteY102" fmla="*/ 714816 h 3487140"/>
              <a:gd name="connsiteX103" fmla="*/ 3221447 w 7710919"/>
              <a:gd name="connsiteY103" fmla="*/ 723008 h 3487140"/>
              <a:gd name="connsiteX104" fmla="*/ 3424058 w 7710919"/>
              <a:gd name="connsiteY104" fmla="*/ 729288 h 3487140"/>
              <a:gd name="connsiteX105" fmla="*/ 3590780 w 7710919"/>
              <a:gd name="connsiteY105" fmla="*/ 682087 h 3487140"/>
              <a:gd name="connsiteX106" fmla="*/ 3708429 w 7710919"/>
              <a:gd name="connsiteY106" fmla="*/ 703463 h 3487140"/>
              <a:gd name="connsiteX107" fmla="*/ 3731094 w 7710919"/>
              <a:gd name="connsiteY107" fmla="*/ 797199 h 3487140"/>
              <a:gd name="connsiteX108" fmla="*/ 3603381 w 7710919"/>
              <a:gd name="connsiteY108" fmla="*/ 890936 h 3487140"/>
              <a:gd name="connsiteX109" fmla="*/ 3433498 w 7710919"/>
              <a:gd name="connsiteY109" fmla="*/ 918009 h 3487140"/>
              <a:gd name="connsiteX110" fmla="*/ 3305785 w 7710919"/>
              <a:gd name="connsiteY110" fmla="*/ 1002306 h 3487140"/>
              <a:gd name="connsiteX111" fmla="*/ 3204895 w 7710919"/>
              <a:gd name="connsiteY111" fmla="*/ 1299902 h 3487140"/>
              <a:gd name="connsiteX112" fmla="*/ 3265945 w 7710919"/>
              <a:gd name="connsiteY112" fmla="*/ 1545930 h 3487140"/>
              <a:gd name="connsiteX113" fmla="*/ 3478620 w 7710919"/>
              <a:gd name="connsiteY113" fmla="*/ 1536490 h 3487140"/>
              <a:gd name="connsiteX114" fmla="*/ 3658151 w 7710919"/>
              <a:gd name="connsiteY114" fmla="*/ 1376048 h 3487140"/>
              <a:gd name="connsiteX115" fmla="*/ 3661312 w 7710919"/>
              <a:gd name="connsiteY115" fmla="*/ 1231949 h 3487140"/>
              <a:gd name="connsiteX116" fmla="*/ 3443271 w 7710919"/>
              <a:gd name="connsiteY116" fmla="*/ 1191693 h 3487140"/>
              <a:gd name="connsiteX117" fmla="*/ 3451755 w 7710919"/>
              <a:gd name="connsiteY117" fmla="*/ 1255238 h 3487140"/>
              <a:gd name="connsiteX118" fmla="*/ 3876773 w 7710919"/>
              <a:gd name="connsiteY118" fmla="*/ 1241722 h 3487140"/>
              <a:gd name="connsiteX119" fmla="*/ 4361593 w 7710919"/>
              <a:gd name="connsiteY119" fmla="*/ 1259646 h 3487140"/>
              <a:gd name="connsiteX120" fmla="*/ 4590945 w 7710919"/>
              <a:gd name="connsiteY120" fmla="*/ 1236981 h 3487140"/>
              <a:gd name="connsiteX121" fmla="*/ 4572689 w 7710919"/>
              <a:gd name="connsiteY121" fmla="*/ 1185995 h 3487140"/>
              <a:gd name="connsiteX122" fmla="*/ 4212171 w 7710919"/>
              <a:gd name="connsiteY122" fmla="*/ 1177512 h 3487140"/>
              <a:gd name="connsiteX123" fmla="*/ 3841591 w 7710919"/>
              <a:gd name="connsiteY123" fmla="*/ 1331342 h 3487140"/>
              <a:gd name="connsiteX124" fmla="*/ 3495837 w 7710919"/>
              <a:gd name="connsiteY124" fmla="*/ 1604110 h 3487140"/>
              <a:gd name="connsiteX125" fmla="*/ 3263034 w 7710919"/>
              <a:gd name="connsiteY125" fmla="*/ 1921252 h 3487140"/>
              <a:gd name="connsiteX126" fmla="*/ 3167384 w 7710919"/>
              <a:gd name="connsiteY126" fmla="*/ 2419255 h 3487140"/>
              <a:gd name="connsiteX127" fmla="*/ 3397692 w 7710919"/>
              <a:gd name="connsiteY127" fmla="*/ 3048465 h 3487140"/>
              <a:gd name="connsiteX128" fmla="*/ 3975917 w 7710919"/>
              <a:gd name="connsiteY128" fmla="*/ 3394510 h 3487140"/>
              <a:gd name="connsiteX129" fmla="*/ 4614566 w 7710919"/>
              <a:gd name="connsiteY129" fmla="*/ 3330632 h 3487140"/>
              <a:gd name="connsiteX130" fmla="*/ 5109741 w 7710919"/>
              <a:gd name="connsiteY130" fmla="*/ 2841404 h 3487140"/>
              <a:gd name="connsiteX131" fmla="*/ 5143094 w 7710919"/>
              <a:gd name="connsiteY131" fmla="*/ 2052999 h 3487140"/>
              <a:gd name="connsiteX132" fmla="*/ 4712087 w 7710919"/>
              <a:gd name="connsiteY132" fmla="*/ 1482011 h 3487140"/>
              <a:gd name="connsiteX133" fmla="*/ 4245233 w 7710919"/>
              <a:gd name="connsiteY133" fmla="*/ 1352717 h 3487140"/>
              <a:gd name="connsiteX134" fmla="*/ 4084791 w 7710919"/>
              <a:gd name="connsiteY134" fmla="*/ 1466624 h 3487140"/>
              <a:gd name="connsiteX135" fmla="*/ 4106832 w 7710919"/>
              <a:gd name="connsiteY135" fmla="*/ 2001140 h 3487140"/>
              <a:gd name="connsiteX136" fmla="*/ 4140808 w 7710919"/>
              <a:gd name="connsiteY136" fmla="*/ 2313208 h 3487140"/>
              <a:gd name="connsiteX137" fmla="*/ 4232508 w 7710919"/>
              <a:gd name="connsiteY137" fmla="*/ 2399085 h 3487140"/>
              <a:gd name="connsiteX138" fmla="*/ 4336974 w 7710919"/>
              <a:gd name="connsiteY138" fmla="*/ 2362905 h 3487140"/>
              <a:gd name="connsiteX139" fmla="*/ 4301583 w 7710919"/>
              <a:gd name="connsiteY139" fmla="*/ 2271372 h 3487140"/>
              <a:gd name="connsiteX140" fmla="*/ 4203979 w 7710919"/>
              <a:gd name="connsiteY140" fmla="*/ 2303394 h 3487140"/>
              <a:gd name="connsiteX141" fmla="*/ 4187593 w 7710919"/>
              <a:gd name="connsiteY141" fmla="*/ 2437262 h 3487140"/>
              <a:gd name="connsiteX142" fmla="*/ 4186512 w 7710919"/>
              <a:gd name="connsiteY142" fmla="*/ 2519521 h 3487140"/>
              <a:gd name="connsiteX143" fmla="*/ 4007398 w 7710919"/>
              <a:gd name="connsiteY143" fmla="*/ 2539400 h 3487140"/>
              <a:gd name="connsiteX144" fmla="*/ 3597143 w 7710919"/>
              <a:gd name="connsiteY144" fmla="*/ 2545679 h 3487140"/>
              <a:gd name="connsiteX145" fmla="*/ 3356771 w 7710919"/>
              <a:gd name="connsiteY145" fmla="*/ 2602944 h 3487140"/>
              <a:gd name="connsiteX146" fmla="*/ 3347164 w 7710919"/>
              <a:gd name="connsiteY146" fmla="*/ 2790460 h 3487140"/>
              <a:gd name="connsiteX147" fmla="*/ 3540501 w 7710919"/>
              <a:gd name="connsiteY147" fmla="*/ 3133385 h 3487140"/>
              <a:gd name="connsiteX148" fmla="*/ 4032391 w 7710919"/>
              <a:gd name="connsiteY148" fmla="*/ 3465290 h 3487140"/>
              <a:gd name="connsiteX149" fmla="*/ 4773137 w 7710919"/>
              <a:gd name="connsiteY149" fmla="*/ 3390434 h 3487140"/>
              <a:gd name="connsiteX150" fmla="*/ 5212960 w 7710919"/>
              <a:gd name="connsiteY150" fmla="*/ 3017940 h 3487140"/>
              <a:gd name="connsiteX151" fmla="*/ 5526941 w 7710919"/>
              <a:gd name="connsiteY151" fmla="*/ 2655510 h 3487140"/>
              <a:gd name="connsiteX152" fmla="*/ 5899435 w 7710919"/>
              <a:gd name="connsiteY152" fmla="*/ 3163577 h 3487140"/>
              <a:gd name="connsiteX153" fmla="*/ 6123422 w 7710919"/>
              <a:gd name="connsiteY153" fmla="*/ 3255443 h 3487140"/>
              <a:gd name="connsiteX154" fmla="*/ 6201439 w 7710919"/>
              <a:gd name="connsiteY154" fmla="*/ 2786675 h 3487140"/>
              <a:gd name="connsiteX155" fmla="*/ 6511012 w 7710919"/>
              <a:gd name="connsiteY155" fmla="*/ 2869724 h 3487140"/>
              <a:gd name="connsiteX156" fmla="*/ 6749804 w 7710919"/>
              <a:gd name="connsiteY156" fmla="*/ 3245046 h 3487140"/>
              <a:gd name="connsiteX157" fmla="*/ 7122297 w 7710919"/>
              <a:gd name="connsiteY157" fmla="*/ 3329676 h 3487140"/>
              <a:gd name="connsiteX158" fmla="*/ 7710919 w 7710919"/>
              <a:gd name="connsiteY158" fmla="*/ 3217682 h 3487140"/>
              <a:gd name="connsiteX0" fmla="*/ 240411 w 7603996"/>
              <a:gd name="connsiteY0" fmla="*/ 3339906 h 3487140"/>
              <a:gd name="connsiteX1" fmla="*/ 698533 w 7603996"/>
              <a:gd name="connsiteY1" fmla="*/ 3385485 h 3487140"/>
              <a:gd name="connsiteX2" fmla="*/ 777215 w 7603996"/>
              <a:gd name="connsiteY2" fmla="*/ 3295741 h 3487140"/>
              <a:gd name="connsiteX3" fmla="*/ 526113 w 7603996"/>
              <a:gd name="connsiteY3" fmla="*/ 3112384 h 3487140"/>
              <a:gd name="connsiteX4" fmla="*/ 219950 w 7603996"/>
              <a:gd name="connsiteY4" fmla="*/ 2750287 h 3487140"/>
              <a:gd name="connsiteX5" fmla="*/ 128418 w 7603996"/>
              <a:gd name="connsiteY5" fmla="*/ 2305432 h 3487140"/>
              <a:gd name="connsiteX6" fmla="*/ 256006 w 7603996"/>
              <a:gd name="connsiteY6" fmla="*/ 1919713 h 3487140"/>
              <a:gd name="connsiteX7" fmla="*/ 580218 w 7603996"/>
              <a:gd name="connsiteY7" fmla="*/ 1637837 h 3487140"/>
              <a:gd name="connsiteX8" fmla="*/ 1073522 w 7603996"/>
              <a:gd name="connsiteY8" fmla="*/ 1545972 h 3487140"/>
              <a:gd name="connsiteX9" fmla="*/ 1308197 w 7603996"/>
              <a:gd name="connsiteY9" fmla="*/ 1517651 h 3487140"/>
              <a:gd name="connsiteX10" fmla="*/ 1292934 w 7603996"/>
              <a:gd name="connsiteY10" fmla="*/ 1460718 h 3487140"/>
              <a:gd name="connsiteX11" fmla="*/ 1016880 w 7603996"/>
              <a:gd name="connsiteY11" fmla="*/ 1416969 h 3487140"/>
              <a:gd name="connsiteX12" fmla="*/ 497460 w 7603996"/>
              <a:gd name="connsiteY12" fmla="*/ 1517318 h 3487140"/>
              <a:gd name="connsiteX13" fmla="*/ 88162 w 7603996"/>
              <a:gd name="connsiteY13" fmla="*/ 1960593 h 3487140"/>
              <a:gd name="connsiteX14" fmla="*/ 28692 w 7603996"/>
              <a:gd name="connsiteY14" fmla="*/ 2569342 h 3487140"/>
              <a:gd name="connsiteX15" fmla="*/ 442399 w 7603996"/>
              <a:gd name="connsiteY15" fmla="*/ 3165532 h 3487140"/>
              <a:gd name="connsiteX16" fmla="*/ 1232384 w 7603996"/>
              <a:gd name="connsiteY16" fmla="*/ 3283181 h 3487140"/>
              <a:gd name="connsiteX17" fmla="*/ 1835020 w 7603996"/>
              <a:gd name="connsiteY17" fmla="*/ 2757481 h 3487140"/>
              <a:gd name="connsiteX18" fmla="*/ 1824789 w 7603996"/>
              <a:gd name="connsiteY18" fmla="*/ 1980430 h 3487140"/>
              <a:gd name="connsiteX19" fmla="*/ 1494755 w 7603996"/>
              <a:gd name="connsiteY19" fmla="*/ 1589139 h 3487140"/>
              <a:gd name="connsiteX20" fmla="*/ 1305701 w 7603996"/>
              <a:gd name="connsiteY20" fmla="*/ 1660710 h 3487140"/>
              <a:gd name="connsiteX21" fmla="*/ 1197284 w 7603996"/>
              <a:gd name="connsiteY21" fmla="*/ 2116627 h 3487140"/>
              <a:gd name="connsiteX22" fmla="*/ 973921 w 7603996"/>
              <a:gd name="connsiteY22" fmla="*/ 2374258 h 3487140"/>
              <a:gd name="connsiteX23" fmla="*/ 918985 w 7603996"/>
              <a:gd name="connsiteY23" fmla="*/ 2276986 h 3487140"/>
              <a:gd name="connsiteX24" fmla="*/ 1298257 w 7603996"/>
              <a:gd name="connsiteY24" fmla="*/ 2021601 h 3487140"/>
              <a:gd name="connsiteX25" fmla="*/ 1558176 w 7603996"/>
              <a:gd name="connsiteY25" fmla="*/ 1234153 h 3487140"/>
              <a:gd name="connsiteX26" fmla="*/ 1788276 w 7603996"/>
              <a:gd name="connsiteY26" fmla="*/ 725296 h 3487140"/>
              <a:gd name="connsiteX27" fmla="*/ 1896859 w 7603996"/>
              <a:gd name="connsiteY27" fmla="*/ 539984 h 3487140"/>
              <a:gd name="connsiteX28" fmla="*/ 1865711 w 7603996"/>
              <a:gd name="connsiteY28" fmla="*/ 435851 h 3487140"/>
              <a:gd name="connsiteX29" fmla="*/ 1759373 w 7603996"/>
              <a:gd name="connsiteY29" fmla="*/ 350265 h 3487140"/>
              <a:gd name="connsiteX30" fmla="*/ 1714085 w 7603996"/>
              <a:gd name="connsiteY30" fmla="*/ 209327 h 3487140"/>
              <a:gd name="connsiteX31" fmla="*/ 1758915 w 7603996"/>
              <a:gd name="connsiteY31" fmla="*/ 82237 h 3487140"/>
              <a:gd name="connsiteX32" fmla="*/ 1939195 w 7603996"/>
              <a:gd name="connsiteY32" fmla="*/ 6716 h 3487140"/>
              <a:gd name="connsiteX33" fmla="*/ 2207888 w 7603996"/>
              <a:gd name="connsiteY33" fmla="*/ 10167 h 3487140"/>
              <a:gd name="connsiteX34" fmla="*/ 2291561 w 7603996"/>
              <a:gd name="connsiteY34" fmla="*/ 49800 h 3487140"/>
              <a:gd name="connsiteX35" fmla="*/ 2244526 w 7603996"/>
              <a:gd name="connsiteY35" fmla="*/ 86812 h 3487140"/>
              <a:gd name="connsiteX36" fmla="*/ 2008603 w 7603996"/>
              <a:gd name="connsiteY36" fmla="*/ 91886 h 3487140"/>
              <a:gd name="connsiteX37" fmla="*/ 1765070 w 7603996"/>
              <a:gd name="connsiteY37" fmla="*/ 75833 h 3487140"/>
              <a:gd name="connsiteX38" fmla="*/ 1657319 w 7603996"/>
              <a:gd name="connsiteY38" fmla="*/ 176931 h 3487140"/>
              <a:gd name="connsiteX39" fmla="*/ 1672581 w 7603996"/>
              <a:gd name="connsiteY39" fmla="*/ 370393 h 3487140"/>
              <a:gd name="connsiteX40" fmla="*/ 1617354 w 7603996"/>
              <a:gd name="connsiteY40" fmla="*/ 589348 h 3487140"/>
              <a:gd name="connsiteX41" fmla="*/ 1460820 w 7603996"/>
              <a:gd name="connsiteY41" fmla="*/ 903953 h 3487140"/>
              <a:gd name="connsiteX42" fmla="*/ 1250349 w 7603996"/>
              <a:gd name="connsiteY42" fmla="*/ 922501 h 3487140"/>
              <a:gd name="connsiteX43" fmla="*/ 1055930 w 7603996"/>
              <a:gd name="connsiteY43" fmla="*/ 866816 h 3487140"/>
              <a:gd name="connsiteX44" fmla="*/ 997085 w 7603996"/>
              <a:gd name="connsiteY44" fmla="*/ 751038 h 3487140"/>
              <a:gd name="connsiteX45" fmla="*/ 1009021 w 7603996"/>
              <a:gd name="connsiteY45" fmla="*/ 369436 h 3487140"/>
              <a:gd name="connsiteX46" fmla="*/ 1070694 w 7603996"/>
              <a:gd name="connsiteY46" fmla="*/ 155805 h 3487140"/>
              <a:gd name="connsiteX47" fmla="*/ 1272058 w 7603996"/>
              <a:gd name="connsiteY47" fmla="*/ 156761 h 3487140"/>
              <a:gd name="connsiteX48" fmla="*/ 1524989 w 7603996"/>
              <a:gd name="connsiteY48" fmla="*/ 245175 h 3487140"/>
              <a:gd name="connsiteX49" fmla="*/ 1694081 w 7603996"/>
              <a:gd name="connsiteY49" fmla="*/ 357792 h 3487140"/>
              <a:gd name="connsiteX50" fmla="*/ 1798672 w 7603996"/>
              <a:gd name="connsiteY50" fmla="*/ 483301 h 3487140"/>
              <a:gd name="connsiteX51" fmla="*/ 1822876 w 7603996"/>
              <a:gd name="connsiteY51" fmla="*/ 600951 h 3487140"/>
              <a:gd name="connsiteX52" fmla="*/ 1795345 w 7603996"/>
              <a:gd name="connsiteY52" fmla="*/ 761726 h 3487140"/>
              <a:gd name="connsiteX53" fmla="*/ 1967266 w 7603996"/>
              <a:gd name="connsiteY53" fmla="*/ 1160004 h 3487140"/>
              <a:gd name="connsiteX54" fmla="*/ 2390246 w 7603996"/>
              <a:gd name="connsiteY54" fmla="*/ 1793622 h 3487140"/>
              <a:gd name="connsiteX55" fmla="*/ 2807737 w 7603996"/>
              <a:gd name="connsiteY55" fmla="*/ 2087475 h 3487140"/>
              <a:gd name="connsiteX56" fmla="*/ 2917360 w 7603996"/>
              <a:gd name="connsiteY56" fmla="*/ 2185620 h 3487140"/>
              <a:gd name="connsiteX57" fmla="*/ 2804411 w 7603996"/>
              <a:gd name="connsiteY57" fmla="*/ 2468120 h 3487140"/>
              <a:gd name="connsiteX58" fmla="*/ 2638312 w 7603996"/>
              <a:gd name="connsiteY58" fmla="*/ 2505548 h 3487140"/>
              <a:gd name="connsiteX59" fmla="*/ 2329862 w 7603996"/>
              <a:gd name="connsiteY59" fmla="*/ 2278109 h 3487140"/>
              <a:gd name="connsiteX60" fmla="*/ 1885173 w 7603996"/>
              <a:gd name="connsiteY60" fmla="*/ 1678800 h 3487140"/>
              <a:gd name="connsiteX61" fmla="*/ 1765320 w 7603996"/>
              <a:gd name="connsiteY61" fmla="*/ 1175432 h 3487140"/>
              <a:gd name="connsiteX62" fmla="*/ 1919774 w 7603996"/>
              <a:gd name="connsiteY62" fmla="*/ 1377420 h 3487140"/>
              <a:gd name="connsiteX63" fmla="*/ 2281414 w 7603996"/>
              <a:gd name="connsiteY63" fmla="*/ 2268710 h 3487140"/>
              <a:gd name="connsiteX64" fmla="*/ 2601216 w 7603996"/>
              <a:gd name="connsiteY64" fmla="*/ 2693105 h 3487140"/>
              <a:gd name="connsiteX65" fmla="*/ 2834644 w 7603996"/>
              <a:gd name="connsiteY65" fmla="*/ 2746586 h 3487140"/>
              <a:gd name="connsiteX66" fmla="*/ 3001865 w 7603996"/>
              <a:gd name="connsiteY66" fmla="*/ 2631432 h 3487140"/>
              <a:gd name="connsiteX67" fmla="*/ 3013052 w 7603996"/>
              <a:gd name="connsiteY67" fmla="*/ 2436680 h 3487140"/>
              <a:gd name="connsiteX68" fmla="*/ 2859222 w 7603996"/>
              <a:gd name="connsiteY68" fmla="*/ 2309258 h 3487140"/>
              <a:gd name="connsiteX69" fmla="*/ 2652036 w 7603996"/>
              <a:gd name="connsiteY69" fmla="*/ 2375007 h 3487140"/>
              <a:gd name="connsiteX70" fmla="*/ 2629537 w 7603996"/>
              <a:gd name="connsiteY70" fmla="*/ 2581402 h 3487140"/>
              <a:gd name="connsiteX71" fmla="*/ 2772222 w 7603996"/>
              <a:gd name="connsiteY71" fmla="*/ 2671064 h 3487140"/>
              <a:gd name="connsiteX72" fmla="*/ 2868787 w 7603996"/>
              <a:gd name="connsiteY72" fmla="*/ 2596831 h 3487140"/>
              <a:gd name="connsiteX73" fmla="*/ 2835601 w 7603996"/>
              <a:gd name="connsiteY73" fmla="*/ 2530750 h 3487140"/>
              <a:gd name="connsiteX74" fmla="*/ 2713543 w 7603996"/>
              <a:gd name="connsiteY74" fmla="*/ 2615379 h 3487140"/>
              <a:gd name="connsiteX75" fmla="*/ 2567864 w 7603996"/>
              <a:gd name="connsiteY75" fmla="*/ 2907028 h 3487140"/>
              <a:gd name="connsiteX76" fmla="*/ 2520039 w 7603996"/>
              <a:gd name="connsiteY76" fmla="*/ 3008333 h 3487140"/>
              <a:gd name="connsiteX77" fmla="*/ 2484191 w 7603996"/>
              <a:gd name="connsiteY77" fmla="*/ 3024053 h 3487140"/>
              <a:gd name="connsiteX78" fmla="*/ 2389165 w 7603996"/>
              <a:gd name="connsiteY78" fmla="*/ 3013989 h 3487140"/>
              <a:gd name="connsiteX79" fmla="*/ 2396068 w 7603996"/>
              <a:gd name="connsiteY79" fmla="*/ 2956724 h 3487140"/>
              <a:gd name="connsiteX80" fmla="*/ 2584831 w 7603996"/>
              <a:gd name="connsiteY80" fmla="*/ 2951068 h 3487140"/>
              <a:gd name="connsiteX81" fmla="*/ 2671041 w 7603996"/>
              <a:gd name="connsiteY81" fmla="*/ 2951068 h 3487140"/>
              <a:gd name="connsiteX82" fmla="*/ 2752219 w 7603996"/>
              <a:gd name="connsiteY82" fmla="*/ 2822066 h 3487140"/>
              <a:gd name="connsiteX83" fmla="*/ 2892533 w 7603996"/>
              <a:gd name="connsiteY83" fmla="*/ 2789337 h 3487140"/>
              <a:gd name="connsiteX84" fmla="*/ 3020246 w 7603996"/>
              <a:gd name="connsiteY84" fmla="*/ 2713815 h 3487140"/>
              <a:gd name="connsiteX85" fmla="*/ 3106456 w 7603996"/>
              <a:gd name="connsiteY85" fmla="*/ 2544556 h 3487140"/>
              <a:gd name="connsiteX86" fmla="*/ 3326035 w 7603996"/>
              <a:gd name="connsiteY86" fmla="*/ 2482883 h 3487140"/>
              <a:gd name="connsiteX87" fmla="*/ 3861009 w 7603996"/>
              <a:gd name="connsiteY87" fmla="*/ 2466831 h 3487140"/>
              <a:gd name="connsiteX88" fmla="*/ 4016751 w 7603996"/>
              <a:gd name="connsiteY88" fmla="*/ 2420918 h 3487140"/>
              <a:gd name="connsiteX89" fmla="*/ 3866664 w 7603996"/>
              <a:gd name="connsiteY89" fmla="*/ 2252907 h 3487140"/>
              <a:gd name="connsiteX90" fmla="*/ 3391285 w 7603996"/>
              <a:gd name="connsiteY90" fmla="*/ 1791709 h 3487140"/>
              <a:gd name="connsiteX91" fmla="*/ 3127166 w 7603996"/>
              <a:gd name="connsiteY91" fmla="*/ 1600118 h 3487140"/>
              <a:gd name="connsiteX92" fmla="*/ 3003196 w 7603996"/>
              <a:gd name="connsiteY92" fmla="*/ 1733529 h 3487140"/>
              <a:gd name="connsiteX93" fmla="*/ 2940898 w 7603996"/>
              <a:gd name="connsiteY93" fmla="*/ 1995900 h 3487140"/>
              <a:gd name="connsiteX94" fmla="*/ 2981778 w 7603996"/>
              <a:gd name="connsiteY94" fmla="*/ 2048133 h 3487140"/>
              <a:gd name="connsiteX95" fmla="*/ 3044699 w 7603996"/>
              <a:gd name="connsiteY95" fmla="*/ 1778817 h 3487140"/>
              <a:gd name="connsiteX96" fmla="*/ 3166466 w 7603996"/>
              <a:gd name="connsiteY96" fmla="*/ 1356918 h 3487140"/>
              <a:gd name="connsiteX97" fmla="*/ 3272803 w 7603996"/>
              <a:gd name="connsiteY97" fmla="*/ 986960 h 3487140"/>
              <a:gd name="connsiteX98" fmla="*/ 3243526 w 7603996"/>
              <a:gd name="connsiteY98" fmla="*/ 867107 h 3487140"/>
              <a:gd name="connsiteX99" fmla="*/ 3068612 w 7603996"/>
              <a:gd name="connsiteY99" fmla="*/ 840034 h 3487140"/>
              <a:gd name="connsiteX100" fmla="*/ 2924513 w 7603996"/>
              <a:gd name="connsiteY100" fmla="*/ 782769 h 3487140"/>
              <a:gd name="connsiteX101" fmla="*/ 2940857 w 7603996"/>
              <a:gd name="connsiteY101" fmla="*/ 714816 h 3487140"/>
              <a:gd name="connsiteX102" fmla="*/ 3114524 w 7603996"/>
              <a:gd name="connsiteY102" fmla="*/ 723008 h 3487140"/>
              <a:gd name="connsiteX103" fmla="*/ 3317135 w 7603996"/>
              <a:gd name="connsiteY103" fmla="*/ 729288 h 3487140"/>
              <a:gd name="connsiteX104" fmla="*/ 3483857 w 7603996"/>
              <a:gd name="connsiteY104" fmla="*/ 682087 h 3487140"/>
              <a:gd name="connsiteX105" fmla="*/ 3601506 w 7603996"/>
              <a:gd name="connsiteY105" fmla="*/ 703463 h 3487140"/>
              <a:gd name="connsiteX106" fmla="*/ 3624171 w 7603996"/>
              <a:gd name="connsiteY106" fmla="*/ 797199 h 3487140"/>
              <a:gd name="connsiteX107" fmla="*/ 3496458 w 7603996"/>
              <a:gd name="connsiteY107" fmla="*/ 890936 h 3487140"/>
              <a:gd name="connsiteX108" fmla="*/ 3326575 w 7603996"/>
              <a:gd name="connsiteY108" fmla="*/ 918009 h 3487140"/>
              <a:gd name="connsiteX109" fmla="*/ 3198862 w 7603996"/>
              <a:gd name="connsiteY109" fmla="*/ 1002306 h 3487140"/>
              <a:gd name="connsiteX110" fmla="*/ 3097972 w 7603996"/>
              <a:gd name="connsiteY110" fmla="*/ 1299902 h 3487140"/>
              <a:gd name="connsiteX111" fmla="*/ 3159022 w 7603996"/>
              <a:gd name="connsiteY111" fmla="*/ 1545930 h 3487140"/>
              <a:gd name="connsiteX112" fmla="*/ 3371697 w 7603996"/>
              <a:gd name="connsiteY112" fmla="*/ 1536490 h 3487140"/>
              <a:gd name="connsiteX113" fmla="*/ 3551228 w 7603996"/>
              <a:gd name="connsiteY113" fmla="*/ 1376048 h 3487140"/>
              <a:gd name="connsiteX114" fmla="*/ 3554389 w 7603996"/>
              <a:gd name="connsiteY114" fmla="*/ 1231949 h 3487140"/>
              <a:gd name="connsiteX115" fmla="*/ 3336348 w 7603996"/>
              <a:gd name="connsiteY115" fmla="*/ 1191693 h 3487140"/>
              <a:gd name="connsiteX116" fmla="*/ 3344832 w 7603996"/>
              <a:gd name="connsiteY116" fmla="*/ 1255238 h 3487140"/>
              <a:gd name="connsiteX117" fmla="*/ 3769850 w 7603996"/>
              <a:gd name="connsiteY117" fmla="*/ 1241722 h 3487140"/>
              <a:gd name="connsiteX118" fmla="*/ 4254670 w 7603996"/>
              <a:gd name="connsiteY118" fmla="*/ 1259646 h 3487140"/>
              <a:gd name="connsiteX119" fmla="*/ 4484022 w 7603996"/>
              <a:gd name="connsiteY119" fmla="*/ 1236981 h 3487140"/>
              <a:gd name="connsiteX120" fmla="*/ 4465766 w 7603996"/>
              <a:gd name="connsiteY120" fmla="*/ 1185995 h 3487140"/>
              <a:gd name="connsiteX121" fmla="*/ 4105248 w 7603996"/>
              <a:gd name="connsiteY121" fmla="*/ 1177512 h 3487140"/>
              <a:gd name="connsiteX122" fmla="*/ 3734668 w 7603996"/>
              <a:gd name="connsiteY122" fmla="*/ 1331342 h 3487140"/>
              <a:gd name="connsiteX123" fmla="*/ 3388914 w 7603996"/>
              <a:gd name="connsiteY123" fmla="*/ 1604110 h 3487140"/>
              <a:gd name="connsiteX124" fmla="*/ 3156111 w 7603996"/>
              <a:gd name="connsiteY124" fmla="*/ 1921252 h 3487140"/>
              <a:gd name="connsiteX125" fmla="*/ 3060461 w 7603996"/>
              <a:gd name="connsiteY125" fmla="*/ 2419255 h 3487140"/>
              <a:gd name="connsiteX126" fmla="*/ 3290769 w 7603996"/>
              <a:gd name="connsiteY126" fmla="*/ 3048465 h 3487140"/>
              <a:gd name="connsiteX127" fmla="*/ 3868994 w 7603996"/>
              <a:gd name="connsiteY127" fmla="*/ 3394510 h 3487140"/>
              <a:gd name="connsiteX128" fmla="*/ 4507643 w 7603996"/>
              <a:gd name="connsiteY128" fmla="*/ 3330632 h 3487140"/>
              <a:gd name="connsiteX129" fmla="*/ 5002818 w 7603996"/>
              <a:gd name="connsiteY129" fmla="*/ 2841404 h 3487140"/>
              <a:gd name="connsiteX130" fmla="*/ 5036171 w 7603996"/>
              <a:gd name="connsiteY130" fmla="*/ 2052999 h 3487140"/>
              <a:gd name="connsiteX131" fmla="*/ 4605164 w 7603996"/>
              <a:gd name="connsiteY131" fmla="*/ 1482011 h 3487140"/>
              <a:gd name="connsiteX132" fmla="*/ 4138310 w 7603996"/>
              <a:gd name="connsiteY132" fmla="*/ 1352717 h 3487140"/>
              <a:gd name="connsiteX133" fmla="*/ 3977868 w 7603996"/>
              <a:gd name="connsiteY133" fmla="*/ 1466624 h 3487140"/>
              <a:gd name="connsiteX134" fmla="*/ 3999909 w 7603996"/>
              <a:gd name="connsiteY134" fmla="*/ 2001140 h 3487140"/>
              <a:gd name="connsiteX135" fmla="*/ 4033885 w 7603996"/>
              <a:gd name="connsiteY135" fmla="*/ 2313208 h 3487140"/>
              <a:gd name="connsiteX136" fmla="*/ 4125585 w 7603996"/>
              <a:gd name="connsiteY136" fmla="*/ 2399085 h 3487140"/>
              <a:gd name="connsiteX137" fmla="*/ 4230051 w 7603996"/>
              <a:gd name="connsiteY137" fmla="*/ 2362905 h 3487140"/>
              <a:gd name="connsiteX138" fmla="*/ 4194660 w 7603996"/>
              <a:gd name="connsiteY138" fmla="*/ 2271372 h 3487140"/>
              <a:gd name="connsiteX139" fmla="*/ 4097056 w 7603996"/>
              <a:gd name="connsiteY139" fmla="*/ 2303394 h 3487140"/>
              <a:gd name="connsiteX140" fmla="*/ 4080670 w 7603996"/>
              <a:gd name="connsiteY140" fmla="*/ 2437262 h 3487140"/>
              <a:gd name="connsiteX141" fmla="*/ 4079589 w 7603996"/>
              <a:gd name="connsiteY141" fmla="*/ 2519521 h 3487140"/>
              <a:gd name="connsiteX142" fmla="*/ 3900475 w 7603996"/>
              <a:gd name="connsiteY142" fmla="*/ 2539400 h 3487140"/>
              <a:gd name="connsiteX143" fmla="*/ 3490220 w 7603996"/>
              <a:gd name="connsiteY143" fmla="*/ 2545679 h 3487140"/>
              <a:gd name="connsiteX144" fmla="*/ 3249848 w 7603996"/>
              <a:gd name="connsiteY144" fmla="*/ 2602944 h 3487140"/>
              <a:gd name="connsiteX145" fmla="*/ 3240241 w 7603996"/>
              <a:gd name="connsiteY145" fmla="*/ 2790460 h 3487140"/>
              <a:gd name="connsiteX146" fmla="*/ 3433578 w 7603996"/>
              <a:gd name="connsiteY146" fmla="*/ 3133385 h 3487140"/>
              <a:gd name="connsiteX147" fmla="*/ 3925468 w 7603996"/>
              <a:gd name="connsiteY147" fmla="*/ 3465290 h 3487140"/>
              <a:gd name="connsiteX148" fmla="*/ 4666214 w 7603996"/>
              <a:gd name="connsiteY148" fmla="*/ 3390434 h 3487140"/>
              <a:gd name="connsiteX149" fmla="*/ 5106037 w 7603996"/>
              <a:gd name="connsiteY149" fmla="*/ 3017940 h 3487140"/>
              <a:gd name="connsiteX150" fmla="*/ 5420018 w 7603996"/>
              <a:gd name="connsiteY150" fmla="*/ 2655510 h 3487140"/>
              <a:gd name="connsiteX151" fmla="*/ 5792512 w 7603996"/>
              <a:gd name="connsiteY151" fmla="*/ 3163577 h 3487140"/>
              <a:gd name="connsiteX152" fmla="*/ 6016499 w 7603996"/>
              <a:gd name="connsiteY152" fmla="*/ 3255443 h 3487140"/>
              <a:gd name="connsiteX153" fmla="*/ 6094516 w 7603996"/>
              <a:gd name="connsiteY153" fmla="*/ 2786675 h 3487140"/>
              <a:gd name="connsiteX154" fmla="*/ 6404089 w 7603996"/>
              <a:gd name="connsiteY154" fmla="*/ 2869724 h 3487140"/>
              <a:gd name="connsiteX155" fmla="*/ 6642881 w 7603996"/>
              <a:gd name="connsiteY155" fmla="*/ 3245046 h 3487140"/>
              <a:gd name="connsiteX156" fmla="*/ 7015374 w 7603996"/>
              <a:gd name="connsiteY156" fmla="*/ 3329676 h 3487140"/>
              <a:gd name="connsiteX157" fmla="*/ 7603996 w 7603996"/>
              <a:gd name="connsiteY157" fmla="*/ 3217682 h 3487140"/>
              <a:gd name="connsiteX0" fmla="*/ 698533 w 7603996"/>
              <a:gd name="connsiteY0" fmla="*/ 3385485 h 3487140"/>
              <a:gd name="connsiteX1" fmla="*/ 777215 w 7603996"/>
              <a:gd name="connsiteY1" fmla="*/ 3295741 h 3487140"/>
              <a:gd name="connsiteX2" fmla="*/ 526113 w 7603996"/>
              <a:gd name="connsiteY2" fmla="*/ 3112384 h 3487140"/>
              <a:gd name="connsiteX3" fmla="*/ 219950 w 7603996"/>
              <a:gd name="connsiteY3" fmla="*/ 2750287 h 3487140"/>
              <a:gd name="connsiteX4" fmla="*/ 128418 w 7603996"/>
              <a:gd name="connsiteY4" fmla="*/ 2305432 h 3487140"/>
              <a:gd name="connsiteX5" fmla="*/ 256006 w 7603996"/>
              <a:gd name="connsiteY5" fmla="*/ 1919713 h 3487140"/>
              <a:gd name="connsiteX6" fmla="*/ 580218 w 7603996"/>
              <a:gd name="connsiteY6" fmla="*/ 1637837 h 3487140"/>
              <a:gd name="connsiteX7" fmla="*/ 1073522 w 7603996"/>
              <a:gd name="connsiteY7" fmla="*/ 1545972 h 3487140"/>
              <a:gd name="connsiteX8" fmla="*/ 1308197 w 7603996"/>
              <a:gd name="connsiteY8" fmla="*/ 1517651 h 3487140"/>
              <a:gd name="connsiteX9" fmla="*/ 1292934 w 7603996"/>
              <a:gd name="connsiteY9" fmla="*/ 1460718 h 3487140"/>
              <a:gd name="connsiteX10" fmla="*/ 1016880 w 7603996"/>
              <a:gd name="connsiteY10" fmla="*/ 1416969 h 3487140"/>
              <a:gd name="connsiteX11" fmla="*/ 497460 w 7603996"/>
              <a:gd name="connsiteY11" fmla="*/ 1517318 h 3487140"/>
              <a:gd name="connsiteX12" fmla="*/ 88162 w 7603996"/>
              <a:gd name="connsiteY12" fmla="*/ 1960593 h 3487140"/>
              <a:gd name="connsiteX13" fmla="*/ 28692 w 7603996"/>
              <a:gd name="connsiteY13" fmla="*/ 2569342 h 3487140"/>
              <a:gd name="connsiteX14" fmla="*/ 442399 w 7603996"/>
              <a:gd name="connsiteY14" fmla="*/ 3165532 h 3487140"/>
              <a:gd name="connsiteX15" fmla="*/ 1232384 w 7603996"/>
              <a:gd name="connsiteY15" fmla="*/ 3283181 h 3487140"/>
              <a:gd name="connsiteX16" fmla="*/ 1835020 w 7603996"/>
              <a:gd name="connsiteY16" fmla="*/ 2757481 h 3487140"/>
              <a:gd name="connsiteX17" fmla="*/ 1824789 w 7603996"/>
              <a:gd name="connsiteY17" fmla="*/ 1980430 h 3487140"/>
              <a:gd name="connsiteX18" fmla="*/ 1494755 w 7603996"/>
              <a:gd name="connsiteY18" fmla="*/ 1589139 h 3487140"/>
              <a:gd name="connsiteX19" fmla="*/ 1305701 w 7603996"/>
              <a:gd name="connsiteY19" fmla="*/ 1660710 h 3487140"/>
              <a:gd name="connsiteX20" fmla="*/ 1197284 w 7603996"/>
              <a:gd name="connsiteY20" fmla="*/ 2116627 h 3487140"/>
              <a:gd name="connsiteX21" fmla="*/ 973921 w 7603996"/>
              <a:gd name="connsiteY21" fmla="*/ 2374258 h 3487140"/>
              <a:gd name="connsiteX22" fmla="*/ 918985 w 7603996"/>
              <a:gd name="connsiteY22" fmla="*/ 2276986 h 3487140"/>
              <a:gd name="connsiteX23" fmla="*/ 1298257 w 7603996"/>
              <a:gd name="connsiteY23" fmla="*/ 2021601 h 3487140"/>
              <a:gd name="connsiteX24" fmla="*/ 1558176 w 7603996"/>
              <a:gd name="connsiteY24" fmla="*/ 1234153 h 3487140"/>
              <a:gd name="connsiteX25" fmla="*/ 1788276 w 7603996"/>
              <a:gd name="connsiteY25" fmla="*/ 725296 h 3487140"/>
              <a:gd name="connsiteX26" fmla="*/ 1896859 w 7603996"/>
              <a:gd name="connsiteY26" fmla="*/ 539984 h 3487140"/>
              <a:gd name="connsiteX27" fmla="*/ 1865711 w 7603996"/>
              <a:gd name="connsiteY27" fmla="*/ 435851 h 3487140"/>
              <a:gd name="connsiteX28" fmla="*/ 1759373 w 7603996"/>
              <a:gd name="connsiteY28" fmla="*/ 350265 h 3487140"/>
              <a:gd name="connsiteX29" fmla="*/ 1714085 w 7603996"/>
              <a:gd name="connsiteY29" fmla="*/ 209327 h 3487140"/>
              <a:gd name="connsiteX30" fmla="*/ 1758915 w 7603996"/>
              <a:gd name="connsiteY30" fmla="*/ 82237 h 3487140"/>
              <a:gd name="connsiteX31" fmla="*/ 1939195 w 7603996"/>
              <a:gd name="connsiteY31" fmla="*/ 6716 h 3487140"/>
              <a:gd name="connsiteX32" fmla="*/ 2207888 w 7603996"/>
              <a:gd name="connsiteY32" fmla="*/ 10167 h 3487140"/>
              <a:gd name="connsiteX33" fmla="*/ 2291561 w 7603996"/>
              <a:gd name="connsiteY33" fmla="*/ 49800 h 3487140"/>
              <a:gd name="connsiteX34" fmla="*/ 2244526 w 7603996"/>
              <a:gd name="connsiteY34" fmla="*/ 86812 h 3487140"/>
              <a:gd name="connsiteX35" fmla="*/ 2008603 w 7603996"/>
              <a:gd name="connsiteY35" fmla="*/ 91886 h 3487140"/>
              <a:gd name="connsiteX36" fmla="*/ 1765070 w 7603996"/>
              <a:gd name="connsiteY36" fmla="*/ 75833 h 3487140"/>
              <a:gd name="connsiteX37" fmla="*/ 1657319 w 7603996"/>
              <a:gd name="connsiteY37" fmla="*/ 176931 h 3487140"/>
              <a:gd name="connsiteX38" fmla="*/ 1672581 w 7603996"/>
              <a:gd name="connsiteY38" fmla="*/ 370393 h 3487140"/>
              <a:gd name="connsiteX39" fmla="*/ 1617354 w 7603996"/>
              <a:gd name="connsiteY39" fmla="*/ 589348 h 3487140"/>
              <a:gd name="connsiteX40" fmla="*/ 1460820 w 7603996"/>
              <a:gd name="connsiteY40" fmla="*/ 903953 h 3487140"/>
              <a:gd name="connsiteX41" fmla="*/ 1250349 w 7603996"/>
              <a:gd name="connsiteY41" fmla="*/ 922501 h 3487140"/>
              <a:gd name="connsiteX42" fmla="*/ 1055930 w 7603996"/>
              <a:gd name="connsiteY42" fmla="*/ 866816 h 3487140"/>
              <a:gd name="connsiteX43" fmla="*/ 997085 w 7603996"/>
              <a:gd name="connsiteY43" fmla="*/ 751038 h 3487140"/>
              <a:gd name="connsiteX44" fmla="*/ 1009021 w 7603996"/>
              <a:gd name="connsiteY44" fmla="*/ 369436 h 3487140"/>
              <a:gd name="connsiteX45" fmla="*/ 1070694 w 7603996"/>
              <a:gd name="connsiteY45" fmla="*/ 155805 h 3487140"/>
              <a:gd name="connsiteX46" fmla="*/ 1272058 w 7603996"/>
              <a:gd name="connsiteY46" fmla="*/ 156761 h 3487140"/>
              <a:gd name="connsiteX47" fmla="*/ 1524989 w 7603996"/>
              <a:gd name="connsiteY47" fmla="*/ 245175 h 3487140"/>
              <a:gd name="connsiteX48" fmla="*/ 1694081 w 7603996"/>
              <a:gd name="connsiteY48" fmla="*/ 357792 h 3487140"/>
              <a:gd name="connsiteX49" fmla="*/ 1798672 w 7603996"/>
              <a:gd name="connsiteY49" fmla="*/ 483301 h 3487140"/>
              <a:gd name="connsiteX50" fmla="*/ 1822876 w 7603996"/>
              <a:gd name="connsiteY50" fmla="*/ 600951 h 3487140"/>
              <a:gd name="connsiteX51" fmla="*/ 1795345 w 7603996"/>
              <a:gd name="connsiteY51" fmla="*/ 761726 h 3487140"/>
              <a:gd name="connsiteX52" fmla="*/ 1967266 w 7603996"/>
              <a:gd name="connsiteY52" fmla="*/ 1160004 h 3487140"/>
              <a:gd name="connsiteX53" fmla="*/ 2390246 w 7603996"/>
              <a:gd name="connsiteY53" fmla="*/ 1793622 h 3487140"/>
              <a:gd name="connsiteX54" fmla="*/ 2807737 w 7603996"/>
              <a:gd name="connsiteY54" fmla="*/ 2087475 h 3487140"/>
              <a:gd name="connsiteX55" fmla="*/ 2917360 w 7603996"/>
              <a:gd name="connsiteY55" fmla="*/ 2185620 h 3487140"/>
              <a:gd name="connsiteX56" fmla="*/ 2804411 w 7603996"/>
              <a:gd name="connsiteY56" fmla="*/ 2468120 h 3487140"/>
              <a:gd name="connsiteX57" fmla="*/ 2638312 w 7603996"/>
              <a:gd name="connsiteY57" fmla="*/ 2505548 h 3487140"/>
              <a:gd name="connsiteX58" fmla="*/ 2329862 w 7603996"/>
              <a:gd name="connsiteY58" fmla="*/ 2278109 h 3487140"/>
              <a:gd name="connsiteX59" fmla="*/ 1885173 w 7603996"/>
              <a:gd name="connsiteY59" fmla="*/ 1678800 h 3487140"/>
              <a:gd name="connsiteX60" fmla="*/ 1765320 w 7603996"/>
              <a:gd name="connsiteY60" fmla="*/ 1175432 h 3487140"/>
              <a:gd name="connsiteX61" fmla="*/ 1919774 w 7603996"/>
              <a:gd name="connsiteY61" fmla="*/ 1377420 h 3487140"/>
              <a:gd name="connsiteX62" fmla="*/ 2281414 w 7603996"/>
              <a:gd name="connsiteY62" fmla="*/ 2268710 h 3487140"/>
              <a:gd name="connsiteX63" fmla="*/ 2601216 w 7603996"/>
              <a:gd name="connsiteY63" fmla="*/ 2693105 h 3487140"/>
              <a:gd name="connsiteX64" fmla="*/ 2834644 w 7603996"/>
              <a:gd name="connsiteY64" fmla="*/ 2746586 h 3487140"/>
              <a:gd name="connsiteX65" fmla="*/ 3001865 w 7603996"/>
              <a:gd name="connsiteY65" fmla="*/ 2631432 h 3487140"/>
              <a:gd name="connsiteX66" fmla="*/ 3013052 w 7603996"/>
              <a:gd name="connsiteY66" fmla="*/ 2436680 h 3487140"/>
              <a:gd name="connsiteX67" fmla="*/ 2859222 w 7603996"/>
              <a:gd name="connsiteY67" fmla="*/ 2309258 h 3487140"/>
              <a:gd name="connsiteX68" fmla="*/ 2652036 w 7603996"/>
              <a:gd name="connsiteY68" fmla="*/ 2375007 h 3487140"/>
              <a:gd name="connsiteX69" fmla="*/ 2629537 w 7603996"/>
              <a:gd name="connsiteY69" fmla="*/ 2581402 h 3487140"/>
              <a:gd name="connsiteX70" fmla="*/ 2772222 w 7603996"/>
              <a:gd name="connsiteY70" fmla="*/ 2671064 h 3487140"/>
              <a:gd name="connsiteX71" fmla="*/ 2868787 w 7603996"/>
              <a:gd name="connsiteY71" fmla="*/ 2596831 h 3487140"/>
              <a:gd name="connsiteX72" fmla="*/ 2835601 w 7603996"/>
              <a:gd name="connsiteY72" fmla="*/ 2530750 h 3487140"/>
              <a:gd name="connsiteX73" fmla="*/ 2713543 w 7603996"/>
              <a:gd name="connsiteY73" fmla="*/ 2615379 h 3487140"/>
              <a:gd name="connsiteX74" fmla="*/ 2567864 w 7603996"/>
              <a:gd name="connsiteY74" fmla="*/ 2907028 h 3487140"/>
              <a:gd name="connsiteX75" fmla="*/ 2520039 w 7603996"/>
              <a:gd name="connsiteY75" fmla="*/ 3008333 h 3487140"/>
              <a:gd name="connsiteX76" fmla="*/ 2484191 w 7603996"/>
              <a:gd name="connsiteY76" fmla="*/ 3024053 h 3487140"/>
              <a:gd name="connsiteX77" fmla="*/ 2389165 w 7603996"/>
              <a:gd name="connsiteY77" fmla="*/ 3013989 h 3487140"/>
              <a:gd name="connsiteX78" fmla="*/ 2396068 w 7603996"/>
              <a:gd name="connsiteY78" fmla="*/ 2956724 h 3487140"/>
              <a:gd name="connsiteX79" fmla="*/ 2584831 w 7603996"/>
              <a:gd name="connsiteY79" fmla="*/ 2951068 h 3487140"/>
              <a:gd name="connsiteX80" fmla="*/ 2671041 w 7603996"/>
              <a:gd name="connsiteY80" fmla="*/ 2951068 h 3487140"/>
              <a:gd name="connsiteX81" fmla="*/ 2752219 w 7603996"/>
              <a:gd name="connsiteY81" fmla="*/ 2822066 h 3487140"/>
              <a:gd name="connsiteX82" fmla="*/ 2892533 w 7603996"/>
              <a:gd name="connsiteY82" fmla="*/ 2789337 h 3487140"/>
              <a:gd name="connsiteX83" fmla="*/ 3020246 w 7603996"/>
              <a:gd name="connsiteY83" fmla="*/ 2713815 h 3487140"/>
              <a:gd name="connsiteX84" fmla="*/ 3106456 w 7603996"/>
              <a:gd name="connsiteY84" fmla="*/ 2544556 h 3487140"/>
              <a:gd name="connsiteX85" fmla="*/ 3326035 w 7603996"/>
              <a:gd name="connsiteY85" fmla="*/ 2482883 h 3487140"/>
              <a:gd name="connsiteX86" fmla="*/ 3861009 w 7603996"/>
              <a:gd name="connsiteY86" fmla="*/ 2466831 h 3487140"/>
              <a:gd name="connsiteX87" fmla="*/ 4016751 w 7603996"/>
              <a:gd name="connsiteY87" fmla="*/ 2420918 h 3487140"/>
              <a:gd name="connsiteX88" fmla="*/ 3866664 w 7603996"/>
              <a:gd name="connsiteY88" fmla="*/ 2252907 h 3487140"/>
              <a:gd name="connsiteX89" fmla="*/ 3391285 w 7603996"/>
              <a:gd name="connsiteY89" fmla="*/ 1791709 h 3487140"/>
              <a:gd name="connsiteX90" fmla="*/ 3127166 w 7603996"/>
              <a:gd name="connsiteY90" fmla="*/ 1600118 h 3487140"/>
              <a:gd name="connsiteX91" fmla="*/ 3003196 w 7603996"/>
              <a:gd name="connsiteY91" fmla="*/ 1733529 h 3487140"/>
              <a:gd name="connsiteX92" fmla="*/ 2940898 w 7603996"/>
              <a:gd name="connsiteY92" fmla="*/ 1995900 h 3487140"/>
              <a:gd name="connsiteX93" fmla="*/ 2981778 w 7603996"/>
              <a:gd name="connsiteY93" fmla="*/ 2048133 h 3487140"/>
              <a:gd name="connsiteX94" fmla="*/ 3044699 w 7603996"/>
              <a:gd name="connsiteY94" fmla="*/ 1778817 h 3487140"/>
              <a:gd name="connsiteX95" fmla="*/ 3166466 w 7603996"/>
              <a:gd name="connsiteY95" fmla="*/ 1356918 h 3487140"/>
              <a:gd name="connsiteX96" fmla="*/ 3272803 w 7603996"/>
              <a:gd name="connsiteY96" fmla="*/ 986960 h 3487140"/>
              <a:gd name="connsiteX97" fmla="*/ 3243526 w 7603996"/>
              <a:gd name="connsiteY97" fmla="*/ 867107 h 3487140"/>
              <a:gd name="connsiteX98" fmla="*/ 3068612 w 7603996"/>
              <a:gd name="connsiteY98" fmla="*/ 840034 h 3487140"/>
              <a:gd name="connsiteX99" fmla="*/ 2924513 w 7603996"/>
              <a:gd name="connsiteY99" fmla="*/ 782769 h 3487140"/>
              <a:gd name="connsiteX100" fmla="*/ 2940857 w 7603996"/>
              <a:gd name="connsiteY100" fmla="*/ 714816 h 3487140"/>
              <a:gd name="connsiteX101" fmla="*/ 3114524 w 7603996"/>
              <a:gd name="connsiteY101" fmla="*/ 723008 h 3487140"/>
              <a:gd name="connsiteX102" fmla="*/ 3317135 w 7603996"/>
              <a:gd name="connsiteY102" fmla="*/ 729288 h 3487140"/>
              <a:gd name="connsiteX103" fmla="*/ 3483857 w 7603996"/>
              <a:gd name="connsiteY103" fmla="*/ 682087 h 3487140"/>
              <a:gd name="connsiteX104" fmla="*/ 3601506 w 7603996"/>
              <a:gd name="connsiteY104" fmla="*/ 703463 h 3487140"/>
              <a:gd name="connsiteX105" fmla="*/ 3624171 w 7603996"/>
              <a:gd name="connsiteY105" fmla="*/ 797199 h 3487140"/>
              <a:gd name="connsiteX106" fmla="*/ 3496458 w 7603996"/>
              <a:gd name="connsiteY106" fmla="*/ 890936 h 3487140"/>
              <a:gd name="connsiteX107" fmla="*/ 3326575 w 7603996"/>
              <a:gd name="connsiteY107" fmla="*/ 918009 h 3487140"/>
              <a:gd name="connsiteX108" fmla="*/ 3198862 w 7603996"/>
              <a:gd name="connsiteY108" fmla="*/ 1002306 h 3487140"/>
              <a:gd name="connsiteX109" fmla="*/ 3097972 w 7603996"/>
              <a:gd name="connsiteY109" fmla="*/ 1299902 h 3487140"/>
              <a:gd name="connsiteX110" fmla="*/ 3159022 w 7603996"/>
              <a:gd name="connsiteY110" fmla="*/ 1545930 h 3487140"/>
              <a:gd name="connsiteX111" fmla="*/ 3371697 w 7603996"/>
              <a:gd name="connsiteY111" fmla="*/ 1536490 h 3487140"/>
              <a:gd name="connsiteX112" fmla="*/ 3551228 w 7603996"/>
              <a:gd name="connsiteY112" fmla="*/ 1376048 h 3487140"/>
              <a:gd name="connsiteX113" fmla="*/ 3554389 w 7603996"/>
              <a:gd name="connsiteY113" fmla="*/ 1231949 h 3487140"/>
              <a:gd name="connsiteX114" fmla="*/ 3336348 w 7603996"/>
              <a:gd name="connsiteY114" fmla="*/ 1191693 h 3487140"/>
              <a:gd name="connsiteX115" fmla="*/ 3344832 w 7603996"/>
              <a:gd name="connsiteY115" fmla="*/ 1255238 h 3487140"/>
              <a:gd name="connsiteX116" fmla="*/ 3769850 w 7603996"/>
              <a:gd name="connsiteY116" fmla="*/ 1241722 h 3487140"/>
              <a:gd name="connsiteX117" fmla="*/ 4254670 w 7603996"/>
              <a:gd name="connsiteY117" fmla="*/ 1259646 h 3487140"/>
              <a:gd name="connsiteX118" fmla="*/ 4484022 w 7603996"/>
              <a:gd name="connsiteY118" fmla="*/ 1236981 h 3487140"/>
              <a:gd name="connsiteX119" fmla="*/ 4465766 w 7603996"/>
              <a:gd name="connsiteY119" fmla="*/ 1185995 h 3487140"/>
              <a:gd name="connsiteX120" fmla="*/ 4105248 w 7603996"/>
              <a:gd name="connsiteY120" fmla="*/ 1177512 h 3487140"/>
              <a:gd name="connsiteX121" fmla="*/ 3734668 w 7603996"/>
              <a:gd name="connsiteY121" fmla="*/ 1331342 h 3487140"/>
              <a:gd name="connsiteX122" fmla="*/ 3388914 w 7603996"/>
              <a:gd name="connsiteY122" fmla="*/ 1604110 h 3487140"/>
              <a:gd name="connsiteX123" fmla="*/ 3156111 w 7603996"/>
              <a:gd name="connsiteY123" fmla="*/ 1921252 h 3487140"/>
              <a:gd name="connsiteX124" fmla="*/ 3060461 w 7603996"/>
              <a:gd name="connsiteY124" fmla="*/ 2419255 h 3487140"/>
              <a:gd name="connsiteX125" fmla="*/ 3290769 w 7603996"/>
              <a:gd name="connsiteY125" fmla="*/ 3048465 h 3487140"/>
              <a:gd name="connsiteX126" fmla="*/ 3868994 w 7603996"/>
              <a:gd name="connsiteY126" fmla="*/ 3394510 h 3487140"/>
              <a:gd name="connsiteX127" fmla="*/ 4507643 w 7603996"/>
              <a:gd name="connsiteY127" fmla="*/ 3330632 h 3487140"/>
              <a:gd name="connsiteX128" fmla="*/ 5002818 w 7603996"/>
              <a:gd name="connsiteY128" fmla="*/ 2841404 h 3487140"/>
              <a:gd name="connsiteX129" fmla="*/ 5036171 w 7603996"/>
              <a:gd name="connsiteY129" fmla="*/ 2052999 h 3487140"/>
              <a:gd name="connsiteX130" fmla="*/ 4605164 w 7603996"/>
              <a:gd name="connsiteY130" fmla="*/ 1482011 h 3487140"/>
              <a:gd name="connsiteX131" fmla="*/ 4138310 w 7603996"/>
              <a:gd name="connsiteY131" fmla="*/ 1352717 h 3487140"/>
              <a:gd name="connsiteX132" fmla="*/ 3977868 w 7603996"/>
              <a:gd name="connsiteY132" fmla="*/ 1466624 h 3487140"/>
              <a:gd name="connsiteX133" fmla="*/ 3999909 w 7603996"/>
              <a:gd name="connsiteY133" fmla="*/ 2001140 h 3487140"/>
              <a:gd name="connsiteX134" fmla="*/ 4033885 w 7603996"/>
              <a:gd name="connsiteY134" fmla="*/ 2313208 h 3487140"/>
              <a:gd name="connsiteX135" fmla="*/ 4125585 w 7603996"/>
              <a:gd name="connsiteY135" fmla="*/ 2399085 h 3487140"/>
              <a:gd name="connsiteX136" fmla="*/ 4230051 w 7603996"/>
              <a:gd name="connsiteY136" fmla="*/ 2362905 h 3487140"/>
              <a:gd name="connsiteX137" fmla="*/ 4194660 w 7603996"/>
              <a:gd name="connsiteY137" fmla="*/ 2271372 h 3487140"/>
              <a:gd name="connsiteX138" fmla="*/ 4097056 w 7603996"/>
              <a:gd name="connsiteY138" fmla="*/ 2303394 h 3487140"/>
              <a:gd name="connsiteX139" fmla="*/ 4080670 w 7603996"/>
              <a:gd name="connsiteY139" fmla="*/ 2437262 h 3487140"/>
              <a:gd name="connsiteX140" fmla="*/ 4079589 w 7603996"/>
              <a:gd name="connsiteY140" fmla="*/ 2519521 h 3487140"/>
              <a:gd name="connsiteX141" fmla="*/ 3900475 w 7603996"/>
              <a:gd name="connsiteY141" fmla="*/ 2539400 h 3487140"/>
              <a:gd name="connsiteX142" fmla="*/ 3490220 w 7603996"/>
              <a:gd name="connsiteY142" fmla="*/ 2545679 h 3487140"/>
              <a:gd name="connsiteX143" fmla="*/ 3249848 w 7603996"/>
              <a:gd name="connsiteY143" fmla="*/ 2602944 h 3487140"/>
              <a:gd name="connsiteX144" fmla="*/ 3240241 w 7603996"/>
              <a:gd name="connsiteY144" fmla="*/ 2790460 h 3487140"/>
              <a:gd name="connsiteX145" fmla="*/ 3433578 w 7603996"/>
              <a:gd name="connsiteY145" fmla="*/ 3133385 h 3487140"/>
              <a:gd name="connsiteX146" fmla="*/ 3925468 w 7603996"/>
              <a:gd name="connsiteY146" fmla="*/ 3465290 h 3487140"/>
              <a:gd name="connsiteX147" fmla="*/ 4666214 w 7603996"/>
              <a:gd name="connsiteY147" fmla="*/ 3390434 h 3487140"/>
              <a:gd name="connsiteX148" fmla="*/ 5106037 w 7603996"/>
              <a:gd name="connsiteY148" fmla="*/ 3017940 h 3487140"/>
              <a:gd name="connsiteX149" fmla="*/ 5420018 w 7603996"/>
              <a:gd name="connsiteY149" fmla="*/ 2655510 h 3487140"/>
              <a:gd name="connsiteX150" fmla="*/ 5792512 w 7603996"/>
              <a:gd name="connsiteY150" fmla="*/ 3163577 h 3487140"/>
              <a:gd name="connsiteX151" fmla="*/ 6016499 w 7603996"/>
              <a:gd name="connsiteY151" fmla="*/ 3255443 h 3487140"/>
              <a:gd name="connsiteX152" fmla="*/ 6094516 w 7603996"/>
              <a:gd name="connsiteY152" fmla="*/ 2786675 h 3487140"/>
              <a:gd name="connsiteX153" fmla="*/ 6404089 w 7603996"/>
              <a:gd name="connsiteY153" fmla="*/ 2869724 h 3487140"/>
              <a:gd name="connsiteX154" fmla="*/ 6642881 w 7603996"/>
              <a:gd name="connsiteY154" fmla="*/ 3245046 h 3487140"/>
              <a:gd name="connsiteX155" fmla="*/ 7015374 w 7603996"/>
              <a:gd name="connsiteY155" fmla="*/ 3329676 h 3487140"/>
              <a:gd name="connsiteX156" fmla="*/ 7603996 w 7603996"/>
              <a:gd name="connsiteY156" fmla="*/ 3217682 h 3487140"/>
              <a:gd name="connsiteX0" fmla="*/ 777215 w 7603996"/>
              <a:gd name="connsiteY0" fmla="*/ 3295741 h 3487140"/>
              <a:gd name="connsiteX1" fmla="*/ 526113 w 7603996"/>
              <a:gd name="connsiteY1" fmla="*/ 3112384 h 3487140"/>
              <a:gd name="connsiteX2" fmla="*/ 219950 w 7603996"/>
              <a:gd name="connsiteY2" fmla="*/ 2750287 h 3487140"/>
              <a:gd name="connsiteX3" fmla="*/ 128418 w 7603996"/>
              <a:gd name="connsiteY3" fmla="*/ 2305432 h 3487140"/>
              <a:gd name="connsiteX4" fmla="*/ 256006 w 7603996"/>
              <a:gd name="connsiteY4" fmla="*/ 1919713 h 3487140"/>
              <a:gd name="connsiteX5" fmla="*/ 580218 w 7603996"/>
              <a:gd name="connsiteY5" fmla="*/ 1637837 h 3487140"/>
              <a:gd name="connsiteX6" fmla="*/ 1073522 w 7603996"/>
              <a:gd name="connsiteY6" fmla="*/ 1545972 h 3487140"/>
              <a:gd name="connsiteX7" fmla="*/ 1308197 w 7603996"/>
              <a:gd name="connsiteY7" fmla="*/ 1517651 h 3487140"/>
              <a:gd name="connsiteX8" fmla="*/ 1292934 w 7603996"/>
              <a:gd name="connsiteY8" fmla="*/ 1460718 h 3487140"/>
              <a:gd name="connsiteX9" fmla="*/ 1016880 w 7603996"/>
              <a:gd name="connsiteY9" fmla="*/ 1416969 h 3487140"/>
              <a:gd name="connsiteX10" fmla="*/ 497460 w 7603996"/>
              <a:gd name="connsiteY10" fmla="*/ 1517318 h 3487140"/>
              <a:gd name="connsiteX11" fmla="*/ 88162 w 7603996"/>
              <a:gd name="connsiteY11" fmla="*/ 1960593 h 3487140"/>
              <a:gd name="connsiteX12" fmla="*/ 28692 w 7603996"/>
              <a:gd name="connsiteY12" fmla="*/ 2569342 h 3487140"/>
              <a:gd name="connsiteX13" fmla="*/ 442399 w 7603996"/>
              <a:gd name="connsiteY13" fmla="*/ 3165532 h 3487140"/>
              <a:gd name="connsiteX14" fmla="*/ 1232384 w 7603996"/>
              <a:gd name="connsiteY14" fmla="*/ 3283181 h 3487140"/>
              <a:gd name="connsiteX15" fmla="*/ 1835020 w 7603996"/>
              <a:gd name="connsiteY15" fmla="*/ 2757481 h 3487140"/>
              <a:gd name="connsiteX16" fmla="*/ 1824789 w 7603996"/>
              <a:gd name="connsiteY16" fmla="*/ 1980430 h 3487140"/>
              <a:gd name="connsiteX17" fmla="*/ 1494755 w 7603996"/>
              <a:gd name="connsiteY17" fmla="*/ 1589139 h 3487140"/>
              <a:gd name="connsiteX18" fmla="*/ 1305701 w 7603996"/>
              <a:gd name="connsiteY18" fmla="*/ 1660710 h 3487140"/>
              <a:gd name="connsiteX19" fmla="*/ 1197284 w 7603996"/>
              <a:gd name="connsiteY19" fmla="*/ 2116627 h 3487140"/>
              <a:gd name="connsiteX20" fmla="*/ 973921 w 7603996"/>
              <a:gd name="connsiteY20" fmla="*/ 2374258 h 3487140"/>
              <a:gd name="connsiteX21" fmla="*/ 918985 w 7603996"/>
              <a:gd name="connsiteY21" fmla="*/ 2276986 h 3487140"/>
              <a:gd name="connsiteX22" fmla="*/ 1298257 w 7603996"/>
              <a:gd name="connsiteY22" fmla="*/ 2021601 h 3487140"/>
              <a:gd name="connsiteX23" fmla="*/ 1558176 w 7603996"/>
              <a:gd name="connsiteY23" fmla="*/ 1234153 h 3487140"/>
              <a:gd name="connsiteX24" fmla="*/ 1788276 w 7603996"/>
              <a:gd name="connsiteY24" fmla="*/ 725296 h 3487140"/>
              <a:gd name="connsiteX25" fmla="*/ 1896859 w 7603996"/>
              <a:gd name="connsiteY25" fmla="*/ 539984 h 3487140"/>
              <a:gd name="connsiteX26" fmla="*/ 1865711 w 7603996"/>
              <a:gd name="connsiteY26" fmla="*/ 435851 h 3487140"/>
              <a:gd name="connsiteX27" fmla="*/ 1759373 w 7603996"/>
              <a:gd name="connsiteY27" fmla="*/ 350265 h 3487140"/>
              <a:gd name="connsiteX28" fmla="*/ 1714085 w 7603996"/>
              <a:gd name="connsiteY28" fmla="*/ 209327 h 3487140"/>
              <a:gd name="connsiteX29" fmla="*/ 1758915 w 7603996"/>
              <a:gd name="connsiteY29" fmla="*/ 82237 h 3487140"/>
              <a:gd name="connsiteX30" fmla="*/ 1939195 w 7603996"/>
              <a:gd name="connsiteY30" fmla="*/ 6716 h 3487140"/>
              <a:gd name="connsiteX31" fmla="*/ 2207888 w 7603996"/>
              <a:gd name="connsiteY31" fmla="*/ 10167 h 3487140"/>
              <a:gd name="connsiteX32" fmla="*/ 2291561 w 7603996"/>
              <a:gd name="connsiteY32" fmla="*/ 49800 h 3487140"/>
              <a:gd name="connsiteX33" fmla="*/ 2244526 w 7603996"/>
              <a:gd name="connsiteY33" fmla="*/ 86812 h 3487140"/>
              <a:gd name="connsiteX34" fmla="*/ 2008603 w 7603996"/>
              <a:gd name="connsiteY34" fmla="*/ 91886 h 3487140"/>
              <a:gd name="connsiteX35" fmla="*/ 1765070 w 7603996"/>
              <a:gd name="connsiteY35" fmla="*/ 75833 h 3487140"/>
              <a:gd name="connsiteX36" fmla="*/ 1657319 w 7603996"/>
              <a:gd name="connsiteY36" fmla="*/ 176931 h 3487140"/>
              <a:gd name="connsiteX37" fmla="*/ 1672581 w 7603996"/>
              <a:gd name="connsiteY37" fmla="*/ 370393 h 3487140"/>
              <a:gd name="connsiteX38" fmla="*/ 1617354 w 7603996"/>
              <a:gd name="connsiteY38" fmla="*/ 589348 h 3487140"/>
              <a:gd name="connsiteX39" fmla="*/ 1460820 w 7603996"/>
              <a:gd name="connsiteY39" fmla="*/ 903953 h 3487140"/>
              <a:gd name="connsiteX40" fmla="*/ 1250349 w 7603996"/>
              <a:gd name="connsiteY40" fmla="*/ 922501 h 3487140"/>
              <a:gd name="connsiteX41" fmla="*/ 1055930 w 7603996"/>
              <a:gd name="connsiteY41" fmla="*/ 866816 h 3487140"/>
              <a:gd name="connsiteX42" fmla="*/ 997085 w 7603996"/>
              <a:gd name="connsiteY42" fmla="*/ 751038 h 3487140"/>
              <a:gd name="connsiteX43" fmla="*/ 1009021 w 7603996"/>
              <a:gd name="connsiteY43" fmla="*/ 369436 h 3487140"/>
              <a:gd name="connsiteX44" fmla="*/ 1070694 w 7603996"/>
              <a:gd name="connsiteY44" fmla="*/ 155805 h 3487140"/>
              <a:gd name="connsiteX45" fmla="*/ 1272058 w 7603996"/>
              <a:gd name="connsiteY45" fmla="*/ 156761 h 3487140"/>
              <a:gd name="connsiteX46" fmla="*/ 1524989 w 7603996"/>
              <a:gd name="connsiteY46" fmla="*/ 245175 h 3487140"/>
              <a:gd name="connsiteX47" fmla="*/ 1694081 w 7603996"/>
              <a:gd name="connsiteY47" fmla="*/ 357792 h 3487140"/>
              <a:gd name="connsiteX48" fmla="*/ 1798672 w 7603996"/>
              <a:gd name="connsiteY48" fmla="*/ 483301 h 3487140"/>
              <a:gd name="connsiteX49" fmla="*/ 1822876 w 7603996"/>
              <a:gd name="connsiteY49" fmla="*/ 600951 h 3487140"/>
              <a:gd name="connsiteX50" fmla="*/ 1795345 w 7603996"/>
              <a:gd name="connsiteY50" fmla="*/ 761726 h 3487140"/>
              <a:gd name="connsiteX51" fmla="*/ 1967266 w 7603996"/>
              <a:gd name="connsiteY51" fmla="*/ 1160004 h 3487140"/>
              <a:gd name="connsiteX52" fmla="*/ 2390246 w 7603996"/>
              <a:gd name="connsiteY52" fmla="*/ 1793622 h 3487140"/>
              <a:gd name="connsiteX53" fmla="*/ 2807737 w 7603996"/>
              <a:gd name="connsiteY53" fmla="*/ 2087475 h 3487140"/>
              <a:gd name="connsiteX54" fmla="*/ 2917360 w 7603996"/>
              <a:gd name="connsiteY54" fmla="*/ 2185620 h 3487140"/>
              <a:gd name="connsiteX55" fmla="*/ 2804411 w 7603996"/>
              <a:gd name="connsiteY55" fmla="*/ 2468120 h 3487140"/>
              <a:gd name="connsiteX56" fmla="*/ 2638312 w 7603996"/>
              <a:gd name="connsiteY56" fmla="*/ 2505548 h 3487140"/>
              <a:gd name="connsiteX57" fmla="*/ 2329862 w 7603996"/>
              <a:gd name="connsiteY57" fmla="*/ 2278109 h 3487140"/>
              <a:gd name="connsiteX58" fmla="*/ 1885173 w 7603996"/>
              <a:gd name="connsiteY58" fmla="*/ 1678800 h 3487140"/>
              <a:gd name="connsiteX59" fmla="*/ 1765320 w 7603996"/>
              <a:gd name="connsiteY59" fmla="*/ 1175432 h 3487140"/>
              <a:gd name="connsiteX60" fmla="*/ 1919774 w 7603996"/>
              <a:gd name="connsiteY60" fmla="*/ 1377420 h 3487140"/>
              <a:gd name="connsiteX61" fmla="*/ 2281414 w 7603996"/>
              <a:gd name="connsiteY61" fmla="*/ 2268710 h 3487140"/>
              <a:gd name="connsiteX62" fmla="*/ 2601216 w 7603996"/>
              <a:gd name="connsiteY62" fmla="*/ 2693105 h 3487140"/>
              <a:gd name="connsiteX63" fmla="*/ 2834644 w 7603996"/>
              <a:gd name="connsiteY63" fmla="*/ 2746586 h 3487140"/>
              <a:gd name="connsiteX64" fmla="*/ 3001865 w 7603996"/>
              <a:gd name="connsiteY64" fmla="*/ 2631432 h 3487140"/>
              <a:gd name="connsiteX65" fmla="*/ 3013052 w 7603996"/>
              <a:gd name="connsiteY65" fmla="*/ 2436680 h 3487140"/>
              <a:gd name="connsiteX66" fmla="*/ 2859222 w 7603996"/>
              <a:gd name="connsiteY66" fmla="*/ 2309258 h 3487140"/>
              <a:gd name="connsiteX67" fmla="*/ 2652036 w 7603996"/>
              <a:gd name="connsiteY67" fmla="*/ 2375007 h 3487140"/>
              <a:gd name="connsiteX68" fmla="*/ 2629537 w 7603996"/>
              <a:gd name="connsiteY68" fmla="*/ 2581402 h 3487140"/>
              <a:gd name="connsiteX69" fmla="*/ 2772222 w 7603996"/>
              <a:gd name="connsiteY69" fmla="*/ 2671064 h 3487140"/>
              <a:gd name="connsiteX70" fmla="*/ 2868787 w 7603996"/>
              <a:gd name="connsiteY70" fmla="*/ 2596831 h 3487140"/>
              <a:gd name="connsiteX71" fmla="*/ 2835601 w 7603996"/>
              <a:gd name="connsiteY71" fmla="*/ 2530750 h 3487140"/>
              <a:gd name="connsiteX72" fmla="*/ 2713543 w 7603996"/>
              <a:gd name="connsiteY72" fmla="*/ 2615379 h 3487140"/>
              <a:gd name="connsiteX73" fmla="*/ 2567864 w 7603996"/>
              <a:gd name="connsiteY73" fmla="*/ 2907028 h 3487140"/>
              <a:gd name="connsiteX74" fmla="*/ 2520039 w 7603996"/>
              <a:gd name="connsiteY74" fmla="*/ 3008333 h 3487140"/>
              <a:gd name="connsiteX75" fmla="*/ 2484191 w 7603996"/>
              <a:gd name="connsiteY75" fmla="*/ 3024053 h 3487140"/>
              <a:gd name="connsiteX76" fmla="*/ 2389165 w 7603996"/>
              <a:gd name="connsiteY76" fmla="*/ 3013989 h 3487140"/>
              <a:gd name="connsiteX77" fmla="*/ 2396068 w 7603996"/>
              <a:gd name="connsiteY77" fmla="*/ 2956724 h 3487140"/>
              <a:gd name="connsiteX78" fmla="*/ 2584831 w 7603996"/>
              <a:gd name="connsiteY78" fmla="*/ 2951068 h 3487140"/>
              <a:gd name="connsiteX79" fmla="*/ 2671041 w 7603996"/>
              <a:gd name="connsiteY79" fmla="*/ 2951068 h 3487140"/>
              <a:gd name="connsiteX80" fmla="*/ 2752219 w 7603996"/>
              <a:gd name="connsiteY80" fmla="*/ 2822066 h 3487140"/>
              <a:gd name="connsiteX81" fmla="*/ 2892533 w 7603996"/>
              <a:gd name="connsiteY81" fmla="*/ 2789337 h 3487140"/>
              <a:gd name="connsiteX82" fmla="*/ 3020246 w 7603996"/>
              <a:gd name="connsiteY82" fmla="*/ 2713815 h 3487140"/>
              <a:gd name="connsiteX83" fmla="*/ 3106456 w 7603996"/>
              <a:gd name="connsiteY83" fmla="*/ 2544556 h 3487140"/>
              <a:gd name="connsiteX84" fmla="*/ 3326035 w 7603996"/>
              <a:gd name="connsiteY84" fmla="*/ 2482883 h 3487140"/>
              <a:gd name="connsiteX85" fmla="*/ 3861009 w 7603996"/>
              <a:gd name="connsiteY85" fmla="*/ 2466831 h 3487140"/>
              <a:gd name="connsiteX86" fmla="*/ 4016751 w 7603996"/>
              <a:gd name="connsiteY86" fmla="*/ 2420918 h 3487140"/>
              <a:gd name="connsiteX87" fmla="*/ 3866664 w 7603996"/>
              <a:gd name="connsiteY87" fmla="*/ 2252907 h 3487140"/>
              <a:gd name="connsiteX88" fmla="*/ 3391285 w 7603996"/>
              <a:gd name="connsiteY88" fmla="*/ 1791709 h 3487140"/>
              <a:gd name="connsiteX89" fmla="*/ 3127166 w 7603996"/>
              <a:gd name="connsiteY89" fmla="*/ 1600118 h 3487140"/>
              <a:gd name="connsiteX90" fmla="*/ 3003196 w 7603996"/>
              <a:gd name="connsiteY90" fmla="*/ 1733529 h 3487140"/>
              <a:gd name="connsiteX91" fmla="*/ 2940898 w 7603996"/>
              <a:gd name="connsiteY91" fmla="*/ 1995900 h 3487140"/>
              <a:gd name="connsiteX92" fmla="*/ 2981778 w 7603996"/>
              <a:gd name="connsiteY92" fmla="*/ 2048133 h 3487140"/>
              <a:gd name="connsiteX93" fmla="*/ 3044699 w 7603996"/>
              <a:gd name="connsiteY93" fmla="*/ 1778817 h 3487140"/>
              <a:gd name="connsiteX94" fmla="*/ 3166466 w 7603996"/>
              <a:gd name="connsiteY94" fmla="*/ 1356918 h 3487140"/>
              <a:gd name="connsiteX95" fmla="*/ 3272803 w 7603996"/>
              <a:gd name="connsiteY95" fmla="*/ 986960 h 3487140"/>
              <a:gd name="connsiteX96" fmla="*/ 3243526 w 7603996"/>
              <a:gd name="connsiteY96" fmla="*/ 867107 h 3487140"/>
              <a:gd name="connsiteX97" fmla="*/ 3068612 w 7603996"/>
              <a:gd name="connsiteY97" fmla="*/ 840034 h 3487140"/>
              <a:gd name="connsiteX98" fmla="*/ 2924513 w 7603996"/>
              <a:gd name="connsiteY98" fmla="*/ 782769 h 3487140"/>
              <a:gd name="connsiteX99" fmla="*/ 2940857 w 7603996"/>
              <a:gd name="connsiteY99" fmla="*/ 714816 h 3487140"/>
              <a:gd name="connsiteX100" fmla="*/ 3114524 w 7603996"/>
              <a:gd name="connsiteY100" fmla="*/ 723008 h 3487140"/>
              <a:gd name="connsiteX101" fmla="*/ 3317135 w 7603996"/>
              <a:gd name="connsiteY101" fmla="*/ 729288 h 3487140"/>
              <a:gd name="connsiteX102" fmla="*/ 3483857 w 7603996"/>
              <a:gd name="connsiteY102" fmla="*/ 682087 h 3487140"/>
              <a:gd name="connsiteX103" fmla="*/ 3601506 w 7603996"/>
              <a:gd name="connsiteY103" fmla="*/ 703463 h 3487140"/>
              <a:gd name="connsiteX104" fmla="*/ 3624171 w 7603996"/>
              <a:gd name="connsiteY104" fmla="*/ 797199 h 3487140"/>
              <a:gd name="connsiteX105" fmla="*/ 3496458 w 7603996"/>
              <a:gd name="connsiteY105" fmla="*/ 890936 h 3487140"/>
              <a:gd name="connsiteX106" fmla="*/ 3326575 w 7603996"/>
              <a:gd name="connsiteY106" fmla="*/ 918009 h 3487140"/>
              <a:gd name="connsiteX107" fmla="*/ 3198862 w 7603996"/>
              <a:gd name="connsiteY107" fmla="*/ 1002306 h 3487140"/>
              <a:gd name="connsiteX108" fmla="*/ 3097972 w 7603996"/>
              <a:gd name="connsiteY108" fmla="*/ 1299902 h 3487140"/>
              <a:gd name="connsiteX109" fmla="*/ 3159022 w 7603996"/>
              <a:gd name="connsiteY109" fmla="*/ 1545930 h 3487140"/>
              <a:gd name="connsiteX110" fmla="*/ 3371697 w 7603996"/>
              <a:gd name="connsiteY110" fmla="*/ 1536490 h 3487140"/>
              <a:gd name="connsiteX111" fmla="*/ 3551228 w 7603996"/>
              <a:gd name="connsiteY111" fmla="*/ 1376048 h 3487140"/>
              <a:gd name="connsiteX112" fmla="*/ 3554389 w 7603996"/>
              <a:gd name="connsiteY112" fmla="*/ 1231949 h 3487140"/>
              <a:gd name="connsiteX113" fmla="*/ 3336348 w 7603996"/>
              <a:gd name="connsiteY113" fmla="*/ 1191693 h 3487140"/>
              <a:gd name="connsiteX114" fmla="*/ 3344832 w 7603996"/>
              <a:gd name="connsiteY114" fmla="*/ 1255238 h 3487140"/>
              <a:gd name="connsiteX115" fmla="*/ 3769850 w 7603996"/>
              <a:gd name="connsiteY115" fmla="*/ 1241722 h 3487140"/>
              <a:gd name="connsiteX116" fmla="*/ 4254670 w 7603996"/>
              <a:gd name="connsiteY116" fmla="*/ 1259646 h 3487140"/>
              <a:gd name="connsiteX117" fmla="*/ 4484022 w 7603996"/>
              <a:gd name="connsiteY117" fmla="*/ 1236981 h 3487140"/>
              <a:gd name="connsiteX118" fmla="*/ 4465766 w 7603996"/>
              <a:gd name="connsiteY118" fmla="*/ 1185995 h 3487140"/>
              <a:gd name="connsiteX119" fmla="*/ 4105248 w 7603996"/>
              <a:gd name="connsiteY119" fmla="*/ 1177512 h 3487140"/>
              <a:gd name="connsiteX120" fmla="*/ 3734668 w 7603996"/>
              <a:gd name="connsiteY120" fmla="*/ 1331342 h 3487140"/>
              <a:gd name="connsiteX121" fmla="*/ 3388914 w 7603996"/>
              <a:gd name="connsiteY121" fmla="*/ 1604110 h 3487140"/>
              <a:gd name="connsiteX122" fmla="*/ 3156111 w 7603996"/>
              <a:gd name="connsiteY122" fmla="*/ 1921252 h 3487140"/>
              <a:gd name="connsiteX123" fmla="*/ 3060461 w 7603996"/>
              <a:gd name="connsiteY123" fmla="*/ 2419255 h 3487140"/>
              <a:gd name="connsiteX124" fmla="*/ 3290769 w 7603996"/>
              <a:gd name="connsiteY124" fmla="*/ 3048465 h 3487140"/>
              <a:gd name="connsiteX125" fmla="*/ 3868994 w 7603996"/>
              <a:gd name="connsiteY125" fmla="*/ 3394510 h 3487140"/>
              <a:gd name="connsiteX126" fmla="*/ 4507643 w 7603996"/>
              <a:gd name="connsiteY126" fmla="*/ 3330632 h 3487140"/>
              <a:gd name="connsiteX127" fmla="*/ 5002818 w 7603996"/>
              <a:gd name="connsiteY127" fmla="*/ 2841404 h 3487140"/>
              <a:gd name="connsiteX128" fmla="*/ 5036171 w 7603996"/>
              <a:gd name="connsiteY128" fmla="*/ 2052999 h 3487140"/>
              <a:gd name="connsiteX129" fmla="*/ 4605164 w 7603996"/>
              <a:gd name="connsiteY129" fmla="*/ 1482011 h 3487140"/>
              <a:gd name="connsiteX130" fmla="*/ 4138310 w 7603996"/>
              <a:gd name="connsiteY130" fmla="*/ 1352717 h 3487140"/>
              <a:gd name="connsiteX131" fmla="*/ 3977868 w 7603996"/>
              <a:gd name="connsiteY131" fmla="*/ 1466624 h 3487140"/>
              <a:gd name="connsiteX132" fmla="*/ 3999909 w 7603996"/>
              <a:gd name="connsiteY132" fmla="*/ 2001140 h 3487140"/>
              <a:gd name="connsiteX133" fmla="*/ 4033885 w 7603996"/>
              <a:gd name="connsiteY133" fmla="*/ 2313208 h 3487140"/>
              <a:gd name="connsiteX134" fmla="*/ 4125585 w 7603996"/>
              <a:gd name="connsiteY134" fmla="*/ 2399085 h 3487140"/>
              <a:gd name="connsiteX135" fmla="*/ 4230051 w 7603996"/>
              <a:gd name="connsiteY135" fmla="*/ 2362905 h 3487140"/>
              <a:gd name="connsiteX136" fmla="*/ 4194660 w 7603996"/>
              <a:gd name="connsiteY136" fmla="*/ 2271372 h 3487140"/>
              <a:gd name="connsiteX137" fmla="*/ 4097056 w 7603996"/>
              <a:gd name="connsiteY137" fmla="*/ 2303394 h 3487140"/>
              <a:gd name="connsiteX138" fmla="*/ 4080670 w 7603996"/>
              <a:gd name="connsiteY138" fmla="*/ 2437262 h 3487140"/>
              <a:gd name="connsiteX139" fmla="*/ 4079589 w 7603996"/>
              <a:gd name="connsiteY139" fmla="*/ 2519521 h 3487140"/>
              <a:gd name="connsiteX140" fmla="*/ 3900475 w 7603996"/>
              <a:gd name="connsiteY140" fmla="*/ 2539400 h 3487140"/>
              <a:gd name="connsiteX141" fmla="*/ 3490220 w 7603996"/>
              <a:gd name="connsiteY141" fmla="*/ 2545679 h 3487140"/>
              <a:gd name="connsiteX142" fmla="*/ 3249848 w 7603996"/>
              <a:gd name="connsiteY142" fmla="*/ 2602944 h 3487140"/>
              <a:gd name="connsiteX143" fmla="*/ 3240241 w 7603996"/>
              <a:gd name="connsiteY143" fmla="*/ 2790460 h 3487140"/>
              <a:gd name="connsiteX144" fmla="*/ 3433578 w 7603996"/>
              <a:gd name="connsiteY144" fmla="*/ 3133385 h 3487140"/>
              <a:gd name="connsiteX145" fmla="*/ 3925468 w 7603996"/>
              <a:gd name="connsiteY145" fmla="*/ 3465290 h 3487140"/>
              <a:gd name="connsiteX146" fmla="*/ 4666214 w 7603996"/>
              <a:gd name="connsiteY146" fmla="*/ 3390434 h 3487140"/>
              <a:gd name="connsiteX147" fmla="*/ 5106037 w 7603996"/>
              <a:gd name="connsiteY147" fmla="*/ 3017940 h 3487140"/>
              <a:gd name="connsiteX148" fmla="*/ 5420018 w 7603996"/>
              <a:gd name="connsiteY148" fmla="*/ 2655510 h 3487140"/>
              <a:gd name="connsiteX149" fmla="*/ 5792512 w 7603996"/>
              <a:gd name="connsiteY149" fmla="*/ 3163577 h 3487140"/>
              <a:gd name="connsiteX150" fmla="*/ 6016499 w 7603996"/>
              <a:gd name="connsiteY150" fmla="*/ 3255443 h 3487140"/>
              <a:gd name="connsiteX151" fmla="*/ 6094516 w 7603996"/>
              <a:gd name="connsiteY151" fmla="*/ 2786675 h 3487140"/>
              <a:gd name="connsiteX152" fmla="*/ 6404089 w 7603996"/>
              <a:gd name="connsiteY152" fmla="*/ 2869724 h 3487140"/>
              <a:gd name="connsiteX153" fmla="*/ 6642881 w 7603996"/>
              <a:gd name="connsiteY153" fmla="*/ 3245046 h 3487140"/>
              <a:gd name="connsiteX154" fmla="*/ 7015374 w 7603996"/>
              <a:gd name="connsiteY154" fmla="*/ 3329676 h 3487140"/>
              <a:gd name="connsiteX155" fmla="*/ 7603996 w 7603996"/>
              <a:gd name="connsiteY155" fmla="*/ 3217682 h 3487140"/>
              <a:gd name="connsiteX0" fmla="*/ 777215 w 7015374"/>
              <a:gd name="connsiteY0" fmla="*/ 3295741 h 3487140"/>
              <a:gd name="connsiteX1" fmla="*/ 526113 w 7015374"/>
              <a:gd name="connsiteY1" fmla="*/ 3112384 h 3487140"/>
              <a:gd name="connsiteX2" fmla="*/ 219950 w 7015374"/>
              <a:gd name="connsiteY2" fmla="*/ 2750287 h 3487140"/>
              <a:gd name="connsiteX3" fmla="*/ 128418 w 7015374"/>
              <a:gd name="connsiteY3" fmla="*/ 2305432 h 3487140"/>
              <a:gd name="connsiteX4" fmla="*/ 256006 w 7015374"/>
              <a:gd name="connsiteY4" fmla="*/ 1919713 h 3487140"/>
              <a:gd name="connsiteX5" fmla="*/ 580218 w 7015374"/>
              <a:gd name="connsiteY5" fmla="*/ 1637837 h 3487140"/>
              <a:gd name="connsiteX6" fmla="*/ 1073522 w 7015374"/>
              <a:gd name="connsiteY6" fmla="*/ 1545972 h 3487140"/>
              <a:gd name="connsiteX7" fmla="*/ 1308197 w 7015374"/>
              <a:gd name="connsiteY7" fmla="*/ 1517651 h 3487140"/>
              <a:gd name="connsiteX8" fmla="*/ 1292934 w 7015374"/>
              <a:gd name="connsiteY8" fmla="*/ 1460718 h 3487140"/>
              <a:gd name="connsiteX9" fmla="*/ 1016880 w 7015374"/>
              <a:gd name="connsiteY9" fmla="*/ 1416969 h 3487140"/>
              <a:gd name="connsiteX10" fmla="*/ 497460 w 7015374"/>
              <a:gd name="connsiteY10" fmla="*/ 1517318 h 3487140"/>
              <a:gd name="connsiteX11" fmla="*/ 88162 w 7015374"/>
              <a:gd name="connsiteY11" fmla="*/ 1960593 h 3487140"/>
              <a:gd name="connsiteX12" fmla="*/ 28692 w 7015374"/>
              <a:gd name="connsiteY12" fmla="*/ 2569342 h 3487140"/>
              <a:gd name="connsiteX13" fmla="*/ 442399 w 7015374"/>
              <a:gd name="connsiteY13" fmla="*/ 3165532 h 3487140"/>
              <a:gd name="connsiteX14" fmla="*/ 1232384 w 7015374"/>
              <a:gd name="connsiteY14" fmla="*/ 3283181 h 3487140"/>
              <a:gd name="connsiteX15" fmla="*/ 1835020 w 7015374"/>
              <a:gd name="connsiteY15" fmla="*/ 2757481 h 3487140"/>
              <a:gd name="connsiteX16" fmla="*/ 1824789 w 7015374"/>
              <a:gd name="connsiteY16" fmla="*/ 1980430 h 3487140"/>
              <a:gd name="connsiteX17" fmla="*/ 1494755 w 7015374"/>
              <a:gd name="connsiteY17" fmla="*/ 1589139 h 3487140"/>
              <a:gd name="connsiteX18" fmla="*/ 1305701 w 7015374"/>
              <a:gd name="connsiteY18" fmla="*/ 1660710 h 3487140"/>
              <a:gd name="connsiteX19" fmla="*/ 1197284 w 7015374"/>
              <a:gd name="connsiteY19" fmla="*/ 2116627 h 3487140"/>
              <a:gd name="connsiteX20" fmla="*/ 973921 w 7015374"/>
              <a:gd name="connsiteY20" fmla="*/ 2374258 h 3487140"/>
              <a:gd name="connsiteX21" fmla="*/ 918985 w 7015374"/>
              <a:gd name="connsiteY21" fmla="*/ 2276986 h 3487140"/>
              <a:gd name="connsiteX22" fmla="*/ 1298257 w 7015374"/>
              <a:gd name="connsiteY22" fmla="*/ 2021601 h 3487140"/>
              <a:gd name="connsiteX23" fmla="*/ 1558176 w 7015374"/>
              <a:gd name="connsiteY23" fmla="*/ 1234153 h 3487140"/>
              <a:gd name="connsiteX24" fmla="*/ 1788276 w 7015374"/>
              <a:gd name="connsiteY24" fmla="*/ 725296 h 3487140"/>
              <a:gd name="connsiteX25" fmla="*/ 1896859 w 7015374"/>
              <a:gd name="connsiteY25" fmla="*/ 539984 h 3487140"/>
              <a:gd name="connsiteX26" fmla="*/ 1865711 w 7015374"/>
              <a:gd name="connsiteY26" fmla="*/ 435851 h 3487140"/>
              <a:gd name="connsiteX27" fmla="*/ 1759373 w 7015374"/>
              <a:gd name="connsiteY27" fmla="*/ 350265 h 3487140"/>
              <a:gd name="connsiteX28" fmla="*/ 1714085 w 7015374"/>
              <a:gd name="connsiteY28" fmla="*/ 209327 h 3487140"/>
              <a:gd name="connsiteX29" fmla="*/ 1758915 w 7015374"/>
              <a:gd name="connsiteY29" fmla="*/ 82237 h 3487140"/>
              <a:gd name="connsiteX30" fmla="*/ 1939195 w 7015374"/>
              <a:gd name="connsiteY30" fmla="*/ 6716 h 3487140"/>
              <a:gd name="connsiteX31" fmla="*/ 2207888 w 7015374"/>
              <a:gd name="connsiteY31" fmla="*/ 10167 h 3487140"/>
              <a:gd name="connsiteX32" fmla="*/ 2291561 w 7015374"/>
              <a:gd name="connsiteY32" fmla="*/ 49800 h 3487140"/>
              <a:gd name="connsiteX33" fmla="*/ 2244526 w 7015374"/>
              <a:gd name="connsiteY33" fmla="*/ 86812 h 3487140"/>
              <a:gd name="connsiteX34" fmla="*/ 2008603 w 7015374"/>
              <a:gd name="connsiteY34" fmla="*/ 91886 h 3487140"/>
              <a:gd name="connsiteX35" fmla="*/ 1765070 w 7015374"/>
              <a:gd name="connsiteY35" fmla="*/ 75833 h 3487140"/>
              <a:gd name="connsiteX36" fmla="*/ 1657319 w 7015374"/>
              <a:gd name="connsiteY36" fmla="*/ 176931 h 3487140"/>
              <a:gd name="connsiteX37" fmla="*/ 1672581 w 7015374"/>
              <a:gd name="connsiteY37" fmla="*/ 370393 h 3487140"/>
              <a:gd name="connsiteX38" fmla="*/ 1617354 w 7015374"/>
              <a:gd name="connsiteY38" fmla="*/ 589348 h 3487140"/>
              <a:gd name="connsiteX39" fmla="*/ 1460820 w 7015374"/>
              <a:gd name="connsiteY39" fmla="*/ 903953 h 3487140"/>
              <a:gd name="connsiteX40" fmla="*/ 1250349 w 7015374"/>
              <a:gd name="connsiteY40" fmla="*/ 922501 h 3487140"/>
              <a:gd name="connsiteX41" fmla="*/ 1055930 w 7015374"/>
              <a:gd name="connsiteY41" fmla="*/ 866816 h 3487140"/>
              <a:gd name="connsiteX42" fmla="*/ 997085 w 7015374"/>
              <a:gd name="connsiteY42" fmla="*/ 751038 h 3487140"/>
              <a:gd name="connsiteX43" fmla="*/ 1009021 w 7015374"/>
              <a:gd name="connsiteY43" fmla="*/ 369436 h 3487140"/>
              <a:gd name="connsiteX44" fmla="*/ 1070694 w 7015374"/>
              <a:gd name="connsiteY44" fmla="*/ 155805 h 3487140"/>
              <a:gd name="connsiteX45" fmla="*/ 1272058 w 7015374"/>
              <a:gd name="connsiteY45" fmla="*/ 156761 h 3487140"/>
              <a:gd name="connsiteX46" fmla="*/ 1524989 w 7015374"/>
              <a:gd name="connsiteY46" fmla="*/ 245175 h 3487140"/>
              <a:gd name="connsiteX47" fmla="*/ 1694081 w 7015374"/>
              <a:gd name="connsiteY47" fmla="*/ 357792 h 3487140"/>
              <a:gd name="connsiteX48" fmla="*/ 1798672 w 7015374"/>
              <a:gd name="connsiteY48" fmla="*/ 483301 h 3487140"/>
              <a:gd name="connsiteX49" fmla="*/ 1822876 w 7015374"/>
              <a:gd name="connsiteY49" fmla="*/ 600951 h 3487140"/>
              <a:gd name="connsiteX50" fmla="*/ 1795345 w 7015374"/>
              <a:gd name="connsiteY50" fmla="*/ 761726 h 3487140"/>
              <a:gd name="connsiteX51" fmla="*/ 1967266 w 7015374"/>
              <a:gd name="connsiteY51" fmla="*/ 1160004 h 3487140"/>
              <a:gd name="connsiteX52" fmla="*/ 2390246 w 7015374"/>
              <a:gd name="connsiteY52" fmla="*/ 1793622 h 3487140"/>
              <a:gd name="connsiteX53" fmla="*/ 2807737 w 7015374"/>
              <a:gd name="connsiteY53" fmla="*/ 2087475 h 3487140"/>
              <a:gd name="connsiteX54" fmla="*/ 2917360 w 7015374"/>
              <a:gd name="connsiteY54" fmla="*/ 2185620 h 3487140"/>
              <a:gd name="connsiteX55" fmla="*/ 2804411 w 7015374"/>
              <a:gd name="connsiteY55" fmla="*/ 2468120 h 3487140"/>
              <a:gd name="connsiteX56" fmla="*/ 2638312 w 7015374"/>
              <a:gd name="connsiteY56" fmla="*/ 2505548 h 3487140"/>
              <a:gd name="connsiteX57" fmla="*/ 2329862 w 7015374"/>
              <a:gd name="connsiteY57" fmla="*/ 2278109 h 3487140"/>
              <a:gd name="connsiteX58" fmla="*/ 1885173 w 7015374"/>
              <a:gd name="connsiteY58" fmla="*/ 1678800 h 3487140"/>
              <a:gd name="connsiteX59" fmla="*/ 1765320 w 7015374"/>
              <a:gd name="connsiteY59" fmla="*/ 1175432 h 3487140"/>
              <a:gd name="connsiteX60" fmla="*/ 1919774 w 7015374"/>
              <a:gd name="connsiteY60" fmla="*/ 1377420 h 3487140"/>
              <a:gd name="connsiteX61" fmla="*/ 2281414 w 7015374"/>
              <a:gd name="connsiteY61" fmla="*/ 2268710 h 3487140"/>
              <a:gd name="connsiteX62" fmla="*/ 2601216 w 7015374"/>
              <a:gd name="connsiteY62" fmla="*/ 2693105 h 3487140"/>
              <a:gd name="connsiteX63" fmla="*/ 2834644 w 7015374"/>
              <a:gd name="connsiteY63" fmla="*/ 2746586 h 3487140"/>
              <a:gd name="connsiteX64" fmla="*/ 3001865 w 7015374"/>
              <a:gd name="connsiteY64" fmla="*/ 2631432 h 3487140"/>
              <a:gd name="connsiteX65" fmla="*/ 3013052 w 7015374"/>
              <a:gd name="connsiteY65" fmla="*/ 2436680 h 3487140"/>
              <a:gd name="connsiteX66" fmla="*/ 2859222 w 7015374"/>
              <a:gd name="connsiteY66" fmla="*/ 2309258 h 3487140"/>
              <a:gd name="connsiteX67" fmla="*/ 2652036 w 7015374"/>
              <a:gd name="connsiteY67" fmla="*/ 2375007 h 3487140"/>
              <a:gd name="connsiteX68" fmla="*/ 2629537 w 7015374"/>
              <a:gd name="connsiteY68" fmla="*/ 2581402 h 3487140"/>
              <a:gd name="connsiteX69" fmla="*/ 2772222 w 7015374"/>
              <a:gd name="connsiteY69" fmla="*/ 2671064 h 3487140"/>
              <a:gd name="connsiteX70" fmla="*/ 2868787 w 7015374"/>
              <a:gd name="connsiteY70" fmla="*/ 2596831 h 3487140"/>
              <a:gd name="connsiteX71" fmla="*/ 2835601 w 7015374"/>
              <a:gd name="connsiteY71" fmla="*/ 2530750 h 3487140"/>
              <a:gd name="connsiteX72" fmla="*/ 2713543 w 7015374"/>
              <a:gd name="connsiteY72" fmla="*/ 2615379 h 3487140"/>
              <a:gd name="connsiteX73" fmla="*/ 2567864 w 7015374"/>
              <a:gd name="connsiteY73" fmla="*/ 2907028 h 3487140"/>
              <a:gd name="connsiteX74" fmla="*/ 2520039 w 7015374"/>
              <a:gd name="connsiteY74" fmla="*/ 3008333 h 3487140"/>
              <a:gd name="connsiteX75" fmla="*/ 2484191 w 7015374"/>
              <a:gd name="connsiteY75" fmla="*/ 3024053 h 3487140"/>
              <a:gd name="connsiteX76" fmla="*/ 2389165 w 7015374"/>
              <a:gd name="connsiteY76" fmla="*/ 3013989 h 3487140"/>
              <a:gd name="connsiteX77" fmla="*/ 2396068 w 7015374"/>
              <a:gd name="connsiteY77" fmla="*/ 2956724 h 3487140"/>
              <a:gd name="connsiteX78" fmla="*/ 2584831 w 7015374"/>
              <a:gd name="connsiteY78" fmla="*/ 2951068 h 3487140"/>
              <a:gd name="connsiteX79" fmla="*/ 2671041 w 7015374"/>
              <a:gd name="connsiteY79" fmla="*/ 2951068 h 3487140"/>
              <a:gd name="connsiteX80" fmla="*/ 2752219 w 7015374"/>
              <a:gd name="connsiteY80" fmla="*/ 2822066 h 3487140"/>
              <a:gd name="connsiteX81" fmla="*/ 2892533 w 7015374"/>
              <a:gd name="connsiteY81" fmla="*/ 2789337 h 3487140"/>
              <a:gd name="connsiteX82" fmla="*/ 3020246 w 7015374"/>
              <a:gd name="connsiteY82" fmla="*/ 2713815 h 3487140"/>
              <a:gd name="connsiteX83" fmla="*/ 3106456 w 7015374"/>
              <a:gd name="connsiteY83" fmla="*/ 2544556 h 3487140"/>
              <a:gd name="connsiteX84" fmla="*/ 3326035 w 7015374"/>
              <a:gd name="connsiteY84" fmla="*/ 2482883 h 3487140"/>
              <a:gd name="connsiteX85" fmla="*/ 3861009 w 7015374"/>
              <a:gd name="connsiteY85" fmla="*/ 2466831 h 3487140"/>
              <a:gd name="connsiteX86" fmla="*/ 4016751 w 7015374"/>
              <a:gd name="connsiteY86" fmla="*/ 2420918 h 3487140"/>
              <a:gd name="connsiteX87" fmla="*/ 3866664 w 7015374"/>
              <a:gd name="connsiteY87" fmla="*/ 2252907 h 3487140"/>
              <a:gd name="connsiteX88" fmla="*/ 3391285 w 7015374"/>
              <a:gd name="connsiteY88" fmla="*/ 1791709 h 3487140"/>
              <a:gd name="connsiteX89" fmla="*/ 3127166 w 7015374"/>
              <a:gd name="connsiteY89" fmla="*/ 1600118 h 3487140"/>
              <a:gd name="connsiteX90" fmla="*/ 3003196 w 7015374"/>
              <a:gd name="connsiteY90" fmla="*/ 1733529 h 3487140"/>
              <a:gd name="connsiteX91" fmla="*/ 2940898 w 7015374"/>
              <a:gd name="connsiteY91" fmla="*/ 1995900 h 3487140"/>
              <a:gd name="connsiteX92" fmla="*/ 2981778 w 7015374"/>
              <a:gd name="connsiteY92" fmla="*/ 2048133 h 3487140"/>
              <a:gd name="connsiteX93" fmla="*/ 3044699 w 7015374"/>
              <a:gd name="connsiteY93" fmla="*/ 1778817 h 3487140"/>
              <a:gd name="connsiteX94" fmla="*/ 3166466 w 7015374"/>
              <a:gd name="connsiteY94" fmla="*/ 1356918 h 3487140"/>
              <a:gd name="connsiteX95" fmla="*/ 3272803 w 7015374"/>
              <a:gd name="connsiteY95" fmla="*/ 986960 h 3487140"/>
              <a:gd name="connsiteX96" fmla="*/ 3243526 w 7015374"/>
              <a:gd name="connsiteY96" fmla="*/ 867107 h 3487140"/>
              <a:gd name="connsiteX97" fmla="*/ 3068612 w 7015374"/>
              <a:gd name="connsiteY97" fmla="*/ 840034 h 3487140"/>
              <a:gd name="connsiteX98" fmla="*/ 2924513 w 7015374"/>
              <a:gd name="connsiteY98" fmla="*/ 782769 h 3487140"/>
              <a:gd name="connsiteX99" fmla="*/ 2940857 w 7015374"/>
              <a:gd name="connsiteY99" fmla="*/ 714816 h 3487140"/>
              <a:gd name="connsiteX100" fmla="*/ 3114524 w 7015374"/>
              <a:gd name="connsiteY100" fmla="*/ 723008 h 3487140"/>
              <a:gd name="connsiteX101" fmla="*/ 3317135 w 7015374"/>
              <a:gd name="connsiteY101" fmla="*/ 729288 h 3487140"/>
              <a:gd name="connsiteX102" fmla="*/ 3483857 w 7015374"/>
              <a:gd name="connsiteY102" fmla="*/ 682087 h 3487140"/>
              <a:gd name="connsiteX103" fmla="*/ 3601506 w 7015374"/>
              <a:gd name="connsiteY103" fmla="*/ 703463 h 3487140"/>
              <a:gd name="connsiteX104" fmla="*/ 3624171 w 7015374"/>
              <a:gd name="connsiteY104" fmla="*/ 797199 h 3487140"/>
              <a:gd name="connsiteX105" fmla="*/ 3496458 w 7015374"/>
              <a:gd name="connsiteY105" fmla="*/ 890936 h 3487140"/>
              <a:gd name="connsiteX106" fmla="*/ 3326575 w 7015374"/>
              <a:gd name="connsiteY106" fmla="*/ 918009 h 3487140"/>
              <a:gd name="connsiteX107" fmla="*/ 3198862 w 7015374"/>
              <a:gd name="connsiteY107" fmla="*/ 1002306 h 3487140"/>
              <a:gd name="connsiteX108" fmla="*/ 3097972 w 7015374"/>
              <a:gd name="connsiteY108" fmla="*/ 1299902 h 3487140"/>
              <a:gd name="connsiteX109" fmla="*/ 3159022 w 7015374"/>
              <a:gd name="connsiteY109" fmla="*/ 1545930 h 3487140"/>
              <a:gd name="connsiteX110" fmla="*/ 3371697 w 7015374"/>
              <a:gd name="connsiteY110" fmla="*/ 1536490 h 3487140"/>
              <a:gd name="connsiteX111" fmla="*/ 3551228 w 7015374"/>
              <a:gd name="connsiteY111" fmla="*/ 1376048 h 3487140"/>
              <a:gd name="connsiteX112" fmla="*/ 3554389 w 7015374"/>
              <a:gd name="connsiteY112" fmla="*/ 1231949 h 3487140"/>
              <a:gd name="connsiteX113" fmla="*/ 3336348 w 7015374"/>
              <a:gd name="connsiteY113" fmla="*/ 1191693 h 3487140"/>
              <a:gd name="connsiteX114" fmla="*/ 3344832 w 7015374"/>
              <a:gd name="connsiteY114" fmla="*/ 1255238 h 3487140"/>
              <a:gd name="connsiteX115" fmla="*/ 3769850 w 7015374"/>
              <a:gd name="connsiteY115" fmla="*/ 1241722 h 3487140"/>
              <a:gd name="connsiteX116" fmla="*/ 4254670 w 7015374"/>
              <a:gd name="connsiteY116" fmla="*/ 1259646 h 3487140"/>
              <a:gd name="connsiteX117" fmla="*/ 4484022 w 7015374"/>
              <a:gd name="connsiteY117" fmla="*/ 1236981 h 3487140"/>
              <a:gd name="connsiteX118" fmla="*/ 4465766 w 7015374"/>
              <a:gd name="connsiteY118" fmla="*/ 1185995 h 3487140"/>
              <a:gd name="connsiteX119" fmla="*/ 4105248 w 7015374"/>
              <a:gd name="connsiteY119" fmla="*/ 1177512 h 3487140"/>
              <a:gd name="connsiteX120" fmla="*/ 3734668 w 7015374"/>
              <a:gd name="connsiteY120" fmla="*/ 1331342 h 3487140"/>
              <a:gd name="connsiteX121" fmla="*/ 3388914 w 7015374"/>
              <a:gd name="connsiteY121" fmla="*/ 1604110 h 3487140"/>
              <a:gd name="connsiteX122" fmla="*/ 3156111 w 7015374"/>
              <a:gd name="connsiteY122" fmla="*/ 1921252 h 3487140"/>
              <a:gd name="connsiteX123" fmla="*/ 3060461 w 7015374"/>
              <a:gd name="connsiteY123" fmla="*/ 2419255 h 3487140"/>
              <a:gd name="connsiteX124" fmla="*/ 3290769 w 7015374"/>
              <a:gd name="connsiteY124" fmla="*/ 3048465 h 3487140"/>
              <a:gd name="connsiteX125" fmla="*/ 3868994 w 7015374"/>
              <a:gd name="connsiteY125" fmla="*/ 3394510 h 3487140"/>
              <a:gd name="connsiteX126" fmla="*/ 4507643 w 7015374"/>
              <a:gd name="connsiteY126" fmla="*/ 3330632 h 3487140"/>
              <a:gd name="connsiteX127" fmla="*/ 5002818 w 7015374"/>
              <a:gd name="connsiteY127" fmla="*/ 2841404 h 3487140"/>
              <a:gd name="connsiteX128" fmla="*/ 5036171 w 7015374"/>
              <a:gd name="connsiteY128" fmla="*/ 2052999 h 3487140"/>
              <a:gd name="connsiteX129" fmla="*/ 4605164 w 7015374"/>
              <a:gd name="connsiteY129" fmla="*/ 1482011 h 3487140"/>
              <a:gd name="connsiteX130" fmla="*/ 4138310 w 7015374"/>
              <a:gd name="connsiteY130" fmla="*/ 1352717 h 3487140"/>
              <a:gd name="connsiteX131" fmla="*/ 3977868 w 7015374"/>
              <a:gd name="connsiteY131" fmla="*/ 1466624 h 3487140"/>
              <a:gd name="connsiteX132" fmla="*/ 3999909 w 7015374"/>
              <a:gd name="connsiteY132" fmla="*/ 2001140 h 3487140"/>
              <a:gd name="connsiteX133" fmla="*/ 4033885 w 7015374"/>
              <a:gd name="connsiteY133" fmla="*/ 2313208 h 3487140"/>
              <a:gd name="connsiteX134" fmla="*/ 4125585 w 7015374"/>
              <a:gd name="connsiteY134" fmla="*/ 2399085 h 3487140"/>
              <a:gd name="connsiteX135" fmla="*/ 4230051 w 7015374"/>
              <a:gd name="connsiteY135" fmla="*/ 2362905 h 3487140"/>
              <a:gd name="connsiteX136" fmla="*/ 4194660 w 7015374"/>
              <a:gd name="connsiteY136" fmla="*/ 2271372 h 3487140"/>
              <a:gd name="connsiteX137" fmla="*/ 4097056 w 7015374"/>
              <a:gd name="connsiteY137" fmla="*/ 2303394 h 3487140"/>
              <a:gd name="connsiteX138" fmla="*/ 4080670 w 7015374"/>
              <a:gd name="connsiteY138" fmla="*/ 2437262 h 3487140"/>
              <a:gd name="connsiteX139" fmla="*/ 4079589 w 7015374"/>
              <a:gd name="connsiteY139" fmla="*/ 2519521 h 3487140"/>
              <a:gd name="connsiteX140" fmla="*/ 3900475 w 7015374"/>
              <a:gd name="connsiteY140" fmla="*/ 2539400 h 3487140"/>
              <a:gd name="connsiteX141" fmla="*/ 3490220 w 7015374"/>
              <a:gd name="connsiteY141" fmla="*/ 2545679 h 3487140"/>
              <a:gd name="connsiteX142" fmla="*/ 3249848 w 7015374"/>
              <a:gd name="connsiteY142" fmla="*/ 2602944 h 3487140"/>
              <a:gd name="connsiteX143" fmla="*/ 3240241 w 7015374"/>
              <a:gd name="connsiteY143" fmla="*/ 2790460 h 3487140"/>
              <a:gd name="connsiteX144" fmla="*/ 3433578 w 7015374"/>
              <a:gd name="connsiteY144" fmla="*/ 3133385 h 3487140"/>
              <a:gd name="connsiteX145" fmla="*/ 3925468 w 7015374"/>
              <a:gd name="connsiteY145" fmla="*/ 3465290 h 3487140"/>
              <a:gd name="connsiteX146" fmla="*/ 4666214 w 7015374"/>
              <a:gd name="connsiteY146" fmla="*/ 3390434 h 3487140"/>
              <a:gd name="connsiteX147" fmla="*/ 5106037 w 7015374"/>
              <a:gd name="connsiteY147" fmla="*/ 3017940 h 3487140"/>
              <a:gd name="connsiteX148" fmla="*/ 5420018 w 7015374"/>
              <a:gd name="connsiteY148" fmla="*/ 2655510 h 3487140"/>
              <a:gd name="connsiteX149" fmla="*/ 5792512 w 7015374"/>
              <a:gd name="connsiteY149" fmla="*/ 3163577 h 3487140"/>
              <a:gd name="connsiteX150" fmla="*/ 6016499 w 7015374"/>
              <a:gd name="connsiteY150" fmla="*/ 3255443 h 3487140"/>
              <a:gd name="connsiteX151" fmla="*/ 6094516 w 7015374"/>
              <a:gd name="connsiteY151" fmla="*/ 2786675 h 3487140"/>
              <a:gd name="connsiteX152" fmla="*/ 6404089 w 7015374"/>
              <a:gd name="connsiteY152" fmla="*/ 2869724 h 3487140"/>
              <a:gd name="connsiteX153" fmla="*/ 6642881 w 7015374"/>
              <a:gd name="connsiteY153" fmla="*/ 3245046 h 3487140"/>
              <a:gd name="connsiteX154" fmla="*/ 7015374 w 7015374"/>
              <a:gd name="connsiteY154" fmla="*/ 3329676 h 3487140"/>
              <a:gd name="connsiteX0" fmla="*/ 777215 w 6642881"/>
              <a:gd name="connsiteY0" fmla="*/ 3295741 h 3487140"/>
              <a:gd name="connsiteX1" fmla="*/ 526113 w 6642881"/>
              <a:gd name="connsiteY1" fmla="*/ 3112384 h 3487140"/>
              <a:gd name="connsiteX2" fmla="*/ 219950 w 6642881"/>
              <a:gd name="connsiteY2" fmla="*/ 2750287 h 3487140"/>
              <a:gd name="connsiteX3" fmla="*/ 128418 w 6642881"/>
              <a:gd name="connsiteY3" fmla="*/ 2305432 h 3487140"/>
              <a:gd name="connsiteX4" fmla="*/ 256006 w 6642881"/>
              <a:gd name="connsiteY4" fmla="*/ 1919713 h 3487140"/>
              <a:gd name="connsiteX5" fmla="*/ 580218 w 6642881"/>
              <a:gd name="connsiteY5" fmla="*/ 1637837 h 3487140"/>
              <a:gd name="connsiteX6" fmla="*/ 1073522 w 6642881"/>
              <a:gd name="connsiteY6" fmla="*/ 1545972 h 3487140"/>
              <a:gd name="connsiteX7" fmla="*/ 1308197 w 6642881"/>
              <a:gd name="connsiteY7" fmla="*/ 1517651 h 3487140"/>
              <a:gd name="connsiteX8" fmla="*/ 1292934 w 6642881"/>
              <a:gd name="connsiteY8" fmla="*/ 1460718 h 3487140"/>
              <a:gd name="connsiteX9" fmla="*/ 1016880 w 6642881"/>
              <a:gd name="connsiteY9" fmla="*/ 1416969 h 3487140"/>
              <a:gd name="connsiteX10" fmla="*/ 497460 w 6642881"/>
              <a:gd name="connsiteY10" fmla="*/ 1517318 h 3487140"/>
              <a:gd name="connsiteX11" fmla="*/ 88162 w 6642881"/>
              <a:gd name="connsiteY11" fmla="*/ 1960593 h 3487140"/>
              <a:gd name="connsiteX12" fmla="*/ 28692 w 6642881"/>
              <a:gd name="connsiteY12" fmla="*/ 2569342 h 3487140"/>
              <a:gd name="connsiteX13" fmla="*/ 442399 w 6642881"/>
              <a:gd name="connsiteY13" fmla="*/ 3165532 h 3487140"/>
              <a:gd name="connsiteX14" fmla="*/ 1232384 w 6642881"/>
              <a:gd name="connsiteY14" fmla="*/ 3283181 h 3487140"/>
              <a:gd name="connsiteX15" fmla="*/ 1835020 w 6642881"/>
              <a:gd name="connsiteY15" fmla="*/ 2757481 h 3487140"/>
              <a:gd name="connsiteX16" fmla="*/ 1824789 w 6642881"/>
              <a:gd name="connsiteY16" fmla="*/ 1980430 h 3487140"/>
              <a:gd name="connsiteX17" fmla="*/ 1494755 w 6642881"/>
              <a:gd name="connsiteY17" fmla="*/ 1589139 h 3487140"/>
              <a:gd name="connsiteX18" fmla="*/ 1305701 w 6642881"/>
              <a:gd name="connsiteY18" fmla="*/ 1660710 h 3487140"/>
              <a:gd name="connsiteX19" fmla="*/ 1197284 w 6642881"/>
              <a:gd name="connsiteY19" fmla="*/ 2116627 h 3487140"/>
              <a:gd name="connsiteX20" fmla="*/ 973921 w 6642881"/>
              <a:gd name="connsiteY20" fmla="*/ 2374258 h 3487140"/>
              <a:gd name="connsiteX21" fmla="*/ 918985 w 6642881"/>
              <a:gd name="connsiteY21" fmla="*/ 2276986 h 3487140"/>
              <a:gd name="connsiteX22" fmla="*/ 1298257 w 6642881"/>
              <a:gd name="connsiteY22" fmla="*/ 2021601 h 3487140"/>
              <a:gd name="connsiteX23" fmla="*/ 1558176 w 6642881"/>
              <a:gd name="connsiteY23" fmla="*/ 1234153 h 3487140"/>
              <a:gd name="connsiteX24" fmla="*/ 1788276 w 6642881"/>
              <a:gd name="connsiteY24" fmla="*/ 725296 h 3487140"/>
              <a:gd name="connsiteX25" fmla="*/ 1896859 w 6642881"/>
              <a:gd name="connsiteY25" fmla="*/ 539984 h 3487140"/>
              <a:gd name="connsiteX26" fmla="*/ 1865711 w 6642881"/>
              <a:gd name="connsiteY26" fmla="*/ 435851 h 3487140"/>
              <a:gd name="connsiteX27" fmla="*/ 1759373 w 6642881"/>
              <a:gd name="connsiteY27" fmla="*/ 350265 h 3487140"/>
              <a:gd name="connsiteX28" fmla="*/ 1714085 w 6642881"/>
              <a:gd name="connsiteY28" fmla="*/ 209327 h 3487140"/>
              <a:gd name="connsiteX29" fmla="*/ 1758915 w 6642881"/>
              <a:gd name="connsiteY29" fmla="*/ 82237 h 3487140"/>
              <a:gd name="connsiteX30" fmla="*/ 1939195 w 6642881"/>
              <a:gd name="connsiteY30" fmla="*/ 6716 h 3487140"/>
              <a:gd name="connsiteX31" fmla="*/ 2207888 w 6642881"/>
              <a:gd name="connsiteY31" fmla="*/ 10167 h 3487140"/>
              <a:gd name="connsiteX32" fmla="*/ 2291561 w 6642881"/>
              <a:gd name="connsiteY32" fmla="*/ 49800 h 3487140"/>
              <a:gd name="connsiteX33" fmla="*/ 2244526 w 6642881"/>
              <a:gd name="connsiteY33" fmla="*/ 86812 h 3487140"/>
              <a:gd name="connsiteX34" fmla="*/ 2008603 w 6642881"/>
              <a:gd name="connsiteY34" fmla="*/ 91886 h 3487140"/>
              <a:gd name="connsiteX35" fmla="*/ 1765070 w 6642881"/>
              <a:gd name="connsiteY35" fmla="*/ 75833 h 3487140"/>
              <a:gd name="connsiteX36" fmla="*/ 1657319 w 6642881"/>
              <a:gd name="connsiteY36" fmla="*/ 176931 h 3487140"/>
              <a:gd name="connsiteX37" fmla="*/ 1672581 w 6642881"/>
              <a:gd name="connsiteY37" fmla="*/ 370393 h 3487140"/>
              <a:gd name="connsiteX38" fmla="*/ 1617354 w 6642881"/>
              <a:gd name="connsiteY38" fmla="*/ 589348 h 3487140"/>
              <a:gd name="connsiteX39" fmla="*/ 1460820 w 6642881"/>
              <a:gd name="connsiteY39" fmla="*/ 903953 h 3487140"/>
              <a:gd name="connsiteX40" fmla="*/ 1250349 w 6642881"/>
              <a:gd name="connsiteY40" fmla="*/ 922501 h 3487140"/>
              <a:gd name="connsiteX41" fmla="*/ 1055930 w 6642881"/>
              <a:gd name="connsiteY41" fmla="*/ 866816 h 3487140"/>
              <a:gd name="connsiteX42" fmla="*/ 997085 w 6642881"/>
              <a:gd name="connsiteY42" fmla="*/ 751038 h 3487140"/>
              <a:gd name="connsiteX43" fmla="*/ 1009021 w 6642881"/>
              <a:gd name="connsiteY43" fmla="*/ 369436 h 3487140"/>
              <a:gd name="connsiteX44" fmla="*/ 1070694 w 6642881"/>
              <a:gd name="connsiteY44" fmla="*/ 155805 h 3487140"/>
              <a:gd name="connsiteX45" fmla="*/ 1272058 w 6642881"/>
              <a:gd name="connsiteY45" fmla="*/ 156761 h 3487140"/>
              <a:gd name="connsiteX46" fmla="*/ 1524989 w 6642881"/>
              <a:gd name="connsiteY46" fmla="*/ 245175 h 3487140"/>
              <a:gd name="connsiteX47" fmla="*/ 1694081 w 6642881"/>
              <a:gd name="connsiteY47" fmla="*/ 357792 h 3487140"/>
              <a:gd name="connsiteX48" fmla="*/ 1798672 w 6642881"/>
              <a:gd name="connsiteY48" fmla="*/ 483301 h 3487140"/>
              <a:gd name="connsiteX49" fmla="*/ 1822876 w 6642881"/>
              <a:gd name="connsiteY49" fmla="*/ 600951 h 3487140"/>
              <a:gd name="connsiteX50" fmla="*/ 1795345 w 6642881"/>
              <a:gd name="connsiteY50" fmla="*/ 761726 h 3487140"/>
              <a:gd name="connsiteX51" fmla="*/ 1967266 w 6642881"/>
              <a:gd name="connsiteY51" fmla="*/ 1160004 h 3487140"/>
              <a:gd name="connsiteX52" fmla="*/ 2390246 w 6642881"/>
              <a:gd name="connsiteY52" fmla="*/ 1793622 h 3487140"/>
              <a:gd name="connsiteX53" fmla="*/ 2807737 w 6642881"/>
              <a:gd name="connsiteY53" fmla="*/ 2087475 h 3487140"/>
              <a:gd name="connsiteX54" fmla="*/ 2917360 w 6642881"/>
              <a:gd name="connsiteY54" fmla="*/ 2185620 h 3487140"/>
              <a:gd name="connsiteX55" fmla="*/ 2804411 w 6642881"/>
              <a:gd name="connsiteY55" fmla="*/ 2468120 h 3487140"/>
              <a:gd name="connsiteX56" fmla="*/ 2638312 w 6642881"/>
              <a:gd name="connsiteY56" fmla="*/ 2505548 h 3487140"/>
              <a:gd name="connsiteX57" fmla="*/ 2329862 w 6642881"/>
              <a:gd name="connsiteY57" fmla="*/ 2278109 h 3487140"/>
              <a:gd name="connsiteX58" fmla="*/ 1885173 w 6642881"/>
              <a:gd name="connsiteY58" fmla="*/ 1678800 h 3487140"/>
              <a:gd name="connsiteX59" fmla="*/ 1765320 w 6642881"/>
              <a:gd name="connsiteY59" fmla="*/ 1175432 h 3487140"/>
              <a:gd name="connsiteX60" fmla="*/ 1919774 w 6642881"/>
              <a:gd name="connsiteY60" fmla="*/ 1377420 h 3487140"/>
              <a:gd name="connsiteX61" fmla="*/ 2281414 w 6642881"/>
              <a:gd name="connsiteY61" fmla="*/ 2268710 h 3487140"/>
              <a:gd name="connsiteX62" fmla="*/ 2601216 w 6642881"/>
              <a:gd name="connsiteY62" fmla="*/ 2693105 h 3487140"/>
              <a:gd name="connsiteX63" fmla="*/ 2834644 w 6642881"/>
              <a:gd name="connsiteY63" fmla="*/ 2746586 h 3487140"/>
              <a:gd name="connsiteX64" fmla="*/ 3001865 w 6642881"/>
              <a:gd name="connsiteY64" fmla="*/ 2631432 h 3487140"/>
              <a:gd name="connsiteX65" fmla="*/ 3013052 w 6642881"/>
              <a:gd name="connsiteY65" fmla="*/ 2436680 h 3487140"/>
              <a:gd name="connsiteX66" fmla="*/ 2859222 w 6642881"/>
              <a:gd name="connsiteY66" fmla="*/ 2309258 h 3487140"/>
              <a:gd name="connsiteX67" fmla="*/ 2652036 w 6642881"/>
              <a:gd name="connsiteY67" fmla="*/ 2375007 h 3487140"/>
              <a:gd name="connsiteX68" fmla="*/ 2629537 w 6642881"/>
              <a:gd name="connsiteY68" fmla="*/ 2581402 h 3487140"/>
              <a:gd name="connsiteX69" fmla="*/ 2772222 w 6642881"/>
              <a:gd name="connsiteY69" fmla="*/ 2671064 h 3487140"/>
              <a:gd name="connsiteX70" fmla="*/ 2868787 w 6642881"/>
              <a:gd name="connsiteY70" fmla="*/ 2596831 h 3487140"/>
              <a:gd name="connsiteX71" fmla="*/ 2835601 w 6642881"/>
              <a:gd name="connsiteY71" fmla="*/ 2530750 h 3487140"/>
              <a:gd name="connsiteX72" fmla="*/ 2713543 w 6642881"/>
              <a:gd name="connsiteY72" fmla="*/ 2615379 h 3487140"/>
              <a:gd name="connsiteX73" fmla="*/ 2567864 w 6642881"/>
              <a:gd name="connsiteY73" fmla="*/ 2907028 h 3487140"/>
              <a:gd name="connsiteX74" fmla="*/ 2520039 w 6642881"/>
              <a:gd name="connsiteY74" fmla="*/ 3008333 h 3487140"/>
              <a:gd name="connsiteX75" fmla="*/ 2484191 w 6642881"/>
              <a:gd name="connsiteY75" fmla="*/ 3024053 h 3487140"/>
              <a:gd name="connsiteX76" fmla="*/ 2389165 w 6642881"/>
              <a:gd name="connsiteY76" fmla="*/ 3013989 h 3487140"/>
              <a:gd name="connsiteX77" fmla="*/ 2396068 w 6642881"/>
              <a:gd name="connsiteY77" fmla="*/ 2956724 h 3487140"/>
              <a:gd name="connsiteX78" fmla="*/ 2584831 w 6642881"/>
              <a:gd name="connsiteY78" fmla="*/ 2951068 h 3487140"/>
              <a:gd name="connsiteX79" fmla="*/ 2671041 w 6642881"/>
              <a:gd name="connsiteY79" fmla="*/ 2951068 h 3487140"/>
              <a:gd name="connsiteX80" fmla="*/ 2752219 w 6642881"/>
              <a:gd name="connsiteY80" fmla="*/ 2822066 h 3487140"/>
              <a:gd name="connsiteX81" fmla="*/ 2892533 w 6642881"/>
              <a:gd name="connsiteY81" fmla="*/ 2789337 h 3487140"/>
              <a:gd name="connsiteX82" fmla="*/ 3020246 w 6642881"/>
              <a:gd name="connsiteY82" fmla="*/ 2713815 h 3487140"/>
              <a:gd name="connsiteX83" fmla="*/ 3106456 w 6642881"/>
              <a:gd name="connsiteY83" fmla="*/ 2544556 h 3487140"/>
              <a:gd name="connsiteX84" fmla="*/ 3326035 w 6642881"/>
              <a:gd name="connsiteY84" fmla="*/ 2482883 h 3487140"/>
              <a:gd name="connsiteX85" fmla="*/ 3861009 w 6642881"/>
              <a:gd name="connsiteY85" fmla="*/ 2466831 h 3487140"/>
              <a:gd name="connsiteX86" fmla="*/ 4016751 w 6642881"/>
              <a:gd name="connsiteY86" fmla="*/ 2420918 h 3487140"/>
              <a:gd name="connsiteX87" fmla="*/ 3866664 w 6642881"/>
              <a:gd name="connsiteY87" fmla="*/ 2252907 h 3487140"/>
              <a:gd name="connsiteX88" fmla="*/ 3391285 w 6642881"/>
              <a:gd name="connsiteY88" fmla="*/ 1791709 h 3487140"/>
              <a:gd name="connsiteX89" fmla="*/ 3127166 w 6642881"/>
              <a:gd name="connsiteY89" fmla="*/ 1600118 h 3487140"/>
              <a:gd name="connsiteX90" fmla="*/ 3003196 w 6642881"/>
              <a:gd name="connsiteY90" fmla="*/ 1733529 h 3487140"/>
              <a:gd name="connsiteX91" fmla="*/ 2940898 w 6642881"/>
              <a:gd name="connsiteY91" fmla="*/ 1995900 h 3487140"/>
              <a:gd name="connsiteX92" fmla="*/ 2981778 w 6642881"/>
              <a:gd name="connsiteY92" fmla="*/ 2048133 h 3487140"/>
              <a:gd name="connsiteX93" fmla="*/ 3044699 w 6642881"/>
              <a:gd name="connsiteY93" fmla="*/ 1778817 h 3487140"/>
              <a:gd name="connsiteX94" fmla="*/ 3166466 w 6642881"/>
              <a:gd name="connsiteY94" fmla="*/ 1356918 h 3487140"/>
              <a:gd name="connsiteX95" fmla="*/ 3272803 w 6642881"/>
              <a:gd name="connsiteY95" fmla="*/ 986960 h 3487140"/>
              <a:gd name="connsiteX96" fmla="*/ 3243526 w 6642881"/>
              <a:gd name="connsiteY96" fmla="*/ 867107 h 3487140"/>
              <a:gd name="connsiteX97" fmla="*/ 3068612 w 6642881"/>
              <a:gd name="connsiteY97" fmla="*/ 840034 h 3487140"/>
              <a:gd name="connsiteX98" fmla="*/ 2924513 w 6642881"/>
              <a:gd name="connsiteY98" fmla="*/ 782769 h 3487140"/>
              <a:gd name="connsiteX99" fmla="*/ 2940857 w 6642881"/>
              <a:gd name="connsiteY99" fmla="*/ 714816 h 3487140"/>
              <a:gd name="connsiteX100" fmla="*/ 3114524 w 6642881"/>
              <a:gd name="connsiteY100" fmla="*/ 723008 h 3487140"/>
              <a:gd name="connsiteX101" fmla="*/ 3317135 w 6642881"/>
              <a:gd name="connsiteY101" fmla="*/ 729288 h 3487140"/>
              <a:gd name="connsiteX102" fmla="*/ 3483857 w 6642881"/>
              <a:gd name="connsiteY102" fmla="*/ 682087 h 3487140"/>
              <a:gd name="connsiteX103" fmla="*/ 3601506 w 6642881"/>
              <a:gd name="connsiteY103" fmla="*/ 703463 h 3487140"/>
              <a:gd name="connsiteX104" fmla="*/ 3624171 w 6642881"/>
              <a:gd name="connsiteY104" fmla="*/ 797199 h 3487140"/>
              <a:gd name="connsiteX105" fmla="*/ 3496458 w 6642881"/>
              <a:gd name="connsiteY105" fmla="*/ 890936 h 3487140"/>
              <a:gd name="connsiteX106" fmla="*/ 3326575 w 6642881"/>
              <a:gd name="connsiteY106" fmla="*/ 918009 h 3487140"/>
              <a:gd name="connsiteX107" fmla="*/ 3198862 w 6642881"/>
              <a:gd name="connsiteY107" fmla="*/ 1002306 h 3487140"/>
              <a:gd name="connsiteX108" fmla="*/ 3097972 w 6642881"/>
              <a:gd name="connsiteY108" fmla="*/ 1299902 h 3487140"/>
              <a:gd name="connsiteX109" fmla="*/ 3159022 w 6642881"/>
              <a:gd name="connsiteY109" fmla="*/ 1545930 h 3487140"/>
              <a:gd name="connsiteX110" fmla="*/ 3371697 w 6642881"/>
              <a:gd name="connsiteY110" fmla="*/ 1536490 h 3487140"/>
              <a:gd name="connsiteX111" fmla="*/ 3551228 w 6642881"/>
              <a:gd name="connsiteY111" fmla="*/ 1376048 h 3487140"/>
              <a:gd name="connsiteX112" fmla="*/ 3554389 w 6642881"/>
              <a:gd name="connsiteY112" fmla="*/ 1231949 h 3487140"/>
              <a:gd name="connsiteX113" fmla="*/ 3336348 w 6642881"/>
              <a:gd name="connsiteY113" fmla="*/ 1191693 h 3487140"/>
              <a:gd name="connsiteX114" fmla="*/ 3344832 w 6642881"/>
              <a:gd name="connsiteY114" fmla="*/ 1255238 h 3487140"/>
              <a:gd name="connsiteX115" fmla="*/ 3769850 w 6642881"/>
              <a:gd name="connsiteY115" fmla="*/ 1241722 h 3487140"/>
              <a:gd name="connsiteX116" fmla="*/ 4254670 w 6642881"/>
              <a:gd name="connsiteY116" fmla="*/ 1259646 h 3487140"/>
              <a:gd name="connsiteX117" fmla="*/ 4484022 w 6642881"/>
              <a:gd name="connsiteY117" fmla="*/ 1236981 h 3487140"/>
              <a:gd name="connsiteX118" fmla="*/ 4465766 w 6642881"/>
              <a:gd name="connsiteY118" fmla="*/ 1185995 h 3487140"/>
              <a:gd name="connsiteX119" fmla="*/ 4105248 w 6642881"/>
              <a:gd name="connsiteY119" fmla="*/ 1177512 h 3487140"/>
              <a:gd name="connsiteX120" fmla="*/ 3734668 w 6642881"/>
              <a:gd name="connsiteY120" fmla="*/ 1331342 h 3487140"/>
              <a:gd name="connsiteX121" fmla="*/ 3388914 w 6642881"/>
              <a:gd name="connsiteY121" fmla="*/ 1604110 h 3487140"/>
              <a:gd name="connsiteX122" fmla="*/ 3156111 w 6642881"/>
              <a:gd name="connsiteY122" fmla="*/ 1921252 h 3487140"/>
              <a:gd name="connsiteX123" fmla="*/ 3060461 w 6642881"/>
              <a:gd name="connsiteY123" fmla="*/ 2419255 h 3487140"/>
              <a:gd name="connsiteX124" fmla="*/ 3290769 w 6642881"/>
              <a:gd name="connsiteY124" fmla="*/ 3048465 h 3487140"/>
              <a:gd name="connsiteX125" fmla="*/ 3868994 w 6642881"/>
              <a:gd name="connsiteY125" fmla="*/ 3394510 h 3487140"/>
              <a:gd name="connsiteX126" fmla="*/ 4507643 w 6642881"/>
              <a:gd name="connsiteY126" fmla="*/ 3330632 h 3487140"/>
              <a:gd name="connsiteX127" fmla="*/ 5002818 w 6642881"/>
              <a:gd name="connsiteY127" fmla="*/ 2841404 h 3487140"/>
              <a:gd name="connsiteX128" fmla="*/ 5036171 w 6642881"/>
              <a:gd name="connsiteY128" fmla="*/ 2052999 h 3487140"/>
              <a:gd name="connsiteX129" fmla="*/ 4605164 w 6642881"/>
              <a:gd name="connsiteY129" fmla="*/ 1482011 h 3487140"/>
              <a:gd name="connsiteX130" fmla="*/ 4138310 w 6642881"/>
              <a:gd name="connsiteY130" fmla="*/ 1352717 h 3487140"/>
              <a:gd name="connsiteX131" fmla="*/ 3977868 w 6642881"/>
              <a:gd name="connsiteY131" fmla="*/ 1466624 h 3487140"/>
              <a:gd name="connsiteX132" fmla="*/ 3999909 w 6642881"/>
              <a:gd name="connsiteY132" fmla="*/ 2001140 h 3487140"/>
              <a:gd name="connsiteX133" fmla="*/ 4033885 w 6642881"/>
              <a:gd name="connsiteY133" fmla="*/ 2313208 h 3487140"/>
              <a:gd name="connsiteX134" fmla="*/ 4125585 w 6642881"/>
              <a:gd name="connsiteY134" fmla="*/ 2399085 h 3487140"/>
              <a:gd name="connsiteX135" fmla="*/ 4230051 w 6642881"/>
              <a:gd name="connsiteY135" fmla="*/ 2362905 h 3487140"/>
              <a:gd name="connsiteX136" fmla="*/ 4194660 w 6642881"/>
              <a:gd name="connsiteY136" fmla="*/ 2271372 h 3487140"/>
              <a:gd name="connsiteX137" fmla="*/ 4097056 w 6642881"/>
              <a:gd name="connsiteY137" fmla="*/ 2303394 h 3487140"/>
              <a:gd name="connsiteX138" fmla="*/ 4080670 w 6642881"/>
              <a:gd name="connsiteY138" fmla="*/ 2437262 h 3487140"/>
              <a:gd name="connsiteX139" fmla="*/ 4079589 w 6642881"/>
              <a:gd name="connsiteY139" fmla="*/ 2519521 h 3487140"/>
              <a:gd name="connsiteX140" fmla="*/ 3900475 w 6642881"/>
              <a:gd name="connsiteY140" fmla="*/ 2539400 h 3487140"/>
              <a:gd name="connsiteX141" fmla="*/ 3490220 w 6642881"/>
              <a:gd name="connsiteY141" fmla="*/ 2545679 h 3487140"/>
              <a:gd name="connsiteX142" fmla="*/ 3249848 w 6642881"/>
              <a:gd name="connsiteY142" fmla="*/ 2602944 h 3487140"/>
              <a:gd name="connsiteX143" fmla="*/ 3240241 w 6642881"/>
              <a:gd name="connsiteY143" fmla="*/ 2790460 h 3487140"/>
              <a:gd name="connsiteX144" fmla="*/ 3433578 w 6642881"/>
              <a:gd name="connsiteY144" fmla="*/ 3133385 h 3487140"/>
              <a:gd name="connsiteX145" fmla="*/ 3925468 w 6642881"/>
              <a:gd name="connsiteY145" fmla="*/ 3465290 h 3487140"/>
              <a:gd name="connsiteX146" fmla="*/ 4666214 w 6642881"/>
              <a:gd name="connsiteY146" fmla="*/ 3390434 h 3487140"/>
              <a:gd name="connsiteX147" fmla="*/ 5106037 w 6642881"/>
              <a:gd name="connsiteY147" fmla="*/ 3017940 h 3487140"/>
              <a:gd name="connsiteX148" fmla="*/ 5420018 w 6642881"/>
              <a:gd name="connsiteY148" fmla="*/ 2655510 h 3487140"/>
              <a:gd name="connsiteX149" fmla="*/ 5792512 w 6642881"/>
              <a:gd name="connsiteY149" fmla="*/ 3163577 h 3487140"/>
              <a:gd name="connsiteX150" fmla="*/ 6016499 w 6642881"/>
              <a:gd name="connsiteY150" fmla="*/ 3255443 h 3487140"/>
              <a:gd name="connsiteX151" fmla="*/ 6094516 w 6642881"/>
              <a:gd name="connsiteY151" fmla="*/ 2786675 h 3487140"/>
              <a:gd name="connsiteX152" fmla="*/ 6404089 w 6642881"/>
              <a:gd name="connsiteY152" fmla="*/ 2869724 h 3487140"/>
              <a:gd name="connsiteX153" fmla="*/ 6642881 w 6642881"/>
              <a:gd name="connsiteY153" fmla="*/ 3245046 h 3487140"/>
              <a:gd name="connsiteX0" fmla="*/ 777215 w 6404089"/>
              <a:gd name="connsiteY0" fmla="*/ 3295741 h 3487140"/>
              <a:gd name="connsiteX1" fmla="*/ 526113 w 6404089"/>
              <a:gd name="connsiteY1" fmla="*/ 3112384 h 3487140"/>
              <a:gd name="connsiteX2" fmla="*/ 219950 w 6404089"/>
              <a:gd name="connsiteY2" fmla="*/ 2750287 h 3487140"/>
              <a:gd name="connsiteX3" fmla="*/ 128418 w 6404089"/>
              <a:gd name="connsiteY3" fmla="*/ 2305432 h 3487140"/>
              <a:gd name="connsiteX4" fmla="*/ 256006 w 6404089"/>
              <a:gd name="connsiteY4" fmla="*/ 1919713 h 3487140"/>
              <a:gd name="connsiteX5" fmla="*/ 580218 w 6404089"/>
              <a:gd name="connsiteY5" fmla="*/ 1637837 h 3487140"/>
              <a:gd name="connsiteX6" fmla="*/ 1073522 w 6404089"/>
              <a:gd name="connsiteY6" fmla="*/ 1545972 h 3487140"/>
              <a:gd name="connsiteX7" fmla="*/ 1308197 w 6404089"/>
              <a:gd name="connsiteY7" fmla="*/ 1517651 h 3487140"/>
              <a:gd name="connsiteX8" fmla="*/ 1292934 w 6404089"/>
              <a:gd name="connsiteY8" fmla="*/ 1460718 h 3487140"/>
              <a:gd name="connsiteX9" fmla="*/ 1016880 w 6404089"/>
              <a:gd name="connsiteY9" fmla="*/ 1416969 h 3487140"/>
              <a:gd name="connsiteX10" fmla="*/ 497460 w 6404089"/>
              <a:gd name="connsiteY10" fmla="*/ 1517318 h 3487140"/>
              <a:gd name="connsiteX11" fmla="*/ 88162 w 6404089"/>
              <a:gd name="connsiteY11" fmla="*/ 1960593 h 3487140"/>
              <a:gd name="connsiteX12" fmla="*/ 28692 w 6404089"/>
              <a:gd name="connsiteY12" fmla="*/ 2569342 h 3487140"/>
              <a:gd name="connsiteX13" fmla="*/ 442399 w 6404089"/>
              <a:gd name="connsiteY13" fmla="*/ 3165532 h 3487140"/>
              <a:gd name="connsiteX14" fmla="*/ 1232384 w 6404089"/>
              <a:gd name="connsiteY14" fmla="*/ 3283181 h 3487140"/>
              <a:gd name="connsiteX15" fmla="*/ 1835020 w 6404089"/>
              <a:gd name="connsiteY15" fmla="*/ 2757481 h 3487140"/>
              <a:gd name="connsiteX16" fmla="*/ 1824789 w 6404089"/>
              <a:gd name="connsiteY16" fmla="*/ 1980430 h 3487140"/>
              <a:gd name="connsiteX17" fmla="*/ 1494755 w 6404089"/>
              <a:gd name="connsiteY17" fmla="*/ 1589139 h 3487140"/>
              <a:gd name="connsiteX18" fmla="*/ 1305701 w 6404089"/>
              <a:gd name="connsiteY18" fmla="*/ 1660710 h 3487140"/>
              <a:gd name="connsiteX19" fmla="*/ 1197284 w 6404089"/>
              <a:gd name="connsiteY19" fmla="*/ 2116627 h 3487140"/>
              <a:gd name="connsiteX20" fmla="*/ 973921 w 6404089"/>
              <a:gd name="connsiteY20" fmla="*/ 2374258 h 3487140"/>
              <a:gd name="connsiteX21" fmla="*/ 918985 w 6404089"/>
              <a:gd name="connsiteY21" fmla="*/ 2276986 h 3487140"/>
              <a:gd name="connsiteX22" fmla="*/ 1298257 w 6404089"/>
              <a:gd name="connsiteY22" fmla="*/ 2021601 h 3487140"/>
              <a:gd name="connsiteX23" fmla="*/ 1558176 w 6404089"/>
              <a:gd name="connsiteY23" fmla="*/ 1234153 h 3487140"/>
              <a:gd name="connsiteX24" fmla="*/ 1788276 w 6404089"/>
              <a:gd name="connsiteY24" fmla="*/ 725296 h 3487140"/>
              <a:gd name="connsiteX25" fmla="*/ 1896859 w 6404089"/>
              <a:gd name="connsiteY25" fmla="*/ 539984 h 3487140"/>
              <a:gd name="connsiteX26" fmla="*/ 1865711 w 6404089"/>
              <a:gd name="connsiteY26" fmla="*/ 435851 h 3487140"/>
              <a:gd name="connsiteX27" fmla="*/ 1759373 w 6404089"/>
              <a:gd name="connsiteY27" fmla="*/ 350265 h 3487140"/>
              <a:gd name="connsiteX28" fmla="*/ 1714085 w 6404089"/>
              <a:gd name="connsiteY28" fmla="*/ 209327 h 3487140"/>
              <a:gd name="connsiteX29" fmla="*/ 1758915 w 6404089"/>
              <a:gd name="connsiteY29" fmla="*/ 82237 h 3487140"/>
              <a:gd name="connsiteX30" fmla="*/ 1939195 w 6404089"/>
              <a:gd name="connsiteY30" fmla="*/ 6716 h 3487140"/>
              <a:gd name="connsiteX31" fmla="*/ 2207888 w 6404089"/>
              <a:gd name="connsiteY31" fmla="*/ 10167 h 3487140"/>
              <a:gd name="connsiteX32" fmla="*/ 2291561 w 6404089"/>
              <a:gd name="connsiteY32" fmla="*/ 49800 h 3487140"/>
              <a:gd name="connsiteX33" fmla="*/ 2244526 w 6404089"/>
              <a:gd name="connsiteY33" fmla="*/ 86812 h 3487140"/>
              <a:gd name="connsiteX34" fmla="*/ 2008603 w 6404089"/>
              <a:gd name="connsiteY34" fmla="*/ 91886 h 3487140"/>
              <a:gd name="connsiteX35" fmla="*/ 1765070 w 6404089"/>
              <a:gd name="connsiteY35" fmla="*/ 75833 h 3487140"/>
              <a:gd name="connsiteX36" fmla="*/ 1657319 w 6404089"/>
              <a:gd name="connsiteY36" fmla="*/ 176931 h 3487140"/>
              <a:gd name="connsiteX37" fmla="*/ 1672581 w 6404089"/>
              <a:gd name="connsiteY37" fmla="*/ 370393 h 3487140"/>
              <a:gd name="connsiteX38" fmla="*/ 1617354 w 6404089"/>
              <a:gd name="connsiteY38" fmla="*/ 589348 h 3487140"/>
              <a:gd name="connsiteX39" fmla="*/ 1460820 w 6404089"/>
              <a:gd name="connsiteY39" fmla="*/ 903953 h 3487140"/>
              <a:gd name="connsiteX40" fmla="*/ 1250349 w 6404089"/>
              <a:gd name="connsiteY40" fmla="*/ 922501 h 3487140"/>
              <a:gd name="connsiteX41" fmla="*/ 1055930 w 6404089"/>
              <a:gd name="connsiteY41" fmla="*/ 866816 h 3487140"/>
              <a:gd name="connsiteX42" fmla="*/ 997085 w 6404089"/>
              <a:gd name="connsiteY42" fmla="*/ 751038 h 3487140"/>
              <a:gd name="connsiteX43" fmla="*/ 1009021 w 6404089"/>
              <a:gd name="connsiteY43" fmla="*/ 369436 h 3487140"/>
              <a:gd name="connsiteX44" fmla="*/ 1070694 w 6404089"/>
              <a:gd name="connsiteY44" fmla="*/ 155805 h 3487140"/>
              <a:gd name="connsiteX45" fmla="*/ 1272058 w 6404089"/>
              <a:gd name="connsiteY45" fmla="*/ 156761 h 3487140"/>
              <a:gd name="connsiteX46" fmla="*/ 1524989 w 6404089"/>
              <a:gd name="connsiteY46" fmla="*/ 245175 h 3487140"/>
              <a:gd name="connsiteX47" fmla="*/ 1694081 w 6404089"/>
              <a:gd name="connsiteY47" fmla="*/ 357792 h 3487140"/>
              <a:gd name="connsiteX48" fmla="*/ 1798672 w 6404089"/>
              <a:gd name="connsiteY48" fmla="*/ 483301 h 3487140"/>
              <a:gd name="connsiteX49" fmla="*/ 1822876 w 6404089"/>
              <a:gd name="connsiteY49" fmla="*/ 600951 h 3487140"/>
              <a:gd name="connsiteX50" fmla="*/ 1795345 w 6404089"/>
              <a:gd name="connsiteY50" fmla="*/ 761726 h 3487140"/>
              <a:gd name="connsiteX51" fmla="*/ 1967266 w 6404089"/>
              <a:gd name="connsiteY51" fmla="*/ 1160004 h 3487140"/>
              <a:gd name="connsiteX52" fmla="*/ 2390246 w 6404089"/>
              <a:gd name="connsiteY52" fmla="*/ 1793622 h 3487140"/>
              <a:gd name="connsiteX53" fmla="*/ 2807737 w 6404089"/>
              <a:gd name="connsiteY53" fmla="*/ 2087475 h 3487140"/>
              <a:gd name="connsiteX54" fmla="*/ 2917360 w 6404089"/>
              <a:gd name="connsiteY54" fmla="*/ 2185620 h 3487140"/>
              <a:gd name="connsiteX55" fmla="*/ 2804411 w 6404089"/>
              <a:gd name="connsiteY55" fmla="*/ 2468120 h 3487140"/>
              <a:gd name="connsiteX56" fmla="*/ 2638312 w 6404089"/>
              <a:gd name="connsiteY56" fmla="*/ 2505548 h 3487140"/>
              <a:gd name="connsiteX57" fmla="*/ 2329862 w 6404089"/>
              <a:gd name="connsiteY57" fmla="*/ 2278109 h 3487140"/>
              <a:gd name="connsiteX58" fmla="*/ 1885173 w 6404089"/>
              <a:gd name="connsiteY58" fmla="*/ 1678800 h 3487140"/>
              <a:gd name="connsiteX59" fmla="*/ 1765320 w 6404089"/>
              <a:gd name="connsiteY59" fmla="*/ 1175432 h 3487140"/>
              <a:gd name="connsiteX60" fmla="*/ 1919774 w 6404089"/>
              <a:gd name="connsiteY60" fmla="*/ 1377420 h 3487140"/>
              <a:gd name="connsiteX61" fmla="*/ 2281414 w 6404089"/>
              <a:gd name="connsiteY61" fmla="*/ 2268710 h 3487140"/>
              <a:gd name="connsiteX62" fmla="*/ 2601216 w 6404089"/>
              <a:gd name="connsiteY62" fmla="*/ 2693105 h 3487140"/>
              <a:gd name="connsiteX63" fmla="*/ 2834644 w 6404089"/>
              <a:gd name="connsiteY63" fmla="*/ 2746586 h 3487140"/>
              <a:gd name="connsiteX64" fmla="*/ 3001865 w 6404089"/>
              <a:gd name="connsiteY64" fmla="*/ 2631432 h 3487140"/>
              <a:gd name="connsiteX65" fmla="*/ 3013052 w 6404089"/>
              <a:gd name="connsiteY65" fmla="*/ 2436680 h 3487140"/>
              <a:gd name="connsiteX66" fmla="*/ 2859222 w 6404089"/>
              <a:gd name="connsiteY66" fmla="*/ 2309258 h 3487140"/>
              <a:gd name="connsiteX67" fmla="*/ 2652036 w 6404089"/>
              <a:gd name="connsiteY67" fmla="*/ 2375007 h 3487140"/>
              <a:gd name="connsiteX68" fmla="*/ 2629537 w 6404089"/>
              <a:gd name="connsiteY68" fmla="*/ 2581402 h 3487140"/>
              <a:gd name="connsiteX69" fmla="*/ 2772222 w 6404089"/>
              <a:gd name="connsiteY69" fmla="*/ 2671064 h 3487140"/>
              <a:gd name="connsiteX70" fmla="*/ 2868787 w 6404089"/>
              <a:gd name="connsiteY70" fmla="*/ 2596831 h 3487140"/>
              <a:gd name="connsiteX71" fmla="*/ 2835601 w 6404089"/>
              <a:gd name="connsiteY71" fmla="*/ 2530750 h 3487140"/>
              <a:gd name="connsiteX72" fmla="*/ 2713543 w 6404089"/>
              <a:gd name="connsiteY72" fmla="*/ 2615379 h 3487140"/>
              <a:gd name="connsiteX73" fmla="*/ 2567864 w 6404089"/>
              <a:gd name="connsiteY73" fmla="*/ 2907028 h 3487140"/>
              <a:gd name="connsiteX74" fmla="*/ 2520039 w 6404089"/>
              <a:gd name="connsiteY74" fmla="*/ 3008333 h 3487140"/>
              <a:gd name="connsiteX75" fmla="*/ 2484191 w 6404089"/>
              <a:gd name="connsiteY75" fmla="*/ 3024053 h 3487140"/>
              <a:gd name="connsiteX76" fmla="*/ 2389165 w 6404089"/>
              <a:gd name="connsiteY76" fmla="*/ 3013989 h 3487140"/>
              <a:gd name="connsiteX77" fmla="*/ 2396068 w 6404089"/>
              <a:gd name="connsiteY77" fmla="*/ 2956724 h 3487140"/>
              <a:gd name="connsiteX78" fmla="*/ 2584831 w 6404089"/>
              <a:gd name="connsiteY78" fmla="*/ 2951068 h 3487140"/>
              <a:gd name="connsiteX79" fmla="*/ 2671041 w 6404089"/>
              <a:gd name="connsiteY79" fmla="*/ 2951068 h 3487140"/>
              <a:gd name="connsiteX80" fmla="*/ 2752219 w 6404089"/>
              <a:gd name="connsiteY80" fmla="*/ 2822066 h 3487140"/>
              <a:gd name="connsiteX81" fmla="*/ 2892533 w 6404089"/>
              <a:gd name="connsiteY81" fmla="*/ 2789337 h 3487140"/>
              <a:gd name="connsiteX82" fmla="*/ 3020246 w 6404089"/>
              <a:gd name="connsiteY82" fmla="*/ 2713815 h 3487140"/>
              <a:gd name="connsiteX83" fmla="*/ 3106456 w 6404089"/>
              <a:gd name="connsiteY83" fmla="*/ 2544556 h 3487140"/>
              <a:gd name="connsiteX84" fmla="*/ 3326035 w 6404089"/>
              <a:gd name="connsiteY84" fmla="*/ 2482883 h 3487140"/>
              <a:gd name="connsiteX85" fmla="*/ 3861009 w 6404089"/>
              <a:gd name="connsiteY85" fmla="*/ 2466831 h 3487140"/>
              <a:gd name="connsiteX86" fmla="*/ 4016751 w 6404089"/>
              <a:gd name="connsiteY86" fmla="*/ 2420918 h 3487140"/>
              <a:gd name="connsiteX87" fmla="*/ 3866664 w 6404089"/>
              <a:gd name="connsiteY87" fmla="*/ 2252907 h 3487140"/>
              <a:gd name="connsiteX88" fmla="*/ 3391285 w 6404089"/>
              <a:gd name="connsiteY88" fmla="*/ 1791709 h 3487140"/>
              <a:gd name="connsiteX89" fmla="*/ 3127166 w 6404089"/>
              <a:gd name="connsiteY89" fmla="*/ 1600118 h 3487140"/>
              <a:gd name="connsiteX90" fmla="*/ 3003196 w 6404089"/>
              <a:gd name="connsiteY90" fmla="*/ 1733529 h 3487140"/>
              <a:gd name="connsiteX91" fmla="*/ 2940898 w 6404089"/>
              <a:gd name="connsiteY91" fmla="*/ 1995900 h 3487140"/>
              <a:gd name="connsiteX92" fmla="*/ 2981778 w 6404089"/>
              <a:gd name="connsiteY92" fmla="*/ 2048133 h 3487140"/>
              <a:gd name="connsiteX93" fmla="*/ 3044699 w 6404089"/>
              <a:gd name="connsiteY93" fmla="*/ 1778817 h 3487140"/>
              <a:gd name="connsiteX94" fmla="*/ 3166466 w 6404089"/>
              <a:gd name="connsiteY94" fmla="*/ 1356918 h 3487140"/>
              <a:gd name="connsiteX95" fmla="*/ 3272803 w 6404089"/>
              <a:gd name="connsiteY95" fmla="*/ 986960 h 3487140"/>
              <a:gd name="connsiteX96" fmla="*/ 3243526 w 6404089"/>
              <a:gd name="connsiteY96" fmla="*/ 867107 h 3487140"/>
              <a:gd name="connsiteX97" fmla="*/ 3068612 w 6404089"/>
              <a:gd name="connsiteY97" fmla="*/ 840034 h 3487140"/>
              <a:gd name="connsiteX98" fmla="*/ 2924513 w 6404089"/>
              <a:gd name="connsiteY98" fmla="*/ 782769 h 3487140"/>
              <a:gd name="connsiteX99" fmla="*/ 2940857 w 6404089"/>
              <a:gd name="connsiteY99" fmla="*/ 714816 h 3487140"/>
              <a:gd name="connsiteX100" fmla="*/ 3114524 w 6404089"/>
              <a:gd name="connsiteY100" fmla="*/ 723008 h 3487140"/>
              <a:gd name="connsiteX101" fmla="*/ 3317135 w 6404089"/>
              <a:gd name="connsiteY101" fmla="*/ 729288 h 3487140"/>
              <a:gd name="connsiteX102" fmla="*/ 3483857 w 6404089"/>
              <a:gd name="connsiteY102" fmla="*/ 682087 h 3487140"/>
              <a:gd name="connsiteX103" fmla="*/ 3601506 w 6404089"/>
              <a:gd name="connsiteY103" fmla="*/ 703463 h 3487140"/>
              <a:gd name="connsiteX104" fmla="*/ 3624171 w 6404089"/>
              <a:gd name="connsiteY104" fmla="*/ 797199 h 3487140"/>
              <a:gd name="connsiteX105" fmla="*/ 3496458 w 6404089"/>
              <a:gd name="connsiteY105" fmla="*/ 890936 h 3487140"/>
              <a:gd name="connsiteX106" fmla="*/ 3326575 w 6404089"/>
              <a:gd name="connsiteY106" fmla="*/ 918009 h 3487140"/>
              <a:gd name="connsiteX107" fmla="*/ 3198862 w 6404089"/>
              <a:gd name="connsiteY107" fmla="*/ 1002306 h 3487140"/>
              <a:gd name="connsiteX108" fmla="*/ 3097972 w 6404089"/>
              <a:gd name="connsiteY108" fmla="*/ 1299902 h 3487140"/>
              <a:gd name="connsiteX109" fmla="*/ 3159022 w 6404089"/>
              <a:gd name="connsiteY109" fmla="*/ 1545930 h 3487140"/>
              <a:gd name="connsiteX110" fmla="*/ 3371697 w 6404089"/>
              <a:gd name="connsiteY110" fmla="*/ 1536490 h 3487140"/>
              <a:gd name="connsiteX111" fmla="*/ 3551228 w 6404089"/>
              <a:gd name="connsiteY111" fmla="*/ 1376048 h 3487140"/>
              <a:gd name="connsiteX112" fmla="*/ 3554389 w 6404089"/>
              <a:gd name="connsiteY112" fmla="*/ 1231949 h 3487140"/>
              <a:gd name="connsiteX113" fmla="*/ 3336348 w 6404089"/>
              <a:gd name="connsiteY113" fmla="*/ 1191693 h 3487140"/>
              <a:gd name="connsiteX114" fmla="*/ 3344832 w 6404089"/>
              <a:gd name="connsiteY114" fmla="*/ 1255238 h 3487140"/>
              <a:gd name="connsiteX115" fmla="*/ 3769850 w 6404089"/>
              <a:gd name="connsiteY115" fmla="*/ 1241722 h 3487140"/>
              <a:gd name="connsiteX116" fmla="*/ 4254670 w 6404089"/>
              <a:gd name="connsiteY116" fmla="*/ 1259646 h 3487140"/>
              <a:gd name="connsiteX117" fmla="*/ 4484022 w 6404089"/>
              <a:gd name="connsiteY117" fmla="*/ 1236981 h 3487140"/>
              <a:gd name="connsiteX118" fmla="*/ 4465766 w 6404089"/>
              <a:gd name="connsiteY118" fmla="*/ 1185995 h 3487140"/>
              <a:gd name="connsiteX119" fmla="*/ 4105248 w 6404089"/>
              <a:gd name="connsiteY119" fmla="*/ 1177512 h 3487140"/>
              <a:gd name="connsiteX120" fmla="*/ 3734668 w 6404089"/>
              <a:gd name="connsiteY120" fmla="*/ 1331342 h 3487140"/>
              <a:gd name="connsiteX121" fmla="*/ 3388914 w 6404089"/>
              <a:gd name="connsiteY121" fmla="*/ 1604110 h 3487140"/>
              <a:gd name="connsiteX122" fmla="*/ 3156111 w 6404089"/>
              <a:gd name="connsiteY122" fmla="*/ 1921252 h 3487140"/>
              <a:gd name="connsiteX123" fmla="*/ 3060461 w 6404089"/>
              <a:gd name="connsiteY123" fmla="*/ 2419255 h 3487140"/>
              <a:gd name="connsiteX124" fmla="*/ 3290769 w 6404089"/>
              <a:gd name="connsiteY124" fmla="*/ 3048465 h 3487140"/>
              <a:gd name="connsiteX125" fmla="*/ 3868994 w 6404089"/>
              <a:gd name="connsiteY125" fmla="*/ 3394510 h 3487140"/>
              <a:gd name="connsiteX126" fmla="*/ 4507643 w 6404089"/>
              <a:gd name="connsiteY126" fmla="*/ 3330632 h 3487140"/>
              <a:gd name="connsiteX127" fmla="*/ 5002818 w 6404089"/>
              <a:gd name="connsiteY127" fmla="*/ 2841404 h 3487140"/>
              <a:gd name="connsiteX128" fmla="*/ 5036171 w 6404089"/>
              <a:gd name="connsiteY128" fmla="*/ 2052999 h 3487140"/>
              <a:gd name="connsiteX129" fmla="*/ 4605164 w 6404089"/>
              <a:gd name="connsiteY129" fmla="*/ 1482011 h 3487140"/>
              <a:gd name="connsiteX130" fmla="*/ 4138310 w 6404089"/>
              <a:gd name="connsiteY130" fmla="*/ 1352717 h 3487140"/>
              <a:gd name="connsiteX131" fmla="*/ 3977868 w 6404089"/>
              <a:gd name="connsiteY131" fmla="*/ 1466624 h 3487140"/>
              <a:gd name="connsiteX132" fmla="*/ 3999909 w 6404089"/>
              <a:gd name="connsiteY132" fmla="*/ 2001140 h 3487140"/>
              <a:gd name="connsiteX133" fmla="*/ 4033885 w 6404089"/>
              <a:gd name="connsiteY133" fmla="*/ 2313208 h 3487140"/>
              <a:gd name="connsiteX134" fmla="*/ 4125585 w 6404089"/>
              <a:gd name="connsiteY134" fmla="*/ 2399085 h 3487140"/>
              <a:gd name="connsiteX135" fmla="*/ 4230051 w 6404089"/>
              <a:gd name="connsiteY135" fmla="*/ 2362905 h 3487140"/>
              <a:gd name="connsiteX136" fmla="*/ 4194660 w 6404089"/>
              <a:gd name="connsiteY136" fmla="*/ 2271372 h 3487140"/>
              <a:gd name="connsiteX137" fmla="*/ 4097056 w 6404089"/>
              <a:gd name="connsiteY137" fmla="*/ 2303394 h 3487140"/>
              <a:gd name="connsiteX138" fmla="*/ 4080670 w 6404089"/>
              <a:gd name="connsiteY138" fmla="*/ 2437262 h 3487140"/>
              <a:gd name="connsiteX139" fmla="*/ 4079589 w 6404089"/>
              <a:gd name="connsiteY139" fmla="*/ 2519521 h 3487140"/>
              <a:gd name="connsiteX140" fmla="*/ 3900475 w 6404089"/>
              <a:gd name="connsiteY140" fmla="*/ 2539400 h 3487140"/>
              <a:gd name="connsiteX141" fmla="*/ 3490220 w 6404089"/>
              <a:gd name="connsiteY141" fmla="*/ 2545679 h 3487140"/>
              <a:gd name="connsiteX142" fmla="*/ 3249848 w 6404089"/>
              <a:gd name="connsiteY142" fmla="*/ 2602944 h 3487140"/>
              <a:gd name="connsiteX143" fmla="*/ 3240241 w 6404089"/>
              <a:gd name="connsiteY143" fmla="*/ 2790460 h 3487140"/>
              <a:gd name="connsiteX144" fmla="*/ 3433578 w 6404089"/>
              <a:gd name="connsiteY144" fmla="*/ 3133385 h 3487140"/>
              <a:gd name="connsiteX145" fmla="*/ 3925468 w 6404089"/>
              <a:gd name="connsiteY145" fmla="*/ 3465290 h 3487140"/>
              <a:gd name="connsiteX146" fmla="*/ 4666214 w 6404089"/>
              <a:gd name="connsiteY146" fmla="*/ 3390434 h 3487140"/>
              <a:gd name="connsiteX147" fmla="*/ 5106037 w 6404089"/>
              <a:gd name="connsiteY147" fmla="*/ 3017940 h 3487140"/>
              <a:gd name="connsiteX148" fmla="*/ 5420018 w 6404089"/>
              <a:gd name="connsiteY148" fmla="*/ 2655510 h 3487140"/>
              <a:gd name="connsiteX149" fmla="*/ 5792512 w 6404089"/>
              <a:gd name="connsiteY149" fmla="*/ 3163577 h 3487140"/>
              <a:gd name="connsiteX150" fmla="*/ 6016499 w 6404089"/>
              <a:gd name="connsiteY150" fmla="*/ 3255443 h 3487140"/>
              <a:gd name="connsiteX151" fmla="*/ 6094516 w 6404089"/>
              <a:gd name="connsiteY151" fmla="*/ 2786675 h 3487140"/>
              <a:gd name="connsiteX152" fmla="*/ 6404089 w 6404089"/>
              <a:gd name="connsiteY152" fmla="*/ 2869724 h 3487140"/>
              <a:gd name="connsiteX0" fmla="*/ 777215 w 6094516"/>
              <a:gd name="connsiteY0" fmla="*/ 3295741 h 3487140"/>
              <a:gd name="connsiteX1" fmla="*/ 526113 w 6094516"/>
              <a:gd name="connsiteY1" fmla="*/ 3112384 h 3487140"/>
              <a:gd name="connsiteX2" fmla="*/ 219950 w 6094516"/>
              <a:gd name="connsiteY2" fmla="*/ 2750287 h 3487140"/>
              <a:gd name="connsiteX3" fmla="*/ 128418 w 6094516"/>
              <a:gd name="connsiteY3" fmla="*/ 2305432 h 3487140"/>
              <a:gd name="connsiteX4" fmla="*/ 256006 w 6094516"/>
              <a:gd name="connsiteY4" fmla="*/ 1919713 h 3487140"/>
              <a:gd name="connsiteX5" fmla="*/ 580218 w 6094516"/>
              <a:gd name="connsiteY5" fmla="*/ 1637837 h 3487140"/>
              <a:gd name="connsiteX6" fmla="*/ 1073522 w 6094516"/>
              <a:gd name="connsiteY6" fmla="*/ 1545972 h 3487140"/>
              <a:gd name="connsiteX7" fmla="*/ 1308197 w 6094516"/>
              <a:gd name="connsiteY7" fmla="*/ 1517651 h 3487140"/>
              <a:gd name="connsiteX8" fmla="*/ 1292934 w 6094516"/>
              <a:gd name="connsiteY8" fmla="*/ 1460718 h 3487140"/>
              <a:gd name="connsiteX9" fmla="*/ 1016880 w 6094516"/>
              <a:gd name="connsiteY9" fmla="*/ 1416969 h 3487140"/>
              <a:gd name="connsiteX10" fmla="*/ 497460 w 6094516"/>
              <a:gd name="connsiteY10" fmla="*/ 1517318 h 3487140"/>
              <a:gd name="connsiteX11" fmla="*/ 88162 w 6094516"/>
              <a:gd name="connsiteY11" fmla="*/ 1960593 h 3487140"/>
              <a:gd name="connsiteX12" fmla="*/ 28692 w 6094516"/>
              <a:gd name="connsiteY12" fmla="*/ 2569342 h 3487140"/>
              <a:gd name="connsiteX13" fmla="*/ 442399 w 6094516"/>
              <a:gd name="connsiteY13" fmla="*/ 3165532 h 3487140"/>
              <a:gd name="connsiteX14" fmla="*/ 1232384 w 6094516"/>
              <a:gd name="connsiteY14" fmla="*/ 3283181 h 3487140"/>
              <a:gd name="connsiteX15" fmla="*/ 1835020 w 6094516"/>
              <a:gd name="connsiteY15" fmla="*/ 2757481 h 3487140"/>
              <a:gd name="connsiteX16" fmla="*/ 1824789 w 6094516"/>
              <a:gd name="connsiteY16" fmla="*/ 1980430 h 3487140"/>
              <a:gd name="connsiteX17" fmla="*/ 1494755 w 6094516"/>
              <a:gd name="connsiteY17" fmla="*/ 1589139 h 3487140"/>
              <a:gd name="connsiteX18" fmla="*/ 1305701 w 6094516"/>
              <a:gd name="connsiteY18" fmla="*/ 1660710 h 3487140"/>
              <a:gd name="connsiteX19" fmla="*/ 1197284 w 6094516"/>
              <a:gd name="connsiteY19" fmla="*/ 2116627 h 3487140"/>
              <a:gd name="connsiteX20" fmla="*/ 973921 w 6094516"/>
              <a:gd name="connsiteY20" fmla="*/ 2374258 h 3487140"/>
              <a:gd name="connsiteX21" fmla="*/ 918985 w 6094516"/>
              <a:gd name="connsiteY21" fmla="*/ 2276986 h 3487140"/>
              <a:gd name="connsiteX22" fmla="*/ 1298257 w 6094516"/>
              <a:gd name="connsiteY22" fmla="*/ 2021601 h 3487140"/>
              <a:gd name="connsiteX23" fmla="*/ 1558176 w 6094516"/>
              <a:gd name="connsiteY23" fmla="*/ 1234153 h 3487140"/>
              <a:gd name="connsiteX24" fmla="*/ 1788276 w 6094516"/>
              <a:gd name="connsiteY24" fmla="*/ 725296 h 3487140"/>
              <a:gd name="connsiteX25" fmla="*/ 1896859 w 6094516"/>
              <a:gd name="connsiteY25" fmla="*/ 539984 h 3487140"/>
              <a:gd name="connsiteX26" fmla="*/ 1865711 w 6094516"/>
              <a:gd name="connsiteY26" fmla="*/ 435851 h 3487140"/>
              <a:gd name="connsiteX27" fmla="*/ 1759373 w 6094516"/>
              <a:gd name="connsiteY27" fmla="*/ 350265 h 3487140"/>
              <a:gd name="connsiteX28" fmla="*/ 1714085 w 6094516"/>
              <a:gd name="connsiteY28" fmla="*/ 209327 h 3487140"/>
              <a:gd name="connsiteX29" fmla="*/ 1758915 w 6094516"/>
              <a:gd name="connsiteY29" fmla="*/ 82237 h 3487140"/>
              <a:gd name="connsiteX30" fmla="*/ 1939195 w 6094516"/>
              <a:gd name="connsiteY30" fmla="*/ 6716 h 3487140"/>
              <a:gd name="connsiteX31" fmla="*/ 2207888 w 6094516"/>
              <a:gd name="connsiteY31" fmla="*/ 10167 h 3487140"/>
              <a:gd name="connsiteX32" fmla="*/ 2291561 w 6094516"/>
              <a:gd name="connsiteY32" fmla="*/ 49800 h 3487140"/>
              <a:gd name="connsiteX33" fmla="*/ 2244526 w 6094516"/>
              <a:gd name="connsiteY33" fmla="*/ 86812 h 3487140"/>
              <a:gd name="connsiteX34" fmla="*/ 2008603 w 6094516"/>
              <a:gd name="connsiteY34" fmla="*/ 91886 h 3487140"/>
              <a:gd name="connsiteX35" fmla="*/ 1765070 w 6094516"/>
              <a:gd name="connsiteY35" fmla="*/ 75833 h 3487140"/>
              <a:gd name="connsiteX36" fmla="*/ 1657319 w 6094516"/>
              <a:gd name="connsiteY36" fmla="*/ 176931 h 3487140"/>
              <a:gd name="connsiteX37" fmla="*/ 1672581 w 6094516"/>
              <a:gd name="connsiteY37" fmla="*/ 370393 h 3487140"/>
              <a:gd name="connsiteX38" fmla="*/ 1617354 w 6094516"/>
              <a:gd name="connsiteY38" fmla="*/ 589348 h 3487140"/>
              <a:gd name="connsiteX39" fmla="*/ 1460820 w 6094516"/>
              <a:gd name="connsiteY39" fmla="*/ 903953 h 3487140"/>
              <a:gd name="connsiteX40" fmla="*/ 1250349 w 6094516"/>
              <a:gd name="connsiteY40" fmla="*/ 922501 h 3487140"/>
              <a:gd name="connsiteX41" fmla="*/ 1055930 w 6094516"/>
              <a:gd name="connsiteY41" fmla="*/ 866816 h 3487140"/>
              <a:gd name="connsiteX42" fmla="*/ 997085 w 6094516"/>
              <a:gd name="connsiteY42" fmla="*/ 751038 h 3487140"/>
              <a:gd name="connsiteX43" fmla="*/ 1009021 w 6094516"/>
              <a:gd name="connsiteY43" fmla="*/ 369436 h 3487140"/>
              <a:gd name="connsiteX44" fmla="*/ 1070694 w 6094516"/>
              <a:gd name="connsiteY44" fmla="*/ 155805 h 3487140"/>
              <a:gd name="connsiteX45" fmla="*/ 1272058 w 6094516"/>
              <a:gd name="connsiteY45" fmla="*/ 156761 h 3487140"/>
              <a:gd name="connsiteX46" fmla="*/ 1524989 w 6094516"/>
              <a:gd name="connsiteY46" fmla="*/ 245175 h 3487140"/>
              <a:gd name="connsiteX47" fmla="*/ 1694081 w 6094516"/>
              <a:gd name="connsiteY47" fmla="*/ 357792 h 3487140"/>
              <a:gd name="connsiteX48" fmla="*/ 1798672 w 6094516"/>
              <a:gd name="connsiteY48" fmla="*/ 483301 h 3487140"/>
              <a:gd name="connsiteX49" fmla="*/ 1822876 w 6094516"/>
              <a:gd name="connsiteY49" fmla="*/ 600951 h 3487140"/>
              <a:gd name="connsiteX50" fmla="*/ 1795345 w 6094516"/>
              <a:gd name="connsiteY50" fmla="*/ 761726 h 3487140"/>
              <a:gd name="connsiteX51" fmla="*/ 1967266 w 6094516"/>
              <a:gd name="connsiteY51" fmla="*/ 1160004 h 3487140"/>
              <a:gd name="connsiteX52" fmla="*/ 2390246 w 6094516"/>
              <a:gd name="connsiteY52" fmla="*/ 1793622 h 3487140"/>
              <a:gd name="connsiteX53" fmla="*/ 2807737 w 6094516"/>
              <a:gd name="connsiteY53" fmla="*/ 2087475 h 3487140"/>
              <a:gd name="connsiteX54" fmla="*/ 2917360 w 6094516"/>
              <a:gd name="connsiteY54" fmla="*/ 2185620 h 3487140"/>
              <a:gd name="connsiteX55" fmla="*/ 2804411 w 6094516"/>
              <a:gd name="connsiteY55" fmla="*/ 2468120 h 3487140"/>
              <a:gd name="connsiteX56" fmla="*/ 2638312 w 6094516"/>
              <a:gd name="connsiteY56" fmla="*/ 2505548 h 3487140"/>
              <a:gd name="connsiteX57" fmla="*/ 2329862 w 6094516"/>
              <a:gd name="connsiteY57" fmla="*/ 2278109 h 3487140"/>
              <a:gd name="connsiteX58" fmla="*/ 1885173 w 6094516"/>
              <a:gd name="connsiteY58" fmla="*/ 1678800 h 3487140"/>
              <a:gd name="connsiteX59" fmla="*/ 1765320 w 6094516"/>
              <a:gd name="connsiteY59" fmla="*/ 1175432 h 3487140"/>
              <a:gd name="connsiteX60" fmla="*/ 1919774 w 6094516"/>
              <a:gd name="connsiteY60" fmla="*/ 1377420 h 3487140"/>
              <a:gd name="connsiteX61" fmla="*/ 2281414 w 6094516"/>
              <a:gd name="connsiteY61" fmla="*/ 2268710 h 3487140"/>
              <a:gd name="connsiteX62" fmla="*/ 2601216 w 6094516"/>
              <a:gd name="connsiteY62" fmla="*/ 2693105 h 3487140"/>
              <a:gd name="connsiteX63" fmla="*/ 2834644 w 6094516"/>
              <a:gd name="connsiteY63" fmla="*/ 2746586 h 3487140"/>
              <a:gd name="connsiteX64" fmla="*/ 3001865 w 6094516"/>
              <a:gd name="connsiteY64" fmla="*/ 2631432 h 3487140"/>
              <a:gd name="connsiteX65" fmla="*/ 3013052 w 6094516"/>
              <a:gd name="connsiteY65" fmla="*/ 2436680 h 3487140"/>
              <a:gd name="connsiteX66" fmla="*/ 2859222 w 6094516"/>
              <a:gd name="connsiteY66" fmla="*/ 2309258 h 3487140"/>
              <a:gd name="connsiteX67" fmla="*/ 2652036 w 6094516"/>
              <a:gd name="connsiteY67" fmla="*/ 2375007 h 3487140"/>
              <a:gd name="connsiteX68" fmla="*/ 2629537 w 6094516"/>
              <a:gd name="connsiteY68" fmla="*/ 2581402 h 3487140"/>
              <a:gd name="connsiteX69" fmla="*/ 2772222 w 6094516"/>
              <a:gd name="connsiteY69" fmla="*/ 2671064 h 3487140"/>
              <a:gd name="connsiteX70" fmla="*/ 2868787 w 6094516"/>
              <a:gd name="connsiteY70" fmla="*/ 2596831 h 3487140"/>
              <a:gd name="connsiteX71" fmla="*/ 2835601 w 6094516"/>
              <a:gd name="connsiteY71" fmla="*/ 2530750 h 3487140"/>
              <a:gd name="connsiteX72" fmla="*/ 2713543 w 6094516"/>
              <a:gd name="connsiteY72" fmla="*/ 2615379 h 3487140"/>
              <a:gd name="connsiteX73" fmla="*/ 2567864 w 6094516"/>
              <a:gd name="connsiteY73" fmla="*/ 2907028 h 3487140"/>
              <a:gd name="connsiteX74" fmla="*/ 2520039 w 6094516"/>
              <a:gd name="connsiteY74" fmla="*/ 3008333 h 3487140"/>
              <a:gd name="connsiteX75" fmla="*/ 2484191 w 6094516"/>
              <a:gd name="connsiteY75" fmla="*/ 3024053 h 3487140"/>
              <a:gd name="connsiteX76" fmla="*/ 2389165 w 6094516"/>
              <a:gd name="connsiteY76" fmla="*/ 3013989 h 3487140"/>
              <a:gd name="connsiteX77" fmla="*/ 2396068 w 6094516"/>
              <a:gd name="connsiteY77" fmla="*/ 2956724 h 3487140"/>
              <a:gd name="connsiteX78" fmla="*/ 2584831 w 6094516"/>
              <a:gd name="connsiteY78" fmla="*/ 2951068 h 3487140"/>
              <a:gd name="connsiteX79" fmla="*/ 2671041 w 6094516"/>
              <a:gd name="connsiteY79" fmla="*/ 2951068 h 3487140"/>
              <a:gd name="connsiteX80" fmla="*/ 2752219 w 6094516"/>
              <a:gd name="connsiteY80" fmla="*/ 2822066 h 3487140"/>
              <a:gd name="connsiteX81" fmla="*/ 2892533 w 6094516"/>
              <a:gd name="connsiteY81" fmla="*/ 2789337 h 3487140"/>
              <a:gd name="connsiteX82" fmla="*/ 3020246 w 6094516"/>
              <a:gd name="connsiteY82" fmla="*/ 2713815 h 3487140"/>
              <a:gd name="connsiteX83" fmla="*/ 3106456 w 6094516"/>
              <a:gd name="connsiteY83" fmla="*/ 2544556 h 3487140"/>
              <a:gd name="connsiteX84" fmla="*/ 3326035 w 6094516"/>
              <a:gd name="connsiteY84" fmla="*/ 2482883 h 3487140"/>
              <a:gd name="connsiteX85" fmla="*/ 3861009 w 6094516"/>
              <a:gd name="connsiteY85" fmla="*/ 2466831 h 3487140"/>
              <a:gd name="connsiteX86" fmla="*/ 4016751 w 6094516"/>
              <a:gd name="connsiteY86" fmla="*/ 2420918 h 3487140"/>
              <a:gd name="connsiteX87" fmla="*/ 3866664 w 6094516"/>
              <a:gd name="connsiteY87" fmla="*/ 2252907 h 3487140"/>
              <a:gd name="connsiteX88" fmla="*/ 3391285 w 6094516"/>
              <a:gd name="connsiteY88" fmla="*/ 1791709 h 3487140"/>
              <a:gd name="connsiteX89" fmla="*/ 3127166 w 6094516"/>
              <a:gd name="connsiteY89" fmla="*/ 1600118 h 3487140"/>
              <a:gd name="connsiteX90" fmla="*/ 3003196 w 6094516"/>
              <a:gd name="connsiteY90" fmla="*/ 1733529 h 3487140"/>
              <a:gd name="connsiteX91" fmla="*/ 2940898 w 6094516"/>
              <a:gd name="connsiteY91" fmla="*/ 1995900 h 3487140"/>
              <a:gd name="connsiteX92" fmla="*/ 2981778 w 6094516"/>
              <a:gd name="connsiteY92" fmla="*/ 2048133 h 3487140"/>
              <a:gd name="connsiteX93" fmla="*/ 3044699 w 6094516"/>
              <a:gd name="connsiteY93" fmla="*/ 1778817 h 3487140"/>
              <a:gd name="connsiteX94" fmla="*/ 3166466 w 6094516"/>
              <a:gd name="connsiteY94" fmla="*/ 1356918 h 3487140"/>
              <a:gd name="connsiteX95" fmla="*/ 3272803 w 6094516"/>
              <a:gd name="connsiteY95" fmla="*/ 986960 h 3487140"/>
              <a:gd name="connsiteX96" fmla="*/ 3243526 w 6094516"/>
              <a:gd name="connsiteY96" fmla="*/ 867107 h 3487140"/>
              <a:gd name="connsiteX97" fmla="*/ 3068612 w 6094516"/>
              <a:gd name="connsiteY97" fmla="*/ 840034 h 3487140"/>
              <a:gd name="connsiteX98" fmla="*/ 2924513 w 6094516"/>
              <a:gd name="connsiteY98" fmla="*/ 782769 h 3487140"/>
              <a:gd name="connsiteX99" fmla="*/ 2940857 w 6094516"/>
              <a:gd name="connsiteY99" fmla="*/ 714816 h 3487140"/>
              <a:gd name="connsiteX100" fmla="*/ 3114524 w 6094516"/>
              <a:gd name="connsiteY100" fmla="*/ 723008 h 3487140"/>
              <a:gd name="connsiteX101" fmla="*/ 3317135 w 6094516"/>
              <a:gd name="connsiteY101" fmla="*/ 729288 h 3487140"/>
              <a:gd name="connsiteX102" fmla="*/ 3483857 w 6094516"/>
              <a:gd name="connsiteY102" fmla="*/ 682087 h 3487140"/>
              <a:gd name="connsiteX103" fmla="*/ 3601506 w 6094516"/>
              <a:gd name="connsiteY103" fmla="*/ 703463 h 3487140"/>
              <a:gd name="connsiteX104" fmla="*/ 3624171 w 6094516"/>
              <a:gd name="connsiteY104" fmla="*/ 797199 h 3487140"/>
              <a:gd name="connsiteX105" fmla="*/ 3496458 w 6094516"/>
              <a:gd name="connsiteY105" fmla="*/ 890936 h 3487140"/>
              <a:gd name="connsiteX106" fmla="*/ 3326575 w 6094516"/>
              <a:gd name="connsiteY106" fmla="*/ 918009 h 3487140"/>
              <a:gd name="connsiteX107" fmla="*/ 3198862 w 6094516"/>
              <a:gd name="connsiteY107" fmla="*/ 1002306 h 3487140"/>
              <a:gd name="connsiteX108" fmla="*/ 3097972 w 6094516"/>
              <a:gd name="connsiteY108" fmla="*/ 1299902 h 3487140"/>
              <a:gd name="connsiteX109" fmla="*/ 3159022 w 6094516"/>
              <a:gd name="connsiteY109" fmla="*/ 1545930 h 3487140"/>
              <a:gd name="connsiteX110" fmla="*/ 3371697 w 6094516"/>
              <a:gd name="connsiteY110" fmla="*/ 1536490 h 3487140"/>
              <a:gd name="connsiteX111" fmla="*/ 3551228 w 6094516"/>
              <a:gd name="connsiteY111" fmla="*/ 1376048 h 3487140"/>
              <a:gd name="connsiteX112" fmla="*/ 3554389 w 6094516"/>
              <a:gd name="connsiteY112" fmla="*/ 1231949 h 3487140"/>
              <a:gd name="connsiteX113" fmla="*/ 3336348 w 6094516"/>
              <a:gd name="connsiteY113" fmla="*/ 1191693 h 3487140"/>
              <a:gd name="connsiteX114" fmla="*/ 3344832 w 6094516"/>
              <a:gd name="connsiteY114" fmla="*/ 1255238 h 3487140"/>
              <a:gd name="connsiteX115" fmla="*/ 3769850 w 6094516"/>
              <a:gd name="connsiteY115" fmla="*/ 1241722 h 3487140"/>
              <a:gd name="connsiteX116" fmla="*/ 4254670 w 6094516"/>
              <a:gd name="connsiteY116" fmla="*/ 1259646 h 3487140"/>
              <a:gd name="connsiteX117" fmla="*/ 4484022 w 6094516"/>
              <a:gd name="connsiteY117" fmla="*/ 1236981 h 3487140"/>
              <a:gd name="connsiteX118" fmla="*/ 4465766 w 6094516"/>
              <a:gd name="connsiteY118" fmla="*/ 1185995 h 3487140"/>
              <a:gd name="connsiteX119" fmla="*/ 4105248 w 6094516"/>
              <a:gd name="connsiteY119" fmla="*/ 1177512 h 3487140"/>
              <a:gd name="connsiteX120" fmla="*/ 3734668 w 6094516"/>
              <a:gd name="connsiteY120" fmla="*/ 1331342 h 3487140"/>
              <a:gd name="connsiteX121" fmla="*/ 3388914 w 6094516"/>
              <a:gd name="connsiteY121" fmla="*/ 1604110 h 3487140"/>
              <a:gd name="connsiteX122" fmla="*/ 3156111 w 6094516"/>
              <a:gd name="connsiteY122" fmla="*/ 1921252 h 3487140"/>
              <a:gd name="connsiteX123" fmla="*/ 3060461 w 6094516"/>
              <a:gd name="connsiteY123" fmla="*/ 2419255 h 3487140"/>
              <a:gd name="connsiteX124" fmla="*/ 3290769 w 6094516"/>
              <a:gd name="connsiteY124" fmla="*/ 3048465 h 3487140"/>
              <a:gd name="connsiteX125" fmla="*/ 3868994 w 6094516"/>
              <a:gd name="connsiteY125" fmla="*/ 3394510 h 3487140"/>
              <a:gd name="connsiteX126" fmla="*/ 4507643 w 6094516"/>
              <a:gd name="connsiteY126" fmla="*/ 3330632 h 3487140"/>
              <a:gd name="connsiteX127" fmla="*/ 5002818 w 6094516"/>
              <a:gd name="connsiteY127" fmla="*/ 2841404 h 3487140"/>
              <a:gd name="connsiteX128" fmla="*/ 5036171 w 6094516"/>
              <a:gd name="connsiteY128" fmla="*/ 2052999 h 3487140"/>
              <a:gd name="connsiteX129" fmla="*/ 4605164 w 6094516"/>
              <a:gd name="connsiteY129" fmla="*/ 1482011 h 3487140"/>
              <a:gd name="connsiteX130" fmla="*/ 4138310 w 6094516"/>
              <a:gd name="connsiteY130" fmla="*/ 1352717 h 3487140"/>
              <a:gd name="connsiteX131" fmla="*/ 3977868 w 6094516"/>
              <a:gd name="connsiteY131" fmla="*/ 1466624 h 3487140"/>
              <a:gd name="connsiteX132" fmla="*/ 3999909 w 6094516"/>
              <a:gd name="connsiteY132" fmla="*/ 2001140 h 3487140"/>
              <a:gd name="connsiteX133" fmla="*/ 4033885 w 6094516"/>
              <a:gd name="connsiteY133" fmla="*/ 2313208 h 3487140"/>
              <a:gd name="connsiteX134" fmla="*/ 4125585 w 6094516"/>
              <a:gd name="connsiteY134" fmla="*/ 2399085 h 3487140"/>
              <a:gd name="connsiteX135" fmla="*/ 4230051 w 6094516"/>
              <a:gd name="connsiteY135" fmla="*/ 2362905 h 3487140"/>
              <a:gd name="connsiteX136" fmla="*/ 4194660 w 6094516"/>
              <a:gd name="connsiteY136" fmla="*/ 2271372 h 3487140"/>
              <a:gd name="connsiteX137" fmla="*/ 4097056 w 6094516"/>
              <a:gd name="connsiteY137" fmla="*/ 2303394 h 3487140"/>
              <a:gd name="connsiteX138" fmla="*/ 4080670 w 6094516"/>
              <a:gd name="connsiteY138" fmla="*/ 2437262 h 3487140"/>
              <a:gd name="connsiteX139" fmla="*/ 4079589 w 6094516"/>
              <a:gd name="connsiteY139" fmla="*/ 2519521 h 3487140"/>
              <a:gd name="connsiteX140" fmla="*/ 3900475 w 6094516"/>
              <a:gd name="connsiteY140" fmla="*/ 2539400 h 3487140"/>
              <a:gd name="connsiteX141" fmla="*/ 3490220 w 6094516"/>
              <a:gd name="connsiteY141" fmla="*/ 2545679 h 3487140"/>
              <a:gd name="connsiteX142" fmla="*/ 3249848 w 6094516"/>
              <a:gd name="connsiteY142" fmla="*/ 2602944 h 3487140"/>
              <a:gd name="connsiteX143" fmla="*/ 3240241 w 6094516"/>
              <a:gd name="connsiteY143" fmla="*/ 2790460 h 3487140"/>
              <a:gd name="connsiteX144" fmla="*/ 3433578 w 6094516"/>
              <a:gd name="connsiteY144" fmla="*/ 3133385 h 3487140"/>
              <a:gd name="connsiteX145" fmla="*/ 3925468 w 6094516"/>
              <a:gd name="connsiteY145" fmla="*/ 3465290 h 3487140"/>
              <a:gd name="connsiteX146" fmla="*/ 4666214 w 6094516"/>
              <a:gd name="connsiteY146" fmla="*/ 3390434 h 3487140"/>
              <a:gd name="connsiteX147" fmla="*/ 5106037 w 6094516"/>
              <a:gd name="connsiteY147" fmla="*/ 3017940 h 3487140"/>
              <a:gd name="connsiteX148" fmla="*/ 5420018 w 6094516"/>
              <a:gd name="connsiteY148" fmla="*/ 2655510 h 3487140"/>
              <a:gd name="connsiteX149" fmla="*/ 5792512 w 6094516"/>
              <a:gd name="connsiteY149" fmla="*/ 3163577 h 3487140"/>
              <a:gd name="connsiteX150" fmla="*/ 6016499 w 6094516"/>
              <a:gd name="connsiteY150" fmla="*/ 3255443 h 3487140"/>
              <a:gd name="connsiteX151" fmla="*/ 6094516 w 6094516"/>
              <a:gd name="connsiteY151" fmla="*/ 2786675 h 3487140"/>
              <a:gd name="connsiteX0" fmla="*/ 777215 w 6016499"/>
              <a:gd name="connsiteY0" fmla="*/ 3295741 h 3487140"/>
              <a:gd name="connsiteX1" fmla="*/ 526113 w 6016499"/>
              <a:gd name="connsiteY1" fmla="*/ 3112384 h 3487140"/>
              <a:gd name="connsiteX2" fmla="*/ 219950 w 6016499"/>
              <a:gd name="connsiteY2" fmla="*/ 2750287 h 3487140"/>
              <a:gd name="connsiteX3" fmla="*/ 128418 w 6016499"/>
              <a:gd name="connsiteY3" fmla="*/ 2305432 h 3487140"/>
              <a:gd name="connsiteX4" fmla="*/ 256006 w 6016499"/>
              <a:gd name="connsiteY4" fmla="*/ 1919713 h 3487140"/>
              <a:gd name="connsiteX5" fmla="*/ 580218 w 6016499"/>
              <a:gd name="connsiteY5" fmla="*/ 1637837 h 3487140"/>
              <a:gd name="connsiteX6" fmla="*/ 1073522 w 6016499"/>
              <a:gd name="connsiteY6" fmla="*/ 1545972 h 3487140"/>
              <a:gd name="connsiteX7" fmla="*/ 1308197 w 6016499"/>
              <a:gd name="connsiteY7" fmla="*/ 1517651 h 3487140"/>
              <a:gd name="connsiteX8" fmla="*/ 1292934 w 6016499"/>
              <a:gd name="connsiteY8" fmla="*/ 1460718 h 3487140"/>
              <a:gd name="connsiteX9" fmla="*/ 1016880 w 6016499"/>
              <a:gd name="connsiteY9" fmla="*/ 1416969 h 3487140"/>
              <a:gd name="connsiteX10" fmla="*/ 497460 w 6016499"/>
              <a:gd name="connsiteY10" fmla="*/ 1517318 h 3487140"/>
              <a:gd name="connsiteX11" fmla="*/ 88162 w 6016499"/>
              <a:gd name="connsiteY11" fmla="*/ 1960593 h 3487140"/>
              <a:gd name="connsiteX12" fmla="*/ 28692 w 6016499"/>
              <a:gd name="connsiteY12" fmla="*/ 2569342 h 3487140"/>
              <a:gd name="connsiteX13" fmla="*/ 442399 w 6016499"/>
              <a:gd name="connsiteY13" fmla="*/ 3165532 h 3487140"/>
              <a:gd name="connsiteX14" fmla="*/ 1232384 w 6016499"/>
              <a:gd name="connsiteY14" fmla="*/ 3283181 h 3487140"/>
              <a:gd name="connsiteX15" fmla="*/ 1835020 w 6016499"/>
              <a:gd name="connsiteY15" fmla="*/ 2757481 h 3487140"/>
              <a:gd name="connsiteX16" fmla="*/ 1824789 w 6016499"/>
              <a:gd name="connsiteY16" fmla="*/ 1980430 h 3487140"/>
              <a:gd name="connsiteX17" fmla="*/ 1494755 w 6016499"/>
              <a:gd name="connsiteY17" fmla="*/ 1589139 h 3487140"/>
              <a:gd name="connsiteX18" fmla="*/ 1305701 w 6016499"/>
              <a:gd name="connsiteY18" fmla="*/ 1660710 h 3487140"/>
              <a:gd name="connsiteX19" fmla="*/ 1197284 w 6016499"/>
              <a:gd name="connsiteY19" fmla="*/ 2116627 h 3487140"/>
              <a:gd name="connsiteX20" fmla="*/ 973921 w 6016499"/>
              <a:gd name="connsiteY20" fmla="*/ 2374258 h 3487140"/>
              <a:gd name="connsiteX21" fmla="*/ 918985 w 6016499"/>
              <a:gd name="connsiteY21" fmla="*/ 2276986 h 3487140"/>
              <a:gd name="connsiteX22" fmla="*/ 1298257 w 6016499"/>
              <a:gd name="connsiteY22" fmla="*/ 2021601 h 3487140"/>
              <a:gd name="connsiteX23" fmla="*/ 1558176 w 6016499"/>
              <a:gd name="connsiteY23" fmla="*/ 1234153 h 3487140"/>
              <a:gd name="connsiteX24" fmla="*/ 1788276 w 6016499"/>
              <a:gd name="connsiteY24" fmla="*/ 725296 h 3487140"/>
              <a:gd name="connsiteX25" fmla="*/ 1896859 w 6016499"/>
              <a:gd name="connsiteY25" fmla="*/ 539984 h 3487140"/>
              <a:gd name="connsiteX26" fmla="*/ 1865711 w 6016499"/>
              <a:gd name="connsiteY26" fmla="*/ 435851 h 3487140"/>
              <a:gd name="connsiteX27" fmla="*/ 1759373 w 6016499"/>
              <a:gd name="connsiteY27" fmla="*/ 350265 h 3487140"/>
              <a:gd name="connsiteX28" fmla="*/ 1714085 w 6016499"/>
              <a:gd name="connsiteY28" fmla="*/ 209327 h 3487140"/>
              <a:gd name="connsiteX29" fmla="*/ 1758915 w 6016499"/>
              <a:gd name="connsiteY29" fmla="*/ 82237 h 3487140"/>
              <a:gd name="connsiteX30" fmla="*/ 1939195 w 6016499"/>
              <a:gd name="connsiteY30" fmla="*/ 6716 h 3487140"/>
              <a:gd name="connsiteX31" fmla="*/ 2207888 w 6016499"/>
              <a:gd name="connsiteY31" fmla="*/ 10167 h 3487140"/>
              <a:gd name="connsiteX32" fmla="*/ 2291561 w 6016499"/>
              <a:gd name="connsiteY32" fmla="*/ 49800 h 3487140"/>
              <a:gd name="connsiteX33" fmla="*/ 2244526 w 6016499"/>
              <a:gd name="connsiteY33" fmla="*/ 86812 h 3487140"/>
              <a:gd name="connsiteX34" fmla="*/ 2008603 w 6016499"/>
              <a:gd name="connsiteY34" fmla="*/ 91886 h 3487140"/>
              <a:gd name="connsiteX35" fmla="*/ 1765070 w 6016499"/>
              <a:gd name="connsiteY35" fmla="*/ 75833 h 3487140"/>
              <a:gd name="connsiteX36" fmla="*/ 1657319 w 6016499"/>
              <a:gd name="connsiteY36" fmla="*/ 176931 h 3487140"/>
              <a:gd name="connsiteX37" fmla="*/ 1672581 w 6016499"/>
              <a:gd name="connsiteY37" fmla="*/ 370393 h 3487140"/>
              <a:gd name="connsiteX38" fmla="*/ 1617354 w 6016499"/>
              <a:gd name="connsiteY38" fmla="*/ 589348 h 3487140"/>
              <a:gd name="connsiteX39" fmla="*/ 1460820 w 6016499"/>
              <a:gd name="connsiteY39" fmla="*/ 903953 h 3487140"/>
              <a:gd name="connsiteX40" fmla="*/ 1250349 w 6016499"/>
              <a:gd name="connsiteY40" fmla="*/ 922501 h 3487140"/>
              <a:gd name="connsiteX41" fmla="*/ 1055930 w 6016499"/>
              <a:gd name="connsiteY41" fmla="*/ 866816 h 3487140"/>
              <a:gd name="connsiteX42" fmla="*/ 997085 w 6016499"/>
              <a:gd name="connsiteY42" fmla="*/ 751038 h 3487140"/>
              <a:gd name="connsiteX43" fmla="*/ 1009021 w 6016499"/>
              <a:gd name="connsiteY43" fmla="*/ 369436 h 3487140"/>
              <a:gd name="connsiteX44" fmla="*/ 1070694 w 6016499"/>
              <a:gd name="connsiteY44" fmla="*/ 155805 h 3487140"/>
              <a:gd name="connsiteX45" fmla="*/ 1272058 w 6016499"/>
              <a:gd name="connsiteY45" fmla="*/ 156761 h 3487140"/>
              <a:gd name="connsiteX46" fmla="*/ 1524989 w 6016499"/>
              <a:gd name="connsiteY46" fmla="*/ 245175 h 3487140"/>
              <a:gd name="connsiteX47" fmla="*/ 1694081 w 6016499"/>
              <a:gd name="connsiteY47" fmla="*/ 357792 h 3487140"/>
              <a:gd name="connsiteX48" fmla="*/ 1798672 w 6016499"/>
              <a:gd name="connsiteY48" fmla="*/ 483301 h 3487140"/>
              <a:gd name="connsiteX49" fmla="*/ 1822876 w 6016499"/>
              <a:gd name="connsiteY49" fmla="*/ 600951 h 3487140"/>
              <a:gd name="connsiteX50" fmla="*/ 1795345 w 6016499"/>
              <a:gd name="connsiteY50" fmla="*/ 761726 h 3487140"/>
              <a:gd name="connsiteX51" fmla="*/ 1967266 w 6016499"/>
              <a:gd name="connsiteY51" fmla="*/ 1160004 h 3487140"/>
              <a:gd name="connsiteX52" fmla="*/ 2390246 w 6016499"/>
              <a:gd name="connsiteY52" fmla="*/ 1793622 h 3487140"/>
              <a:gd name="connsiteX53" fmla="*/ 2807737 w 6016499"/>
              <a:gd name="connsiteY53" fmla="*/ 2087475 h 3487140"/>
              <a:gd name="connsiteX54" fmla="*/ 2917360 w 6016499"/>
              <a:gd name="connsiteY54" fmla="*/ 2185620 h 3487140"/>
              <a:gd name="connsiteX55" fmla="*/ 2804411 w 6016499"/>
              <a:gd name="connsiteY55" fmla="*/ 2468120 h 3487140"/>
              <a:gd name="connsiteX56" fmla="*/ 2638312 w 6016499"/>
              <a:gd name="connsiteY56" fmla="*/ 2505548 h 3487140"/>
              <a:gd name="connsiteX57" fmla="*/ 2329862 w 6016499"/>
              <a:gd name="connsiteY57" fmla="*/ 2278109 h 3487140"/>
              <a:gd name="connsiteX58" fmla="*/ 1885173 w 6016499"/>
              <a:gd name="connsiteY58" fmla="*/ 1678800 h 3487140"/>
              <a:gd name="connsiteX59" fmla="*/ 1765320 w 6016499"/>
              <a:gd name="connsiteY59" fmla="*/ 1175432 h 3487140"/>
              <a:gd name="connsiteX60" fmla="*/ 1919774 w 6016499"/>
              <a:gd name="connsiteY60" fmla="*/ 1377420 h 3487140"/>
              <a:gd name="connsiteX61" fmla="*/ 2281414 w 6016499"/>
              <a:gd name="connsiteY61" fmla="*/ 2268710 h 3487140"/>
              <a:gd name="connsiteX62" fmla="*/ 2601216 w 6016499"/>
              <a:gd name="connsiteY62" fmla="*/ 2693105 h 3487140"/>
              <a:gd name="connsiteX63" fmla="*/ 2834644 w 6016499"/>
              <a:gd name="connsiteY63" fmla="*/ 2746586 h 3487140"/>
              <a:gd name="connsiteX64" fmla="*/ 3001865 w 6016499"/>
              <a:gd name="connsiteY64" fmla="*/ 2631432 h 3487140"/>
              <a:gd name="connsiteX65" fmla="*/ 3013052 w 6016499"/>
              <a:gd name="connsiteY65" fmla="*/ 2436680 h 3487140"/>
              <a:gd name="connsiteX66" fmla="*/ 2859222 w 6016499"/>
              <a:gd name="connsiteY66" fmla="*/ 2309258 h 3487140"/>
              <a:gd name="connsiteX67" fmla="*/ 2652036 w 6016499"/>
              <a:gd name="connsiteY67" fmla="*/ 2375007 h 3487140"/>
              <a:gd name="connsiteX68" fmla="*/ 2629537 w 6016499"/>
              <a:gd name="connsiteY68" fmla="*/ 2581402 h 3487140"/>
              <a:gd name="connsiteX69" fmla="*/ 2772222 w 6016499"/>
              <a:gd name="connsiteY69" fmla="*/ 2671064 h 3487140"/>
              <a:gd name="connsiteX70" fmla="*/ 2868787 w 6016499"/>
              <a:gd name="connsiteY70" fmla="*/ 2596831 h 3487140"/>
              <a:gd name="connsiteX71" fmla="*/ 2835601 w 6016499"/>
              <a:gd name="connsiteY71" fmla="*/ 2530750 h 3487140"/>
              <a:gd name="connsiteX72" fmla="*/ 2713543 w 6016499"/>
              <a:gd name="connsiteY72" fmla="*/ 2615379 h 3487140"/>
              <a:gd name="connsiteX73" fmla="*/ 2567864 w 6016499"/>
              <a:gd name="connsiteY73" fmla="*/ 2907028 h 3487140"/>
              <a:gd name="connsiteX74" fmla="*/ 2520039 w 6016499"/>
              <a:gd name="connsiteY74" fmla="*/ 3008333 h 3487140"/>
              <a:gd name="connsiteX75" fmla="*/ 2484191 w 6016499"/>
              <a:gd name="connsiteY75" fmla="*/ 3024053 h 3487140"/>
              <a:gd name="connsiteX76" fmla="*/ 2389165 w 6016499"/>
              <a:gd name="connsiteY76" fmla="*/ 3013989 h 3487140"/>
              <a:gd name="connsiteX77" fmla="*/ 2396068 w 6016499"/>
              <a:gd name="connsiteY77" fmla="*/ 2956724 h 3487140"/>
              <a:gd name="connsiteX78" fmla="*/ 2584831 w 6016499"/>
              <a:gd name="connsiteY78" fmla="*/ 2951068 h 3487140"/>
              <a:gd name="connsiteX79" fmla="*/ 2671041 w 6016499"/>
              <a:gd name="connsiteY79" fmla="*/ 2951068 h 3487140"/>
              <a:gd name="connsiteX80" fmla="*/ 2752219 w 6016499"/>
              <a:gd name="connsiteY80" fmla="*/ 2822066 h 3487140"/>
              <a:gd name="connsiteX81" fmla="*/ 2892533 w 6016499"/>
              <a:gd name="connsiteY81" fmla="*/ 2789337 h 3487140"/>
              <a:gd name="connsiteX82" fmla="*/ 3020246 w 6016499"/>
              <a:gd name="connsiteY82" fmla="*/ 2713815 h 3487140"/>
              <a:gd name="connsiteX83" fmla="*/ 3106456 w 6016499"/>
              <a:gd name="connsiteY83" fmla="*/ 2544556 h 3487140"/>
              <a:gd name="connsiteX84" fmla="*/ 3326035 w 6016499"/>
              <a:gd name="connsiteY84" fmla="*/ 2482883 h 3487140"/>
              <a:gd name="connsiteX85" fmla="*/ 3861009 w 6016499"/>
              <a:gd name="connsiteY85" fmla="*/ 2466831 h 3487140"/>
              <a:gd name="connsiteX86" fmla="*/ 4016751 w 6016499"/>
              <a:gd name="connsiteY86" fmla="*/ 2420918 h 3487140"/>
              <a:gd name="connsiteX87" fmla="*/ 3866664 w 6016499"/>
              <a:gd name="connsiteY87" fmla="*/ 2252907 h 3487140"/>
              <a:gd name="connsiteX88" fmla="*/ 3391285 w 6016499"/>
              <a:gd name="connsiteY88" fmla="*/ 1791709 h 3487140"/>
              <a:gd name="connsiteX89" fmla="*/ 3127166 w 6016499"/>
              <a:gd name="connsiteY89" fmla="*/ 1600118 h 3487140"/>
              <a:gd name="connsiteX90" fmla="*/ 3003196 w 6016499"/>
              <a:gd name="connsiteY90" fmla="*/ 1733529 h 3487140"/>
              <a:gd name="connsiteX91" fmla="*/ 2940898 w 6016499"/>
              <a:gd name="connsiteY91" fmla="*/ 1995900 h 3487140"/>
              <a:gd name="connsiteX92" fmla="*/ 2981778 w 6016499"/>
              <a:gd name="connsiteY92" fmla="*/ 2048133 h 3487140"/>
              <a:gd name="connsiteX93" fmla="*/ 3044699 w 6016499"/>
              <a:gd name="connsiteY93" fmla="*/ 1778817 h 3487140"/>
              <a:gd name="connsiteX94" fmla="*/ 3166466 w 6016499"/>
              <a:gd name="connsiteY94" fmla="*/ 1356918 h 3487140"/>
              <a:gd name="connsiteX95" fmla="*/ 3272803 w 6016499"/>
              <a:gd name="connsiteY95" fmla="*/ 986960 h 3487140"/>
              <a:gd name="connsiteX96" fmla="*/ 3243526 w 6016499"/>
              <a:gd name="connsiteY96" fmla="*/ 867107 h 3487140"/>
              <a:gd name="connsiteX97" fmla="*/ 3068612 w 6016499"/>
              <a:gd name="connsiteY97" fmla="*/ 840034 h 3487140"/>
              <a:gd name="connsiteX98" fmla="*/ 2924513 w 6016499"/>
              <a:gd name="connsiteY98" fmla="*/ 782769 h 3487140"/>
              <a:gd name="connsiteX99" fmla="*/ 2940857 w 6016499"/>
              <a:gd name="connsiteY99" fmla="*/ 714816 h 3487140"/>
              <a:gd name="connsiteX100" fmla="*/ 3114524 w 6016499"/>
              <a:gd name="connsiteY100" fmla="*/ 723008 h 3487140"/>
              <a:gd name="connsiteX101" fmla="*/ 3317135 w 6016499"/>
              <a:gd name="connsiteY101" fmla="*/ 729288 h 3487140"/>
              <a:gd name="connsiteX102" fmla="*/ 3483857 w 6016499"/>
              <a:gd name="connsiteY102" fmla="*/ 682087 h 3487140"/>
              <a:gd name="connsiteX103" fmla="*/ 3601506 w 6016499"/>
              <a:gd name="connsiteY103" fmla="*/ 703463 h 3487140"/>
              <a:gd name="connsiteX104" fmla="*/ 3624171 w 6016499"/>
              <a:gd name="connsiteY104" fmla="*/ 797199 h 3487140"/>
              <a:gd name="connsiteX105" fmla="*/ 3496458 w 6016499"/>
              <a:gd name="connsiteY105" fmla="*/ 890936 h 3487140"/>
              <a:gd name="connsiteX106" fmla="*/ 3326575 w 6016499"/>
              <a:gd name="connsiteY106" fmla="*/ 918009 h 3487140"/>
              <a:gd name="connsiteX107" fmla="*/ 3198862 w 6016499"/>
              <a:gd name="connsiteY107" fmla="*/ 1002306 h 3487140"/>
              <a:gd name="connsiteX108" fmla="*/ 3097972 w 6016499"/>
              <a:gd name="connsiteY108" fmla="*/ 1299902 h 3487140"/>
              <a:gd name="connsiteX109" fmla="*/ 3159022 w 6016499"/>
              <a:gd name="connsiteY109" fmla="*/ 1545930 h 3487140"/>
              <a:gd name="connsiteX110" fmla="*/ 3371697 w 6016499"/>
              <a:gd name="connsiteY110" fmla="*/ 1536490 h 3487140"/>
              <a:gd name="connsiteX111" fmla="*/ 3551228 w 6016499"/>
              <a:gd name="connsiteY111" fmla="*/ 1376048 h 3487140"/>
              <a:gd name="connsiteX112" fmla="*/ 3554389 w 6016499"/>
              <a:gd name="connsiteY112" fmla="*/ 1231949 h 3487140"/>
              <a:gd name="connsiteX113" fmla="*/ 3336348 w 6016499"/>
              <a:gd name="connsiteY113" fmla="*/ 1191693 h 3487140"/>
              <a:gd name="connsiteX114" fmla="*/ 3344832 w 6016499"/>
              <a:gd name="connsiteY114" fmla="*/ 1255238 h 3487140"/>
              <a:gd name="connsiteX115" fmla="*/ 3769850 w 6016499"/>
              <a:gd name="connsiteY115" fmla="*/ 1241722 h 3487140"/>
              <a:gd name="connsiteX116" fmla="*/ 4254670 w 6016499"/>
              <a:gd name="connsiteY116" fmla="*/ 1259646 h 3487140"/>
              <a:gd name="connsiteX117" fmla="*/ 4484022 w 6016499"/>
              <a:gd name="connsiteY117" fmla="*/ 1236981 h 3487140"/>
              <a:gd name="connsiteX118" fmla="*/ 4465766 w 6016499"/>
              <a:gd name="connsiteY118" fmla="*/ 1185995 h 3487140"/>
              <a:gd name="connsiteX119" fmla="*/ 4105248 w 6016499"/>
              <a:gd name="connsiteY119" fmla="*/ 1177512 h 3487140"/>
              <a:gd name="connsiteX120" fmla="*/ 3734668 w 6016499"/>
              <a:gd name="connsiteY120" fmla="*/ 1331342 h 3487140"/>
              <a:gd name="connsiteX121" fmla="*/ 3388914 w 6016499"/>
              <a:gd name="connsiteY121" fmla="*/ 1604110 h 3487140"/>
              <a:gd name="connsiteX122" fmla="*/ 3156111 w 6016499"/>
              <a:gd name="connsiteY122" fmla="*/ 1921252 h 3487140"/>
              <a:gd name="connsiteX123" fmla="*/ 3060461 w 6016499"/>
              <a:gd name="connsiteY123" fmla="*/ 2419255 h 3487140"/>
              <a:gd name="connsiteX124" fmla="*/ 3290769 w 6016499"/>
              <a:gd name="connsiteY124" fmla="*/ 3048465 h 3487140"/>
              <a:gd name="connsiteX125" fmla="*/ 3868994 w 6016499"/>
              <a:gd name="connsiteY125" fmla="*/ 3394510 h 3487140"/>
              <a:gd name="connsiteX126" fmla="*/ 4507643 w 6016499"/>
              <a:gd name="connsiteY126" fmla="*/ 3330632 h 3487140"/>
              <a:gd name="connsiteX127" fmla="*/ 5002818 w 6016499"/>
              <a:gd name="connsiteY127" fmla="*/ 2841404 h 3487140"/>
              <a:gd name="connsiteX128" fmla="*/ 5036171 w 6016499"/>
              <a:gd name="connsiteY128" fmla="*/ 2052999 h 3487140"/>
              <a:gd name="connsiteX129" fmla="*/ 4605164 w 6016499"/>
              <a:gd name="connsiteY129" fmla="*/ 1482011 h 3487140"/>
              <a:gd name="connsiteX130" fmla="*/ 4138310 w 6016499"/>
              <a:gd name="connsiteY130" fmla="*/ 1352717 h 3487140"/>
              <a:gd name="connsiteX131" fmla="*/ 3977868 w 6016499"/>
              <a:gd name="connsiteY131" fmla="*/ 1466624 h 3487140"/>
              <a:gd name="connsiteX132" fmla="*/ 3999909 w 6016499"/>
              <a:gd name="connsiteY132" fmla="*/ 2001140 h 3487140"/>
              <a:gd name="connsiteX133" fmla="*/ 4033885 w 6016499"/>
              <a:gd name="connsiteY133" fmla="*/ 2313208 h 3487140"/>
              <a:gd name="connsiteX134" fmla="*/ 4125585 w 6016499"/>
              <a:gd name="connsiteY134" fmla="*/ 2399085 h 3487140"/>
              <a:gd name="connsiteX135" fmla="*/ 4230051 w 6016499"/>
              <a:gd name="connsiteY135" fmla="*/ 2362905 h 3487140"/>
              <a:gd name="connsiteX136" fmla="*/ 4194660 w 6016499"/>
              <a:gd name="connsiteY136" fmla="*/ 2271372 h 3487140"/>
              <a:gd name="connsiteX137" fmla="*/ 4097056 w 6016499"/>
              <a:gd name="connsiteY137" fmla="*/ 2303394 h 3487140"/>
              <a:gd name="connsiteX138" fmla="*/ 4080670 w 6016499"/>
              <a:gd name="connsiteY138" fmla="*/ 2437262 h 3487140"/>
              <a:gd name="connsiteX139" fmla="*/ 4079589 w 6016499"/>
              <a:gd name="connsiteY139" fmla="*/ 2519521 h 3487140"/>
              <a:gd name="connsiteX140" fmla="*/ 3900475 w 6016499"/>
              <a:gd name="connsiteY140" fmla="*/ 2539400 h 3487140"/>
              <a:gd name="connsiteX141" fmla="*/ 3490220 w 6016499"/>
              <a:gd name="connsiteY141" fmla="*/ 2545679 h 3487140"/>
              <a:gd name="connsiteX142" fmla="*/ 3249848 w 6016499"/>
              <a:gd name="connsiteY142" fmla="*/ 2602944 h 3487140"/>
              <a:gd name="connsiteX143" fmla="*/ 3240241 w 6016499"/>
              <a:gd name="connsiteY143" fmla="*/ 2790460 h 3487140"/>
              <a:gd name="connsiteX144" fmla="*/ 3433578 w 6016499"/>
              <a:gd name="connsiteY144" fmla="*/ 3133385 h 3487140"/>
              <a:gd name="connsiteX145" fmla="*/ 3925468 w 6016499"/>
              <a:gd name="connsiteY145" fmla="*/ 3465290 h 3487140"/>
              <a:gd name="connsiteX146" fmla="*/ 4666214 w 6016499"/>
              <a:gd name="connsiteY146" fmla="*/ 3390434 h 3487140"/>
              <a:gd name="connsiteX147" fmla="*/ 5106037 w 6016499"/>
              <a:gd name="connsiteY147" fmla="*/ 3017940 h 3487140"/>
              <a:gd name="connsiteX148" fmla="*/ 5420018 w 6016499"/>
              <a:gd name="connsiteY148" fmla="*/ 2655510 h 3487140"/>
              <a:gd name="connsiteX149" fmla="*/ 5792512 w 6016499"/>
              <a:gd name="connsiteY149" fmla="*/ 3163577 h 3487140"/>
              <a:gd name="connsiteX150" fmla="*/ 6016499 w 6016499"/>
              <a:gd name="connsiteY150" fmla="*/ 3255443 h 3487140"/>
              <a:gd name="connsiteX0" fmla="*/ 777215 w 5792512"/>
              <a:gd name="connsiteY0" fmla="*/ 3295741 h 3487140"/>
              <a:gd name="connsiteX1" fmla="*/ 526113 w 5792512"/>
              <a:gd name="connsiteY1" fmla="*/ 3112384 h 3487140"/>
              <a:gd name="connsiteX2" fmla="*/ 219950 w 5792512"/>
              <a:gd name="connsiteY2" fmla="*/ 2750287 h 3487140"/>
              <a:gd name="connsiteX3" fmla="*/ 128418 w 5792512"/>
              <a:gd name="connsiteY3" fmla="*/ 2305432 h 3487140"/>
              <a:gd name="connsiteX4" fmla="*/ 256006 w 5792512"/>
              <a:gd name="connsiteY4" fmla="*/ 1919713 h 3487140"/>
              <a:gd name="connsiteX5" fmla="*/ 580218 w 5792512"/>
              <a:gd name="connsiteY5" fmla="*/ 1637837 h 3487140"/>
              <a:gd name="connsiteX6" fmla="*/ 1073522 w 5792512"/>
              <a:gd name="connsiteY6" fmla="*/ 1545972 h 3487140"/>
              <a:gd name="connsiteX7" fmla="*/ 1308197 w 5792512"/>
              <a:gd name="connsiteY7" fmla="*/ 1517651 h 3487140"/>
              <a:gd name="connsiteX8" fmla="*/ 1292934 w 5792512"/>
              <a:gd name="connsiteY8" fmla="*/ 1460718 h 3487140"/>
              <a:gd name="connsiteX9" fmla="*/ 1016880 w 5792512"/>
              <a:gd name="connsiteY9" fmla="*/ 1416969 h 3487140"/>
              <a:gd name="connsiteX10" fmla="*/ 497460 w 5792512"/>
              <a:gd name="connsiteY10" fmla="*/ 1517318 h 3487140"/>
              <a:gd name="connsiteX11" fmla="*/ 88162 w 5792512"/>
              <a:gd name="connsiteY11" fmla="*/ 1960593 h 3487140"/>
              <a:gd name="connsiteX12" fmla="*/ 28692 w 5792512"/>
              <a:gd name="connsiteY12" fmla="*/ 2569342 h 3487140"/>
              <a:gd name="connsiteX13" fmla="*/ 442399 w 5792512"/>
              <a:gd name="connsiteY13" fmla="*/ 3165532 h 3487140"/>
              <a:gd name="connsiteX14" fmla="*/ 1232384 w 5792512"/>
              <a:gd name="connsiteY14" fmla="*/ 3283181 h 3487140"/>
              <a:gd name="connsiteX15" fmla="*/ 1835020 w 5792512"/>
              <a:gd name="connsiteY15" fmla="*/ 2757481 h 3487140"/>
              <a:gd name="connsiteX16" fmla="*/ 1824789 w 5792512"/>
              <a:gd name="connsiteY16" fmla="*/ 1980430 h 3487140"/>
              <a:gd name="connsiteX17" fmla="*/ 1494755 w 5792512"/>
              <a:gd name="connsiteY17" fmla="*/ 1589139 h 3487140"/>
              <a:gd name="connsiteX18" fmla="*/ 1305701 w 5792512"/>
              <a:gd name="connsiteY18" fmla="*/ 1660710 h 3487140"/>
              <a:gd name="connsiteX19" fmla="*/ 1197284 w 5792512"/>
              <a:gd name="connsiteY19" fmla="*/ 2116627 h 3487140"/>
              <a:gd name="connsiteX20" fmla="*/ 973921 w 5792512"/>
              <a:gd name="connsiteY20" fmla="*/ 2374258 h 3487140"/>
              <a:gd name="connsiteX21" fmla="*/ 918985 w 5792512"/>
              <a:gd name="connsiteY21" fmla="*/ 2276986 h 3487140"/>
              <a:gd name="connsiteX22" fmla="*/ 1298257 w 5792512"/>
              <a:gd name="connsiteY22" fmla="*/ 2021601 h 3487140"/>
              <a:gd name="connsiteX23" fmla="*/ 1558176 w 5792512"/>
              <a:gd name="connsiteY23" fmla="*/ 1234153 h 3487140"/>
              <a:gd name="connsiteX24" fmla="*/ 1788276 w 5792512"/>
              <a:gd name="connsiteY24" fmla="*/ 725296 h 3487140"/>
              <a:gd name="connsiteX25" fmla="*/ 1896859 w 5792512"/>
              <a:gd name="connsiteY25" fmla="*/ 539984 h 3487140"/>
              <a:gd name="connsiteX26" fmla="*/ 1865711 w 5792512"/>
              <a:gd name="connsiteY26" fmla="*/ 435851 h 3487140"/>
              <a:gd name="connsiteX27" fmla="*/ 1759373 w 5792512"/>
              <a:gd name="connsiteY27" fmla="*/ 350265 h 3487140"/>
              <a:gd name="connsiteX28" fmla="*/ 1714085 w 5792512"/>
              <a:gd name="connsiteY28" fmla="*/ 209327 h 3487140"/>
              <a:gd name="connsiteX29" fmla="*/ 1758915 w 5792512"/>
              <a:gd name="connsiteY29" fmla="*/ 82237 h 3487140"/>
              <a:gd name="connsiteX30" fmla="*/ 1939195 w 5792512"/>
              <a:gd name="connsiteY30" fmla="*/ 6716 h 3487140"/>
              <a:gd name="connsiteX31" fmla="*/ 2207888 w 5792512"/>
              <a:gd name="connsiteY31" fmla="*/ 10167 h 3487140"/>
              <a:gd name="connsiteX32" fmla="*/ 2291561 w 5792512"/>
              <a:gd name="connsiteY32" fmla="*/ 49800 h 3487140"/>
              <a:gd name="connsiteX33" fmla="*/ 2244526 w 5792512"/>
              <a:gd name="connsiteY33" fmla="*/ 86812 h 3487140"/>
              <a:gd name="connsiteX34" fmla="*/ 2008603 w 5792512"/>
              <a:gd name="connsiteY34" fmla="*/ 91886 h 3487140"/>
              <a:gd name="connsiteX35" fmla="*/ 1765070 w 5792512"/>
              <a:gd name="connsiteY35" fmla="*/ 75833 h 3487140"/>
              <a:gd name="connsiteX36" fmla="*/ 1657319 w 5792512"/>
              <a:gd name="connsiteY36" fmla="*/ 176931 h 3487140"/>
              <a:gd name="connsiteX37" fmla="*/ 1672581 w 5792512"/>
              <a:gd name="connsiteY37" fmla="*/ 370393 h 3487140"/>
              <a:gd name="connsiteX38" fmla="*/ 1617354 w 5792512"/>
              <a:gd name="connsiteY38" fmla="*/ 589348 h 3487140"/>
              <a:gd name="connsiteX39" fmla="*/ 1460820 w 5792512"/>
              <a:gd name="connsiteY39" fmla="*/ 903953 h 3487140"/>
              <a:gd name="connsiteX40" fmla="*/ 1250349 w 5792512"/>
              <a:gd name="connsiteY40" fmla="*/ 922501 h 3487140"/>
              <a:gd name="connsiteX41" fmla="*/ 1055930 w 5792512"/>
              <a:gd name="connsiteY41" fmla="*/ 866816 h 3487140"/>
              <a:gd name="connsiteX42" fmla="*/ 997085 w 5792512"/>
              <a:gd name="connsiteY42" fmla="*/ 751038 h 3487140"/>
              <a:gd name="connsiteX43" fmla="*/ 1009021 w 5792512"/>
              <a:gd name="connsiteY43" fmla="*/ 369436 h 3487140"/>
              <a:gd name="connsiteX44" fmla="*/ 1070694 w 5792512"/>
              <a:gd name="connsiteY44" fmla="*/ 155805 h 3487140"/>
              <a:gd name="connsiteX45" fmla="*/ 1272058 w 5792512"/>
              <a:gd name="connsiteY45" fmla="*/ 156761 h 3487140"/>
              <a:gd name="connsiteX46" fmla="*/ 1524989 w 5792512"/>
              <a:gd name="connsiteY46" fmla="*/ 245175 h 3487140"/>
              <a:gd name="connsiteX47" fmla="*/ 1694081 w 5792512"/>
              <a:gd name="connsiteY47" fmla="*/ 357792 h 3487140"/>
              <a:gd name="connsiteX48" fmla="*/ 1798672 w 5792512"/>
              <a:gd name="connsiteY48" fmla="*/ 483301 h 3487140"/>
              <a:gd name="connsiteX49" fmla="*/ 1822876 w 5792512"/>
              <a:gd name="connsiteY49" fmla="*/ 600951 h 3487140"/>
              <a:gd name="connsiteX50" fmla="*/ 1795345 w 5792512"/>
              <a:gd name="connsiteY50" fmla="*/ 761726 h 3487140"/>
              <a:gd name="connsiteX51" fmla="*/ 1967266 w 5792512"/>
              <a:gd name="connsiteY51" fmla="*/ 1160004 h 3487140"/>
              <a:gd name="connsiteX52" fmla="*/ 2390246 w 5792512"/>
              <a:gd name="connsiteY52" fmla="*/ 1793622 h 3487140"/>
              <a:gd name="connsiteX53" fmla="*/ 2807737 w 5792512"/>
              <a:gd name="connsiteY53" fmla="*/ 2087475 h 3487140"/>
              <a:gd name="connsiteX54" fmla="*/ 2917360 w 5792512"/>
              <a:gd name="connsiteY54" fmla="*/ 2185620 h 3487140"/>
              <a:gd name="connsiteX55" fmla="*/ 2804411 w 5792512"/>
              <a:gd name="connsiteY55" fmla="*/ 2468120 h 3487140"/>
              <a:gd name="connsiteX56" fmla="*/ 2638312 w 5792512"/>
              <a:gd name="connsiteY56" fmla="*/ 2505548 h 3487140"/>
              <a:gd name="connsiteX57" fmla="*/ 2329862 w 5792512"/>
              <a:gd name="connsiteY57" fmla="*/ 2278109 h 3487140"/>
              <a:gd name="connsiteX58" fmla="*/ 1885173 w 5792512"/>
              <a:gd name="connsiteY58" fmla="*/ 1678800 h 3487140"/>
              <a:gd name="connsiteX59" fmla="*/ 1765320 w 5792512"/>
              <a:gd name="connsiteY59" fmla="*/ 1175432 h 3487140"/>
              <a:gd name="connsiteX60" fmla="*/ 1919774 w 5792512"/>
              <a:gd name="connsiteY60" fmla="*/ 1377420 h 3487140"/>
              <a:gd name="connsiteX61" fmla="*/ 2281414 w 5792512"/>
              <a:gd name="connsiteY61" fmla="*/ 2268710 h 3487140"/>
              <a:gd name="connsiteX62" fmla="*/ 2601216 w 5792512"/>
              <a:gd name="connsiteY62" fmla="*/ 2693105 h 3487140"/>
              <a:gd name="connsiteX63" fmla="*/ 2834644 w 5792512"/>
              <a:gd name="connsiteY63" fmla="*/ 2746586 h 3487140"/>
              <a:gd name="connsiteX64" fmla="*/ 3001865 w 5792512"/>
              <a:gd name="connsiteY64" fmla="*/ 2631432 h 3487140"/>
              <a:gd name="connsiteX65" fmla="*/ 3013052 w 5792512"/>
              <a:gd name="connsiteY65" fmla="*/ 2436680 h 3487140"/>
              <a:gd name="connsiteX66" fmla="*/ 2859222 w 5792512"/>
              <a:gd name="connsiteY66" fmla="*/ 2309258 h 3487140"/>
              <a:gd name="connsiteX67" fmla="*/ 2652036 w 5792512"/>
              <a:gd name="connsiteY67" fmla="*/ 2375007 h 3487140"/>
              <a:gd name="connsiteX68" fmla="*/ 2629537 w 5792512"/>
              <a:gd name="connsiteY68" fmla="*/ 2581402 h 3487140"/>
              <a:gd name="connsiteX69" fmla="*/ 2772222 w 5792512"/>
              <a:gd name="connsiteY69" fmla="*/ 2671064 h 3487140"/>
              <a:gd name="connsiteX70" fmla="*/ 2868787 w 5792512"/>
              <a:gd name="connsiteY70" fmla="*/ 2596831 h 3487140"/>
              <a:gd name="connsiteX71" fmla="*/ 2835601 w 5792512"/>
              <a:gd name="connsiteY71" fmla="*/ 2530750 h 3487140"/>
              <a:gd name="connsiteX72" fmla="*/ 2713543 w 5792512"/>
              <a:gd name="connsiteY72" fmla="*/ 2615379 h 3487140"/>
              <a:gd name="connsiteX73" fmla="*/ 2567864 w 5792512"/>
              <a:gd name="connsiteY73" fmla="*/ 2907028 h 3487140"/>
              <a:gd name="connsiteX74" fmla="*/ 2520039 w 5792512"/>
              <a:gd name="connsiteY74" fmla="*/ 3008333 h 3487140"/>
              <a:gd name="connsiteX75" fmla="*/ 2484191 w 5792512"/>
              <a:gd name="connsiteY75" fmla="*/ 3024053 h 3487140"/>
              <a:gd name="connsiteX76" fmla="*/ 2389165 w 5792512"/>
              <a:gd name="connsiteY76" fmla="*/ 3013989 h 3487140"/>
              <a:gd name="connsiteX77" fmla="*/ 2396068 w 5792512"/>
              <a:gd name="connsiteY77" fmla="*/ 2956724 h 3487140"/>
              <a:gd name="connsiteX78" fmla="*/ 2584831 w 5792512"/>
              <a:gd name="connsiteY78" fmla="*/ 2951068 h 3487140"/>
              <a:gd name="connsiteX79" fmla="*/ 2671041 w 5792512"/>
              <a:gd name="connsiteY79" fmla="*/ 2951068 h 3487140"/>
              <a:gd name="connsiteX80" fmla="*/ 2752219 w 5792512"/>
              <a:gd name="connsiteY80" fmla="*/ 2822066 h 3487140"/>
              <a:gd name="connsiteX81" fmla="*/ 2892533 w 5792512"/>
              <a:gd name="connsiteY81" fmla="*/ 2789337 h 3487140"/>
              <a:gd name="connsiteX82" fmla="*/ 3020246 w 5792512"/>
              <a:gd name="connsiteY82" fmla="*/ 2713815 h 3487140"/>
              <a:gd name="connsiteX83" fmla="*/ 3106456 w 5792512"/>
              <a:gd name="connsiteY83" fmla="*/ 2544556 h 3487140"/>
              <a:gd name="connsiteX84" fmla="*/ 3326035 w 5792512"/>
              <a:gd name="connsiteY84" fmla="*/ 2482883 h 3487140"/>
              <a:gd name="connsiteX85" fmla="*/ 3861009 w 5792512"/>
              <a:gd name="connsiteY85" fmla="*/ 2466831 h 3487140"/>
              <a:gd name="connsiteX86" fmla="*/ 4016751 w 5792512"/>
              <a:gd name="connsiteY86" fmla="*/ 2420918 h 3487140"/>
              <a:gd name="connsiteX87" fmla="*/ 3866664 w 5792512"/>
              <a:gd name="connsiteY87" fmla="*/ 2252907 h 3487140"/>
              <a:gd name="connsiteX88" fmla="*/ 3391285 w 5792512"/>
              <a:gd name="connsiteY88" fmla="*/ 1791709 h 3487140"/>
              <a:gd name="connsiteX89" fmla="*/ 3127166 w 5792512"/>
              <a:gd name="connsiteY89" fmla="*/ 1600118 h 3487140"/>
              <a:gd name="connsiteX90" fmla="*/ 3003196 w 5792512"/>
              <a:gd name="connsiteY90" fmla="*/ 1733529 h 3487140"/>
              <a:gd name="connsiteX91" fmla="*/ 2940898 w 5792512"/>
              <a:gd name="connsiteY91" fmla="*/ 1995900 h 3487140"/>
              <a:gd name="connsiteX92" fmla="*/ 2981778 w 5792512"/>
              <a:gd name="connsiteY92" fmla="*/ 2048133 h 3487140"/>
              <a:gd name="connsiteX93" fmla="*/ 3044699 w 5792512"/>
              <a:gd name="connsiteY93" fmla="*/ 1778817 h 3487140"/>
              <a:gd name="connsiteX94" fmla="*/ 3166466 w 5792512"/>
              <a:gd name="connsiteY94" fmla="*/ 1356918 h 3487140"/>
              <a:gd name="connsiteX95" fmla="*/ 3272803 w 5792512"/>
              <a:gd name="connsiteY95" fmla="*/ 986960 h 3487140"/>
              <a:gd name="connsiteX96" fmla="*/ 3243526 w 5792512"/>
              <a:gd name="connsiteY96" fmla="*/ 867107 h 3487140"/>
              <a:gd name="connsiteX97" fmla="*/ 3068612 w 5792512"/>
              <a:gd name="connsiteY97" fmla="*/ 840034 h 3487140"/>
              <a:gd name="connsiteX98" fmla="*/ 2924513 w 5792512"/>
              <a:gd name="connsiteY98" fmla="*/ 782769 h 3487140"/>
              <a:gd name="connsiteX99" fmla="*/ 2940857 w 5792512"/>
              <a:gd name="connsiteY99" fmla="*/ 714816 h 3487140"/>
              <a:gd name="connsiteX100" fmla="*/ 3114524 w 5792512"/>
              <a:gd name="connsiteY100" fmla="*/ 723008 h 3487140"/>
              <a:gd name="connsiteX101" fmla="*/ 3317135 w 5792512"/>
              <a:gd name="connsiteY101" fmla="*/ 729288 h 3487140"/>
              <a:gd name="connsiteX102" fmla="*/ 3483857 w 5792512"/>
              <a:gd name="connsiteY102" fmla="*/ 682087 h 3487140"/>
              <a:gd name="connsiteX103" fmla="*/ 3601506 w 5792512"/>
              <a:gd name="connsiteY103" fmla="*/ 703463 h 3487140"/>
              <a:gd name="connsiteX104" fmla="*/ 3624171 w 5792512"/>
              <a:gd name="connsiteY104" fmla="*/ 797199 h 3487140"/>
              <a:gd name="connsiteX105" fmla="*/ 3496458 w 5792512"/>
              <a:gd name="connsiteY105" fmla="*/ 890936 h 3487140"/>
              <a:gd name="connsiteX106" fmla="*/ 3326575 w 5792512"/>
              <a:gd name="connsiteY106" fmla="*/ 918009 h 3487140"/>
              <a:gd name="connsiteX107" fmla="*/ 3198862 w 5792512"/>
              <a:gd name="connsiteY107" fmla="*/ 1002306 h 3487140"/>
              <a:gd name="connsiteX108" fmla="*/ 3097972 w 5792512"/>
              <a:gd name="connsiteY108" fmla="*/ 1299902 h 3487140"/>
              <a:gd name="connsiteX109" fmla="*/ 3159022 w 5792512"/>
              <a:gd name="connsiteY109" fmla="*/ 1545930 h 3487140"/>
              <a:gd name="connsiteX110" fmla="*/ 3371697 w 5792512"/>
              <a:gd name="connsiteY110" fmla="*/ 1536490 h 3487140"/>
              <a:gd name="connsiteX111" fmla="*/ 3551228 w 5792512"/>
              <a:gd name="connsiteY111" fmla="*/ 1376048 h 3487140"/>
              <a:gd name="connsiteX112" fmla="*/ 3554389 w 5792512"/>
              <a:gd name="connsiteY112" fmla="*/ 1231949 h 3487140"/>
              <a:gd name="connsiteX113" fmla="*/ 3336348 w 5792512"/>
              <a:gd name="connsiteY113" fmla="*/ 1191693 h 3487140"/>
              <a:gd name="connsiteX114" fmla="*/ 3344832 w 5792512"/>
              <a:gd name="connsiteY114" fmla="*/ 1255238 h 3487140"/>
              <a:gd name="connsiteX115" fmla="*/ 3769850 w 5792512"/>
              <a:gd name="connsiteY115" fmla="*/ 1241722 h 3487140"/>
              <a:gd name="connsiteX116" fmla="*/ 4254670 w 5792512"/>
              <a:gd name="connsiteY116" fmla="*/ 1259646 h 3487140"/>
              <a:gd name="connsiteX117" fmla="*/ 4484022 w 5792512"/>
              <a:gd name="connsiteY117" fmla="*/ 1236981 h 3487140"/>
              <a:gd name="connsiteX118" fmla="*/ 4465766 w 5792512"/>
              <a:gd name="connsiteY118" fmla="*/ 1185995 h 3487140"/>
              <a:gd name="connsiteX119" fmla="*/ 4105248 w 5792512"/>
              <a:gd name="connsiteY119" fmla="*/ 1177512 h 3487140"/>
              <a:gd name="connsiteX120" fmla="*/ 3734668 w 5792512"/>
              <a:gd name="connsiteY120" fmla="*/ 1331342 h 3487140"/>
              <a:gd name="connsiteX121" fmla="*/ 3388914 w 5792512"/>
              <a:gd name="connsiteY121" fmla="*/ 1604110 h 3487140"/>
              <a:gd name="connsiteX122" fmla="*/ 3156111 w 5792512"/>
              <a:gd name="connsiteY122" fmla="*/ 1921252 h 3487140"/>
              <a:gd name="connsiteX123" fmla="*/ 3060461 w 5792512"/>
              <a:gd name="connsiteY123" fmla="*/ 2419255 h 3487140"/>
              <a:gd name="connsiteX124" fmla="*/ 3290769 w 5792512"/>
              <a:gd name="connsiteY124" fmla="*/ 3048465 h 3487140"/>
              <a:gd name="connsiteX125" fmla="*/ 3868994 w 5792512"/>
              <a:gd name="connsiteY125" fmla="*/ 3394510 h 3487140"/>
              <a:gd name="connsiteX126" fmla="*/ 4507643 w 5792512"/>
              <a:gd name="connsiteY126" fmla="*/ 3330632 h 3487140"/>
              <a:gd name="connsiteX127" fmla="*/ 5002818 w 5792512"/>
              <a:gd name="connsiteY127" fmla="*/ 2841404 h 3487140"/>
              <a:gd name="connsiteX128" fmla="*/ 5036171 w 5792512"/>
              <a:gd name="connsiteY128" fmla="*/ 2052999 h 3487140"/>
              <a:gd name="connsiteX129" fmla="*/ 4605164 w 5792512"/>
              <a:gd name="connsiteY129" fmla="*/ 1482011 h 3487140"/>
              <a:gd name="connsiteX130" fmla="*/ 4138310 w 5792512"/>
              <a:gd name="connsiteY130" fmla="*/ 1352717 h 3487140"/>
              <a:gd name="connsiteX131" fmla="*/ 3977868 w 5792512"/>
              <a:gd name="connsiteY131" fmla="*/ 1466624 h 3487140"/>
              <a:gd name="connsiteX132" fmla="*/ 3999909 w 5792512"/>
              <a:gd name="connsiteY132" fmla="*/ 2001140 h 3487140"/>
              <a:gd name="connsiteX133" fmla="*/ 4033885 w 5792512"/>
              <a:gd name="connsiteY133" fmla="*/ 2313208 h 3487140"/>
              <a:gd name="connsiteX134" fmla="*/ 4125585 w 5792512"/>
              <a:gd name="connsiteY134" fmla="*/ 2399085 h 3487140"/>
              <a:gd name="connsiteX135" fmla="*/ 4230051 w 5792512"/>
              <a:gd name="connsiteY135" fmla="*/ 2362905 h 3487140"/>
              <a:gd name="connsiteX136" fmla="*/ 4194660 w 5792512"/>
              <a:gd name="connsiteY136" fmla="*/ 2271372 h 3487140"/>
              <a:gd name="connsiteX137" fmla="*/ 4097056 w 5792512"/>
              <a:gd name="connsiteY137" fmla="*/ 2303394 h 3487140"/>
              <a:gd name="connsiteX138" fmla="*/ 4080670 w 5792512"/>
              <a:gd name="connsiteY138" fmla="*/ 2437262 h 3487140"/>
              <a:gd name="connsiteX139" fmla="*/ 4079589 w 5792512"/>
              <a:gd name="connsiteY139" fmla="*/ 2519521 h 3487140"/>
              <a:gd name="connsiteX140" fmla="*/ 3900475 w 5792512"/>
              <a:gd name="connsiteY140" fmla="*/ 2539400 h 3487140"/>
              <a:gd name="connsiteX141" fmla="*/ 3490220 w 5792512"/>
              <a:gd name="connsiteY141" fmla="*/ 2545679 h 3487140"/>
              <a:gd name="connsiteX142" fmla="*/ 3249848 w 5792512"/>
              <a:gd name="connsiteY142" fmla="*/ 2602944 h 3487140"/>
              <a:gd name="connsiteX143" fmla="*/ 3240241 w 5792512"/>
              <a:gd name="connsiteY143" fmla="*/ 2790460 h 3487140"/>
              <a:gd name="connsiteX144" fmla="*/ 3433578 w 5792512"/>
              <a:gd name="connsiteY144" fmla="*/ 3133385 h 3487140"/>
              <a:gd name="connsiteX145" fmla="*/ 3925468 w 5792512"/>
              <a:gd name="connsiteY145" fmla="*/ 3465290 h 3487140"/>
              <a:gd name="connsiteX146" fmla="*/ 4666214 w 5792512"/>
              <a:gd name="connsiteY146" fmla="*/ 3390434 h 3487140"/>
              <a:gd name="connsiteX147" fmla="*/ 5106037 w 5792512"/>
              <a:gd name="connsiteY147" fmla="*/ 3017940 h 3487140"/>
              <a:gd name="connsiteX148" fmla="*/ 5420018 w 5792512"/>
              <a:gd name="connsiteY148" fmla="*/ 2655510 h 3487140"/>
              <a:gd name="connsiteX149" fmla="*/ 5792512 w 5792512"/>
              <a:gd name="connsiteY149" fmla="*/ 3163577 h 3487140"/>
              <a:gd name="connsiteX0" fmla="*/ 777215 w 5420018"/>
              <a:gd name="connsiteY0" fmla="*/ 3295741 h 3487140"/>
              <a:gd name="connsiteX1" fmla="*/ 526113 w 5420018"/>
              <a:gd name="connsiteY1" fmla="*/ 3112384 h 3487140"/>
              <a:gd name="connsiteX2" fmla="*/ 219950 w 5420018"/>
              <a:gd name="connsiteY2" fmla="*/ 2750287 h 3487140"/>
              <a:gd name="connsiteX3" fmla="*/ 128418 w 5420018"/>
              <a:gd name="connsiteY3" fmla="*/ 2305432 h 3487140"/>
              <a:gd name="connsiteX4" fmla="*/ 256006 w 5420018"/>
              <a:gd name="connsiteY4" fmla="*/ 1919713 h 3487140"/>
              <a:gd name="connsiteX5" fmla="*/ 580218 w 5420018"/>
              <a:gd name="connsiteY5" fmla="*/ 1637837 h 3487140"/>
              <a:gd name="connsiteX6" fmla="*/ 1073522 w 5420018"/>
              <a:gd name="connsiteY6" fmla="*/ 1545972 h 3487140"/>
              <a:gd name="connsiteX7" fmla="*/ 1308197 w 5420018"/>
              <a:gd name="connsiteY7" fmla="*/ 1517651 h 3487140"/>
              <a:gd name="connsiteX8" fmla="*/ 1292934 w 5420018"/>
              <a:gd name="connsiteY8" fmla="*/ 1460718 h 3487140"/>
              <a:gd name="connsiteX9" fmla="*/ 1016880 w 5420018"/>
              <a:gd name="connsiteY9" fmla="*/ 1416969 h 3487140"/>
              <a:gd name="connsiteX10" fmla="*/ 497460 w 5420018"/>
              <a:gd name="connsiteY10" fmla="*/ 1517318 h 3487140"/>
              <a:gd name="connsiteX11" fmla="*/ 88162 w 5420018"/>
              <a:gd name="connsiteY11" fmla="*/ 1960593 h 3487140"/>
              <a:gd name="connsiteX12" fmla="*/ 28692 w 5420018"/>
              <a:gd name="connsiteY12" fmla="*/ 2569342 h 3487140"/>
              <a:gd name="connsiteX13" fmla="*/ 442399 w 5420018"/>
              <a:gd name="connsiteY13" fmla="*/ 3165532 h 3487140"/>
              <a:gd name="connsiteX14" fmla="*/ 1232384 w 5420018"/>
              <a:gd name="connsiteY14" fmla="*/ 3283181 h 3487140"/>
              <a:gd name="connsiteX15" fmla="*/ 1835020 w 5420018"/>
              <a:gd name="connsiteY15" fmla="*/ 2757481 h 3487140"/>
              <a:gd name="connsiteX16" fmla="*/ 1824789 w 5420018"/>
              <a:gd name="connsiteY16" fmla="*/ 1980430 h 3487140"/>
              <a:gd name="connsiteX17" fmla="*/ 1494755 w 5420018"/>
              <a:gd name="connsiteY17" fmla="*/ 1589139 h 3487140"/>
              <a:gd name="connsiteX18" fmla="*/ 1305701 w 5420018"/>
              <a:gd name="connsiteY18" fmla="*/ 1660710 h 3487140"/>
              <a:gd name="connsiteX19" fmla="*/ 1197284 w 5420018"/>
              <a:gd name="connsiteY19" fmla="*/ 2116627 h 3487140"/>
              <a:gd name="connsiteX20" fmla="*/ 973921 w 5420018"/>
              <a:gd name="connsiteY20" fmla="*/ 2374258 h 3487140"/>
              <a:gd name="connsiteX21" fmla="*/ 918985 w 5420018"/>
              <a:gd name="connsiteY21" fmla="*/ 2276986 h 3487140"/>
              <a:gd name="connsiteX22" fmla="*/ 1298257 w 5420018"/>
              <a:gd name="connsiteY22" fmla="*/ 2021601 h 3487140"/>
              <a:gd name="connsiteX23" fmla="*/ 1558176 w 5420018"/>
              <a:gd name="connsiteY23" fmla="*/ 1234153 h 3487140"/>
              <a:gd name="connsiteX24" fmla="*/ 1788276 w 5420018"/>
              <a:gd name="connsiteY24" fmla="*/ 725296 h 3487140"/>
              <a:gd name="connsiteX25" fmla="*/ 1896859 w 5420018"/>
              <a:gd name="connsiteY25" fmla="*/ 539984 h 3487140"/>
              <a:gd name="connsiteX26" fmla="*/ 1865711 w 5420018"/>
              <a:gd name="connsiteY26" fmla="*/ 435851 h 3487140"/>
              <a:gd name="connsiteX27" fmla="*/ 1759373 w 5420018"/>
              <a:gd name="connsiteY27" fmla="*/ 350265 h 3487140"/>
              <a:gd name="connsiteX28" fmla="*/ 1714085 w 5420018"/>
              <a:gd name="connsiteY28" fmla="*/ 209327 h 3487140"/>
              <a:gd name="connsiteX29" fmla="*/ 1758915 w 5420018"/>
              <a:gd name="connsiteY29" fmla="*/ 82237 h 3487140"/>
              <a:gd name="connsiteX30" fmla="*/ 1939195 w 5420018"/>
              <a:gd name="connsiteY30" fmla="*/ 6716 h 3487140"/>
              <a:gd name="connsiteX31" fmla="*/ 2207888 w 5420018"/>
              <a:gd name="connsiteY31" fmla="*/ 10167 h 3487140"/>
              <a:gd name="connsiteX32" fmla="*/ 2291561 w 5420018"/>
              <a:gd name="connsiteY32" fmla="*/ 49800 h 3487140"/>
              <a:gd name="connsiteX33" fmla="*/ 2244526 w 5420018"/>
              <a:gd name="connsiteY33" fmla="*/ 86812 h 3487140"/>
              <a:gd name="connsiteX34" fmla="*/ 2008603 w 5420018"/>
              <a:gd name="connsiteY34" fmla="*/ 91886 h 3487140"/>
              <a:gd name="connsiteX35" fmla="*/ 1765070 w 5420018"/>
              <a:gd name="connsiteY35" fmla="*/ 75833 h 3487140"/>
              <a:gd name="connsiteX36" fmla="*/ 1657319 w 5420018"/>
              <a:gd name="connsiteY36" fmla="*/ 176931 h 3487140"/>
              <a:gd name="connsiteX37" fmla="*/ 1672581 w 5420018"/>
              <a:gd name="connsiteY37" fmla="*/ 370393 h 3487140"/>
              <a:gd name="connsiteX38" fmla="*/ 1617354 w 5420018"/>
              <a:gd name="connsiteY38" fmla="*/ 589348 h 3487140"/>
              <a:gd name="connsiteX39" fmla="*/ 1460820 w 5420018"/>
              <a:gd name="connsiteY39" fmla="*/ 903953 h 3487140"/>
              <a:gd name="connsiteX40" fmla="*/ 1250349 w 5420018"/>
              <a:gd name="connsiteY40" fmla="*/ 922501 h 3487140"/>
              <a:gd name="connsiteX41" fmla="*/ 1055930 w 5420018"/>
              <a:gd name="connsiteY41" fmla="*/ 866816 h 3487140"/>
              <a:gd name="connsiteX42" fmla="*/ 997085 w 5420018"/>
              <a:gd name="connsiteY42" fmla="*/ 751038 h 3487140"/>
              <a:gd name="connsiteX43" fmla="*/ 1009021 w 5420018"/>
              <a:gd name="connsiteY43" fmla="*/ 369436 h 3487140"/>
              <a:gd name="connsiteX44" fmla="*/ 1070694 w 5420018"/>
              <a:gd name="connsiteY44" fmla="*/ 155805 h 3487140"/>
              <a:gd name="connsiteX45" fmla="*/ 1272058 w 5420018"/>
              <a:gd name="connsiteY45" fmla="*/ 156761 h 3487140"/>
              <a:gd name="connsiteX46" fmla="*/ 1524989 w 5420018"/>
              <a:gd name="connsiteY46" fmla="*/ 245175 h 3487140"/>
              <a:gd name="connsiteX47" fmla="*/ 1694081 w 5420018"/>
              <a:gd name="connsiteY47" fmla="*/ 357792 h 3487140"/>
              <a:gd name="connsiteX48" fmla="*/ 1798672 w 5420018"/>
              <a:gd name="connsiteY48" fmla="*/ 483301 h 3487140"/>
              <a:gd name="connsiteX49" fmla="*/ 1822876 w 5420018"/>
              <a:gd name="connsiteY49" fmla="*/ 600951 h 3487140"/>
              <a:gd name="connsiteX50" fmla="*/ 1795345 w 5420018"/>
              <a:gd name="connsiteY50" fmla="*/ 761726 h 3487140"/>
              <a:gd name="connsiteX51" fmla="*/ 1967266 w 5420018"/>
              <a:gd name="connsiteY51" fmla="*/ 1160004 h 3487140"/>
              <a:gd name="connsiteX52" fmla="*/ 2390246 w 5420018"/>
              <a:gd name="connsiteY52" fmla="*/ 1793622 h 3487140"/>
              <a:gd name="connsiteX53" fmla="*/ 2807737 w 5420018"/>
              <a:gd name="connsiteY53" fmla="*/ 2087475 h 3487140"/>
              <a:gd name="connsiteX54" fmla="*/ 2917360 w 5420018"/>
              <a:gd name="connsiteY54" fmla="*/ 2185620 h 3487140"/>
              <a:gd name="connsiteX55" fmla="*/ 2804411 w 5420018"/>
              <a:gd name="connsiteY55" fmla="*/ 2468120 h 3487140"/>
              <a:gd name="connsiteX56" fmla="*/ 2638312 w 5420018"/>
              <a:gd name="connsiteY56" fmla="*/ 2505548 h 3487140"/>
              <a:gd name="connsiteX57" fmla="*/ 2329862 w 5420018"/>
              <a:gd name="connsiteY57" fmla="*/ 2278109 h 3487140"/>
              <a:gd name="connsiteX58" fmla="*/ 1885173 w 5420018"/>
              <a:gd name="connsiteY58" fmla="*/ 1678800 h 3487140"/>
              <a:gd name="connsiteX59" fmla="*/ 1765320 w 5420018"/>
              <a:gd name="connsiteY59" fmla="*/ 1175432 h 3487140"/>
              <a:gd name="connsiteX60" fmla="*/ 1919774 w 5420018"/>
              <a:gd name="connsiteY60" fmla="*/ 1377420 h 3487140"/>
              <a:gd name="connsiteX61" fmla="*/ 2281414 w 5420018"/>
              <a:gd name="connsiteY61" fmla="*/ 2268710 h 3487140"/>
              <a:gd name="connsiteX62" fmla="*/ 2601216 w 5420018"/>
              <a:gd name="connsiteY62" fmla="*/ 2693105 h 3487140"/>
              <a:gd name="connsiteX63" fmla="*/ 2834644 w 5420018"/>
              <a:gd name="connsiteY63" fmla="*/ 2746586 h 3487140"/>
              <a:gd name="connsiteX64" fmla="*/ 3001865 w 5420018"/>
              <a:gd name="connsiteY64" fmla="*/ 2631432 h 3487140"/>
              <a:gd name="connsiteX65" fmla="*/ 3013052 w 5420018"/>
              <a:gd name="connsiteY65" fmla="*/ 2436680 h 3487140"/>
              <a:gd name="connsiteX66" fmla="*/ 2859222 w 5420018"/>
              <a:gd name="connsiteY66" fmla="*/ 2309258 h 3487140"/>
              <a:gd name="connsiteX67" fmla="*/ 2652036 w 5420018"/>
              <a:gd name="connsiteY67" fmla="*/ 2375007 h 3487140"/>
              <a:gd name="connsiteX68" fmla="*/ 2629537 w 5420018"/>
              <a:gd name="connsiteY68" fmla="*/ 2581402 h 3487140"/>
              <a:gd name="connsiteX69" fmla="*/ 2772222 w 5420018"/>
              <a:gd name="connsiteY69" fmla="*/ 2671064 h 3487140"/>
              <a:gd name="connsiteX70" fmla="*/ 2868787 w 5420018"/>
              <a:gd name="connsiteY70" fmla="*/ 2596831 h 3487140"/>
              <a:gd name="connsiteX71" fmla="*/ 2835601 w 5420018"/>
              <a:gd name="connsiteY71" fmla="*/ 2530750 h 3487140"/>
              <a:gd name="connsiteX72" fmla="*/ 2713543 w 5420018"/>
              <a:gd name="connsiteY72" fmla="*/ 2615379 h 3487140"/>
              <a:gd name="connsiteX73" fmla="*/ 2567864 w 5420018"/>
              <a:gd name="connsiteY73" fmla="*/ 2907028 h 3487140"/>
              <a:gd name="connsiteX74" fmla="*/ 2520039 w 5420018"/>
              <a:gd name="connsiteY74" fmla="*/ 3008333 h 3487140"/>
              <a:gd name="connsiteX75" fmla="*/ 2484191 w 5420018"/>
              <a:gd name="connsiteY75" fmla="*/ 3024053 h 3487140"/>
              <a:gd name="connsiteX76" fmla="*/ 2389165 w 5420018"/>
              <a:gd name="connsiteY76" fmla="*/ 3013989 h 3487140"/>
              <a:gd name="connsiteX77" fmla="*/ 2396068 w 5420018"/>
              <a:gd name="connsiteY77" fmla="*/ 2956724 h 3487140"/>
              <a:gd name="connsiteX78" fmla="*/ 2584831 w 5420018"/>
              <a:gd name="connsiteY78" fmla="*/ 2951068 h 3487140"/>
              <a:gd name="connsiteX79" fmla="*/ 2671041 w 5420018"/>
              <a:gd name="connsiteY79" fmla="*/ 2951068 h 3487140"/>
              <a:gd name="connsiteX80" fmla="*/ 2752219 w 5420018"/>
              <a:gd name="connsiteY80" fmla="*/ 2822066 h 3487140"/>
              <a:gd name="connsiteX81" fmla="*/ 2892533 w 5420018"/>
              <a:gd name="connsiteY81" fmla="*/ 2789337 h 3487140"/>
              <a:gd name="connsiteX82" fmla="*/ 3020246 w 5420018"/>
              <a:gd name="connsiteY82" fmla="*/ 2713815 h 3487140"/>
              <a:gd name="connsiteX83" fmla="*/ 3106456 w 5420018"/>
              <a:gd name="connsiteY83" fmla="*/ 2544556 h 3487140"/>
              <a:gd name="connsiteX84" fmla="*/ 3326035 w 5420018"/>
              <a:gd name="connsiteY84" fmla="*/ 2482883 h 3487140"/>
              <a:gd name="connsiteX85" fmla="*/ 3861009 w 5420018"/>
              <a:gd name="connsiteY85" fmla="*/ 2466831 h 3487140"/>
              <a:gd name="connsiteX86" fmla="*/ 4016751 w 5420018"/>
              <a:gd name="connsiteY86" fmla="*/ 2420918 h 3487140"/>
              <a:gd name="connsiteX87" fmla="*/ 3866664 w 5420018"/>
              <a:gd name="connsiteY87" fmla="*/ 2252907 h 3487140"/>
              <a:gd name="connsiteX88" fmla="*/ 3391285 w 5420018"/>
              <a:gd name="connsiteY88" fmla="*/ 1791709 h 3487140"/>
              <a:gd name="connsiteX89" fmla="*/ 3127166 w 5420018"/>
              <a:gd name="connsiteY89" fmla="*/ 1600118 h 3487140"/>
              <a:gd name="connsiteX90" fmla="*/ 3003196 w 5420018"/>
              <a:gd name="connsiteY90" fmla="*/ 1733529 h 3487140"/>
              <a:gd name="connsiteX91" fmla="*/ 2940898 w 5420018"/>
              <a:gd name="connsiteY91" fmla="*/ 1995900 h 3487140"/>
              <a:gd name="connsiteX92" fmla="*/ 2981778 w 5420018"/>
              <a:gd name="connsiteY92" fmla="*/ 2048133 h 3487140"/>
              <a:gd name="connsiteX93" fmla="*/ 3044699 w 5420018"/>
              <a:gd name="connsiteY93" fmla="*/ 1778817 h 3487140"/>
              <a:gd name="connsiteX94" fmla="*/ 3166466 w 5420018"/>
              <a:gd name="connsiteY94" fmla="*/ 1356918 h 3487140"/>
              <a:gd name="connsiteX95" fmla="*/ 3272803 w 5420018"/>
              <a:gd name="connsiteY95" fmla="*/ 986960 h 3487140"/>
              <a:gd name="connsiteX96" fmla="*/ 3243526 w 5420018"/>
              <a:gd name="connsiteY96" fmla="*/ 867107 h 3487140"/>
              <a:gd name="connsiteX97" fmla="*/ 3068612 w 5420018"/>
              <a:gd name="connsiteY97" fmla="*/ 840034 h 3487140"/>
              <a:gd name="connsiteX98" fmla="*/ 2924513 w 5420018"/>
              <a:gd name="connsiteY98" fmla="*/ 782769 h 3487140"/>
              <a:gd name="connsiteX99" fmla="*/ 2940857 w 5420018"/>
              <a:gd name="connsiteY99" fmla="*/ 714816 h 3487140"/>
              <a:gd name="connsiteX100" fmla="*/ 3114524 w 5420018"/>
              <a:gd name="connsiteY100" fmla="*/ 723008 h 3487140"/>
              <a:gd name="connsiteX101" fmla="*/ 3317135 w 5420018"/>
              <a:gd name="connsiteY101" fmla="*/ 729288 h 3487140"/>
              <a:gd name="connsiteX102" fmla="*/ 3483857 w 5420018"/>
              <a:gd name="connsiteY102" fmla="*/ 682087 h 3487140"/>
              <a:gd name="connsiteX103" fmla="*/ 3601506 w 5420018"/>
              <a:gd name="connsiteY103" fmla="*/ 703463 h 3487140"/>
              <a:gd name="connsiteX104" fmla="*/ 3624171 w 5420018"/>
              <a:gd name="connsiteY104" fmla="*/ 797199 h 3487140"/>
              <a:gd name="connsiteX105" fmla="*/ 3496458 w 5420018"/>
              <a:gd name="connsiteY105" fmla="*/ 890936 h 3487140"/>
              <a:gd name="connsiteX106" fmla="*/ 3326575 w 5420018"/>
              <a:gd name="connsiteY106" fmla="*/ 918009 h 3487140"/>
              <a:gd name="connsiteX107" fmla="*/ 3198862 w 5420018"/>
              <a:gd name="connsiteY107" fmla="*/ 1002306 h 3487140"/>
              <a:gd name="connsiteX108" fmla="*/ 3097972 w 5420018"/>
              <a:gd name="connsiteY108" fmla="*/ 1299902 h 3487140"/>
              <a:gd name="connsiteX109" fmla="*/ 3159022 w 5420018"/>
              <a:gd name="connsiteY109" fmla="*/ 1545930 h 3487140"/>
              <a:gd name="connsiteX110" fmla="*/ 3371697 w 5420018"/>
              <a:gd name="connsiteY110" fmla="*/ 1536490 h 3487140"/>
              <a:gd name="connsiteX111" fmla="*/ 3551228 w 5420018"/>
              <a:gd name="connsiteY111" fmla="*/ 1376048 h 3487140"/>
              <a:gd name="connsiteX112" fmla="*/ 3554389 w 5420018"/>
              <a:gd name="connsiteY112" fmla="*/ 1231949 h 3487140"/>
              <a:gd name="connsiteX113" fmla="*/ 3336348 w 5420018"/>
              <a:gd name="connsiteY113" fmla="*/ 1191693 h 3487140"/>
              <a:gd name="connsiteX114" fmla="*/ 3344832 w 5420018"/>
              <a:gd name="connsiteY114" fmla="*/ 1255238 h 3487140"/>
              <a:gd name="connsiteX115" fmla="*/ 3769850 w 5420018"/>
              <a:gd name="connsiteY115" fmla="*/ 1241722 h 3487140"/>
              <a:gd name="connsiteX116" fmla="*/ 4254670 w 5420018"/>
              <a:gd name="connsiteY116" fmla="*/ 1259646 h 3487140"/>
              <a:gd name="connsiteX117" fmla="*/ 4484022 w 5420018"/>
              <a:gd name="connsiteY117" fmla="*/ 1236981 h 3487140"/>
              <a:gd name="connsiteX118" fmla="*/ 4465766 w 5420018"/>
              <a:gd name="connsiteY118" fmla="*/ 1185995 h 3487140"/>
              <a:gd name="connsiteX119" fmla="*/ 4105248 w 5420018"/>
              <a:gd name="connsiteY119" fmla="*/ 1177512 h 3487140"/>
              <a:gd name="connsiteX120" fmla="*/ 3734668 w 5420018"/>
              <a:gd name="connsiteY120" fmla="*/ 1331342 h 3487140"/>
              <a:gd name="connsiteX121" fmla="*/ 3388914 w 5420018"/>
              <a:gd name="connsiteY121" fmla="*/ 1604110 h 3487140"/>
              <a:gd name="connsiteX122" fmla="*/ 3156111 w 5420018"/>
              <a:gd name="connsiteY122" fmla="*/ 1921252 h 3487140"/>
              <a:gd name="connsiteX123" fmla="*/ 3060461 w 5420018"/>
              <a:gd name="connsiteY123" fmla="*/ 2419255 h 3487140"/>
              <a:gd name="connsiteX124" fmla="*/ 3290769 w 5420018"/>
              <a:gd name="connsiteY124" fmla="*/ 3048465 h 3487140"/>
              <a:gd name="connsiteX125" fmla="*/ 3868994 w 5420018"/>
              <a:gd name="connsiteY125" fmla="*/ 3394510 h 3487140"/>
              <a:gd name="connsiteX126" fmla="*/ 4507643 w 5420018"/>
              <a:gd name="connsiteY126" fmla="*/ 3330632 h 3487140"/>
              <a:gd name="connsiteX127" fmla="*/ 5002818 w 5420018"/>
              <a:gd name="connsiteY127" fmla="*/ 2841404 h 3487140"/>
              <a:gd name="connsiteX128" fmla="*/ 5036171 w 5420018"/>
              <a:gd name="connsiteY128" fmla="*/ 2052999 h 3487140"/>
              <a:gd name="connsiteX129" fmla="*/ 4605164 w 5420018"/>
              <a:gd name="connsiteY129" fmla="*/ 1482011 h 3487140"/>
              <a:gd name="connsiteX130" fmla="*/ 4138310 w 5420018"/>
              <a:gd name="connsiteY130" fmla="*/ 1352717 h 3487140"/>
              <a:gd name="connsiteX131" fmla="*/ 3977868 w 5420018"/>
              <a:gd name="connsiteY131" fmla="*/ 1466624 h 3487140"/>
              <a:gd name="connsiteX132" fmla="*/ 3999909 w 5420018"/>
              <a:gd name="connsiteY132" fmla="*/ 2001140 h 3487140"/>
              <a:gd name="connsiteX133" fmla="*/ 4033885 w 5420018"/>
              <a:gd name="connsiteY133" fmla="*/ 2313208 h 3487140"/>
              <a:gd name="connsiteX134" fmla="*/ 4125585 w 5420018"/>
              <a:gd name="connsiteY134" fmla="*/ 2399085 h 3487140"/>
              <a:gd name="connsiteX135" fmla="*/ 4230051 w 5420018"/>
              <a:gd name="connsiteY135" fmla="*/ 2362905 h 3487140"/>
              <a:gd name="connsiteX136" fmla="*/ 4194660 w 5420018"/>
              <a:gd name="connsiteY136" fmla="*/ 2271372 h 3487140"/>
              <a:gd name="connsiteX137" fmla="*/ 4097056 w 5420018"/>
              <a:gd name="connsiteY137" fmla="*/ 2303394 h 3487140"/>
              <a:gd name="connsiteX138" fmla="*/ 4080670 w 5420018"/>
              <a:gd name="connsiteY138" fmla="*/ 2437262 h 3487140"/>
              <a:gd name="connsiteX139" fmla="*/ 4079589 w 5420018"/>
              <a:gd name="connsiteY139" fmla="*/ 2519521 h 3487140"/>
              <a:gd name="connsiteX140" fmla="*/ 3900475 w 5420018"/>
              <a:gd name="connsiteY140" fmla="*/ 2539400 h 3487140"/>
              <a:gd name="connsiteX141" fmla="*/ 3490220 w 5420018"/>
              <a:gd name="connsiteY141" fmla="*/ 2545679 h 3487140"/>
              <a:gd name="connsiteX142" fmla="*/ 3249848 w 5420018"/>
              <a:gd name="connsiteY142" fmla="*/ 2602944 h 3487140"/>
              <a:gd name="connsiteX143" fmla="*/ 3240241 w 5420018"/>
              <a:gd name="connsiteY143" fmla="*/ 2790460 h 3487140"/>
              <a:gd name="connsiteX144" fmla="*/ 3433578 w 5420018"/>
              <a:gd name="connsiteY144" fmla="*/ 3133385 h 3487140"/>
              <a:gd name="connsiteX145" fmla="*/ 3925468 w 5420018"/>
              <a:gd name="connsiteY145" fmla="*/ 3465290 h 3487140"/>
              <a:gd name="connsiteX146" fmla="*/ 4666214 w 5420018"/>
              <a:gd name="connsiteY146" fmla="*/ 3390434 h 3487140"/>
              <a:gd name="connsiteX147" fmla="*/ 5106037 w 5420018"/>
              <a:gd name="connsiteY147" fmla="*/ 3017940 h 3487140"/>
              <a:gd name="connsiteX148" fmla="*/ 5420018 w 5420018"/>
              <a:gd name="connsiteY148" fmla="*/ 2655510 h 3487140"/>
              <a:gd name="connsiteX0" fmla="*/ 777215 w 5106037"/>
              <a:gd name="connsiteY0" fmla="*/ 3295741 h 3487140"/>
              <a:gd name="connsiteX1" fmla="*/ 526113 w 5106037"/>
              <a:gd name="connsiteY1" fmla="*/ 3112384 h 3487140"/>
              <a:gd name="connsiteX2" fmla="*/ 219950 w 5106037"/>
              <a:gd name="connsiteY2" fmla="*/ 2750287 h 3487140"/>
              <a:gd name="connsiteX3" fmla="*/ 128418 w 5106037"/>
              <a:gd name="connsiteY3" fmla="*/ 2305432 h 3487140"/>
              <a:gd name="connsiteX4" fmla="*/ 256006 w 5106037"/>
              <a:gd name="connsiteY4" fmla="*/ 1919713 h 3487140"/>
              <a:gd name="connsiteX5" fmla="*/ 580218 w 5106037"/>
              <a:gd name="connsiteY5" fmla="*/ 1637837 h 3487140"/>
              <a:gd name="connsiteX6" fmla="*/ 1073522 w 5106037"/>
              <a:gd name="connsiteY6" fmla="*/ 1545972 h 3487140"/>
              <a:gd name="connsiteX7" fmla="*/ 1308197 w 5106037"/>
              <a:gd name="connsiteY7" fmla="*/ 1517651 h 3487140"/>
              <a:gd name="connsiteX8" fmla="*/ 1292934 w 5106037"/>
              <a:gd name="connsiteY8" fmla="*/ 1460718 h 3487140"/>
              <a:gd name="connsiteX9" fmla="*/ 1016880 w 5106037"/>
              <a:gd name="connsiteY9" fmla="*/ 1416969 h 3487140"/>
              <a:gd name="connsiteX10" fmla="*/ 497460 w 5106037"/>
              <a:gd name="connsiteY10" fmla="*/ 1517318 h 3487140"/>
              <a:gd name="connsiteX11" fmla="*/ 88162 w 5106037"/>
              <a:gd name="connsiteY11" fmla="*/ 1960593 h 3487140"/>
              <a:gd name="connsiteX12" fmla="*/ 28692 w 5106037"/>
              <a:gd name="connsiteY12" fmla="*/ 2569342 h 3487140"/>
              <a:gd name="connsiteX13" fmla="*/ 442399 w 5106037"/>
              <a:gd name="connsiteY13" fmla="*/ 3165532 h 3487140"/>
              <a:gd name="connsiteX14" fmla="*/ 1232384 w 5106037"/>
              <a:gd name="connsiteY14" fmla="*/ 3283181 h 3487140"/>
              <a:gd name="connsiteX15" fmla="*/ 1835020 w 5106037"/>
              <a:gd name="connsiteY15" fmla="*/ 2757481 h 3487140"/>
              <a:gd name="connsiteX16" fmla="*/ 1824789 w 5106037"/>
              <a:gd name="connsiteY16" fmla="*/ 1980430 h 3487140"/>
              <a:gd name="connsiteX17" fmla="*/ 1494755 w 5106037"/>
              <a:gd name="connsiteY17" fmla="*/ 1589139 h 3487140"/>
              <a:gd name="connsiteX18" fmla="*/ 1305701 w 5106037"/>
              <a:gd name="connsiteY18" fmla="*/ 1660710 h 3487140"/>
              <a:gd name="connsiteX19" fmla="*/ 1197284 w 5106037"/>
              <a:gd name="connsiteY19" fmla="*/ 2116627 h 3487140"/>
              <a:gd name="connsiteX20" fmla="*/ 973921 w 5106037"/>
              <a:gd name="connsiteY20" fmla="*/ 2374258 h 3487140"/>
              <a:gd name="connsiteX21" fmla="*/ 918985 w 5106037"/>
              <a:gd name="connsiteY21" fmla="*/ 2276986 h 3487140"/>
              <a:gd name="connsiteX22" fmla="*/ 1298257 w 5106037"/>
              <a:gd name="connsiteY22" fmla="*/ 2021601 h 3487140"/>
              <a:gd name="connsiteX23" fmla="*/ 1558176 w 5106037"/>
              <a:gd name="connsiteY23" fmla="*/ 1234153 h 3487140"/>
              <a:gd name="connsiteX24" fmla="*/ 1788276 w 5106037"/>
              <a:gd name="connsiteY24" fmla="*/ 725296 h 3487140"/>
              <a:gd name="connsiteX25" fmla="*/ 1896859 w 5106037"/>
              <a:gd name="connsiteY25" fmla="*/ 539984 h 3487140"/>
              <a:gd name="connsiteX26" fmla="*/ 1865711 w 5106037"/>
              <a:gd name="connsiteY26" fmla="*/ 435851 h 3487140"/>
              <a:gd name="connsiteX27" fmla="*/ 1759373 w 5106037"/>
              <a:gd name="connsiteY27" fmla="*/ 350265 h 3487140"/>
              <a:gd name="connsiteX28" fmla="*/ 1714085 w 5106037"/>
              <a:gd name="connsiteY28" fmla="*/ 209327 h 3487140"/>
              <a:gd name="connsiteX29" fmla="*/ 1758915 w 5106037"/>
              <a:gd name="connsiteY29" fmla="*/ 82237 h 3487140"/>
              <a:gd name="connsiteX30" fmla="*/ 1939195 w 5106037"/>
              <a:gd name="connsiteY30" fmla="*/ 6716 h 3487140"/>
              <a:gd name="connsiteX31" fmla="*/ 2207888 w 5106037"/>
              <a:gd name="connsiteY31" fmla="*/ 10167 h 3487140"/>
              <a:gd name="connsiteX32" fmla="*/ 2291561 w 5106037"/>
              <a:gd name="connsiteY32" fmla="*/ 49800 h 3487140"/>
              <a:gd name="connsiteX33" fmla="*/ 2244526 w 5106037"/>
              <a:gd name="connsiteY33" fmla="*/ 86812 h 3487140"/>
              <a:gd name="connsiteX34" fmla="*/ 2008603 w 5106037"/>
              <a:gd name="connsiteY34" fmla="*/ 91886 h 3487140"/>
              <a:gd name="connsiteX35" fmla="*/ 1765070 w 5106037"/>
              <a:gd name="connsiteY35" fmla="*/ 75833 h 3487140"/>
              <a:gd name="connsiteX36" fmla="*/ 1657319 w 5106037"/>
              <a:gd name="connsiteY36" fmla="*/ 176931 h 3487140"/>
              <a:gd name="connsiteX37" fmla="*/ 1672581 w 5106037"/>
              <a:gd name="connsiteY37" fmla="*/ 370393 h 3487140"/>
              <a:gd name="connsiteX38" fmla="*/ 1617354 w 5106037"/>
              <a:gd name="connsiteY38" fmla="*/ 589348 h 3487140"/>
              <a:gd name="connsiteX39" fmla="*/ 1460820 w 5106037"/>
              <a:gd name="connsiteY39" fmla="*/ 903953 h 3487140"/>
              <a:gd name="connsiteX40" fmla="*/ 1250349 w 5106037"/>
              <a:gd name="connsiteY40" fmla="*/ 922501 h 3487140"/>
              <a:gd name="connsiteX41" fmla="*/ 1055930 w 5106037"/>
              <a:gd name="connsiteY41" fmla="*/ 866816 h 3487140"/>
              <a:gd name="connsiteX42" fmla="*/ 997085 w 5106037"/>
              <a:gd name="connsiteY42" fmla="*/ 751038 h 3487140"/>
              <a:gd name="connsiteX43" fmla="*/ 1009021 w 5106037"/>
              <a:gd name="connsiteY43" fmla="*/ 369436 h 3487140"/>
              <a:gd name="connsiteX44" fmla="*/ 1070694 w 5106037"/>
              <a:gd name="connsiteY44" fmla="*/ 155805 h 3487140"/>
              <a:gd name="connsiteX45" fmla="*/ 1272058 w 5106037"/>
              <a:gd name="connsiteY45" fmla="*/ 156761 h 3487140"/>
              <a:gd name="connsiteX46" fmla="*/ 1524989 w 5106037"/>
              <a:gd name="connsiteY46" fmla="*/ 245175 h 3487140"/>
              <a:gd name="connsiteX47" fmla="*/ 1694081 w 5106037"/>
              <a:gd name="connsiteY47" fmla="*/ 357792 h 3487140"/>
              <a:gd name="connsiteX48" fmla="*/ 1798672 w 5106037"/>
              <a:gd name="connsiteY48" fmla="*/ 483301 h 3487140"/>
              <a:gd name="connsiteX49" fmla="*/ 1822876 w 5106037"/>
              <a:gd name="connsiteY49" fmla="*/ 600951 h 3487140"/>
              <a:gd name="connsiteX50" fmla="*/ 1795345 w 5106037"/>
              <a:gd name="connsiteY50" fmla="*/ 761726 h 3487140"/>
              <a:gd name="connsiteX51" fmla="*/ 1967266 w 5106037"/>
              <a:gd name="connsiteY51" fmla="*/ 1160004 h 3487140"/>
              <a:gd name="connsiteX52" fmla="*/ 2390246 w 5106037"/>
              <a:gd name="connsiteY52" fmla="*/ 1793622 h 3487140"/>
              <a:gd name="connsiteX53" fmla="*/ 2807737 w 5106037"/>
              <a:gd name="connsiteY53" fmla="*/ 2087475 h 3487140"/>
              <a:gd name="connsiteX54" fmla="*/ 2917360 w 5106037"/>
              <a:gd name="connsiteY54" fmla="*/ 2185620 h 3487140"/>
              <a:gd name="connsiteX55" fmla="*/ 2804411 w 5106037"/>
              <a:gd name="connsiteY55" fmla="*/ 2468120 h 3487140"/>
              <a:gd name="connsiteX56" fmla="*/ 2638312 w 5106037"/>
              <a:gd name="connsiteY56" fmla="*/ 2505548 h 3487140"/>
              <a:gd name="connsiteX57" fmla="*/ 2329862 w 5106037"/>
              <a:gd name="connsiteY57" fmla="*/ 2278109 h 3487140"/>
              <a:gd name="connsiteX58" fmla="*/ 1885173 w 5106037"/>
              <a:gd name="connsiteY58" fmla="*/ 1678800 h 3487140"/>
              <a:gd name="connsiteX59" fmla="*/ 1765320 w 5106037"/>
              <a:gd name="connsiteY59" fmla="*/ 1175432 h 3487140"/>
              <a:gd name="connsiteX60" fmla="*/ 1919774 w 5106037"/>
              <a:gd name="connsiteY60" fmla="*/ 1377420 h 3487140"/>
              <a:gd name="connsiteX61" fmla="*/ 2281414 w 5106037"/>
              <a:gd name="connsiteY61" fmla="*/ 2268710 h 3487140"/>
              <a:gd name="connsiteX62" fmla="*/ 2601216 w 5106037"/>
              <a:gd name="connsiteY62" fmla="*/ 2693105 h 3487140"/>
              <a:gd name="connsiteX63" fmla="*/ 2834644 w 5106037"/>
              <a:gd name="connsiteY63" fmla="*/ 2746586 h 3487140"/>
              <a:gd name="connsiteX64" fmla="*/ 3001865 w 5106037"/>
              <a:gd name="connsiteY64" fmla="*/ 2631432 h 3487140"/>
              <a:gd name="connsiteX65" fmla="*/ 3013052 w 5106037"/>
              <a:gd name="connsiteY65" fmla="*/ 2436680 h 3487140"/>
              <a:gd name="connsiteX66" fmla="*/ 2859222 w 5106037"/>
              <a:gd name="connsiteY66" fmla="*/ 2309258 h 3487140"/>
              <a:gd name="connsiteX67" fmla="*/ 2652036 w 5106037"/>
              <a:gd name="connsiteY67" fmla="*/ 2375007 h 3487140"/>
              <a:gd name="connsiteX68" fmla="*/ 2629537 w 5106037"/>
              <a:gd name="connsiteY68" fmla="*/ 2581402 h 3487140"/>
              <a:gd name="connsiteX69" fmla="*/ 2772222 w 5106037"/>
              <a:gd name="connsiteY69" fmla="*/ 2671064 h 3487140"/>
              <a:gd name="connsiteX70" fmla="*/ 2868787 w 5106037"/>
              <a:gd name="connsiteY70" fmla="*/ 2596831 h 3487140"/>
              <a:gd name="connsiteX71" fmla="*/ 2835601 w 5106037"/>
              <a:gd name="connsiteY71" fmla="*/ 2530750 h 3487140"/>
              <a:gd name="connsiteX72" fmla="*/ 2713543 w 5106037"/>
              <a:gd name="connsiteY72" fmla="*/ 2615379 h 3487140"/>
              <a:gd name="connsiteX73" fmla="*/ 2567864 w 5106037"/>
              <a:gd name="connsiteY73" fmla="*/ 2907028 h 3487140"/>
              <a:gd name="connsiteX74" fmla="*/ 2520039 w 5106037"/>
              <a:gd name="connsiteY74" fmla="*/ 3008333 h 3487140"/>
              <a:gd name="connsiteX75" fmla="*/ 2484191 w 5106037"/>
              <a:gd name="connsiteY75" fmla="*/ 3024053 h 3487140"/>
              <a:gd name="connsiteX76" fmla="*/ 2389165 w 5106037"/>
              <a:gd name="connsiteY76" fmla="*/ 3013989 h 3487140"/>
              <a:gd name="connsiteX77" fmla="*/ 2396068 w 5106037"/>
              <a:gd name="connsiteY77" fmla="*/ 2956724 h 3487140"/>
              <a:gd name="connsiteX78" fmla="*/ 2584831 w 5106037"/>
              <a:gd name="connsiteY78" fmla="*/ 2951068 h 3487140"/>
              <a:gd name="connsiteX79" fmla="*/ 2671041 w 5106037"/>
              <a:gd name="connsiteY79" fmla="*/ 2951068 h 3487140"/>
              <a:gd name="connsiteX80" fmla="*/ 2752219 w 5106037"/>
              <a:gd name="connsiteY80" fmla="*/ 2822066 h 3487140"/>
              <a:gd name="connsiteX81" fmla="*/ 2892533 w 5106037"/>
              <a:gd name="connsiteY81" fmla="*/ 2789337 h 3487140"/>
              <a:gd name="connsiteX82" fmla="*/ 3020246 w 5106037"/>
              <a:gd name="connsiteY82" fmla="*/ 2713815 h 3487140"/>
              <a:gd name="connsiteX83" fmla="*/ 3106456 w 5106037"/>
              <a:gd name="connsiteY83" fmla="*/ 2544556 h 3487140"/>
              <a:gd name="connsiteX84" fmla="*/ 3326035 w 5106037"/>
              <a:gd name="connsiteY84" fmla="*/ 2482883 h 3487140"/>
              <a:gd name="connsiteX85" fmla="*/ 3861009 w 5106037"/>
              <a:gd name="connsiteY85" fmla="*/ 2466831 h 3487140"/>
              <a:gd name="connsiteX86" fmla="*/ 4016751 w 5106037"/>
              <a:gd name="connsiteY86" fmla="*/ 2420918 h 3487140"/>
              <a:gd name="connsiteX87" fmla="*/ 3866664 w 5106037"/>
              <a:gd name="connsiteY87" fmla="*/ 2252907 h 3487140"/>
              <a:gd name="connsiteX88" fmla="*/ 3391285 w 5106037"/>
              <a:gd name="connsiteY88" fmla="*/ 1791709 h 3487140"/>
              <a:gd name="connsiteX89" fmla="*/ 3127166 w 5106037"/>
              <a:gd name="connsiteY89" fmla="*/ 1600118 h 3487140"/>
              <a:gd name="connsiteX90" fmla="*/ 3003196 w 5106037"/>
              <a:gd name="connsiteY90" fmla="*/ 1733529 h 3487140"/>
              <a:gd name="connsiteX91" fmla="*/ 2940898 w 5106037"/>
              <a:gd name="connsiteY91" fmla="*/ 1995900 h 3487140"/>
              <a:gd name="connsiteX92" fmla="*/ 2981778 w 5106037"/>
              <a:gd name="connsiteY92" fmla="*/ 2048133 h 3487140"/>
              <a:gd name="connsiteX93" fmla="*/ 3044699 w 5106037"/>
              <a:gd name="connsiteY93" fmla="*/ 1778817 h 3487140"/>
              <a:gd name="connsiteX94" fmla="*/ 3166466 w 5106037"/>
              <a:gd name="connsiteY94" fmla="*/ 1356918 h 3487140"/>
              <a:gd name="connsiteX95" fmla="*/ 3272803 w 5106037"/>
              <a:gd name="connsiteY95" fmla="*/ 986960 h 3487140"/>
              <a:gd name="connsiteX96" fmla="*/ 3243526 w 5106037"/>
              <a:gd name="connsiteY96" fmla="*/ 867107 h 3487140"/>
              <a:gd name="connsiteX97" fmla="*/ 3068612 w 5106037"/>
              <a:gd name="connsiteY97" fmla="*/ 840034 h 3487140"/>
              <a:gd name="connsiteX98" fmla="*/ 2924513 w 5106037"/>
              <a:gd name="connsiteY98" fmla="*/ 782769 h 3487140"/>
              <a:gd name="connsiteX99" fmla="*/ 2940857 w 5106037"/>
              <a:gd name="connsiteY99" fmla="*/ 714816 h 3487140"/>
              <a:gd name="connsiteX100" fmla="*/ 3114524 w 5106037"/>
              <a:gd name="connsiteY100" fmla="*/ 723008 h 3487140"/>
              <a:gd name="connsiteX101" fmla="*/ 3317135 w 5106037"/>
              <a:gd name="connsiteY101" fmla="*/ 729288 h 3487140"/>
              <a:gd name="connsiteX102" fmla="*/ 3483857 w 5106037"/>
              <a:gd name="connsiteY102" fmla="*/ 682087 h 3487140"/>
              <a:gd name="connsiteX103" fmla="*/ 3601506 w 5106037"/>
              <a:gd name="connsiteY103" fmla="*/ 703463 h 3487140"/>
              <a:gd name="connsiteX104" fmla="*/ 3624171 w 5106037"/>
              <a:gd name="connsiteY104" fmla="*/ 797199 h 3487140"/>
              <a:gd name="connsiteX105" fmla="*/ 3496458 w 5106037"/>
              <a:gd name="connsiteY105" fmla="*/ 890936 h 3487140"/>
              <a:gd name="connsiteX106" fmla="*/ 3326575 w 5106037"/>
              <a:gd name="connsiteY106" fmla="*/ 918009 h 3487140"/>
              <a:gd name="connsiteX107" fmla="*/ 3198862 w 5106037"/>
              <a:gd name="connsiteY107" fmla="*/ 1002306 h 3487140"/>
              <a:gd name="connsiteX108" fmla="*/ 3097972 w 5106037"/>
              <a:gd name="connsiteY108" fmla="*/ 1299902 h 3487140"/>
              <a:gd name="connsiteX109" fmla="*/ 3159022 w 5106037"/>
              <a:gd name="connsiteY109" fmla="*/ 1545930 h 3487140"/>
              <a:gd name="connsiteX110" fmla="*/ 3371697 w 5106037"/>
              <a:gd name="connsiteY110" fmla="*/ 1536490 h 3487140"/>
              <a:gd name="connsiteX111" fmla="*/ 3551228 w 5106037"/>
              <a:gd name="connsiteY111" fmla="*/ 1376048 h 3487140"/>
              <a:gd name="connsiteX112" fmla="*/ 3554389 w 5106037"/>
              <a:gd name="connsiteY112" fmla="*/ 1231949 h 3487140"/>
              <a:gd name="connsiteX113" fmla="*/ 3336348 w 5106037"/>
              <a:gd name="connsiteY113" fmla="*/ 1191693 h 3487140"/>
              <a:gd name="connsiteX114" fmla="*/ 3344832 w 5106037"/>
              <a:gd name="connsiteY114" fmla="*/ 1255238 h 3487140"/>
              <a:gd name="connsiteX115" fmla="*/ 3769850 w 5106037"/>
              <a:gd name="connsiteY115" fmla="*/ 1241722 h 3487140"/>
              <a:gd name="connsiteX116" fmla="*/ 4254670 w 5106037"/>
              <a:gd name="connsiteY116" fmla="*/ 1259646 h 3487140"/>
              <a:gd name="connsiteX117" fmla="*/ 4484022 w 5106037"/>
              <a:gd name="connsiteY117" fmla="*/ 1236981 h 3487140"/>
              <a:gd name="connsiteX118" fmla="*/ 4465766 w 5106037"/>
              <a:gd name="connsiteY118" fmla="*/ 1185995 h 3487140"/>
              <a:gd name="connsiteX119" fmla="*/ 4105248 w 5106037"/>
              <a:gd name="connsiteY119" fmla="*/ 1177512 h 3487140"/>
              <a:gd name="connsiteX120" fmla="*/ 3734668 w 5106037"/>
              <a:gd name="connsiteY120" fmla="*/ 1331342 h 3487140"/>
              <a:gd name="connsiteX121" fmla="*/ 3388914 w 5106037"/>
              <a:gd name="connsiteY121" fmla="*/ 1604110 h 3487140"/>
              <a:gd name="connsiteX122" fmla="*/ 3156111 w 5106037"/>
              <a:gd name="connsiteY122" fmla="*/ 1921252 h 3487140"/>
              <a:gd name="connsiteX123" fmla="*/ 3060461 w 5106037"/>
              <a:gd name="connsiteY123" fmla="*/ 2419255 h 3487140"/>
              <a:gd name="connsiteX124" fmla="*/ 3290769 w 5106037"/>
              <a:gd name="connsiteY124" fmla="*/ 3048465 h 3487140"/>
              <a:gd name="connsiteX125" fmla="*/ 3868994 w 5106037"/>
              <a:gd name="connsiteY125" fmla="*/ 3394510 h 3487140"/>
              <a:gd name="connsiteX126" fmla="*/ 4507643 w 5106037"/>
              <a:gd name="connsiteY126" fmla="*/ 3330632 h 3487140"/>
              <a:gd name="connsiteX127" fmla="*/ 5002818 w 5106037"/>
              <a:gd name="connsiteY127" fmla="*/ 2841404 h 3487140"/>
              <a:gd name="connsiteX128" fmla="*/ 5036171 w 5106037"/>
              <a:gd name="connsiteY128" fmla="*/ 2052999 h 3487140"/>
              <a:gd name="connsiteX129" fmla="*/ 4605164 w 5106037"/>
              <a:gd name="connsiteY129" fmla="*/ 1482011 h 3487140"/>
              <a:gd name="connsiteX130" fmla="*/ 4138310 w 5106037"/>
              <a:gd name="connsiteY130" fmla="*/ 1352717 h 3487140"/>
              <a:gd name="connsiteX131" fmla="*/ 3977868 w 5106037"/>
              <a:gd name="connsiteY131" fmla="*/ 1466624 h 3487140"/>
              <a:gd name="connsiteX132" fmla="*/ 3999909 w 5106037"/>
              <a:gd name="connsiteY132" fmla="*/ 2001140 h 3487140"/>
              <a:gd name="connsiteX133" fmla="*/ 4033885 w 5106037"/>
              <a:gd name="connsiteY133" fmla="*/ 2313208 h 3487140"/>
              <a:gd name="connsiteX134" fmla="*/ 4125585 w 5106037"/>
              <a:gd name="connsiteY134" fmla="*/ 2399085 h 3487140"/>
              <a:gd name="connsiteX135" fmla="*/ 4230051 w 5106037"/>
              <a:gd name="connsiteY135" fmla="*/ 2362905 h 3487140"/>
              <a:gd name="connsiteX136" fmla="*/ 4194660 w 5106037"/>
              <a:gd name="connsiteY136" fmla="*/ 2271372 h 3487140"/>
              <a:gd name="connsiteX137" fmla="*/ 4097056 w 5106037"/>
              <a:gd name="connsiteY137" fmla="*/ 2303394 h 3487140"/>
              <a:gd name="connsiteX138" fmla="*/ 4080670 w 5106037"/>
              <a:gd name="connsiteY138" fmla="*/ 2437262 h 3487140"/>
              <a:gd name="connsiteX139" fmla="*/ 4079589 w 5106037"/>
              <a:gd name="connsiteY139" fmla="*/ 2519521 h 3487140"/>
              <a:gd name="connsiteX140" fmla="*/ 3900475 w 5106037"/>
              <a:gd name="connsiteY140" fmla="*/ 2539400 h 3487140"/>
              <a:gd name="connsiteX141" fmla="*/ 3490220 w 5106037"/>
              <a:gd name="connsiteY141" fmla="*/ 2545679 h 3487140"/>
              <a:gd name="connsiteX142" fmla="*/ 3249848 w 5106037"/>
              <a:gd name="connsiteY142" fmla="*/ 2602944 h 3487140"/>
              <a:gd name="connsiteX143" fmla="*/ 3240241 w 5106037"/>
              <a:gd name="connsiteY143" fmla="*/ 2790460 h 3487140"/>
              <a:gd name="connsiteX144" fmla="*/ 3433578 w 5106037"/>
              <a:gd name="connsiteY144" fmla="*/ 3133385 h 3487140"/>
              <a:gd name="connsiteX145" fmla="*/ 3925468 w 5106037"/>
              <a:gd name="connsiteY145" fmla="*/ 3465290 h 3487140"/>
              <a:gd name="connsiteX146" fmla="*/ 4666214 w 5106037"/>
              <a:gd name="connsiteY146" fmla="*/ 3390434 h 3487140"/>
              <a:gd name="connsiteX147" fmla="*/ 5106037 w 5106037"/>
              <a:gd name="connsiteY147" fmla="*/ 3017940 h 3487140"/>
              <a:gd name="connsiteX0" fmla="*/ 777215 w 5088779"/>
              <a:gd name="connsiteY0" fmla="*/ 3295741 h 3487140"/>
              <a:gd name="connsiteX1" fmla="*/ 526113 w 5088779"/>
              <a:gd name="connsiteY1" fmla="*/ 3112384 h 3487140"/>
              <a:gd name="connsiteX2" fmla="*/ 219950 w 5088779"/>
              <a:gd name="connsiteY2" fmla="*/ 2750287 h 3487140"/>
              <a:gd name="connsiteX3" fmla="*/ 128418 w 5088779"/>
              <a:gd name="connsiteY3" fmla="*/ 2305432 h 3487140"/>
              <a:gd name="connsiteX4" fmla="*/ 256006 w 5088779"/>
              <a:gd name="connsiteY4" fmla="*/ 1919713 h 3487140"/>
              <a:gd name="connsiteX5" fmla="*/ 580218 w 5088779"/>
              <a:gd name="connsiteY5" fmla="*/ 1637837 h 3487140"/>
              <a:gd name="connsiteX6" fmla="*/ 1073522 w 5088779"/>
              <a:gd name="connsiteY6" fmla="*/ 1545972 h 3487140"/>
              <a:gd name="connsiteX7" fmla="*/ 1308197 w 5088779"/>
              <a:gd name="connsiteY7" fmla="*/ 1517651 h 3487140"/>
              <a:gd name="connsiteX8" fmla="*/ 1292934 w 5088779"/>
              <a:gd name="connsiteY8" fmla="*/ 1460718 h 3487140"/>
              <a:gd name="connsiteX9" fmla="*/ 1016880 w 5088779"/>
              <a:gd name="connsiteY9" fmla="*/ 1416969 h 3487140"/>
              <a:gd name="connsiteX10" fmla="*/ 497460 w 5088779"/>
              <a:gd name="connsiteY10" fmla="*/ 1517318 h 3487140"/>
              <a:gd name="connsiteX11" fmla="*/ 88162 w 5088779"/>
              <a:gd name="connsiteY11" fmla="*/ 1960593 h 3487140"/>
              <a:gd name="connsiteX12" fmla="*/ 28692 w 5088779"/>
              <a:gd name="connsiteY12" fmla="*/ 2569342 h 3487140"/>
              <a:gd name="connsiteX13" fmla="*/ 442399 w 5088779"/>
              <a:gd name="connsiteY13" fmla="*/ 3165532 h 3487140"/>
              <a:gd name="connsiteX14" fmla="*/ 1232384 w 5088779"/>
              <a:gd name="connsiteY14" fmla="*/ 3283181 h 3487140"/>
              <a:gd name="connsiteX15" fmla="*/ 1835020 w 5088779"/>
              <a:gd name="connsiteY15" fmla="*/ 2757481 h 3487140"/>
              <a:gd name="connsiteX16" fmla="*/ 1824789 w 5088779"/>
              <a:gd name="connsiteY16" fmla="*/ 1980430 h 3487140"/>
              <a:gd name="connsiteX17" fmla="*/ 1494755 w 5088779"/>
              <a:gd name="connsiteY17" fmla="*/ 1589139 h 3487140"/>
              <a:gd name="connsiteX18" fmla="*/ 1305701 w 5088779"/>
              <a:gd name="connsiteY18" fmla="*/ 1660710 h 3487140"/>
              <a:gd name="connsiteX19" fmla="*/ 1197284 w 5088779"/>
              <a:gd name="connsiteY19" fmla="*/ 2116627 h 3487140"/>
              <a:gd name="connsiteX20" fmla="*/ 973921 w 5088779"/>
              <a:gd name="connsiteY20" fmla="*/ 2374258 h 3487140"/>
              <a:gd name="connsiteX21" fmla="*/ 918985 w 5088779"/>
              <a:gd name="connsiteY21" fmla="*/ 2276986 h 3487140"/>
              <a:gd name="connsiteX22" fmla="*/ 1298257 w 5088779"/>
              <a:gd name="connsiteY22" fmla="*/ 2021601 h 3487140"/>
              <a:gd name="connsiteX23" fmla="*/ 1558176 w 5088779"/>
              <a:gd name="connsiteY23" fmla="*/ 1234153 h 3487140"/>
              <a:gd name="connsiteX24" fmla="*/ 1788276 w 5088779"/>
              <a:gd name="connsiteY24" fmla="*/ 725296 h 3487140"/>
              <a:gd name="connsiteX25" fmla="*/ 1896859 w 5088779"/>
              <a:gd name="connsiteY25" fmla="*/ 539984 h 3487140"/>
              <a:gd name="connsiteX26" fmla="*/ 1865711 w 5088779"/>
              <a:gd name="connsiteY26" fmla="*/ 435851 h 3487140"/>
              <a:gd name="connsiteX27" fmla="*/ 1759373 w 5088779"/>
              <a:gd name="connsiteY27" fmla="*/ 350265 h 3487140"/>
              <a:gd name="connsiteX28" fmla="*/ 1714085 w 5088779"/>
              <a:gd name="connsiteY28" fmla="*/ 209327 h 3487140"/>
              <a:gd name="connsiteX29" fmla="*/ 1758915 w 5088779"/>
              <a:gd name="connsiteY29" fmla="*/ 82237 h 3487140"/>
              <a:gd name="connsiteX30" fmla="*/ 1939195 w 5088779"/>
              <a:gd name="connsiteY30" fmla="*/ 6716 h 3487140"/>
              <a:gd name="connsiteX31" fmla="*/ 2207888 w 5088779"/>
              <a:gd name="connsiteY31" fmla="*/ 10167 h 3487140"/>
              <a:gd name="connsiteX32" fmla="*/ 2291561 w 5088779"/>
              <a:gd name="connsiteY32" fmla="*/ 49800 h 3487140"/>
              <a:gd name="connsiteX33" fmla="*/ 2244526 w 5088779"/>
              <a:gd name="connsiteY33" fmla="*/ 86812 h 3487140"/>
              <a:gd name="connsiteX34" fmla="*/ 2008603 w 5088779"/>
              <a:gd name="connsiteY34" fmla="*/ 91886 h 3487140"/>
              <a:gd name="connsiteX35" fmla="*/ 1765070 w 5088779"/>
              <a:gd name="connsiteY35" fmla="*/ 75833 h 3487140"/>
              <a:gd name="connsiteX36" fmla="*/ 1657319 w 5088779"/>
              <a:gd name="connsiteY36" fmla="*/ 176931 h 3487140"/>
              <a:gd name="connsiteX37" fmla="*/ 1672581 w 5088779"/>
              <a:gd name="connsiteY37" fmla="*/ 370393 h 3487140"/>
              <a:gd name="connsiteX38" fmla="*/ 1617354 w 5088779"/>
              <a:gd name="connsiteY38" fmla="*/ 589348 h 3487140"/>
              <a:gd name="connsiteX39" fmla="*/ 1460820 w 5088779"/>
              <a:gd name="connsiteY39" fmla="*/ 903953 h 3487140"/>
              <a:gd name="connsiteX40" fmla="*/ 1250349 w 5088779"/>
              <a:gd name="connsiteY40" fmla="*/ 922501 h 3487140"/>
              <a:gd name="connsiteX41" fmla="*/ 1055930 w 5088779"/>
              <a:gd name="connsiteY41" fmla="*/ 866816 h 3487140"/>
              <a:gd name="connsiteX42" fmla="*/ 997085 w 5088779"/>
              <a:gd name="connsiteY42" fmla="*/ 751038 h 3487140"/>
              <a:gd name="connsiteX43" fmla="*/ 1009021 w 5088779"/>
              <a:gd name="connsiteY43" fmla="*/ 369436 h 3487140"/>
              <a:gd name="connsiteX44" fmla="*/ 1070694 w 5088779"/>
              <a:gd name="connsiteY44" fmla="*/ 155805 h 3487140"/>
              <a:gd name="connsiteX45" fmla="*/ 1272058 w 5088779"/>
              <a:gd name="connsiteY45" fmla="*/ 156761 h 3487140"/>
              <a:gd name="connsiteX46" fmla="*/ 1524989 w 5088779"/>
              <a:gd name="connsiteY46" fmla="*/ 245175 h 3487140"/>
              <a:gd name="connsiteX47" fmla="*/ 1694081 w 5088779"/>
              <a:gd name="connsiteY47" fmla="*/ 357792 h 3487140"/>
              <a:gd name="connsiteX48" fmla="*/ 1798672 w 5088779"/>
              <a:gd name="connsiteY48" fmla="*/ 483301 h 3487140"/>
              <a:gd name="connsiteX49" fmla="*/ 1822876 w 5088779"/>
              <a:gd name="connsiteY49" fmla="*/ 600951 h 3487140"/>
              <a:gd name="connsiteX50" fmla="*/ 1795345 w 5088779"/>
              <a:gd name="connsiteY50" fmla="*/ 761726 h 3487140"/>
              <a:gd name="connsiteX51" fmla="*/ 1967266 w 5088779"/>
              <a:gd name="connsiteY51" fmla="*/ 1160004 h 3487140"/>
              <a:gd name="connsiteX52" fmla="*/ 2390246 w 5088779"/>
              <a:gd name="connsiteY52" fmla="*/ 1793622 h 3487140"/>
              <a:gd name="connsiteX53" fmla="*/ 2807737 w 5088779"/>
              <a:gd name="connsiteY53" fmla="*/ 2087475 h 3487140"/>
              <a:gd name="connsiteX54" fmla="*/ 2917360 w 5088779"/>
              <a:gd name="connsiteY54" fmla="*/ 2185620 h 3487140"/>
              <a:gd name="connsiteX55" fmla="*/ 2804411 w 5088779"/>
              <a:gd name="connsiteY55" fmla="*/ 2468120 h 3487140"/>
              <a:gd name="connsiteX56" fmla="*/ 2638312 w 5088779"/>
              <a:gd name="connsiteY56" fmla="*/ 2505548 h 3487140"/>
              <a:gd name="connsiteX57" fmla="*/ 2329862 w 5088779"/>
              <a:gd name="connsiteY57" fmla="*/ 2278109 h 3487140"/>
              <a:gd name="connsiteX58" fmla="*/ 1885173 w 5088779"/>
              <a:gd name="connsiteY58" fmla="*/ 1678800 h 3487140"/>
              <a:gd name="connsiteX59" fmla="*/ 1765320 w 5088779"/>
              <a:gd name="connsiteY59" fmla="*/ 1175432 h 3487140"/>
              <a:gd name="connsiteX60" fmla="*/ 1919774 w 5088779"/>
              <a:gd name="connsiteY60" fmla="*/ 1377420 h 3487140"/>
              <a:gd name="connsiteX61" fmla="*/ 2281414 w 5088779"/>
              <a:gd name="connsiteY61" fmla="*/ 2268710 h 3487140"/>
              <a:gd name="connsiteX62" fmla="*/ 2601216 w 5088779"/>
              <a:gd name="connsiteY62" fmla="*/ 2693105 h 3487140"/>
              <a:gd name="connsiteX63" fmla="*/ 2834644 w 5088779"/>
              <a:gd name="connsiteY63" fmla="*/ 2746586 h 3487140"/>
              <a:gd name="connsiteX64" fmla="*/ 3001865 w 5088779"/>
              <a:gd name="connsiteY64" fmla="*/ 2631432 h 3487140"/>
              <a:gd name="connsiteX65" fmla="*/ 3013052 w 5088779"/>
              <a:gd name="connsiteY65" fmla="*/ 2436680 h 3487140"/>
              <a:gd name="connsiteX66" fmla="*/ 2859222 w 5088779"/>
              <a:gd name="connsiteY66" fmla="*/ 2309258 h 3487140"/>
              <a:gd name="connsiteX67" fmla="*/ 2652036 w 5088779"/>
              <a:gd name="connsiteY67" fmla="*/ 2375007 h 3487140"/>
              <a:gd name="connsiteX68" fmla="*/ 2629537 w 5088779"/>
              <a:gd name="connsiteY68" fmla="*/ 2581402 h 3487140"/>
              <a:gd name="connsiteX69" fmla="*/ 2772222 w 5088779"/>
              <a:gd name="connsiteY69" fmla="*/ 2671064 h 3487140"/>
              <a:gd name="connsiteX70" fmla="*/ 2868787 w 5088779"/>
              <a:gd name="connsiteY70" fmla="*/ 2596831 h 3487140"/>
              <a:gd name="connsiteX71" fmla="*/ 2835601 w 5088779"/>
              <a:gd name="connsiteY71" fmla="*/ 2530750 h 3487140"/>
              <a:gd name="connsiteX72" fmla="*/ 2713543 w 5088779"/>
              <a:gd name="connsiteY72" fmla="*/ 2615379 h 3487140"/>
              <a:gd name="connsiteX73" fmla="*/ 2567864 w 5088779"/>
              <a:gd name="connsiteY73" fmla="*/ 2907028 h 3487140"/>
              <a:gd name="connsiteX74" fmla="*/ 2520039 w 5088779"/>
              <a:gd name="connsiteY74" fmla="*/ 3008333 h 3487140"/>
              <a:gd name="connsiteX75" fmla="*/ 2484191 w 5088779"/>
              <a:gd name="connsiteY75" fmla="*/ 3024053 h 3487140"/>
              <a:gd name="connsiteX76" fmla="*/ 2389165 w 5088779"/>
              <a:gd name="connsiteY76" fmla="*/ 3013989 h 3487140"/>
              <a:gd name="connsiteX77" fmla="*/ 2396068 w 5088779"/>
              <a:gd name="connsiteY77" fmla="*/ 2956724 h 3487140"/>
              <a:gd name="connsiteX78" fmla="*/ 2584831 w 5088779"/>
              <a:gd name="connsiteY78" fmla="*/ 2951068 h 3487140"/>
              <a:gd name="connsiteX79" fmla="*/ 2671041 w 5088779"/>
              <a:gd name="connsiteY79" fmla="*/ 2951068 h 3487140"/>
              <a:gd name="connsiteX80" fmla="*/ 2752219 w 5088779"/>
              <a:gd name="connsiteY80" fmla="*/ 2822066 h 3487140"/>
              <a:gd name="connsiteX81" fmla="*/ 2892533 w 5088779"/>
              <a:gd name="connsiteY81" fmla="*/ 2789337 h 3487140"/>
              <a:gd name="connsiteX82" fmla="*/ 3020246 w 5088779"/>
              <a:gd name="connsiteY82" fmla="*/ 2713815 h 3487140"/>
              <a:gd name="connsiteX83" fmla="*/ 3106456 w 5088779"/>
              <a:gd name="connsiteY83" fmla="*/ 2544556 h 3487140"/>
              <a:gd name="connsiteX84" fmla="*/ 3326035 w 5088779"/>
              <a:gd name="connsiteY84" fmla="*/ 2482883 h 3487140"/>
              <a:gd name="connsiteX85" fmla="*/ 3861009 w 5088779"/>
              <a:gd name="connsiteY85" fmla="*/ 2466831 h 3487140"/>
              <a:gd name="connsiteX86" fmla="*/ 4016751 w 5088779"/>
              <a:gd name="connsiteY86" fmla="*/ 2420918 h 3487140"/>
              <a:gd name="connsiteX87" fmla="*/ 3866664 w 5088779"/>
              <a:gd name="connsiteY87" fmla="*/ 2252907 h 3487140"/>
              <a:gd name="connsiteX88" fmla="*/ 3391285 w 5088779"/>
              <a:gd name="connsiteY88" fmla="*/ 1791709 h 3487140"/>
              <a:gd name="connsiteX89" fmla="*/ 3127166 w 5088779"/>
              <a:gd name="connsiteY89" fmla="*/ 1600118 h 3487140"/>
              <a:gd name="connsiteX90" fmla="*/ 3003196 w 5088779"/>
              <a:gd name="connsiteY90" fmla="*/ 1733529 h 3487140"/>
              <a:gd name="connsiteX91" fmla="*/ 2940898 w 5088779"/>
              <a:gd name="connsiteY91" fmla="*/ 1995900 h 3487140"/>
              <a:gd name="connsiteX92" fmla="*/ 2981778 w 5088779"/>
              <a:gd name="connsiteY92" fmla="*/ 2048133 h 3487140"/>
              <a:gd name="connsiteX93" fmla="*/ 3044699 w 5088779"/>
              <a:gd name="connsiteY93" fmla="*/ 1778817 h 3487140"/>
              <a:gd name="connsiteX94" fmla="*/ 3166466 w 5088779"/>
              <a:gd name="connsiteY94" fmla="*/ 1356918 h 3487140"/>
              <a:gd name="connsiteX95" fmla="*/ 3272803 w 5088779"/>
              <a:gd name="connsiteY95" fmla="*/ 986960 h 3487140"/>
              <a:gd name="connsiteX96" fmla="*/ 3243526 w 5088779"/>
              <a:gd name="connsiteY96" fmla="*/ 867107 h 3487140"/>
              <a:gd name="connsiteX97" fmla="*/ 3068612 w 5088779"/>
              <a:gd name="connsiteY97" fmla="*/ 840034 h 3487140"/>
              <a:gd name="connsiteX98" fmla="*/ 2924513 w 5088779"/>
              <a:gd name="connsiteY98" fmla="*/ 782769 h 3487140"/>
              <a:gd name="connsiteX99" fmla="*/ 2940857 w 5088779"/>
              <a:gd name="connsiteY99" fmla="*/ 714816 h 3487140"/>
              <a:gd name="connsiteX100" fmla="*/ 3114524 w 5088779"/>
              <a:gd name="connsiteY100" fmla="*/ 723008 h 3487140"/>
              <a:gd name="connsiteX101" fmla="*/ 3317135 w 5088779"/>
              <a:gd name="connsiteY101" fmla="*/ 729288 h 3487140"/>
              <a:gd name="connsiteX102" fmla="*/ 3483857 w 5088779"/>
              <a:gd name="connsiteY102" fmla="*/ 682087 h 3487140"/>
              <a:gd name="connsiteX103" fmla="*/ 3601506 w 5088779"/>
              <a:gd name="connsiteY103" fmla="*/ 703463 h 3487140"/>
              <a:gd name="connsiteX104" fmla="*/ 3624171 w 5088779"/>
              <a:gd name="connsiteY104" fmla="*/ 797199 h 3487140"/>
              <a:gd name="connsiteX105" fmla="*/ 3496458 w 5088779"/>
              <a:gd name="connsiteY105" fmla="*/ 890936 h 3487140"/>
              <a:gd name="connsiteX106" fmla="*/ 3326575 w 5088779"/>
              <a:gd name="connsiteY106" fmla="*/ 918009 h 3487140"/>
              <a:gd name="connsiteX107" fmla="*/ 3198862 w 5088779"/>
              <a:gd name="connsiteY107" fmla="*/ 1002306 h 3487140"/>
              <a:gd name="connsiteX108" fmla="*/ 3097972 w 5088779"/>
              <a:gd name="connsiteY108" fmla="*/ 1299902 h 3487140"/>
              <a:gd name="connsiteX109" fmla="*/ 3159022 w 5088779"/>
              <a:gd name="connsiteY109" fmla="*/ 1545930 h 3487140"/>
              <a:gd name="connsiteX110" fmla="*/ 3371697 w 5088779"/>
              <a:gd name="connsiteY110" fmla="*/ 1536490 h 3487140"/>
              <a:gd name="connsiteX111" fmla="*/ 3551228 w 5088779"/>
              <a:gd name="connsiteY111" fmla="*/ 1376048 h 3487140"/>
              <a:gd name="connsiteX112" fmla="*/ 3554389 w 5088779"/>
              <a:gd name="connsiteY112" fmla="*/ 1231949 h 3487140"/>
              <a:gd name="connsiteX113" fmla="*/ 3336348 w 5088779"/>
              <a:gd name="connsiteY113" fmla="*/ 1191693 h 3487140"/>
              <a:gd name="connsiteX114" fmla="*/ 3344832 w 5088779"/>
              <a:gd name="connsiteY114" fmla="*/ 1255238 h 3487140"/>
              <a:gd name="connsiteX115" fmla="*/ 3769850 w 5088779"/>
              <a:gd name="connsiteY115" fmla="*/ 1241722 h 3487140"/>
              <a:gd name="connsiteX116" fmla="*/ 4254670 w 5088779"/>
              <a:gd name="connsiteY116" fmla="*/ 1259646 h 3487140"/>
              <a:gd name="connsiteX117" fmla="*/ 4484022 w 5088779"/>
              <a:gd name="connsiteY117" fmla="*/ 1236981 h 3487140"/>
              <a:gd name="connsiteX118" fmla="*/ 4465766 w 5088779"/>
              <a:gd name="connsiteY118" fmla="*/ 1185995 h 3487140"/>
              <a:gd name="connsiteX119" fmla="*/ 4105248 w 5088779"/>
              <a:gd name="connsiteY119" fmla="*/ 1177512 h 3487140"/>
              <a:gd name="connsiteX120" fmla="*/ 3734668 w 5088779"/>
              <a:gd name="connsiteY120" fmla="*/ 1331342 h 3487140"/>
              <a:gd name="connsiteX121" fmla="*/ 3388914 w 5088779"/>
              <a:gd name="connsiteY121" fmla="*/ 1604110 h 3487140"/>
              <a:gd name="connsiteX122" fmla="*/ 3156111 w 5088779"/>
              <a:gd name="connsiteY122" fmla="*/ 1921252 h 3487140"/>
              <a:gd name="connsiteX123" fmla="*/ 3060461 w 5088779"/>
              <a:gd name="connsiteY123" fmla="*/ 2419255 h 3487140"/>
              <a:gd name="connsiteX124" fmla="*/ 3290769 w 5088779"/>
              <a:gd name="connsiteY124" fmla="*/ 3048465 h 3487140"/>
              <a:gd name="connsiteX125" fmla="*/ 3868994 w 5088779"/>
              <a:gd name="connsiteY125" fmla="*/ 3394510 h 3487140"/>
              <a:gd name="connsiteX126" fmla="*/ 4507643 w 5088779"/>
              <a:gd name="connsiteY126" fmla="*/ 3330632 h 3487140"/>
              <a:gd name="connsiteX127" fmla="*/ 5002818 w 5088779"/>
              <a:gd name="connsiteY127" fmla="*/ 2841404 h 3487140"/>
              <a:gd name="connsiteX128" fmla="*/ 5036171 w 5088779"/>
              <a:gd name="connsiteY128" fmla="*/ 2052999 h 3487140"/>
              <a:gd name="connsiteX129" fmla="*/ 4605164 w 5088779"/>
              <a:gd name="connsiteY129" fmla="*/ 1482011 h 3487140"/>
              <a:gd name="connsiteX130" fmla="*/ 4138310 w 5088779"/>
              <a:gd name="connsiteY130" fmla="*/ 1352717 h 3487140"/>
              <a:gd name="connsiteX131" fmla="*/ 3977868 w 5088779"/>
              <a:gd name="connsiteY131" fmla="*/ 1466624 h 3487140"/>
              <a:gd name="connsiteX132" fmla="*/ 3999909 w 5088779"/>
              <a:gd name="connsiteY132" fmla="*/ 2001140 h 3487140"/>
              <a:gd name="connsiteX133" fmla="*/ 4033885 w 5088779"/>
              <a:gd name="connsiteY133" fmla="*/ 2313208 h 3487140"/>
              <a:gd name="connsiteX134" fmla="*/ 4125585 w 5088779"/>
              <a:gd name="connsiteY134" fmla="*/ 2399085 h 3487140"/>
              <a:gd name="connsiteX135" fmla="*/ 4230051 w 5088779"/>
              <a:gd name="connsiteY135" fmla="*/ 2362905 h 3487140"/>
              <a:gd name="connsiteX136" fmla="*/ 4194660 w 5088779"/>
              <a:gd name="connsiteY136" fmla="*/ 2271372 h 3487140"/>
              <a:gd name="connsiteX137" fmla="*/ 4097056 w 5088779"/>
              <a:gd name="connsiteY137" fmla="*/ 2303394 h 3487140"/>
              <a:gd name="connsiteX138" fmla="*/ 4080670 w 5088779"/>
              <a:gd name="connsiteY138" fmla="*/ 2437262 h 3487140"/>
              <a:gd name="connsiteX139" fmla="*/ 4079589 w 5088779"/>
              <a:gd name="connsiteY139" fmla="*/ 2519521 h 3487140"/>
              <a:gd name="connsiteX140" fmla="*/ 3900475 w 5088779"/>
              <a:gd name="connsiteY140" fmla="*/ 2539400 h 3487140"/>
              <a:gd name="connsiteX141" fmla="*/ 3490220 w 5088779"/>
              <a:gd name="connsiteY141" fmla="*/ 2545679 h 3487140"/>
              <a:gd name="connsiteX142" fmla="*/ 3249848 w 5088779"/>
              <a:gd name="connsiteY142" fmla="*/ 2602944 h 3487140"/>
              <a:gd name="connsiteX143" fmla="*/ 3240241 w 5088779"/>
              <a:gd name="connsiteY143" fmla="*/ 2790460 h 3487140"/>
              <a:gd name="connsiteX144" fmla="*/ 3433578 w 5088779"/>
              <a:gd name="connsiteY144" fmla="*/ 3133385 h 3487140"/>
              <a:gd name="connsiteX145" fmla="*/ 3925468 w 5088779"/>
              <a:gd name="connsiteY145" fmla="*/ 3465290 h 3487140"/>
              <a:gd name="connsiteX146" fmla="*/ 4666214 w 5088779"/>
              <a:gd name="connsiteY146" fmla="*/ 3390434 h 3487140"/>
              <a:gd name="connsiteX0" fmla="*/ 777215 w 5088779"/>
              <a:gd name="connsiteY0" fmla="*/ 3295741 h 3465287"/>
              <a:gd name="connsiteX1" fmla="*/ 526113 w 5088779"/>
              <a:gd name="connsiteY1" fmla="*/ 3112384 h 3465287"/>
              <a:gd name="connsiteX2" fmla="*/ 219950 w 5088779"/>
              <a:gd name="connsiteY2" fmla="*/ 2750287 h 3465287"/>
              <a:gd name="connsiteX3" fmla="*/ 128418 w 5088779"/>
              <a:gd name="connsiteY3" fmla="*/ 2305432 h 3465287"/>
              <a:gd name="connsiteX4" fmla="*/ 256006 w 5088779"/>
              <a:gd name="connsiteY4" fmla="*/ 1919713 h 3465287"/>
              <a:gd name="connsiteX5" fmla="*/ 580218 w 5088779"/>
              <a:gd name="connsiteY5" fmla="*/ 1637837 h 3465287"/>
              <a:gd name="connsiteX6" fmla="*/ 1073522 w 5088779"/>
              <a:gd name="connsiteY6" fmla="*/ 1545972 h 3465287"/>
              <a:gd name="connsiteX7" fmla="*/ 1308197 w 5088779"/>
              <a:gd name="connsiteY7" fmla="*/ 1517651 h 3465287"/>
              <a:gd name="connsiteX8" fmla="*/ 1292934 w 5088779"/>
              <a:gd name="connsiteY8" fmla="*/ 1460718 h 3465287"/>
              <a:gd name="connsiteX9" fmla="*/ 1016880 w 5088779"/>
              <a:gd name="connsiteY9" fmla="*/ 1416969 h 3465287"/>
              <a:gd name="connsiteX10" fmla="*/ 497460 w 5088779"/>
              <a:gd name="connsiteY10" fmla="*/ 1517318 h 3465287"/>
              <a:gd name="connsiteX11" fmla="*/ 88162 w 5088779"/>
              <a:gd name="connsiteY11" fmla="*/ 1960593 h 3465287"/>
              <a:gd name="connsiteX12" fmla="*/ 28692 w 5088779"/>
              <a:gd name="connsiteY12" fmla="*/ 2569342 h 3465287"/>
              <a:gd name="connsiteX13" fmla="*/ 442399 w 5088779"/>
              <a:gd name="connsiteY13" fmla="*/ 3165532 h 3465287"/>
              <a:gd name="connsiteX14" fmla="*/ 1232384 w 5088779"/>
              <a:gd name="connsiteY14" fmla="*/ 3283181 h 3465287"/>
              <a:gd name="connsiteX15" fmla="*/ 1835020 w 5088779"/>
              <a:gd name="connsiteY15" fmla="*/ 2757481 h 3465287"/>
              <a:gd name="connsiteX16" fmla="*/ 1824789 w 5088779"/>
              <a:gd name="connsiteY16" fmla="*/ 1980430 h 3465287"/>
              <a:gd name="connsiteX17" fmla="*/ 1494755 w 5088779"/>
              <a:gd name="connsiteY17" fmla="*/ 1589139 h 3465287"/>
              <a:gd name="connsiteX18" fmla="*/ 1305701 w 5088779"/>
              <a:gd name="connsiteY18" fmla="*/ 1660710 h 3465287"/>
              <a:gd name="connsiteX19" fmla="*/ 1197284 w 5088779"/>
              <a:gd name="connsiteY19" fmla="*/ 2116627 h 3465287"/>
              <a:gd name="connsiteX20" fmla="*/ 973921 w 5088779"/>
              <a:gd name="connsiteY20" fmla="*/ 2374258 h 3465287"/>
              <a:gd name="connsiteX21" fmla="*/ 918985 w 5088779"/>
              <a:gd name="connsiteY21" fmla="*/ 2276986 h 3465287"/>
              <a:gd name="connsiteX22" fmla="*/ 1298257 w 5088779"/>
              <a:gd name="connsiteY22" fmla="*/ 2021601 h 3465287"/>
              <a:gd name="connsiteX23" fmla="*/ 1558176 w 5088779"/>
              <a:gd name="connsiteY23" fmla="*/ 1234153 h 3465287"/>
              <a:gd name="connsiteX24" fmla="*/ 1788276 w 5088779"/>
              <a:gd name="connsiteY24" fmla="*/ 725296 h 3465287"/>
              <a:gd name="connsiteX25" fmla="*/ 1896859 w 5088779"/>
              <a:gd name="connsiteY25" fmla="*/ 539984 h 3465287"/>
              <a:gd name="connsiteX26" fmla="*/ 1865711 w 5088779"/>
              <a:gd name="connsiteY26" fmla="*/ 435851 h 3465287"/>
              <a:gd name="connsiteX27" fmla="*/ 1759373 w 5088779"/>
              <a:gd name="connsiteY27" fmla="*/ 350265 h 3465287"/>
              <a:gd name="connsiteX28" fmla="*/ 1714085 w 5088779"/>
              <a:gd name="connsiteY28" fmla="*/ 209327 h 3465287"/>
              <a:gd name="connsiteX29" fmla="*/ 1758915 w 5088779"/>
              <a:gd name="connsiteY29" fmla="*/ 82237 h 3465287"/>
              <a:gd name="connsiteX30" fmla="*/ 1939195 w 5088779"/>
              <a:gd name="connsiteY30" fmla="*/ 6716 h 3465287"/>
              <a:gd name="connsiteX31" fmla="*/ 2207888 w 5088779"/>
              <a:gd name="connsiteY31" fmla="*/ 10167 h 3465287"/>
              <a:gd name="connsiteX32" fmla="*/ 2291561 w 5088779"/>
              <a:gd name="connsiteY32" fmla="*/ 49800 h 3465287"/>
              <a:gd name="connsiteX33" fmla="*/ 2244526 w 5088779"/>
              <a:gd name="connsiteY33" fmla="*/ 86812 h 3465287"/>
              <a:gd name="connsiteX34" fmla="*/ 2008603 w 5088779"/>
              <a:gd name="connsiteY34" fmla="*/ 91886 h 3465287"/>
              <a:gd name="connsiteX35" fmla="*/ 1765070 w 5088779"/>
              <a:gd name="connsiteY35" fmla="*/ 75833 h 3465287"/>
              <a:gd name="connsiteX36" fmla="*/ 1657319 w 5088779"/>
              <a:gd name="connsiteY36" fmla="*/ 176931 h 3465287"/>
              <a:gd name="connsiteX37" fmla="*/ 1672581 w 5088779"/>
              <a:gd name="connsiteY37" fmla="*/ 370393 h 3465287"/>
              <a:gd name="connsiteX38" fmla="*/ 1617354 w 5088779"/>
              <a:gd name="connsiteY38" fmla="*/ 589348 h 3465287"/>
              <a:gd name="connsiteX39" fmla="*/ 1460820 w 5088779"/>
              <a:gd name="connsiteY39" fmla="*/ 903953 h 3465287"/>
              <a:gd name="connsiteX40" fmla="*/ 1250349 w 5088779"/>
              <a:gd name="connsiteY40" fmla="*/ 922501 h 3465287"/>
              <a:gd name="connsiteX41" fmla="*/ 1055930 w 5088779"/>
              <a:gd name="connsiteY41" fmla="*/ 866816 h 3465287"/>
              <a:gd name="connsiteX42" fmla="*/ 997085 w 5088779"/>
              <a:gd name="connsiteY42" fmla="*/ 751038 h 3465287"/>
              <a:gd name="connsiteX43" fmla="*/ 1009021 w 5088779"/>
              <a:gd name="connsiteY43" fmla="*/ 369436 h 3465287"/>
              <a:gd name="connsiteX44" fmla="*/ 1070694 w 5088779"/>
              <a:gd name="connsiteY44" fmla="*/ 155805 h 3465287"/>
              <a:gd name="connsiteX45" fmla="*/ 1272058 w 5088779"/>
              <a:gd name="connsiteY45" fmla="*/ 156761 h 3465287"/>
              <a:gd name="connsiteX46" fmla="*/ 1524989 w 5088779"/>
              <a:gd name="connsiteY46" fmla="*/ 245175 h 3465287"/>
              <a:gd name="connsiteX47" fmla="*/ 1694081 w 5088779"/>
              <a:gd name="connsiteY47" fmla="*/ 357792 h 3465287"/>
              <a:gd name="connsiteX48" fmla="*/ 1798672 w 5088779"/>
              <a:gd name="connsiteY48" fmla="*/ 483301 h 3465287"/>
              <a:gd name="connsiteX49" fmla="*/ 1822876 w 5088779"/>
              <a:gd name="connsiteY49" fmla="*/ 600951 h 3465287"/>
              <a:gd name="connsiteX50" fmla="*/ 1795345 w 5088779"/>
              <a:gd name="connsiteY50" fmla="*/ 761726 h 3465287"/>
              <a:gd name="connsiteX51" fmla="*/ 1967266 w 5088779"/>
              <a:gd name="connsiteY51" fmla="*/ 1160004 h 3465287"/>
              <a:gd name="connsiteX52" fmla="*/ 2390246 w 5088779"/>
              <a:gd name="connsiteY52" fmla="*/ 1793622 h 3465287"/>
              <a:gd name="connsiteX53" fmla="*/ 2807737 w 5088779"/>
              <a:gd name="connsiteY53" fmla="*/ 2087475 h 3465287"/>
              <a:gd name="connsiteX54" fmla="*/ 2917360 w 5088779"/>
              <a:gd name="connsiteY54" fmla="*/ 2185620 h 3465287"/>
              <a:gd name="connsiteX55" fmla="*/ 2804411 w 5088779"/>
              <a:gd name="connsiteY55" fmla="*/ 2468120 h 3465287"/>
              <a:gd name="connsiteX56" fmla="*/ 2638312 w 5088779"/>
              <a:gd name="connsiteY56" fmla="*/ 2505548 h 3465287"/>
              <a:gd name="connsiteX57" fmla="*/ 2329862 w 5088779"/>
              <a:gd name="connsiteY57" fmla="*/ 2278109 h 3465287"/>
              <a:gd name="connsiteX58" fmla="*/ 1885173 w 5088779"/>
              <a:gd name="connsiteY58" fmla="*/ 1678800 h 3465287"/>
              <a:gd name="connsiteX59" fmla="*/ 1765320 w 5088779"/>
              <a:gd name="connsiteY59" fmla="*/ 1175432 h 3465287"/>
              <a:gd name="connsiteX60" fmla="*/ 1919774 w 5088779"/>
              <a:gd name="connsiteY60" fmla="*/ 1377420 h 3465287"/>
              <a:gd name="connsiteX61" fmla="*/ 2281414 w 5088779"/>
              <a:gd name="connsiteY61" fmla="*/ 2268710 h 3465287"/>
              <a:gd name="connsiteX62" fmla="*/ 2601216 w 5088779"/>
              <a:gd name="connsiteY62" fmla="*/ 2693105 h 3465287"/>
              <a:gd name="connsiteX63" fmla="*/ 2834644 w 5088779"/>
              <a:gd name="connsiteY63" fmla="*/ 2746586 h 3465287"/>
              <a:gd name="connsiteX64" fmla="*/ 3001865 w 5088779"/>
              <a:gd name="connsiteY64" fmla="*/ 2631432 h 3465287"/>
              <a:gd name="connsiteX65" fmla="*/ 3013052 w 5088779"/>
              <a:gd name="connsiteY65" fmla="*/ 2436680 h 3465287"/>
              <a:gd name="connsiteX66" fmla="*/ 2859222 w 5088779"/>
              <a:gd name="connsiteY66" fmla="*/ 2309258 h 3465287"/>
              <a:gd name="connsiteX67" fmla="*/ 2652036 w 5088779"/>
              <a:gd name="connsiteY67" fmla="*/ 2375007 h 3465287"/>
              <a:gd name="connsiteX68" fmla="*/ 2629537 w 5088779"/>
              <a:gd name="connsiteY68" fmla="*/ 2581402 h 3465287"/>
              <a:gd name="connsiteX69" fmla="*/ 2772222 w 5088779"/>
              <a:gd name="connsiteY69" fmla="*/ 2671064 h 3465287"/>
              <a:gd name="connsiteX70" fmla="*/ 2868787 w 5088779"/>
              <a:gd name="connsiteY70" fmla="*/ 2596831 h 3465287"/>
              <a:gd name="connsiteX71" fmla="*/ 2835601 w 5088779"/>
              <a:gd name="connsiteY71" fmla="*/ 2530750 h 3465287"/>
              <a:gd name="connsiteX72" fmla="*/ 2713543 w 5088779"/>
              <a:gd name="connsiteY72" fmla="*/ 2615379 h 3465287"/>
              <a:gd name="connsiteX73" fmla="*/ 2567864 w 5088779"/>
              <a:gd name="connsiteY73" fmla="*/ 2907028 h 3465287"/>
              <a:gd name="connsiteX74" fmla="*/ 2520039 w 5088779"/>
              <a:gd name="connsiteY74" fmla="*/ 3008333 h 3465287"/>
              <a:gd name="connsiteX75" fmla="*/ 2484191 w 5088779"/>
              <a:gd name="connsiteY75" fmla="*/ 3024053 h 3465287"/>
              <a:gd name="connsiteX76" fmla="*/ 2389165 w 5088779"/>
              <a:gd name="connsiteY76" fmla="*/ 3013989 h 3465287"/>
              <a:gd name="connsiteX77" fmla="*/ 2396068 w 5088779"/>
              <a:gd name="connsiteY77" fmla="*/ 2956724 h 3465287"/>
              <a:gd name="connsiteX78" fmla="*/ 2584831 w 5088779"/>
              <a:gd name="connsiteY78" fmla="*/ 2951068 h 3465287"/>
              <a:gd name="connsiteX79" fmla="*/ 2671041 w 5088779"/>
              <a:gd name="connsiteY79" fmla="*/ 2951068 h 3465287"/>
              <a:gd name="connsiteX80" fmla="*/ 2752219 w 5088779"/>
              <a:gd name="connsiteY80" fmla="*/ 2822066 h 3465287"/>
              <a:gd name="connsiteX81" fmla="*/ 2892533 w 5088779"/>
              <a:gd name="connsiteY81" fmla="*/ 2789337 h 3465287"/>
              <a:gd name="connsiteX82" fmla="*/ 3020246 w 5088779"/>
              <a:gd name="connsiteY82" fmla="*/ 2713815 h 3465287"/>
              <a:gd name="connsiteX83" fmla="*/ 3106456 w 5088779"/>
              <a:gd name="connsiteY83" fmla="*/ 2544556 h 3465287"/>
              <a:gd name="connsiteX84" fmla="*/ 3326035 w 5088779"/>
              <a:gd name="connsiteY84" fmla="*/ 2482883 h 3465287"/>
              <a:gd name="connsiteX85" fmla="*/ 3861009 w 5088779"/>
              <a:gd name="connsiteY85" fmla="*/ 2466831 h 3465287"/>
              <a:gd name="connsiteX86" fmla="*/ 4016751 w 5088779"/>
              <a:gd name="connsiteY86" fmla="*/ 2420918 h 3465287"/>
              <a:gd name="connsiteX87" fmla="*/ 3866664 w 5088779"/>
              <a:gd name="connsiteY87" fmla="*/ 2252907 h 3465287"/>
              <a:gd name="connsiteX88" fmla="*/ 3391285 w 5088779"/>
              <a:gd name="connsiteY88" fmla="*/ 1791709 h 3465287"/>
              <a:gd name="connsiteX89" fmla="*/ 3127166 w 5088779"/>
              <a:gd name="connsiteY89" fmla="*/ 1600118 h 3465287"/>
              <a:gd name="connsiteX90" fmla="*/ 3003196 w 5088779"/>
              <a:gd name="connsiteY90" fmla="*/ 1733529 h 3465287"/>
              <a:gd name="connsiteX91" fmla="*/ 2940898 w 5088779"/>
              <a:gd name="connsiteY91" fmla="*/ 1995900 h 3465287"/>
              <a:gd name="connsiteX92" fmla="*/ 2981778 w 5088779"/>
              <a:gd name="connsiteY92" fmla="*/ 2048133 h 3465287"/>
              <a:gd name="connsiteX93" fmla="*/ 3044699 w 5088779"/>
              <a:gd name="connsiteY93" fmla="*/ 1778817 h 3465287"/>
              <a:gd name="connsiteX94" fmla="*/ 3166466 w 5088779"/>
              <a:gd name="connsiteY94" fmla="*/ 1356918 h 3465287"/>
              <a:gd name="connsiteX95" fmla="*/ 3272803 w 5088779"/>
              <a:gd name="connsiteY95" fmla="*/ 986960 h 3465287"/>
              <a:gd name="connsiteX96" fmla="*/ 3243526 w 5088779"/>
              <a:gd name="connsiteY96" fmla="*/ 867107 h 3465287"/>
              <a:gd name="connsiteX97" fmla="*/ 3068612 w 5088779"/>
              <a:gd name="connsiteY97" fmla="*/ 840034 h 3465287"/>
              <a:gd name="connsiteX98" fmla="*/ 2924513 w 5088779"/>
              <a:gd name="connsiteY98" fmla="*/ 782769 h 3465287"/>
              <a:gd name="connsiteX99" fmla="*/ 2940857 w 5088779"/>
              <a:gd name="connsiteY99" fmla="*/ 714816 h 3465287"/>
              <a:gd name="connsiteX100" fmla="*/ 3114524 w 5088779"/>
              <a:gd name="connsiteY100" fmla="*/ 723008 h 3465287"/>
              <a:gd name="connsiteX101" fmla="*/ 3317135 w 5088779"/>
              <a:gd name="connsiteY101" fmla="*/ 729288 h 3465287"/>
              <a:gd name="connsiteX102" fmla="*/ 3483857 w 5088779"/>
              <a:gd name="connsiteY102" fmla="*/ 682087 h 3465287"/>
              <a:gd name="connsiteX103" fmla="*/ 3601506 w 5088779"/>
              <a:gd name="connsiteY103" fmla="*/ 703463 h 3465287"/>
              <a:gd name="connsiteX104" fmla="*/ 3624171 w 5088779"/>
              <a:gd name="connsiteY104" fmla="*/ 797199 h 3465287"/>
              <a:gd name="connsiteX105" fmla="*/ 3496458 w 5088779"/>
              <a:gd name="connsiteY105" fmla="*/ 890936 h 3465287"/>
              <a:gd name="connsiteX106" fmla="*/ 3326575 w 5088779"/>
              <a:gd name="connsiteY106" fmla="*/ 918009 h 3465287"/>
              <a:gd name="connsiteX107" fmla="*/ 3198862 w 5088779"/>
              <a:gd name="connsiteY107" fmla="*/ 1002306 h 3465287"/>
              <a:gd name="connsiteX108" fmla="*/ 3097972 w 5088779"/>
              <a:gd name="connsiteY108" fmla="*/ 1299902 h 3465287"/>
              <a:gd name="connsiteX109" fmla="*/ 3159022 w 5088779"/>
              <a:gd name="connsiteY109" fmla="*/ 1545930 h 3465287"/>
              <a:gd name="connsiteX110" fmla="*/ 3371697 w 5088779"/>
              <a:gd name="connsiteY110" fmla="*/ 1536490 h 3465287"/>
              <a:gd name="connsiteX111" fmla="*/ 3551228 w 5088779"/>
              <a:gd name="connsiteY111" fmla="*/ 1376048 h 3465287"/>
              <a:gd name="connsiteX112" fmla="*/ 3554389 w 5088779"/>
              <a:gd name="connsiteY112" fmla="*/ 1231949 h 3465287"/>
              <a:gd name="connsiteX113" fmla="*/ 3336348 w 5088779"/>
              <a:gd name="connsiteY113" fmla="*/ 1191693 h 3465287"/>
              <a:gd name="connsiteX114" fmla="*/ 3344832 w 5088779"/>
              <a:gd name="connsiteY114" fmla="*/ 1255238 h 3465287"/>
              <a:gd name="connsiteX115" fmla="*/ 3769850 w 5088779"/>
              <a:gd name="connsiteY115" fmla="*/ 1241722 h 3465287"/>
              <a:gd name="connsiteX116" fmla="*/ 4254670 w 5088779"/>
              <a:gd name="connsiteY116" fmla="*/ 1259646 h 3465287"/>
              <a:gd name="connsiteX117" fmla="*/ 4484022 w 5088779"/>
              <a:gd name="connsiteY117" fmla="*/ 1236981 h 3465287"/>
              <a:gd name="connsiteX118" fmla="*/ 4465766 w 5088779"/>
              <a:gd name="connsiteY118" fmla="*/ 1185995 h 3465287"/>
              <a:gd name="connsiteX119" fmla="*/ 4105248 w 5088779"/>
              <a:gd name="connsiteY119" fmla="*/ 1177512 h 3465287"/>
              <a:gd name="connsiteX120" fmla="*/ 3734668 w 5088779"/>
              <a:gd name="connsiteY120" fmla="*/ 1331342 h 3465287"/>
              <a:gd name="connsiteX121" fmla="*/ 3388914 w 5088779"/>
              <a:gd name="connsiteY121" fmla="*/ 1604110 h 3465287"/>
              <a:gd name="connsiteX122" fmla="*/ 3156111 w 5088779"/>
              <a:gd name="connsiteY122" fmla="*/ 1921252 h 3465287"/>
              <a:gd name="connsiteX123" fmla="*/ 3060461 w 5088779"/>
              <a:gd name="connsiteY123" fmla="*/ 2419255 h 3465287"/>
              <a:gd name="connsiteX124" fmla="*/ 3290769 w 5088779"/>
              <a:gd name="connsiteY124" fmla="*/ 3048465 h 3465287"/>
              <a:gd name="connsiteX125" fmla="*/ 3868994 w 5088779"/>
              <a:gd name="connsiteY125" fmla="*/ 3394510 h 3465287"/>
              <a:gd name="connsiteX126" fmla="*/ 4507643 w 5088779"/>
              <a:gd name="connsiteY126" fmla="*/ 3330632 h 3465287"/>
              <a:gd name="connsiteX127" fmla="*/ 5002818 w 5088779"/>
              <a:gd name="connsiteY127" fmla="*/ 2841404 h 3465287"/>
              <a:gd name="connsiteX128" fmla="*/ 5036171 w 5088779"/>
              <a:gd name="connsiteY128" fmla="*/ 2052999 h 3465287"/>
              <a:gd name="connsiteX129" fmla="*/ 4605164 w 5088779"/>
              <a:gd name="connsiteY129" fmla="*/ 1482011 h 3465287"/>
              <a:gd name="connsiteX130" fmla="*/ 4138310 w 5088779"/>
              <a:gd name="connsiteY130" fmla="*/ 1352717 h 3465287"/>
              <a:gd name="connsiteX131" fmla="*/ 3977868 w 5088779"/>
              <a:gd name="connsiteY131" fmla="*/ 1466624 h 3465287"/>
              <a:gd name="connsiteX132" fmla="*/ 3999909 w 5088779"/>
              <a:gd name="connsiteY132" fmla="*/ 2001140 h 3465287"/>
              <a:gd name="connsiteX133" fmla="*/ 4033885 w 5088779"/>
              <a:gd name="connsiteY133" fmla="*/ 2313208 h 3465287"/>
              <a:gd name="connsiteX134" fmla="*/ 4125585 w 5088779"/>
              <a:gd name="connsiteY134" fmla="*/ 2399085 h 3465287"/>
              <a:gd name="connsiteX135" fmla="*/ 4230051 w 5088779"/>
              <a:gd name="connsiteY135" fmla="*/ 2362905 h 3465287"/>
              <a:gd name="connsiteX136" fmla="*/ 4194660 w 5088779"/>
              <a:gd name="connsiteY136" fmla="*/ 2271372 h 3465287"/>
              <a:gd name="connsiteX137" fmla="*/ 4097056 w 5088779"/>
              <a:gd name="connsiteY137" fmla="*/ 2303394 h 3465287"/>
              <a:gd name="connsiteX138" fmla="*/ 4080670 w 5088779"/>
              <a:gd name="connsiteY138" fmla="*/ 2437262 h 3465287"/>
              <a:gd name="connsiteX139" fmla="*/ 4079589 w 5088779"/>
              <a:gd name="connsiteY139" fmla="*/ 2519521 h 3465287"/>
              <a:gd name="connsiteX140" fmla="*/ 3900475 w 5088779"/>
              <a:gd name="connsiteY140" fmla="*/ 2539400 h 3465287"/>
              <a:gd name="connsiteX141" fmla="*/ 3490220 w 5088779"/>
              <a:gd name="connsiteY141" fmla="*/ 2545679 h 3465287"/>
              <a:gd name="connsiteX142" fmla="*/ 3249848 w 5088779"/>
              <a:gd name="connsiteY142" fmla="*/ 2602944 h 3465287"/>
              <a:gd name="connsiteX143" fmla="*/ 3240241 w 5088779"/>
              <a:gd name="connsiteY143" fmla="*/ 2790460 h 3465287"/>
              <a:gd name="connsiteX144" fmla="*/ 3433578 w 5088779"/>
              <a:gd name="connsiteY144" fmla="*/ 3133385 h 3465287"/>
              <a:gd name="connsiteX145" fmla="*/ 3925468 w 5088779"/>
              <a:gd name="connsiteY145" fmla="*/ 3465290 h 3465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088779" h="3465287">
                <a:moveTo>
                  <a:pt x="777215" y="3295741"/>
                </a:moveTo>
                <a:cubicBezTo>
                  <a:pt x="734921" y="3254861"/>
                  <a:pt x="636277" y="3202669"/>
                  <a:pt x="526113" y="3112384"/>
                </a:cubicBezTo>
                <a:cubicBezTo>
                  <a:pt x="415950" y="3022099"/>
                  <a:pt x="294183" y="2893762"/>
                  <a:pt x="219950" y="2750287"/>
                </a:cubicBezTo>
                <a:cubicBezTo>
                  <a:pt x="145718" y="2606812"/>
                  <a:pt x="118978" y="2448283"/>
                  <a:pt x="128418" y="2305432"/>
                </a:cubicBezTo>
                <a:cubicBezTo>
                  <a:pt x="137858" y="2162622"/>
                  <a:pt x="183479" y="2035491"/>
                  <a:pt x="256006" y="1919713"/>
                </a:cubicBezTo>
                <a:cubicBezTo>
                  <a:pt x="328534" y="1803935"/>
                  <a:pt x="427927" y="1699510"/>
                  <a:pt x="580218" y="1637837"/>
                </a:cubicBezTo>
                <a:cubicBezTo>
                  <a:pt x="732468" y="1576164"/>
                  <a:pt x="937616" y="1557283"/>
                  <a:pt x="1073522" y="1545972"/>
                </a:cubicBezTo>
                <a:cubicBezTo>
                  <a:pt x="1209428" y="1534660"/>
                  <a:pt x="1276133" y="1530876"/>
                  <a:pt x="1308197" y="1517651"/>
                </a:cubicBezTo>
                <a:cubicBezTo>
                  <a:pt x="1340302" y="1504426"/>
                  <a:pt x="1337765" y="1481803"/>
                  <a:pt x="1292934" y="1460718"/>
                </a:cubicBezTo>
                <a:cubicBezTo>
                  <a:pt x="1248104" y="1439634"/>
                  <a:pt x="1160979" y="1420130"/>
                  <a:pt x="1016880" y="1416969"/>
                </a:cubicBezTo>
                <a:cubicBezTo>
                  <a:pt x="872782" y="1413808"/>
                  <a:pt x="671751" y="1427033"/>
                  <a:pt x="497460" y="1517318"/>
                </a:cubicBezTo>
                <a:cubicBezTo>
                  <a:pt x="323169" y="1607603"/>
                  <a:pt x="175619" y="1774991"/>
                  <a:pt x="88162" y="1960593"/>
                </a:cubicBezTo>
                <a:cubicBezTo>
                  <a:pt x="704" y="2146195"/>
                  <a:pt x="-26660" y="2350054"/>
                  <a:pt x="28692" y="2569342"/>
                </a:cubicBezTo>
                <a:cubicBezTo>
                  <a:pt x="84044" y="2788630"/>
                  <a:pt x="222155" y="3023305"/>
                  <a:pt x="442399" y="3165532"/>
                </a:cubicBezTo>
                <a:cubicBezTo>
                  <a:pt x="662601" y="3307718"/>
                  <a:pt x="964938" y="3357456"/>
                  <a:pt x="1232384" y="3283181"/>
                </a:cubicBezTo>
                <a:cubicBezTo>
                  <a:pt x="1499787" y="3208949"/>
                  <a:pt x="1732300" y="3010746"/>
                  <a:pt x="1835020" y="2757481"/>
                </a:cubicBezTo>
                <a:cubicBezTo>
                  <a:pt x="1937739" y="2504217"/>
                  <a:pt x="1910666" y="2195933"/>
                  <a:pt x="1824789" y="1980430"/>
                </a:cubicBezTo>
                <a:cubicBezTo>
                  <a:pt x="1738912" y="1764927"/>
                  <a:pt x="1594190" y="1642245"/>
                  <a:pt x="1494755" y="1589139"/>
                </a:cubicBezTo>
                <a:cubicBezTo>
                  <a:pt x="1395363" y="1536032"/>
                  <a:pt x="1341216" y="1552501"/>
                  <a:pt x="1305701" y="1660710"/>
                </a:cubicBezTo>
                <a:cubicBezTo>
                  <a:pt x="1270145" y="1768919"/>
                  <a:pt x="1253177" y="1968910"/>
                  <a:pt x="1197284" y="2116627"/>
                </a:cubicBezTo>
                <a:cubicBezTo>
                  <a:pt x="1141391" y="2264344"/>
                  <a:pt x="1046615" y="2359786"/>
                  <a:pt x="973921" y="2374258"/>
                </a:cubicBezTo>
                <a:cubicBezTo>
                  <a:pt x="901227" y="2388730"/>
                  <a:pt x="850658" y="2322191"/>
                  <a:pt x="918985" y="2276986"/>
                </a:cubicBezTo>
                <a:cubicBezTo>
                  <a:pt x="987312" y="2231781"/>
                  <a:pt x="1174495" y="2207910"/>
                  <a:pt x="1298257" y="2021601"/>
                </a:cubicBezTo>
                <a:cubicBezTo>
                  <a:pt x="1422020" y="1835292"/>
                  <a:pt x="1482321" y="1486544"/>
                  <a:pt x="1558176" y="1234153"/>
                </a:cubicBezTo>
                <a:cubicBezTo>
                  <a:pt x="1633988" y="981762"/>
                  <a:pt x="1725313" y="825686"/>
                  <a:pt x="1788276" y="725296"/>
                </a:cubicBezTo>
                <a:cubicBezTo>
                  <a:pt x="1851238" y="624905"/>
                  <a:pt x="1885839" y="580241"/>
                  <a:pt x="1896859" y="539984"/>
                </a:cubicBezTo>
                <a:cubicBezTo>
                  <a:pt x="1907880" y="499728"/>
                  <a:pt x="1895279" y="463839"/>
                  <a:pt x="1865711" y="435851"/>
                </a:cubicBezTo>
                <a:cubicBezTo>
                  <a:pt x="1836142" y="407863"/>
                  <a:pt x="1789565" y="387735"/>
                  <a:pt x="1759373" y="350265"/>
                </a:cubicBezTo>
                <a:cubicBezTo>
                  <a:pt x="1729181" y="312837"/>
                  <a:pt x="1715332" y="258067"/>
                  <a:pt x="1714085" y="209327"/>
                </a:cubicBezTo>
                <a:cubicBezTo>
                  <a:pt x="1712837" y="160545"/>
                  <a:pt x="1724149" y="117794"/>
                  <a:pt x="1758915" y="82237"/>
                </a:cubicBezTo>
                <a:cubicBezTo>
                  <a:pt x="1793682" y="46681"/>
                  <a:pt x="1851862" y="18360"/>
                  <a:pt x="1939195" y="6716"/>
                </a:cubicBezTo>
                <a:cubicBezTo>
                  <a:pt x="2026486" y="-4929"/>
                  <a:pt x="2142887" y="103"/>
                  <a:pt x="2207888" y="10167"/>
                </a:cubicBezTo>
                <a:cubicBezTo>
                  <a:pt x="2272846" y="20231"/>
                  <a:pt x="2286362" y="35327"/>
                  <a:pt x="2291561" y="49800"/>
                </a:cubicBezTo>
                <a:cubicBezTo>
                  <a:pt x="2296759" y="64272"/>
                  <a:pt x="2293598" y="78120"/>
                  <a:pt x="2244526" y="86812"/>
                </a:cubicBezTo>
                <a:cubicBezTo>
                  <a:pt x="2195453" y="95504"/>
                  <a:pt x="2100469" y="99122"/>
                  <a:pt x="2008603" y="91886"/>
                </a:cubicBezTo>
                <a:cubicBezTo>
                  <a:pt x="1916738" y="84649"/>
                  <a:pt x="1828033" y="66601"/>
                  <a:pt x="1765070" y="75833"/>
                </a:cubicBezTo>
                <a:cubicBezTo>
                  <a:pt x="1702149" y="85065"/>
                  <a:pt x="1665012" y="121537"/>
                  <a:pt x="1657319" y="176931"/>
                </a:cubicBezTo>
                <a:cubicBezTo>
                  <a:pt x="1649625" y="232283"/>
                  <a:pt x="1671333" y="306557"/>
                  <a:pt x="1672581" y="370393"/>
                </a:cubicBezTo>
                <a:cubicBezTo>
                  <a:pt x="1673829" y="434270"/>
                  <a:pt x="1654657" y="487751"/>
                  <a:pt x="1617354" y="589348"/>
                </a:cubicBezTo>
                <a:cubicBezTo>
                  <a:pt x="1580092" y="690945"/>
                  <a:pt x="1524698" y="840699"/>
                  <a:pt x="1460820" y="903953"/>
                </a:cubicBezTo>
                <a:cubicBezTo>
                  <a:pt x="1396943" y="967207"/>
                  <a:pt x="1324582" y="943918"/>
                  <a:pt x="1250349" y="922501"/>
                </a:cubicBezTo>
                <a:cubicBezTo>
                  <a:pt x="1176117" y="901125"/>
                  <a:pt x="1099971" y="881621"/>
                  <a:pt x="1055930" y="866816"/>
                </a:cubicBezTo>
                <a:cubicBezTo>
                  <a:pt x="1011890" y="852011"/>
                  <a:pt x="999913" y="841947"/>
                  <a:pt x="997085" y="751038"/>
                </a:cubicBezTo>
                <a:cubicBezTo>
                  <a:pt x="994257" y="660129"/>
                  <a:pt x="1000537" y="488333"/>
                  <a:pt x="1009021" y="369436"/>
                </a:cubicBezTo>
                <a:cubicBezTo>
                  <a:pt x="1017504" y="250498"/>
                  <a:pt x="1028192" y="184458"/>
                  <a:pt x="1070694" y="155805"/>
                </a:cubicBezTo>
                <a:cubicBezTo>
                  <a:pt x="1113154" y="127193"/>
                  <a:pt x="1187428" y="135968"/>
                  <a:pt x="1272058" y="156761"/>
                </a:cubicBezTo>
                <a:cubicBezTo>
                  <a:pt x="1356687" y="177513"/>
                  <a:pt x="1451713" y="210242"/>
                  <a:pt x="1524989" y="245175"/>
                </a:cubicBezTo>
                <a:cubicBezTo>
                  <a:pt x="1598307" y="280108"/>
                  <a:pt x="1649875" y="317203"/>
                  <a:pt x="1694081" y="357792"/>
                </a:cubicBezTo>
                <a:cubicBezTo>
                  <a:pt x="1738288" y="398381"/>
                  <a:pt x="1775093" y="442422"/>
                  <a:pt x="1798672" y="483301"/>
                </a:cubicBezTo>
                <a:cubicBezTo>
                  <a:pt x="1822252" y="524181"/>
                  <a:pt x="1832649" y="561942"/>
                  <a:pt x="1822876" y="600951"/>
                </a:cubicBezTo>
                <a:cubicBezTo>
                  <a:pt x="1813103" y="639959"/>
                  <a:pt x="1783244" y="680215"/>
                  <a:pt x="1795345" y="761726"/>
                </a:cubicBezTo>
                <a:cubicBezTo>
                  <a:pt x="1807447" y="843195"/>
                  <a:pt x="1861552" y="965917"/>
                  <a:pt x="1967266" y="1160004"/>
                </a:cubicBezTo>
                <a:cubicBezTo>
                  <a:pt x="2072980" y="1354131"/>
                  <a:pt x="2230261" y="1619622"/>
                  <a:pt x="2390246" y="1793622"/>
                </a:cubicBezTo>
                <a:cubicBezTo>
                  <a:pt x="2550231" y="1967580"/>
                  <a:pt x="2712878" y="2050005"/>
                  <a:pt x="2807737" y="2087475"/>
                </a:cubicBezTo>
                <a:cubicBezTo>
                  <a:pt x="2902597" y="2124903"/>
                  <a:pt x="2929629" y="2117376"/>
                  <a:pt x="2917360" y="2185620"/>
                </a:cubicBezTo>
                <a:cubicBezTo>
                  <a:pt x="2905092" y="2253906"/>
                  <a:pt x="2853483" y="2397963"/>
                  <a:pt x="2804411" y="2468120"/>
                </a:cubicBezTo>
                <a:cubicBezTo>
                  <a:pt x="2755338" y="2538277"/>
                  <a:pt x="2708761" y="2534492"/>
                  <a:pt x="2638312" y="2505548"/>
                </a:cubicBezTo>
                <a:cubicBezTo>
                  <a:pt x="2567823" y="2476603"/>
                  <a:pt x="2473462" y="2422499"/>
                  <a:pt x="2329862" y="2278109"/>
                </a:cubicBezTo>
                <a:cubicBezTo>
                  <a:pt x="2186263" y="2133719"/>
                  <a:pt x="1993383" y="1899003"/>
                  <a:pt x="1885173" y="1678800"/>
                </a:cubicBezTo>
                <a:cubicBezTo>
                  <a:pt x="1776964" y="1458598"/>
                  <a:pt x="1753343" y="1252826"/>
                  <a:pt x="1765320" y="1175432"/>
                </a:cubicBezTo>
                <a:cubicBezTo>
                  <a:pt x="1777255" y="1098039"/>
                  <a:pt x="1824789" y="1149025"/>
                  <a:pt x="1919774" y="1377420"/>
                </a:cubicBezTo>
                <a:cubicBezTo>
                  <a:pt x="2014800" y="1605815"/>
                  <a:pt x="2157318" y="2011662"/>
                  <a:pt x="2281414" y="2268710"/>
                </a:cubicBezTo>
                <a:cubicBezTo>
                  <a:pt x="2405509" y="2525759"/>
                  <a:pt x="2511223" y="2633968"/>
                  <a:pt x="2601216" y="2693105"/>
                </a:cubicBezTo>
                <a:cubicBezTo>
                  <a:pt x="2691211" y="2752241"/>
                  <a:pt x="2765443" y="2762305"/>
                  <a:pt x="2834644" y="2746586"/>
                </a:cubicBezTo>
                <a:cubicBezTo>
                  <a:pt x="2903844" y="2730866"/>
                  <a:pt x="2968055" y="2689320"/>
                  <a:pt x="3001865" y="2631432"/>
                </a:cubicBezTo>
                <a:cubicBezTo>
                  <a:pt x="3035675" y="2573542"/>
                  <a:pt x="3039127" y="2499310"/>
                  <a:pt x="3013052" y="2436680"/>
                </a:cubicBezTo>
                <a:cubicBezTo>
                  <a:pt x="2986935" y="2374092"/>
                  <a:pt x="2931251" y="2323106"/>
                  <a:pt x="2859222" y="2309258"/>
                </a:cubicBezTo>
                <a:cubicBezTo>
                  <a:pt x="2787193" y="2295409"/>
                  <a:pt x="2698780" y="2318698"/>
                  <a:pt x="2652036" y="2375007"/>
                </a:cubicBezTo>
                <a:cubicBezTo>
                  <a:pt x="2605334" y="2431315"/>
                  <a:pt x="2600302" y="2520686"/>
                  <a:pt x="2629537" y="2581402"/>
                </a:cubicBezTo>
                <a:cubicBezTo>
                  <a:pt x="2658773" y="2642119"/>
                  <a:pt x="2722359" y="2674224"/>
                  <a:pt x="2772222" y="2671064"/>
                </a:cubicBezTo>
                <a:cubicBezTo>
                  <a:pt x="2822085" y="2667903"/>
                  <a:pt x="2858265" y="2629518"/>
                  <a:pt x="2868787" y="2596831"/>
                </a:cubicBezTo>
                <a:cubicBezTo>
                  <a:pt x="2879308" y="2564144"/>
                  <a:pt x="2864212" y="2537071"/>
                  <a:pt x="2835601" y="2530750"/>
                </a:cubicBezTo>
                <a:cubicBezTo>
                  <a:pt x="2806989" y="2524470"/>
                  <a:pt x="2764820" y="2538942"/>
                  <a:pt x="2713543" y="2615379"/>
                </a:cubicBezTo>
                <a:cubicBezTo>
                  <a:pt x="2662266" y="2691816"/>
                  <a:pt x="2601840" y="2830259"/>
                  <a:pt x="2567864" y="2907028"/>
                </a:cubicBezTo>
                <a:cubicBezTo>
                  <a:pt x="2533888" y="2983797"/>
                  <a:pt x="2526318" y="2998893"/>
                  <a:pt x="2520039" y="3008333"/>
                </a:cubicBezTo>
                <a:cubicBezTo>
                  <a:pt x="2513760" y="3017774"/>
                  <a:pt x="2508727" y="3021558"/>
                  <a:pt x="2484191" y="3024053"/>
                </a:cubicBezTo>
                <a:cubicBezTo>
                  <a:pt x="2459655" y="3026590"/>
                  <a:pt x="2415614" y="3027838"/>
                  <a:pt x="2389165" y="3013989"/>
                </a:cubicBezTo>
                <a:cubicBezTo>
                  <a:pt x="2362757" y="3000141"/>
                  <a:pt x="2353941" y="2971196"/>
                  <a:pt x="2396068" y="2956724"/>
                </a:cubicBezTo>
                <a:cubicBezTo>
                  <a:pt x="2438238" y="2942252"/>
                  <a:pt x="2531351" y="2942252"/>
                  <a:pt x="2584831" y="2951068"/>
                </a:cubicBezTo>
                <a:cubicBezTo>
                  <a:pt x="2638312" y="2959885"/>
                  <a:pt x="2652160" y="2977476"/>
                  <a:pt x="2671041" y="2951068"/>
                </a:cubicBezTo>
                <a:cubicBezTo>
                  <a:pt x="2689922" y="2924661"/>
                  <a:pt x="2713834" y="2854171"/>
                  <a:pt x="2752219" y="2822066"/>
                </a:cubicBezTo>
                <a:cubicBezTo>
                  <a:pt x="2790603" y="2789961"/>
                  <a:pt x="2843460" y="2796282"/>
                  <a:pt x="2892533" y="2789337"/>
                </a:cubicBezTo>
                <a:cubicBezTo>
                  <a:pt x="2941606" y="2782434"/>
                  <a:pt x="2986935" y="2762264"/>
                  <a:pt x="3020246" y="2713815"/>
                </a:cubicBezTo>
                <a:cubicBezTo>
                  <a:pt x="3053599" y="2665366"/>
                  <a:pt x="3074975" y="2588597"/>
                  <a:pt x="3106456" y="2544556"/>
                </a:cubicBezTo>
                <a:cubicBezTo>
                  <a:pt x="3137896" y="2500516"/>
                  <a:pt x="3179441" y="2489204"/>
                  <a:pt x="3326035" y="2482883"/>
                </a:cubicBezTo>
                <a:cubicBezTo>
                  <a:pt x="3472629" y="2476603"/>
                  <a:pt x="3724313" y="2475314"/>
                  <a:pt x="3861009" y="2466831"/>
                </a:cubicBezTo>
                <a:cubicBezTo>
                  <a:pt x="3997705" y="2458347"/>
                  <a:pt x="4019413" y="2442627"/>
                  <a:pt x="4016751" y="2420918"/>
                </a:cubicBezTo>
                <a:cubicBezTo>
                  <a:pt x="4014090" y="2399210"/>
                  <a:pt x="3987017" y="2371513"/>
                  <a:pt x="3866664" y="2252907"/>
                </a:cubicBezTo>
                <a:cubicBezTo>
                  <a:pt x="3746312" y="2134302"/>
                  <a:pt x="3532721" y="1924787"/>
                  <a:pt x="3391285" y="1791709"/>
                </a:cubicBezTo>
                <a:cubicBezTo>
                  <a:pt x="3249889" y="1658631"/>
                  <a:pt x="3180647" y="1601989"/>
                  <a:pt x="3127166" y="1600118"/>
                </a:cubicBezTo>
                <a:cubicBezTo>
                  <a:pt x="3073686" y="1598246"/>
                  <a:pt x="3035924" y="1651103"/>
                  <a:pt x="3003196" y="1733529"/>
                </a:cubicBezTo>
                <a:cubicBezTo>
                  <a:pt x="2970467" y="1815954"/>
                  <a:pt x="2942811" y="1927947"/>
                  <a:pt x="2940898" y="1995900"/>
                </a:cubicBezTo>
                <a:cubicBezTo>
                  <a:pt x="2939027" y="2063853"/>
                  <a:pt x="2962940" y="2087766"/>
                  <a:pt x="2981778" y="2048133"/>
                </a:cubicBezTo>
                <a:cubicBezTo>
                  <a:pt x="3000659" y="2008501"/>
                  <a:pt x="3014507" y="1905324"/>
                  <a:pt x="3044699" y="1778817"/>
                </a:cubicBezTo>
                <a:cubicBezTo>
                  <a:pt x="3074891" y="1652351"/>
                  <a:pt x="3121469" y="1502596"/>
                  <a:pt x="3166466" y="1356918"/>
                </a:cubicBezTo>
                <a:cubicBezTo>
                  <a:pt x="3211463" y="1211239"/>
                  <a:pt x="3254880" y="1069677"/>
                  <a:pt x="3272803" y="986960"/>
                </a:cubicBezTo>
                <a:cubicBezTo>
                  <a:pt x="3290727" y="904202"/>
                  <a:pt x="3283200" y="880290"/>
                  <a:pt x="3243526" y="867107"/>
                </a:cubicBezTo>
                <a:cubicBezTo>
                  <a:pt x="3203894" y="853882"/>
                  <a:pt x="3132157" y="851387"/>
                  <a:pt x="3068612" y="840034"/>
                </a:cubicBezTo>
                <a:cubicBezTo>
                  <a:pt x="3005067" y="828722"/>
                  <a:pt x="2949673" y="808594"/>
                  <a:pt x="2924513" y="782769"/>
                </a:cubicBezTo>
                <a:cubicBezTo>
                  <a:pt x="2899353" y="756985"/>
                  <a:pt x="2904385" y="725504"/>
                  <a:pt x="2940857" y="714816"/>
                </a:cubicBezTo>
                <a:cubicBezTo>
                  <a:pt x="2977370" y="704128"/>
                  <a:pt x="3045323" y="714192"/>
                  <a:pt x="3114524" y="723008"/>
                </a:cubicBezTo>
                <a:cubicBezTo>
                  <a:pt x="3183724" y="731825"/>
                  <a:pt x="3254214" y="739352"/>
                  <a:pt x="3317135" y="729288"/>
                </a:cubicBezTo>
                <a:cubicBezTo>
                  <a:pt x="3380056" y="719224"/>
                  <a:pt x="3435408" y="691527"/>
                  <a:pt x="3483857" y="682087"/>
                </a:cubicBezTo>
                <a:cubicBezTo>
                  <a:pt x="3532306" y="672647"/>
                  <a:pt x="3573851" y="681463"/>
                  <a:pt x="3601506" y="703463"/>
                </a:cubicBezTo>
                <a:cubicBezTo>
                  <a:pt x="3629203" y="725504"/>
                  <a:pt x="3643052" y="760728"/>
                  <a:pt x="3624171" y="797199"/>
                </a:cubicBezTo>
                <a:cubicBezTo>
                  <a:pt x="3605291" y="833713"/>
                  <a:pt x="3553681" y="871432"/>
                  <a:pt x="3496458" y="890936"/>
                </a:cubicBezTo>
                <a:cubicBezTo>
                  <a:pt x="3439193" y="910441"/>
                  <a:pt x="3376272" y="911688"/>
                  <a:pt x="3326575" y="918009"/>
                </a:cubicBezTo>
                <a:cubicBezTo>
                  <a:pt x="3276879" y="924289"/>
                  <a:pt x="3240366" y="935642"/>
                  <a:pt x="3198862" y="1002306"/>
                </a:cubicBezTo>
                <a:cubicBezTo>
                  <a:pt x="3157317" y="1069011"/>
                  <a:pt x="3110781" y="1191069"/>
                  <a:pt x="3097972" y="1299902"/>
                </a:cubicBezTo>
                <a:cubicBezTo>
                  <a:pt x="3085163" y="1408735"/>
                  <a:pt x="3106165" y="1504385"/>
                  <a:pt x="3159022" y="1545930"/>
                </a:cubicBezTo>
                <a:cubicBezTo>
                  <a:pt x="3211879" y="1587475"/>
                  <a:pt x="3296591" y="1574875"/>
                  <a:pt x="3371697" y="1536490"/>
                </a:cubicBezTo>
                <a:cubicBezTo>
                  <a:pt x="3446803" y="1498105"/>
                  <a:pt x="3512219" y="1433937"/>
                  <a:pt x="3551228" y="1376048"/>
                </a:cubicBezTo>
                <a:cubicBezTo>
                  <a:pt x="3590236" y="1318159"/>
                  <a:pt x="3602837" y="1266549"/>
                  <a:pt x="3554389" y="1231949"/>
                </a:cubicBezTo>
                <a:cubicBezTo>
                  <a:pt x="3505940" y="1197349"/>
                  <a:pt x="3396442" y="1179716"/>
                  <a:pt x="3336348" y="1191693"/>
                </a:cubicBezTo>
                <a:cubicBezTo>
                  <a:pt x="3276255" y="1203628"/>
                  <a:pt x="3265567" y="1245174"/>
                  <a:pt x="3344832" y="1255238"/>
                </a:cubicBezTo>
                <a:cubicBezTo>
                  <a:pt x="3424096" y="1265302"/>
                  <a:pt x="3593355" y="1243926"/>
                  <a:pt x="3769850" y="1241722"/>
                </a:cubicBezTo>
                <a:cubicBezTo>
                  <a:pt x="3946345" y="1239518"/>
                  <a:pt x="4130076" y="1256527"/>
                  <a:pt x="4254670" y="1259646"/>
                </a:cubicBezTo>
                <a:cubicBezTo>
                  <a:pt x="4379265" y="1262806"/>
                  <a:pt x="4444681" y="1252077"/>
                  <a:pt x="4484022" y="1236981"/>
                </a:cubicBezTo>
                <a:cubicBezTo>
                  <a:pt x="4523363" y="1221885"/>
                  <a:pt x="4536546" y="1202381"/>
                  <a:pt x="4465766" y="1185995"/>
                </a:cubicBezTo>
                <a:cubicBezTo>
                  <a:pt x="4394985" y="1169652"/>
                  <a:pt x="4240198" y="1156427"/>
                  <a:pt x="4105248" y="1177512"/>
                </a:cubicBezTo>
                <a:cubicBezTo>
                  <a:pt x="3970299" y="1198596"/>
                  <a:pt x="3855145" y="1253948"/>
                  <a:pt x="3734668" y="1331342"/>
                </a:cubicBezTo>
                <a:cubicBezTo>
                  <a:pt x="3614191" y="1408735"/>
                  <a:pt x="3488349" y="1508128"/>
                  <a:pt x="3388914" y="1604110"/>
                </a:cubicBezTo>
                <a:cubicBezTo>
                  <a:pt x="3289480" y="1700051"/>
                  <a:pt x="3216495" y="1792540"/>
                  <a:pt x="3156111" y="1921252"/>
                </a:cubicBezTo>
                <a:cubicBezTo>
                  <a:pt x="3095726" y="2049922"/>
                  <a:pt x="3047902" y="2214772"/>
                  <a:pt x="3060461" y="2419255"/>
                </a:cubicBezTo>
                <a:cubicBezTo>
                  <a:pt x="3073062" y="2623738"/>
                  <a:pt x="3146046" y="2867895"/>
                  <a:pt x="3290769" y="3048465"/>
                </a:cubicBezTo>
                <a:cubicBezTo>
                  <a:pt x="3435492" y="3229035"/>
                  <a:pt x="3651951" y="3346061"/>
                  <a:pt x="3868994" y="3394510"/>
                </a:cubicBezTo>
                <a:cubicBezTo>
                  <a:pt x="4086077" y="3442958"/>
                  <a:pt x="4303784" y="3422830"/>
                  <a:pt x="4507643" y="3330632"/>
                </a:cubicBezTo>
                <a:cubicBezTo>
                  <a:pt x="4711502" y="3238434"/>
                  <a:pt x="4901513" y="3074249"/>
                  <a:pt x="5002818" y="2841404"/>
                </a:cubicBezTo>
                <a:cubicBezTo>
                  <a:pt x="5104125" y="2608600"/>
                  <a:pt x="5116725" y="2307220"/>
                  <a:pt x="5036171" y="2052999"/>
                </a:cubicBezTo>
                <a:cubicBezTo>
                  <a:pt x="4955617" y="1798820"/>
                  <a:pt x="4781992" y="1591800"/>
                  <a:pt x="4605164" y="1482011"/>
                </a:cubicBezTo>
                <a:cubicBezTo>
                  <a:pt x="4428379" y="1372221"/>
                  <a:pt x="4248391" y="1359621"/>
                  <a:pt x="4138310" y="1352717"/>
                </a:cubicBezTo>
                <a:cubicBezTo>
                  <a:pt x="4028188" y="1345814"/>
                  <a:pt x="3987932" y="1344525"/>
                  <a:pt x="3977868" y="1466624"/>
                </a:cubicBezTo>
                <a:cubicBezTo>
                  <a:pt x="3967804" y="1588681"/>
                  <a:pt x="3987932" y="1834086"/>
                  <a:pt x="3999909" y="2001140"/>
                </a:cubicBezTo>
                <a:cubicBezTo>
                  <a:pt x="4011844" y="2168195"/>
                  <a:pt x="4015629" y="2256900"/>
                  <a:pt x="4033885" y="2313208"/>
                </a:cubicBezTo>
                <a:cubicBezTo>
                  <a:pt x="4052142" y="2369517"/>
                  <a:pt x="4084871" y="2393430"/>
                  <a:pt x="4125585" y="2399085"/>
                </a:cubicBezTo>
                <a:cubicBezTo>
                  <a:pt x="4166340" y="2404741"/>
                  <a:pt x="4215080" y="2392182"/>
                  <a:pt x="4230051" y="2362905"/>
                </a:cubicBezTo>
                <a:cubicBezTo>
                  <a:pt x="4244980" y="2333628"/>
                  <a:pt x="4226100" y="2287716"/>
                  <a:pt x="4194660" y="2271372"/>
                </a:cubicBezTo>
                <a:cubicBezTo>
                  <a:pt x="4163179" y="2255028"/>
                  <a:pt x="4119138" y="2268211"/>
                  <a:pt x="4097056" y="2303394"/>
                </a:cubicBezTo>
                <a:cubicBezTo>
                  <a:pt x="4074973" y="2338576"/>
                  <a:pt x="4074849" y="2395758"/>
                  <a:pt x="4080670" y="2437262"/>
                </a:cubicBezTo>
                <a:cubicBezTo>
                  <a:pt x="4086493" y="2478808"/>
                  <a:pt x="4098262" y="2504675"/>
                  <a:pt x="4079589" y="2519521"/>
                </a:cubicBezTo>
                <a:cubicBezTo>
                  <a:pt x="4060917" y="2534368"/>
                  <a:pt x="4011844" y="2538152"/>
                  <a:pt x="3900475" y="2539400"/>
                </a:cubicBezTo>
                <a:cubicBezTo>
                  <a:pt x="3789105" y="2540647"/>
                  <a:pt x="3615438" y="2539400"/>
                  <a:pt x="3490220" y="2545679"/>
                </a:cubicBezTo>
                <a:cubicBezTo>
                  <a:pt x="3365002" y="2551959"/>
                  <a:pt x="3288232" y="2565807"/>
                  <a:pt x="3249848" y="2602944"/>
                </a:cubicBezTo>
                <a:cubicBezTo>
                  <a:pt x="3211463" y="2640081"/>
                  <a:pt x="3211463" y="2700466"/>
                  <a:pt x="3240241" y="2790460"/>
                </a:cubicBezTo>
                <a:cubicBezTo>
                  <a:pt x="3269019" y="2880454"/>
                  <a:pt x="3326617" y="2999975"/>
                  <a:pt x="3433578" y="3133385"/>
                </a:cubicBezTo>
                <a:cubicBezTo>
                  <a:pt x="3540540" y="3266796"/>
                  <a:pt x="3696907" y="3414014"/>
                  <a:pt x="3925468" y="3465290"/>
                </a:cubicBezTo>
              </a:path>
            </a:pathLst>
          </a:custGeom>
          <a:noFill/>
          <a:ln w="15875" cap="rnd">
            <a:solidFill>
              <a:schemeClr val="accent4"/>
            </a:solidFill>
            <a:prstDash val="solid"/>
            <a:miter/>
          </a:ln>
        </p:spPr>
        <p:txBody>
          <a:bodyPr rtlCol="0" anchor="ctr"/>
          <a:lstStyle/>
          <a:p>
            <a:endParaRPr lang="ja-JP" altLang="en-US"/>
          </a:p>
        </p:txBody>
      </p:sp>
    </p:spTree>
    <p:extLst>
      <p:ext uri="{BB962C8B-B14F-4D97-AF65-F5344CB8AC3E}">
        <p14:creationId xmlns:p14="http://schemas.microsoft.com/office/powerpoint/2010/main" val="3016906844"/>
      </p:ext>
    </p:extLst>
  </p:cSld>
  <p:clrMapOvr>
    <a:masterClrMapping/>
  </p:clrMapOvr>
  <p:extLst mod="1">
    <p:ext uri="{DCECCB84-F9BA-43D5-87BE-67443E8EF086}">
      <p15:sldGuideLst xmlns:p15="http://schemas.microsoft.com/office/powerpoint/2012/main">
        <p15:guide id="1" orient="horz" pos="70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3F29477B-7E4D-7D15-08E2-AE6FF866D021}"/>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0EEB27B-E41B-55E0-D20E-A7527615CD1D}"/>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1428736-CC99-05C5-4CB5-04BC5FA05243}"/>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ABC263A-B172-4D82-8E46-2625F4614193}" type="datetime1">
              <a:rPr kumimoji="1" lang="ja-JP" altLang="en-US" smtClean="0"/>
              <a:t>2024/7/1</a:t>
            </a:fld>
            <a:endParaRPr kumimoji="1" lang="ja-JP" altLang="en-US"/>
          </a:p>
        </p:txBody>
      </p:sp>
      <p:sp>
        <p:nvSpPr>
          <p:cNvPr id="5" name="フッター プレースホルダー 4">
            <a:extLst>
              <a:ext uri="{FF2B5EF4-FFF2-40B4-BE49-F238E27FC236}">
                <a16:creationId xmlns:a16="http://schemas.microsoft.com/office/drawing/2014/main" id="{35928B78-0132-BE7C-24DA-9C9643F1BFFF}"/>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kumimoji="1" lang="en-US" altLang="ja-JP"/>
              <a:t>© SHIDAX CORPORATION. All Right Reserved.</a:t>
            </a:r>
            <a:endParaRPr kumimoji="1" lang="ja-JP" altLang="en-US"/>
          </a:p>
        </p:txBody>
      </p:sp>
      <p:sp>
        <p:nvSpPr>
          <p:cNvPr id="6" name="スライド番号プレースホルダー 5">
            <a:extLst>
              <a:ext uri="{FF2B5EF4-FFF2-40B4-BE49-F238E27FC236}">
                <a16:creationId xmlns:a16="http://schemas.microsoft.com/office/drawing/2014/main" id="{296C078B-A296-D722-5F68-726FC72167CE}"/>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B74C4F-4DC2-4C31-8D08-159129179147}" type="slidenum">
              <a:rPr kumimoji="1" lang="ja-JP" altLang="en-US" smtClean="0"/>
              <a:t>‹#›</a:t>
            </a:fld>
            <a:endParaRPr kumimoji="1" lang="ja-JP" altLang="en-US"/>
          </a:p>
        </p:txBody>
      </p:sp>
    </p:spTree>
    <p:extLst>
      <p:ext uri="{BB962C8B-B14F-4D97-AF65-F5344CB8AC3E}">
        <p14:creationId xmlns:p14="http://schemas.microsoft.com/office/powerpoint/2010/main" val="456080045"/>
      </p:ext>
    </p:extLst>
  </p:cSld>
  <p:clrMap bg1="lt1" tx1="dk1" bg2="lt2" tx2="dk2" accent1="accent1" accent2="accent2" accent3="accent3" accent4="accent4" accent5="accent5" accent6="accent6" hlink="hlink" folHlink="folHlink"/>
  <p:sldLayoutIdLst>
    <p:sldLayoutId id="2147483816" r:id="rId1"/>
    <p:sldLayoutId id="2147483815" r:id="rId2"/>
    <p:sldLayoutId id="2147483822" r:id="rId3"/>
    <p:sldLayoutId id="2147483696" r:id="rId4"/>
    <p:sldLayoutId id="2147483817" r:id="rId5"/>
    <p:sldLayoutId id="2147483811" r:id="rId6"/>
    <p:sldLayoutId id="2147483812" r:id="rId7"/>
    <p:sldLayoutId id="2147483818" r:id="rId8"/>
    <p:sldLayoutId id="2147483813" r:id="rId9"/>
    <p:sldLayoutId id="2147483716" r:id="rId10"/>
    <p:sldLayoutId id="2147483814" r:id="rId1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kumimoji="1"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kumimoji="1"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kumimoji="1"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kumimoji="1"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120">
          <p15:clr>
            <a:srgbClr val="F26B43"/>
          </p15:clr>
        </p15:guide>
        <p15:guide id="3" pos="149" userDrawn="1">
          <p15:clr>
            <a:srgbClr val="F26B43"/>
          </p15:clr>
        </p15:guide>
        <p15:guide id="4" pos="6091" userDrawn="1">
          <p15:clr>
            <a:srgbClr val="F26B43"/>
          </p15:clr>
        </p15:guide>
        <p15:guide id="5" orient="horz" pos="164" userDrawn="1">
          <p15:clr>
            <a:srgbClr val="F26B43"/>
          </p15:clr>
        </p15:guide>
        <p15:guide id="6" orient="horz" pos="4156" userDrawn="1">
          <p15:clr>
            <a:srgbClr val="F26B43"/>
          </p15:clr>
        </p15:guide>
        <p15:guide id="7" pos="285" userDrawn="1">
          <p15:clr>
            <a:srgbClr val="FBAE40"/>
          </p15:clr>
        </p15:guide>
        <p15:guide id="8" pos="5955" userDrawn="1">
          <p15:clr>
            <a:srgbClr val="FBAE4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Layout" Target="../slideLayouts/slideLayout4.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8.svg"/></Relationships>
</file>

<file path=ppt/slides/_rels/slide3.xml.rels><?xml version="1.0" encoding="UTF-8" standalone="yes"?>
<Relationships xmlns="http://schemas.openxmlformats.org/package/2006/relationships"><Relationship Id="rId13" Type="http://schemas.openxmlformats.org/officeDocument/2006/relationships/image" Target="../media/image20.svg"/><Relationship Id="rId3" Type="http://schemas.openxmlformats.org/officeDocument/2006/relationships/image" Target="../media/image80.svg"/><Relationship Id="rId12"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Layout" Target="../slideLayouts/slideLayout4.xml"/><Relationship Id="rId11" Type="http://schemas.openxmlformats.org/officeDocument/2006/relationships/image" Target="NULL"/><Relationship Id="rId5" Type="http://schemas.openxmlformats.org/officeDocument/2006/relationships/image" Target="../media/image10.png"/><Relationship Id="rId4" Type="http://schemas.openxmlformats.org/officeDocument/2006/relationships/image" Target="../media/image9.png"/><Relationship Id="rId14"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8.svg"/><Relationship Id="rId7" Type="http://schemas.openxmlformats.org/officeDocument/2006/relationships/image" Target="../media/image16.jpeg"/><Relationship Id="rId2" Type="http://schemas.openxmlformats.org/officeDocument/2006/relationships/image" Target="../media/image4.png"/><Relationship Id="rId1" Type="http://schemas.openxmlformats.org/officeDocument/2006/relationships/slideLayout" Target="../slideLayouts/slideLayout4.xml"/><Relationship Id="rId6" Type="http://schemas.openxmlformats.org/officeDocument/2006/relationships/image" Target="../media/image15.png"/><Relationship Id="rId11" Type="http://schemas.microsoft.com/office/2007/relationships/hdphoto" Target="../media/hdphoto2.wdp"/><Relationship Id="rId5" Type="http://schemas.openxmlformats.org/officeDocument/2006/relationships/image" Target="../media/image14.png"/><Relationship Id="rId10" Type="http://schemas.openxmlformats.org/officeDocument/2006/relationships/image" Target="../media/image17.png"/><Relationship Id="rId4" Type="http://schemas.openxmlformats.org/officeDocument/2006/relationships/image" Target="../media/image13.jpeg"/><Relationship Id="rId9" Type="http://schemas.openxmlformats.org/officeDocument/2006/relationships/image" Target="../media/image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グラフィックス 9">
            <a:extLst>
              <a:ext uri="{FF2B5EF4-FFF2-40B4-BE49-F238E27FC236}">
                <a16:creationId xmlns:a16="http://schemas.microsoft.com/office/drawing/2014/main" id="{3A895749-CA5D-60F7-2C59-E11BA0832446}"/>
              </a:ext>
            </a:extLst>
          </p:cNvPr>
          <p:cNvPicPr>
            <a:picLocks noChangeAspect="1"/>
          </p:cNvPicPr>
          <p:nvPr/>
        </p:nvPicPr>
        <p:blipFill>
          <a:blip r:embed="rId2" cstate="hqprint">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rot="16200000">
            <a:off x="1276076" y="2603794"/>
            <a:ext cx="1399380" cy="1531974"/>
          </a:xfrm>
          <a:prstGeom prst="rect">
            <a:avLst/>
          </a:prstGeom>
        </p:spPr>
      </p:pic>
      <p:sp>
        <p:nvSpPr>
          <p:cNvPr id="16" name="タイトル 15">
            <a:extLst>
              <a:ext uri="{FF2B5EF4-FFF2-40B4-BE49-F238E27FC236}">
                <a16:creationId xmlns:a16="http://schemas.microsoft.com/office/drawing/2014/main" id="{998CC723-6F01-0769-B923-279CA65DC5C1}"/>
              </a:ext>
            </a:extLst>
          </p:cNvPr>
          <p:cNvSpPr>
            <a:spLocks noGrp="1"/>
          </p:cNvSpPr>
          <p:nvPr>
            <p:ph type="title"/>
          </p:nvPr>
        </p:nvSpPr>
        <p:spPr>
          <a:xfrm>
            <a:off x="3205689" y="2851303"/>
            <a:ext cx="8543925" cy="1325563"/>
          </a:xfrm>
        </p:spPr>
        <p:txBody>
          <a:bodyPr/>
          <a:lstStyle/>
          <a:p>
            <a:r>
              <a:rPr lang="ja-JP" altLang="en-US" dirty="0"/>
              <a:t>空間装飾</a:t>
            </a:r>
          </a:p>
        </p:txBody>
      </p:sp>
      <p:sp>
        <p:nvSpPr>
          <p:cNvPr id="17" name="テキスト プレースホルダー 16">
            <a:extLst>
              <a:ext uri="{FF2B5EF4-FFF2-40B4-BE49-F238E27FC236}">
                <a16:creationId xmlns:a16="http://schemas.microsoft.com/office/drawing/2014/main" id="{229C2B64-4725-08E0-ABAD-0213462F7079}"/>
              </a:ext>
            </a:extLst>
          </p:cNvPr>
          <p:cNvSpPr>
            <a:spLocks noGrp="1"/>
          </p:cNvSpPr>
          <p:nvPr>
            <p:ph type="body" sz="quarter" idx="12"/>
          </p:nvPr>
        </p:nvSpPr>
        <p:spPr>
          <a:xfrm>
            <a:off x="3286671" y="2634828"/>
            <a:ext cx="1192212" cy="400050"/>
          </a:xfrm>
        </p:spPr>
        <p:txBody>
          <a:bodyPr>
            <a:noAutofit/>
          </a:bodyPr>
          <a:lstStyle/>
          <a:p>
            <a:r>
              <a:rPr lang="en-US" altLang="ja-JP"/>
              <a:t>02</a:t>
            </a:r>
            <a:endParaRPr lang="ja-JP" altLang="en-US"/>
          </a:p>
        </p:txBody>
      </p:sp>
      <p:sp>
        <p:nvSpPr>
          <p:cNvPr id="2" name="スライド番号プレースホルダー 1">
            <a:extLst>
              <a:ext uri="{FF2B5EF4-FFF2-40B4-BE49-F238E27FC236}">
                <a16:creationId xmlns:a16="http://schemas.microsoft.com/office/drawing/2014/main" id="{C17052F8-FC6B-75DB-A9DE-9BF4009B7602}"/>
              </a:ext>
            </a:extLst>
          </p:cNvPr>
          <p:cNvSpPr>
            <a:spLocks noGrp="1"/>
          </p:cNvSpPr>
          <p:nvPr>
            <p:ph type="sldNum" sz="quarter" idx="13"/>
          </p:nvPr>
        </p:nvSpPr>
        <p:spPr>
          <a:xfrm>
            <a:off x="7544584" y="6492875"/>
            <a:ext cx="2228850" cy="365125"/>
          </a:xfrm>
        </p:spPr>
        <p:txBody>
          <a:bodyPr/>
          <a:lstStyle/>
          <a:p>
            <a:fld id="{3DB74C4F-4DC2-4C31-8D08-159129179147}" type="slidenum">
              <a:rPr lang="ja-JP" altLang="en-US" smtClean="0"/>
              <a:pPr/>
              <a:t>0</a:t>
            </a:fld>
            <a:endParaRPr lang="ja-JP" altLang="en-US"/>
          </a:p>
        </p:txBody>
      </p:sp>
      <p:grpSp>
        <p:nvGrpSpPr>
          <p:cNvPr id="9" name="グループ化 8">
            <a:extLst>
              <a:ext uri="{FF2B5EF4-FFF2-40B4-BE49-F238E27FC236}">
                <a16:creationId xmlns:a16="http://schemas.microsoft.com/office/drawing/2014/main" id="{3888D5CE-E122-3308-E3FF-EC346143D9E6}"/>
              </a:ext>
            </a:extLst>
          </p:cNvPr>
          <p:cNvGrpSpPr/>
          <p:nvPr/>
        </p:nvGrpSpPr>
        <p:grpSpPr>
          <a:xfrm>
            <a:off x="-84009" y="3301430"/>
            <a:ext cx="10415461" cy="977992"/>
            <a:chOff x="-83559" y="3525436"/>
            <a:chExt cx="13149616" cy="1234724"/>
          </a:xfrm>
        </p:grpSpPr>
        <p:sp>
          <p:nvSpPr>
            <p:cNvPr id="7" name="フリーフォーム: 図形 6">
              <a:extLst>
                <a:ext uri="{FF2B5EF4-FFF2-40B4-BE49-F238E27FC236}">
                  <a16:creationId xmlns:a16="http://schemas.microsoft.com/office/drawing/2014/main" id="{93F2BC60-6798-2B18-D368-888103975EBE}"/>
                </a:ext>
              </a:extLst>
            </p:cNvPr>
            <p:cNvSpPr/>
            <p:nvPr/>
          </p:nvSpPr>
          <p:spPr>
            <a:xfrm rot="303880">
              <a:off x="-83559" y="4086215"/>
              <a:ext cx="1370621" cy="203505"/>
            </a:xfrm>
            <a:custGeom>
              <a:avLst/>
              <a:gdLst>
                <a:gd name="connsiteX0" fmla="*/ 1223962 w 1237894"/>
                <a:gd name="connsiteY0" fmla="*/ 0 h 148576"/>
                <a:gd name="connsiteX1" fmla="*/ 1064419 w 1237894"/>
                <a:gd name="connsiteY1" fmla="*/ 119062 h 148576"/>
                <a:gd name="connsiteX2" fmla="*/ 0 w 1237894"/>
                <a:gd name="connsiteY2" fmla="*/ 92869 h 148576"/>
                <a:gd name="connsiteX0" fmla="*/ 1366983 w 1369601"/>
                <a:gd name="connsiteY0" fmla="*/ 0 h 203505"/>
                <a:gd name="connsiteX1" fmla="*/ 1064419 w 1369601"/>
                <a:gd name="connsiteY1" fmla="*/ 173991 h 203505"/>
                <a:gd name="connsiteX2" fmla="*/ 0 w 1369601"/>
                <a:gd name="connsiteY2" fmla="*/ 147798 h 203505"/>
                <a:gd name="connsiteX0" fmla="*/ 1366983 w 1370620"/>
                <a:gd name="connsiteY0" fmla="*/ 0 h 203505"/>
                <a:gd name="connsiteX1" fmla="*/ 1064419 w 1370620"/>
                <a:gd name="connsiteY1" fmla="*/ 173991 h 203505"/>
                <a:gd name="connsiteX2" fmla="*/ 0 w 1370620"/>
                <a:gd name="connsiteY2" fmla="*/ 147798 h 203505"/>
              </a:gdLst>
              <a:ahLst/>
              <a:cxnLst>
                <a:cxn ang="0">
                  <a:pos x="connsiteX0" y="connsiteY0"/>
                </a:cxn>
                <a:cxn ang="0">
                  <a:pos x="connsiteX1" y="connsiteY1"/>
                </a:cxn>
                <a:cxn ang="0">
                  <a:pos x="connsiteX2" y="connsiteY2"/>
                </a:cxn>
              </a:cxnLst>
              <a:rect l="l" t="t" r="r" b="b"/>
              <a:pathLst>
                <a:path w="1370620" h="203505">
                  <a:moveTo>
                    <a:pt x="1366983" y="0"/>
                  </a:moveTo>
                  <a:cubicBezTo>
                    <a:pt x="1393985" y="105696"/>
                    <a:pt x="1268413" y="158513"/>
                    <a:pt x="1064419" y="173991"/>
                  </a:cubicBezTo>
                  <a:cubicBezTo>
                    <a:pt x="860425" y="189469"/>
                    <a:pt x="239316" y="244239"/>
                    <a:pt x="0" y="147798"/>
                  </a:cubicBezTo>
                </a:path>
              </a:pathLst>
            </a:custGeom>
            <a:noFill/>
            <a:ln w="2540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フリーフォーム: 図形 7">
              <a:extLst>
                <a:ext uri="{FF2B5EF4-FFF2-40B4-BE49-F238E27FC236}">
                  <a16:creationId xmlns:a16="http://schemas.microsoft.com/office/drawing/2014/main" id="{93883E02-B95B-3E4D-5157-8A46FF3CE261}"/>
                </a:ext>
              </a:extLst>
            </p:cNvPr>
            <p:cNvSpPr/>
            <p:nvPr/>
          </p:nvSpPr>
          <p:spPr>
            <a:xfrm>
              <a:off x="3171724" y="3525436"/>
              <a:ext cx="9894333" cy="1234724"/>
            </a:xfrm>
            <a:custGeom>
              <a:avLst/>
              <a:gdLst>
                <a:gd name="connsiteX0" fmla="*/ 0 w 5915025"/>
                <a:gd name="connsiteY0" fmla="*/ 0 h 761742"/>
                <a:gd name="connsiteX1" fmla="*/ 2947987 w 5915025"/>
                <a:gd name="connsiteY1" fmla="*/ 733425 h 761742"/>
                <a:gd name="connsiteX2" fmla="*/ 5915025 w 5915025"/>
                <a:gd name="connsiteY2" fmla="*/ 552450 h 761742"/>
                <a:gd name="connsiteX0" fmla="*/ 0 w 8328025"/>
                <a:gd name="connsiteY0" fmla="*/ 0 h 733425"/>
                <a:gd name="connsiteX1" fmla="*/ 2947987 w 8328025"/>
                <a:gd name="connsiteY1" fmla="*/ 733425 h 733425"/>
                <a:gd name="connsiteX2" fmla="*/ 8328025 w 8328025"/>
                <a:gd name="connsiteY2" fmla="*/ 184150 h 733425"/>
                <a:gd name="connsiteX0" fmla="*/ 0 w 8328025"/>
                <a:gd name="connsiteY0" fmla="*/ 0 h 733425"/>
                <a:gd name="connsiteX1" fmla="*/ 2947987 w 8328025"/>
                <a:gd name="connsiteY1" fmla="*/ 733425 h 733425"/>
                <a:gd name="connsiteX2" fmla="*/ 8328025 w 8328025"/>
                <a:gd name="connsiteY2" fmla="*/ 184150 h 733425"/>
                <a:gd name="connsiteX0" fmla="*/ 0 w 8328025"/>
                <a:gd name="connsiteY0" fmla="*/ 0 h 755652"/>
                <a:gd name="connsiteX1" fmla="*/ 2947987 w 8328025"/>
                <a:gd name="connsiteY1" fmla="*/ 733425 h 755652"/>
                <a:gd name="connsiteX2" fmla="*/ 8328025 w 8328025"/>
                <a:gd name="connsiteY2" fmla="*/ 184150 h 755652"/>
                <a:gd name="connsiteX0" fmla="*/ 0 w 8328025"/>
                <a:gd name="connsiteY0" fmla="*/ 0 h 755652"/>
                <a:gd name="connsiteX1" fmla="*/ 2947987 w 8328025"/>
                <a:gd name="connsiteY1" fmla="*/ 733425 h 755652"/>
                <a:gd name="connsiteX2" fmla="*/ 8328025 w 8328025"/>
                <a:gd name="connsiteY2" fmla="*/ 184150 h 755652"/>
                <a:gd name="connsiteX0" fmla="*/ 0 w 10576775"/>
                <a:gd name="connsiteY0" fmla="*/ 332943 h 1069864"/>
                <a:gd name="connsiteX1" fmla="*/ 2947987 w 10576775"/>
                <a:gd name="connsiteY1" fmla="*/ 1066368 h 1069864"/>
                <a:gd name="connsiteX2" fmla="*/ 10576775 w 10576775"/>
                <a:gd name="connsiteY2" fmla="*/ 0 h 1069864"/>
                <a:gd name="connsiteX0" fmla="*/ 0 w 10576775"/>
                <a:gd name="connsiteY0" fmla="*/ 332943 h 1069865"/>
                <a:gd name="connsiteX1" fmla="*/ 2947987 w 10576775"/>
                <a:gd name="connsiteY1" fmla="*/ 1066368 h 1069865"/>
                <a:gd name="connsiteX2" fmla="*/ 10576775 w 10576775"/>
                <a:gd name="connsiteY2" fmla="*/ 0 h 1069865"/>
                <a:gd name="connsiteX0" fmla="*/ 0 w 10576775"/>
                <a:gd name="connsiteY0" fmla="*/ 332943 h 1237511"/>
                <a:gd name="connsiteX1" fmla="*/ 3669511 w 10576775"/>
                <a:gd name="connsiteY1" fmla="*/ 1234723 h 1237511"/>
                <a:gd name="connsiteX2" fmla="*/ 10576775 w 10576775"/>
                <a:gd name="connsiteY2" fmla="*/ 0 h 1237511"/>
                <a:gd name="connsiteX0" fmla="*/ 0 w 10576775"/>
                <a:gd name="connsiteY0" fmla="*/ 332943 h 1234776"/>
                <a:gd name="connsiteX1" fmla="*/ 3669511 w 10576775"/>
                <a:gd name="connsiteY1" fmla="*/ 1234723 h 1234776"/>
                <a:gd name="connsiteX2" fmla="*/ 10576775 w 10576775"/>
                <a:gd name="connsiteY2" fmla="*/ 0 h 1234776"/>
                <a:gd name="connsiteX0" fmla="*/ 0 w 9897339"/>
                <a:gd name="connsiteY0" fmla="*/ 332944 h 1234777"/>
                <a:gd name="connsiteX1" fmla="*/ 2990075 w 9897339"/>
                <a:gd name="connsiteY1" fmla="*/ 1234723 h 1234777"/>
                <a:gd name="connsiteX2" fmla="*/ 9897339 w 9897339"/>
                <a:gd name="connsiteY2" fmla="*/ 0 h 1234777"/>
                <a:gd name="connsiteX0" fmla="*/ 0 w 9885314"/>
                <a:gd name="connsiteY0" fmla="*/ 179620 h 1234768"/>
                <a:gd name="connsiteX1" fmla="*/ 2978050 w 9885314"/>
                <a:gd name="connsiteY1" fmla="*/ 1234723 h 1234768"/>
                <a:gd name="connsiteX2" fmla="*/ 9885314 w 9885314"/>
                <a:gd name="connsiteY2" fmla="*/ 0 h 1234768"/>
                <a:gd name="connsiteX0" fmla="*/ 2379 w 9887693"/>
                <a:gd name="connsiteY0" fmla="*/ 179620 h 1234796"/>
                <a:gd name="connsiteX1" fmla="*/ 2980429 w 9887693"/>
                <a:gd name="connsiteY1" fmla="*/ 1234723 h 1234796"/>
                <a:gd name="connsiteX2" fmla="*/ 9887693 w 9887693"/>
                <a:gd name="connsiteY2" fmla="*/ 0 h 1234796"/>
                <a:gd name="connsiteX0" fmla="*/ 2344 w 9896678"/>
                <a:gd name="connsiteY0" fmla="*/ 179620 h 1234796"/>
                <a:gd name="connsiteX1" fmla="*/ 2989414 w 9896678"/>
                <a:gd name="connsiteY1" fmla="*/ 1234723 h 1234796"/>
                <a:gd name="connsiteX2" fmla="*/ 9896678 w 9896678"/>
                <a:gd name="connsiteY2" fmla="*/ 0 h 1234796"/>
                <a:gd name="connsiteX0" fmla="*/ 0 w 9894334"/>
                <a:gd name="connsiteY0" fmla="*/ 179620 h 1234781"/>
                <a:gd name="connsiteX1" fmla="*/ 2987070 w 9894334"/>
                <a:gd name="connsiteY1" fmla="*/ 1234723 h 1234781"/>
                <a:gd name="connsiteX2" fmla="*/ 9894334 w 9894334"/>
                <a:gd name="connsiteY2" fmla="*/ 0 h 1234781"/>
                <a:gd name="connsiteX0" fmla="*/ 0 w 9894334"/>
                <a:gd name="connsiteY0" fmla="*/ 179620 h 1234794"/>
                <a:gd name="connsiteX1" fmla="*/ 2987070 w 9894334"/>
                <a:gd name="connsiteY1" fmla="*/ 1234723 h 1234794"/>
                <a:gd name="connsiteX2" fmla="*/ 9894334 w 9894334"/>
                <a:gd name="connsiteY2" fmla="*/ 0 h 1234794"/>
                <a:gd name="connsiteX0" fmla="*/ 0 w 9894334"/>
                <a:gd name="connsiteY0" fmla="*/ 179620 h 1234723"/>
                <a:gd name="connsiteX1" fmla="*/ 2987070 w 9894334"/>
                <a:gd name="connsiteY1" fmla="*/ 1234723 h 1234723"/>
                <a:gd name="connsiteX2" fmla="*/ 9894334 w 9894334"/>
                <a:gd name="connsiteY2" fmla="*/ 0 h 1234723"/>
              </a:gdLst>
              <a:ahLst/>
              <a:cxnLst>
                <a:cxn ang="0">
                  <a:pos x="connsiteX0" y="connsiteY0"/>
                </a:cxn>
                <a:cxn ang="0">
                  <a:pos x="connsiteX1" y="connsiteY1"/>
                </a:cxn>
                <a:cxn ang="0">
                  <a:pos x="connsiteX2" y="connsiteY2"/>
                </a:cxn>
              </a:cxnLst>
              <a:rect l="l" t="t" r="r" b="b"/>
              <a:pathLst>
                <a:path w="9894334" h="1234723">
                  <a:moveTo>
                    <a:pt x="0" y="179620"/>
                  </a:moveTo>
                  <a:cubicBezTo>
                    <a:pt x="58697" y="675586"/>
                    <a:pt x="502750" y="1206035"/>
                    <a:pt x="2987070" y="1234723"/>
                  </a:cubicBezTo>
                  <a:cubicBezTo>
                    <a:pt x="5471390" y="1227335"/>
                    <a:pt x="8696422" y="768802"/>
                    <a:pt x="9894334" y="0"/>
                  </a:cubicBezTo>
                </a:path>
              </a:pathLst>
            </a:cu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3" name="グラフィックス 10">
            <a:extLst>
              <a:ext uri="{FF2B5EF4-FFF2-40B4-BE49-F238E27FC236}">
                <a16:creationId xmlns:a16="http://schemas.microsoft.com/office/drawing/2014/main" id="{AEBC5888-BBFE-78F0-74D2-78690601F126}"/>
              </a:ext>
            </a:extLst>
          </p:cNvPr>
          <p:cNvSpPr/>
          <p:nvPr/>
        </p:nvSpPr>
        <p:spPr>
          <a:xfrm>
            <a:off x="813195" y="2303321"/>
            <a:ext cx="1681645" cy="1644690"/>
          </a:xfrm>
          <a:custGeom>
            <a:avLst/>
            <a:gdLst>
              <a:gd name="connsiteX0" fmla="*/ 0 w 4953849"/>
              <a:gd name="connsiteY0" fmla="*/ 2755096 h 2831069"/>
              <a:gd name="connsiteX1" fmla="*/ 2383347 w 4953849"/>
              <a:gd name="connsiteY1" fmla="*/ 2755096 h 2831069"/>
              <a:gd name="connsiteX2" fmla="*/ 2915639 w 4953849"/>
              <a:gd name="connsiteY2" fmla="*/ 2751076 h 2831069"/>
              <a:gd name="connsiteX3" fmla="*/ 2997353 w 4953849"/>
              <a:gd name="connsiteY3" fmla="*/ 2717420 h 2831069"/>
              <a:gd name="connsiteX4" fmla="*/ 2933192 w 4953849"/>
              <a:gd name="connsiteY4" fmla="*/ 2641468 h 2831069"/>
              <a:gd name="connsiteX5" fmla="*/ 2839105 w 4953849"/>
              <a:gd name="connsiteY5" fmla="*/ 2615293 h 2831069"/>
              <a:gd name="connsiteX6" fmla="*/ 2759982 w 4953849"/>
              <a:gd name="connsiteY6" fmla="*/ 2592559 h 2831069"/>
              <a:gd name="connsiteX7" fmla="*/ 2695095 w 4953849"/>
              <a:gd name="connsiteY7" fmla="*/ 2517746 h 2831069"/>
              <a:gd name="connsiteX8" fmla="*/ 2666476 w 4953849"/>
              <a:gd name="connsiteY8" fmla="*/ 2427970 h 2831069"/>
              <a:gd name="connsiteX9" fmla="*/ 2668631 w 4953849"/>
              <a:gd name="connsiteY9" fmla="*/ 2366980 h 2831069"/>
              <a:gd name="connsiteX10" fmla="*/ 2693956 w 4953849"/>
              <a:gd name="connsiteY10" fmla="*/ 2320662 h 2831069"/>
              <a:gd name="connsiteX11" fmla="*/ 2689790 w 4953849"/>
              <a:gd name="connsiteY11" fmla="*/ 2270448 h 2831069"/>
              <a:gd name="connsiteX12" fmla="*/ 2601030 w 4953849"/>
              <a:gd name="connsiteY12" fmla="*/ 2115662 h 2831069"/>
              <a:gd name="connsiteX13" fmla="*/ 2510404 w 4953849"/>
              <a:gd name="connsiteY13" fmla="*/ 1957124 h 2831069"/>
              <a:gd name="connsiteX14" fmla="*/ 2443798 w 4953849"/>
              <a:gd name="connsiteY14" fmla="*/ 1924173 h 2831069"/>
              <a:gd name="connsiteX15" fmla="*/ 2285986 w 4953849"/>
              <a:gd name="connsiteY15" fmla="*/ 1954244 h 2831069"/>
              <a:gd name="connsiteX16" fmla="*/ 2085151 w 4953849"/>
              <a:gd name="connsiteY16" fmla="*/ 1989060 h 2831069"/>
              <a:gd name="connsiteX17" fmla="*/ 1957554 w 4953849"/>
              <a:gd name="connsiteY17" fmla="*/ 1993661 h 2831069"/>
              <a:gd name="connsiteX18" fmla="*/ 1841894 w 4953849"/>
              <a:gd name="connsiteY18" fmla="*/ 2000852 h 2831069"/>
              <a:gd name="connsiteX19" fmla="*/ 1578909 w 4953849"/>
              <a:gd name="connsiteY19" fmla="*/ 2062567 h 2831069"/>
              <a:gd name="connsiteX20" fmla="*/ 1483538 w 4953849"/>
              <a:gd name="connsiteY20" fmla="*/ 2090047 h 2831069"/>
              <a:gd name="connsiteX21" fmla="*/ 1525690 w 4953849"/>
              <a:gd name="connsiteY21" fmla="*/ 2164135 h 2831069"/>
              <a:gd name="connsiteX22" fmla="*/ 1723499 w 4953849"/>
              <a:gd name="connsiteY22" fmla="*/ 2417629 h 2831069"/>
              <a:gd name="connsiteX23" fmla="*/ 1823492 w 4953849"/>
              <a:gd name="connsiteY23" fmla="*/ 2553723 h 2831069"/>
              <a:gd name="connsiteX24" fmla="*/ 1876856 w 4953849"/>
              <a:gd name="connsiteY24" fmla="*/ 2608392 h 2831069"/>
              <a:gd name="connsiteX25" fmla="*/ 1922324 w 4953849"/>
              <a:gd name="connsiteY25" fmla="*/ 2644348 h 2831069"/>
              <a:gd name="connsiteX26" fmla="*/ 1930240 w 4953849"/>
              <a:gd name="connsiteY26" fmla="*/ 2670108 h 2831069"/>
              <a:gd name="connsiteX27" fmla="*/ 1911402 w 4953849"/>
              <a:gd name="connsiteY27" fmla="*/ 2687516 h 2831069"/>
              <a:gd name="connsiteX28" fmla="*/ 1865229 w 4953849"/>
              <a:gd name="connsiteY28" fmla="*/ 2665507 h 2831069"/>
              <a:gd name="connsiteX29" fmla="*/ 1800488 w 4953849"/>
              <a:gd name="connsiteY29" fmla="*/ 2569991 h 2831069"/>
              <a:gd name="connsiteX30" fmla="*/ 1787681 w 4953849"/>
              <a:gd name="connsiteY30" fmla="*/ 2513166 h 2831069"/>
              <a:gd name="connsiteX31" fmla="*/ 1799618 w 4953849"/>
              <a:gd name="connsiteY31" fmla="*/ 2499923 h 2831069"/>
              <a:gd name="connsiteX32" fmla="*/ 1828237 w 4953849"/>
              <a:gd name="connsiteY32" fmla="*/ 2524378 h 2831069"/>
              <a:gd name="connsiteX33" fmla="*/ 1858308 w 4953849"/>
              <a:gd name="connsiteY33" fmla="*/ 2562364 h 2831069"/>
              <a:gd name="connsiteX34" fmla="*/ 1889953 w 4953849"/>
              <a:gd name="connsiteY34" fmla="*/ 2581348 h 2831069"/>
              <a:gd name="connsiteX35" fmla="*/ 1911962 w 4953849"/>
              <a:gd name="connsiteY35" fmla="*/ 2604372 h 2831069"/>
              <a:gd name="connsiteX36" fmla="*/ 1935545 w 4953849"/>
              <a:gd name="connsiteY36" fmla="*/ 2623645 h 2831069"/>
              <a:gd name="connsiteX37" fmla="*/ 1952228 w 4953849"/>
              <a:gd name="connsiteY37" fmla="*/ 2654005 h 2831069"/>
              <a:gd name="connsiteX38" fmla="*/ 1964020 w 4953849"/>
              <a:gd name="connsiteY38" fmla="*/ 2705649 h 2831069"/>
              <a:gd name="connsiteX39" fmla="*/ 1995251 w 4953849"/>
              <a:gd name="connsiteY39" fmla="*/ 2761707 h 2831069"/>
              <a:gd name="connsiteX40" fmla="*/ 2074146 w 4953849"/>
              <a:gd name="connsiteY40" fmla="*/ 2781975 h 2831069"/>
              <a:gd name="connsiteX41" fmla="*/ 2398143 w 4953849"/>
              <a:gd name="connsiteY41" fmla="*/ 2784234 h 2831069"/>
              <a:gd name="connsiteX42" fmla="*/ 2962081 w 4953849"/>
              <a:gd name="connsiteY42" fmla="*/ 2784234 h 2831069"/>
              <a:gd name="connsiteX43" fmla="*/ 3091397 w 4953849"/>
              <a:gd name="connsiteY43" fmla="*/ 2760402 h 2831069"/>
              <a:gd name="connsiteX44" fmla="*/ 3010637 w 4953849"/>
              <a:gd name="connsiteY44" fmla="*/ 2653819 h 2831069"/>
              <a:gd name="connsiteX45" fmla="*/ 2965728 w 4953849"/>
              <a:gd name="connsiteY45" fmla="*/ 2582508 h 2831069"/>
              <a:gd name="connsiteX46" fmla="*/ 2924861 w 4953849"/>
              <a:gd name="connsiteY46" fmla="*/ 2563380 h 2831069"/>
              <a:gd name="connsiteX47" fmla="*/ 2841136 w 4953849"/>
              <a:gd name="connsiteY47" fmla="*/ 2569701 h 2831069"/>
              <a:gd name="connsiteX48" fmla="*/ 2785596 w 4953849"/>
              <a:gd name="connsiteY48" fmla="*/ 2561204 h 2831069"/>
              <a:gd name="connsiteX49" fmla="*/ 2740128 w 4953849"/>
              <a:gd name="connsiteY49" fmla="*/ 2517187 h 2831069"/>
              <a:gd name="connsiteX50" fmla="*/ 2708773 w 4953849"/>
              <a:gd name="connsiteY50" fmla="*/ 2442519 h 2831069"/>
              <a:gd name="connsiteX51" fmla="*/ 2707343 w 4953849"/>
              <a:gd name="connsiteY51" fmla="*/ 2364680 h 2831069"/>
              <a:gd name="connsiteX52" fmla="*/ 2751361 w 4953849"/>
              <a:gd name="connsiteY52" fmla="*/ 2317491 h 2831069"/>
              <a:gd name="connsiteX53" fmla="*/ 2734243 w 4953849"/>
              <a:gd name="connsiteY53" fmla="*/ 2254201 h 2831069"/>
              <a:gd name="connsiteX54" fmla="*/ 2598439 w 4953849"/>
              <a:gd name="connsiteY54" fmla="*/ 2041429 h 2831069"/>
              <a:gd name="connsiteX55" fmla="*/ 2501327 w 4953849"/>
              <a:gd name="connsiteY55" fmla="*/ 1888363 h 2831069"/>
              <a:gd name="connsiteX56" fmla="*/ 2449393 w 4953849"/>
              <a:gd name="connsiteY56" fmla="*/ 1865338 h 2831069"/>
              <a:gd name="connsiteX57" fmla="*/ 2370270 w 4953849"/>
              <a:gd name="connsiteY57" fmla="*/ 1886477 h 2831069"/>
              <a:gd name="connsiteX58" fmla="*/ 2254030 w 4953849"/>
              <a:gd name="connsiteY58" fmla="*/ 1916837 h 2831069"/>
              <a:gd name="connsiteX59" fmla="*/ 2033196 w 4953849"/>
              <a:gd name="connsiteY59" fmla="*/ 1960565 h 2831069"/>
              <a:gd name="connsiteX60" fmla="*/ 1940685 w 4953849"/>
              <a:gd name="connsiteY60" fmla="*/ 1968771 h 2831069"/>
              <a:gd name="connsiteX61" fmla="*/ 1870473 w 4953849"/>
              <a:gd name="connsiteY61" fmla="*/ 1936110 h 2831069"/>
              <a:gd name="connsiteX62" fmla="*/ 1717551 w 4953849"/>
              <a:gd name="connsiteY62" fmla="*/ 1817280 h 2831069"/>
              <a:gd name="connsiteX63" fmla="*/ 1629081 w 4953849"/>
              <a:gd name="connsiteY63" fmla="*/ 1724478 h 2831069"/>
              <a:gd name="connsiteX64" fmla="*/ 1615548 w 4953849"/>
              <a:gd name="connsiteY64" fmla="*/ 1660753 h 2831069"/>
              <a:gd name="connsiteX65" fmla="*/ 1640583 w 4953849"/>
              <a:gd name="connsiteY65" fmla="*/ 1619326 h 2831069"/>
              <a:gd name="connsiteX66" fmla="*/ 1686756 w 4953849"/>
              <a:gd name="connsiteY66" fmla="*/ 1610829 h 2831069"/>
              <a:gd name="connsiteX67" fmla="*/ 1780116 w 4953849"/>
              <a:gd name="connsiteY67" fmla="*/ 1646370 h 2831069"/>
              <a:gd name="connsiteX68" fmla="*/ 1852774 w 4953849"/>
              <a:gd name="connsiteY68" fmla="*/ 1668959 h 2831069"/>
              <a:gd name="connsiteX69" fmla="*/ 1855945 w 4953849"/>
              <a:gd name="connsiteY69" fmla="*/ 1692688 h 2831069"/>
              <a:gd name="connsiteX70" fmla="*/ 1793504 w 4953849"/>
              <a:gd name="connsiteY70" fmla="*/ 1712832 h 2831069"/>
              <a:gd name="connsiteX71" fmla="*/ 1691356 w 4953849"/>
              <a:gd name="connsiteY71" fmla="*/ 1685787 h 2831069"/>
              <a:gd name="connsiteX72" fmla="*/ 1641578 w 4953849"/>
              <a:gd name="connsiteY72" fmla="*/ 1648235 h 2831069"/>
              <a:gd name="connsiteX73" fmla="*/ 1646613 w 4953849"/>
              <a:gd name="connsiteY73" fmla="*/ 1605586 h 2831069"/>
              <a:gd name="connsiteX74" fmla="*/ 1680414 w 4953849"/>
              <a:gd name="connsiteY74" fmla="*/ 1577816 h 2831069"/>
              <a:gd name="connsiteX75" fmla="*/ 1767454 w 4953849"/>
              <a:gd name="connsiteY75" fmla="*/ 1590830 h 2831069"/>
              <a:gd name="connsiteX76" fmla="*/ 1849231 w 4953849"/>
              <a:gd name="connsiteY76" fmla="*/ 1618953 h 2831069"/>
              <a:gd name="connsiteX77" fmla="*/ 1900149 w 4953849"/>
              <a:gd name="connsiteY77" fmla="*/ 1621046 h 2831069"/>
              <a:gd name="connsiteX78" fmla="*/ 1988847 w 4953849"/>
              <a:gd name="connsiteY78" fmla="*/ 1559682 h 2831069"/>
              <a:gd name="connsiteX79" fmla="*/ 2084094 w 4953849"/>
              <a:gd name="connsiteY79" fmla="*/ 1496164 h 2831069"/>
              <a:gd name="connsiteX80" fmla="*/ 2152711 w 4953849"/>
              <a:gd name="connsiteY80" fmla="*/ 1469699 h 2831069"/>
              <a:gd name="connsiteX81" fmla="*/ 2220540 w 4953849"/>
              <a:gd name="connsiteY81" fmla="*/ 1459835 h 2831069"/>
              <a:gd name="connsiteX82" fmla="*/ 2290897 w 4953849"/>
              <a:gd name="connsiteY82" fmla="*/ 1421288 h 2831069"/>
              <a:gd name="connsiteX83" fmla="*/ 2334853 w 4953849"/>
              <a:gd name="connsiteY83" fmla="*/ 1394969 h 2831069"/>
              <a:gd name="connsiteX84" fmla="*/ 2343204 w 4953849"/>
              <a:gd name="connsiteY84" fmla="*/ 1380214 h 2831069"/>
              <a:gd name="connsiteX85" fmla="*/ 2331910 w 4953849"/>
              <a:gd name="connsiteY85" fmla="*/ 1366412 h 2831069"/>
              <a:gd name="connsiteX86" fmla="*/ 2307746 w 4953849"/>
              <a:gd name="connsiteY86" fmla="*/ 1363614 h 2831069"/>
              <a:gd name="connsiteX87" fmla="*/ 2304513 w 4953849"/>
              <a:gd name="connsiteY87" fmla="*/ 1354910 h 2831069"/>
              <a:gd name="connsiteX88" fmla="*/ 2326874 w 4953849"/>
              <a:gd name="connsiteY88" fmla="*/ 1340030 h 2831069"/>
              <a:gd name="connsiteX89" fmla="*/ 2360530 w 4953849"/>
              <a:gd name="connsiteY89" fmla="*/ 1319161 h 2831069"/>
              <a:gd name="connsiteX90" fmla="*/ 2377585 w 4953849"/>
              <a:gd name="connsiteY90" fmla="*/ 1302831 h 2831069"/>
              <a:gd name="connsiteX91" fmla="*/ 2367016 w 4953849"/>
              <a:gd name="connsiteY91" fmla="*/ 1295930 h 2831069"/>
              <a:gd name="connsiteX92" fmla="*/ 2324864 w 4953849"/>
              <a:gd name="connsiteY92" fmla="*/ 1306934 h 2831069"/>
              <a:gd name="connsiteX93" fmla="*/ 2289758 w 4953849"/>
              <a:gd name="connsiteY93" fmla="*/ 1335347 h 2831069"/>
              <a:gd name="connsiteX94" fmla="*/ 2267251 w 4953849"/>
              <a:gd name="connsiteY94" fmla="*/ 1349667 h 2831069"/>
              <a:gd name="connsiteX95" fmla="*/ 2262361 w 4953849"/>
              <a:gd name="connsiteY95" fmla="*/ 1343346 h 2831069"/>
              <a:gd name="connsiteX96" fmla="*/ 2284805 w 4953849"/>
              <a:gd name="connsiteY96" fmla="*/ 1325296 h 2831069"/>
              <a:gd name="connsiteX97" fmla="*/ 2297032 w 4953849"/>
              <a:gd name="connsiteY97" fmla="*/ 1307743 h 2831069"/>
              <a:gd name="connsiteX98" fmla="*/ 2291498 w 4953849"/>
              <a:gd name="connsiteY98" fmla="*/ 1290977 h 2831069"/>
              <a:gd name="connsiteX99" fmla="*/ 2271935 w 4953849"/>
              <a:gd name="connsiteY99" fmla="*/ 1290832 h 2831069"/>
              <a:gd name="connsiteX100" fmla="*/ 2242155 w 4953849"/>
              <a:gd name="connsiteY100" fmla="*/ 1313856 h 2831069"/>
              <a:gd name="connsiteX101" fmla="*/ 2222737 w 4953849"/>
              <a:gd name="connsiteY101" fmla="*/ 1324218 h 2831069"/>
              <a:gd name="connsiteX102" fmla="*/ 2220084 w 4953849"/>
              <a:gd name="connsiteY102" fmla="*/ 1318457 h 2831069"/>
              <a:gd name="connsiteX103" fmla="*/ 2232518 w 4953849"/>
              <a:gd name="connsiteY103" fmla="*/ 1300406 h 2831069"/>
              <a:gd name="connsiteX104" fmla="*/ 2252807 w 4953849"/>
              <a:gd name="connsiteY104" fmla="*/ 1280615 h 2831069"/>
              <a:gd name="connsiteX105" fmla="*/ 2256330 w 4953849"/>
              <a:gd name="connsiteY105" fmla="*/ 1263994 h 2831069"/>
              <a:gd name="connsiteX106" fmla="*/ 2241305 w 4953849"/>
              <a:gd name="connsiteY106" fmla="*/ 1258026 h 2831069"/>
              <a:gd name="connsiteX107" fmla="*/ 2199091 w 4953849"/>
              <a:gd name="connsiteY107" fmla="*/ 1273051 h 2831069"/>
              <a:gd name="connsiteX108" fmla="*/ 2119822 w 4953849"/>
              <a:gd name="connsiteY108" fmla="*/ 1331181 h 2831069"/>
              <a:gd name="connsiteX109" fmla="*/ 2049900 w 4953849"/>
              <a:gd name="connsiteY109" fmla="*/ 1382100 h 2831069"/>
              <a:gd name="connsiteX110" fmla="*/ 1936395 w 4953849"/>
              <a:gd name="connsiteY110" fmla="*/ 1442530 h 2831069"/>
              <a:gd name="connsiteX111" fmla="*/ 1805628 w 4953849"/>
              <a:gd name="connsiteY111" fmla="*/ 1515188 h 2831069"/>
              <a:gd name="connsiteX112" fmla="*/ 1719748 w 4953849"/>
              <a:gd name="connsiteY112" fmla="*/ 1551144 h 2831069"/>
              <a:gd name="connsiteX113" fmla="*/ 1698610 w 4953849"/>
              <a:gd name="connsiteY113" fmla="*/ 1575453 h 2831069"/>
              <a:gd name="connsiteX114" fmla="*/ 1753134 w 4953849"/>
              <a:gd name="connsiteY114" fmla="*/ 1602208 h 2831069"/>
              <a:gd name="connsiteX115" fmla="*/ 1838019 w 4953849"/>
              <a:gd name="connsiteY115" fmla="*/ 1635863 h 2831069"/>
              <a:gd name="connsiteX116" fmla="*/ 1883632 w 4953849"/>
              <a:gd name="connsiteY116" fmla="*/ 1653271 h 2831069"/>
              <a:gd name="connsiteX117" fmla="*/ 1896295 w 4953849"/>
              <a:gd name="connsiteY117" fmla="*/ 1682036 h 2831069"/>
              <a:gd name="connsiteX118" fmla="*/ 1921039 w 4953849"/>
              <a:gd name="connsiteY118" fmla="*/ 1705060 h 2831069"/>
              <a:gd name="connsiteX119" fmla="*/ 1994691 w 4953849"/>
              <a:gd name="connsiteY119" fmla="*/ 1733680 h 2831069"/>
              <a:gd name="connsiteX120" fmla="*/ 2131510 w 4953849"/>
              <a:gd name="connsiteY120" fmla="*/ 1765905 h 2831069"/>
              <a:gd name="connsiteX121" fmla="*/ 2248331 w 4953849"/>
              <a:gd name="connsiteY121" fmla="*/ 1785179 h 2831069"/>
              <a:gd name="connsiteX122" fmla="*/ 2317528 w 4953849"/>
              <a:gd name="connsiteY122" fmla="*/ 1824740 h 2831069"/>
              <a:gd name="connsiteX123" fmla="*/ 2320843 w 4953849"/>
              <a:gd name="connsiteY123" fmla="*/ 1854666 h 2831069"/>
              <a:gd name="connsiteX124" fmla="*/ 2271065 w 4953849"/>
              <a:gd name="connsiteY124" fmla="*/ 1883430 h 2831069"/>
              <a:gd name="connsiteX125" fmla="*/ 2194096 w 4953849"/>
              <a:gd name="connsiteY125" fmla="*/ 1902413 h 2831069"/>
              <a:gd name="connsiteX126" fmla="*/ 2183589 w 4953849"/>
              <a:gd name="connsiteY126" fmla="*/ 1887741 h 2831069"/>
              <a:gd name="connsiteX127" fmla="*/ 2215380 w 4953849"/>
              <a:gd name="connsiteY127" fmla="*/ 1840843 h 2831069"/>
              <a:gd name="connsiteX128" fmla="*/ 2265884 w 4953849"/>
              <a:gd name="connsiteY128" fmla="*/ 1808037 h 2831069"/>
              <a:gd name="connsiteX129" fmla="*/ 2344862 w 4953849"/>
              <a:gd name="connsiteY129" fmla="*/ 1809757 h 2831069"/>
              <a:gd name="connsiteX130" fmla="*/ 2384859 w 4953849"/>
              <a:gd name="connsiteY130" fmla="*/ 1789468 h 2831069"/>
              <a:gd name="connsiteX131" fmla="*/ 2396506 w 4953849"/>
              <a:gd name="connsiteY131" fmla="*/ 1745161 h 2831069"/>
              <a:gd name="connsiteX132" fmla="*/ 2392341 w 4953849"/>
              <a:gd name="connsiteY132" fmla="*/ 1675238 h 2831069"/>
              <a:gd name="connsiteX133" fmla="*/ 2398247 w 4953849"/>
              <a:gd name="connsiteY133" fmla="*/ 1647904 h 2831069"/>
              <a:gd name="connsiteX134" fmla="*/ 2426452 w 4953849"/>
              <a:gd name="connsiteY134" fmla="*/ 1644588 h 2831069"/>
              <a:gd name="connsiteX135" fmla="*/ 2473350 w 4953849"/>
              <a:gd name="connsiteY135" fmla="*/ 1664587 h 2831069"/>
              <a:gd name="connsiteX136" fmla="*/ 2523854 w 4953849"/>
              <a:gd name="connsiteY136" fmla="*/ 1685455 h 2831069"/>
              <a:gd name="connsiteX137" fmla="*/ 2571332 w 4953849"/>
              <a:gd name="connsiteY137" fmla="*/ 1667032 h 2831069"/>
              <a:gd name="connsiteX138" fmla="*/ 2594066 w 4953849"/>
              <a:gd name="connsiteY138" fmla="*/ 1609046 h 2831069"/>
              <a:gd name="connsiteX139" fmla="*/ 2617795 w 4953849"/>
              <a:gd name="connsiteY139" fmla="*/ 1536244 h 2831069"/>
              <a:gd name="connsiteX140" fmla="*/ 2655492 w 4953849"/>
              <a:gd name="connsiteY140" fmla="*/ 1484165 h 2831069"/>
              <a:gd name="connsiteX141" fmla="*/ 2696069 w 4953849"/>
              <a:gd name="connsiteY141" fmla="*/ 1437702 h 2831069"/>
              <a:gd name="connsiteX142" fmla="*/ 2694059 w 4953849"/>
              <a:gd name="connsiteY142" fmla="*/ 1405911 h 2831069"/>
              <a:gd name="connsiteX143" fmla="*/ 2640965 w 4953849"/>
              <a:gd name="connsiteY143" fmla="*/ 1359449 h 2831069"/>
              <a:gd name="connsiteX144" fmla="*/ 2552495 w 4953849"/>
              <a:gd name="connsiteY144" fmla="*/ 1326207 h 2831069"/>
              <a:gd name="connsiteX145" fmla="*/ 2449642 w 4953849"/>
              <a:gd name="connsiteY145" fmla="*/ 1337709 h 2831069"/>
              <a:gd name="connsiteX146" fmla="*/ 2392382 w 4953849"/>
              <a:gd name="connsiteY146" fmla="*/ 1380152 h 2831069"/>
              <a:gd name="connsiteX147" fmla="*/ 2376549 w 4953849"/>
              <a:gd name="connsiteY147" fmla="*/ 1448333 h 2831069"/>
              <a:gd name="connsiteX148" fmla="*/ 2357711 w 4953849"/>
              <a:gd name="connsiteY148" fmla="*/ 1512784 h 2831069"/>
              <a:gd name="connsiteX149" fmla="*/ 2341028 w 4953849"/>
              <a:gd name="connsiteY149" fmla="*/ 1564138 h 2831069"/>
              <a:gd name="connsiteX150" fmla="*/ 2340158 w 4953849"/>
              <a:gd name="connsiteY150" fmla="*/ 1636216 h 2831069"/>
              <a:gd name="connsiteX151" fmla="*/ 2362892 w 4953849"/>
              <a:gd name="connsiteY151" fmla="*/ 1693040 h 2831069"/>
              <a:gd name="connsiteX152" fmla="*/ 2420152 w 4953849"/>
              <a:gd name="connsiteY152" fmla="*/ 1728001 h 2831069"/>
              <a:gd name="connsiteX153" fmla="*/ 2513078 w 4953849"/>
              <a:gd name="connsiteY153" fmla="*/ 1733618 h 2831069"/>
              <a:gd name="connsiteX154" fmla="*/ 2601548 w 4953849"/>
              <a:gd name="connsiteY154" fmla="*/ 1688440 h 2831069"/>
              <a:gd name="connsiteX155" fmla="*/ 2652052 w 4953849"/>
              <a:gd name="connsiteY155" fmla="*/ 1627304 h 2831069"/>
              <a:gd name="connsiteX156" fmla="*/ 2672485 w 4953849"/>
              <a:gd name="connsiteY156" fmla="*/ 1592343 h 2831069"/>
              <a:gd name="connsiteX157" fmla="*/ 2695655 w 4953849"/>
              <a:gd name="connsiteY157" fmla="*/ 1590478 h 2831069"/>
              <a:gd name="connsiteX158" fmla="*/ 2703281 w 4953849"/>
              <a:gd name="connsiteY158" fmla="*/ 1624569 h 2831069"/>
              <a:gd name="connsiteX159" fmla="*/ 2673791 w 4953849"/>
              <a:gd name="connsiteY159" fmla="*/ 1655219 h 2831069"/>
              <a:gd name="connsiteX160" fmla="*/ 2640550 w 4953849"/>
              <a:gd name="connsiteY160" fmla="*/ 1650909 h 2831069"/>
              <a:gd name="connsiteX161" fmla="*/ 2632343 w 4953849"/>
              <a:gd name="connsiteY161" fmla="*/ 1619844 h 2831069"/>
              <a:gd name="connsiteX162" fmla="*/ 2649461 w 4953849"/>
              <a:gd name="connsiteY162" fmla="*/ 1577836 h 2831069"/>
              <a:gd name="connsiteX163" fmla="*/ 2688733 w 4953849"/>
              <a:gd name="connsiteY163" fmla="*/ 1555683 h 2831069"/>
              <a:gd name="connsiteX164" fmla="*/ 2703261 w 4953849"/>
              <a:gd name="connsiteY164" fmla="*/ 1534814 h 2831069"/>
              <a:gd name="connsiteX165" fmla="*/ 2701395 w 4953849"/>
              <a:gd name="connsiteY165" fmla="*/ 1493822 h 2831069"/>
              <a:gd name="connsiteX166" fmla="*/ 2672485 w 4953849"/>
              <a:gd name="connsiteY166" fmla="*/ 1435837 h 2831069"/>
              <a:gd name="connsiteX167" fmla="*/ 2606749 w 4953849"/>
              <a:gd name="connsiteY167" fmla="*/ 1373105 h 2831069"/>
              <a:gd name="connsiteX168" fmla="*/ 2495400 w 4953849"/>
              <a:gd name="connsiteY168" fmla="*/ 1361604 h 2831069"/>
              <a:gd name="connsiteX169" fmla="*/ 2409521 w 4953849"/>
              <a:gd name="connsiteY169" fmla="*/ 1399591 h 2831069"/>
              <a:gd name="connsiteX170" fmla="*/ 2371534 w 4953849"/>
              <a:gd name="connsiteY170" fmla="*/ 1413683 h 2831069"/>
              <a:gd name="connsiteX171" fmla="*/ 2361027 w 4953849"/>
              <a:gd name="connsiteY171" fmla="*/ 1385623 h 2831069"/>
              <a:gd name="connsiteX172" fmla="*/ 2367493 w 4953849"/>
              <a:gd name="connsiteY172" fmla="*/ 1343035 h 2831069"/>
              <a:gd name="connsiteX173" fmla="*/ 2399573 w 4953849"/>
              <a:gd name="connsiteY173" fmla="*/ 1314270 h 2831069"/>
              <a:gd name="connsiteX174" fmla="*/ 2456253 w 4953849"/>
              <a:gd name="connsiteY174" fmla="*/ 1293402 h 2831069"/>
              <a:gd name="connsiteX175" fmla="*/ 2498405 w 4953849"/>
              <a:gd name="connsiteY175" fmla="*/ 1281900 h 2831069"/>
              <a:gd name="connsiteX176" fmla="*/ 2531066 w 4953849"/>
              <a:gd name="connsiteY176" fmla="*/ 1268947 h 2831069"/>
              <a:gd name="connsiteX177" fmla="*/ 2589466 w 4953849"/>
              <a:gd name="connsiteY177" fmla="*/ 1272118 h 2831069"/>
              <a:gd name="connsiteX178" fmla="*/ 2663844 w 4953849"/>
              <a:gd name="connsiteY178" fmla="*/ 1306209 h 2831069"/>
              <a:gd name="connsiteX179" fmla="*/ 2727424 w 4953849"/>
              <a:gd name="connsiteY179" fmla="*/ 1382017 h 2831069"/>
              <a:gd name="connsiteX180" fmla="*/ 2757205 w 4953849"/>
              <a:gd name="connsiteY180" fmla="*/ 1470777 h 2831069"/>
              <a:gd name="connsiteX181" fmla="*/ 2771007 w 4953849"/>
              <a:gd name="connsiteY181" fmla="*/ 1538959 h 2831069"/>
              <a:gd name="connsiteX182" fmla="*/ 2766406 w 4953849"/>
              <a:gd name="connsiteY182" fmla="*/ 1598664 h 2831069"/>
              <a:gd name="connsiteX183" fmla="*/ 2731445 w 4953849"/>
              <a:gd name="connsiteY183" fmla="*/ 1657789 h 2831069"/>
              <a:gd name="connsiteX184" fmla="*/ 2671014 w 4953849"/>
              <a:gd name="connsiteY184" fmla="*/ 1692460 h 2831069"/>
              <a:gd name="connsiteX185" fmla="*/ 2635618 w 4953849"/>
              <a:gd name="connsiteY185" fmla="*/ 1717349 h 2831069"/>
              <a:gd name="connsiteX186" fmla="*/ 2609008 w 4953849"/>
              <a:gd name="connsiteY186" fmla="*/ 1768848 h 2831069"/>
              <a:gd name="connsiteX187" fmla="*/ 2604988 w 4953849"/>
              <a:gd name="connsiteY187" fmla="*/ 1813156 h 2831069"/>
              <a:gd name="connsiteX188" fmla="*/ 2623681 w 4953849"/>
              <a:gd name="connsiteY188" fmla="*/ 1838045 h 2831069"/>
              <a:gd name="connsiteX189" fmla="*/ 2656922 w 4953849"/>
              <a:gd name="connsiteY189" fmla="*/ 1874581 h 2831069"/>
              <a:gd name="connsiteX190" fmla="*/ 2692173 w 4953849"/>
              <a:gd name="connsiteY190" fmla="*/ 1930971 h 2831069"/>
              <a:gd name="connsiteX191" fmla="*/ 2750013 w 4953849"/>
              <a:gd name="connsiteY191" fmla="*/ 1970678 h 2831069"/>
              <a:gd name="connsiteX192" fmla="*/ 2770012 w 4953849"/>
              <a:gd name="connsiteY192" fmla="*/ 2016996 h 2831069"/>
              <a:gd name="connsiteX193" fmla="*/ 2716918 w 4953849"/>
              <a:gd name="connsiteY193" fmla="*/ 2105031 h 2831069"/>
              <a:gd name="connsiteX194" fmla="*/ 2669584 w 4953849"/>
              <a:gd name="connsiteY194" fmla="*/ 2099269 h 2831069"/>
              <a:gd name="connsiteX195" fmla="*/ 2607143 w 4953849"/>
              <a:gd name="connsiteY195" fmla="*/ 1994386 h 2831069"/>
              <a:gd name="connsiteX196" fmla="*/ 2604843 w 4953849"/>
              <a:gd name="connsiteY196" fmla="*/ 1948773 h 2831069"/>
              <a:gd name="connsiteX197" fmla="*/ 2659077 w 4953849"/>
              <a:gd name="connsiteY197" fmla="*/ 1910226 h 2831069"/>
              <a:gd name="connsiteX198" fmla="*/ 2715467 w 4953849"/>
              <a:gd name="connsiteY198" fmla="*/ 1918288 h 2831069"/>
              <a:gd name="connsiteX199" fmla="*/ 2813014 w 4953849"/>
              <a:gd name="connsiteY199" fmla="*/ 1988065 h 2831069"/>
              <a:gd name="connsiteX200" fmla="*/ 2867538 w 4953849"/>
              <a:gd name="connsiteY200" fmla="*/ 2070650 h 2831069"/>
              <a:gd name="connsiteX201" fmla="*/ 2863932 w 4953849"/>
              <a:gd name="connsiteY201" fmla="*/ 2126190 h 2831069"/>
              <a:gd name="connsiteX202" fmla="*/ 2828681 w 4953849"/>
              <a:gd name="connsiteY202" fmla="*/ 2203448 h 2831069"/>
              <a:gd name="connsiteX203" fmla="*/ 2792145 w 4953849"/>
              <a:gd name="connsiteY203" fmla="*/ 2248771 h 2831069"/>
              <a:gd name="connsiteX204" fmla="*/ 2751008 w 4953849"/>
              <a:gd name="connsiteY204" fmla="*/ 2226907 h 2831069"/>
              <a:gd name="connsiteX205" fmla="*/ 2736916 w 4953849"/>
              <a:gd name="connsiteY205" fmla="*/ 2197417 h 2831069"/>
              <a:gd name="connsiteX206" fmla="*/ 2742967 w 4953849"/>
              <a:gd name="connsiteY206" fmla="*/ 2172093 h 2831069"/>
              <a:gd name="connsiteX207" fmla="*/ 2779649 w 4953849"/>
              <a:gd name="connsiteY207" fmla="*/ 2127640 h 2831069"/>
              <a:gd name="connsiteX208" fmla="*/ 2838048 w 4953849"/>
              <a:gd name="connsiteY208" fmla="*/ 2086068 h 2831069"/>
              <a:gd name="connsiteX209" fmla="*/ 2884221 w 4953849"/>
              <a:gd name="connsiteY209" fmla="*/ 2048372 h 2831069"/>
              <a:gd name="connsiteX210" fmla="*/ 2908675 w 4953849"/>
              <a:gd name="connsiteY210" fmla="*/ 2028228 h 2831069"/>
              <a:gd name="connsiteX211" fmla="*/ 2915866 w 4953849"/>
              <a:gd name="connsiteY211" fmla="*/ 2043481 h 2831069"/>
              <a:gd name="connsiteX212" fmla="*/ 2919597 w 4953849"/>
              <a:gd name="connsiteY212" fmla="*/ 2107062 h 2831069"/>
              <a:gd name="connsiteX213" fmla="*/ 2912261 w 4953849"/>
              <a:gd name="connsiteY213" fmla="*/ 2164902 h 2831069"/>
              <a:gd name="connsiteX214" fmla="*/ 2886086 w 4953849"/>
              <a:gd name="connsiteY214" fmla="*/ 2266469 h 2831069"/>
              <a:gd name="connsiteX215" fmla="*/ 2892987 w 4953849"/>
              <a:gd name="connsiteY215" fmla="*/ 2328330 h 2831069"/>
              <a:gd name="connsiteX216" fmla="*/ 2920467 w 4953849"/>
              <a:gd name="connsiteY216" fmla="*/ 2353074 h 2831069"/>
              <a:gd name="connsiteX217" fmla="*/ 2956154 w 4953849"/>
              <a:gd name="connsiteY217" fmla="*/ 2367457 h 2831069"/>
              <a:gd name="connsiteX218" fmla="*/ 2991260 w 4953849"/>
              <a:gd name="connsiteY218" fmla="*/ 2382710 h 2831069"/>
              <a:gd name="connsiteX219" fmla="*/ 3016439 w 4953849"/>
              <a:gd name="connsiteY219" fmla="*/ 2415225 h 2831069"/>
              <a:gd name="connsiteX220" fmla="*/ 3023630 w 4953849"/>
              <a:gd name="connsiteY220" fmla="*/ 2463843 h 2831069"/>
              <a:gd name="connsiteX221" fmla="*/ 2992980 w 4953849"/>
              <a:gd name="connsiteY221" fmla="*/ 2507156 h 2831069"/>
              <a:gd name="connsiteX222" fmla="*/ 2947305 w 4953849"/>
              <a:gd name="connsiteY222" fmla="*/ 2522844 h 2831069"/>
              <a:gd name="connsiteX223" fmla="*/ 2902417 w 4953849"/>
              <a:gd name="connsiteY223" fmla="*/ 2523860 h 2831069"/>
              <a:gd name="connsiteX224" fmla="*/ 2846960 w 4953849"/>
              <a:gd name="connsiteY224" fmla="*/ 2540832 h 2831069"/>
              <a:gd name="connsiteX225" fmla="*/ 2800642 w 4953849"/>
              <a:gd name="connsiteY225" fmla="*/ 2536667 h 2831069"/>
              <a:gd name="connsiteX226" fmla="*/ 2802010 w 4953849"/>
              <a:gd name="connsiteY226" fmla="*/ 2519549 h 2831069"/>
              <a:gd name="connsiteX227" fmla="*/ 2850068 w 4953849"/>
              <a:gd name="connsiteY227" fmla="*/ 2497893 h 2831069"/>
              <a:gd name="connsiteX228" fmla="*/ 2877113 w 4953849"/>
              <a:gd name="connsiteY228" fmla="*/ 2480277 h 2831069"/>
              <a:gd name="connsiteX229" fmla="*/ 2861508 w 4953849"/>
              <a:gd name="connsiteY229" fmla="*/ 2474102 h 2831069"/>
              <a:gd name="connsiteX230" fmla="*/ 2788208 w 4953849"/>
              <a:gd name="connsiteY230" fmla="*/ 2503094 h 2831069"/>
              <a:gd name="connsiteX231" fmla="*/ 2755982 w 4953849"/>
              <a:gd name="connsiteY231" fmla="*/ 2503820 h 2831069"/>
              <a:gd name="connsiteX232" fmla="*/ 2757412 w 4953849"/>
              <a:gd name="connsiteY232" fmla="*/ 2490515 h 2831069"/>
              <a:gd name="connsiteX233" fmla="*/ 2782509 w 4953849"/>
              <a:gd name="connsiteY233" fmla="*/ 2478495 h 2831069"/>
              <a:gd name="connsiteX234" fmla="*/ 2830629 w 4953849"/>
              <a:gd name="connsiteY234" fmla="*/ 2445109 h 2831069"/>
              <a:gd name="connsiteX235" fmla="*/ 2827168 w 4953849"/>
              <a:gd name="connsiteY235" fmla="*/ 2435120 h 2831069"/>
              <a:gd name="connsiteX236" fmla="*/ 2772996 w 4953849"/>
              <a:gd name="connsiteY236" fmla="*/ 2461812 h 2831069"/>
              <a:gd name="connsiteX237" fmla="*/ 2742056 w 4953849"/>
              <a:gd name="connsiteY237" fmla="*/ 2459719 h 2831069"/>
              <a:gd name="connsiteX238" fmla="*/ 2745371 w 4953849"/>
              <a:gd name="connsiteY238" fmla="*/ 2438933 h 2831069"/>
              <a:gd name="connsiteX239" fmla="*/ 2783275 w 4953849"/>
              <a:gd name="connsiteY239" fmla="*/ 2411308 h 2831069"/>
              <a:gd name="connsiteX240" fmla="*/ 2798735 w 4953849"/>
              <a:gd name="connsiteY240" fmla="*/ 2393175 h 2831069"/>
              <a:gd name="connsiteX241" fmla="*/ 2787005 w 4953849"/>
              <a:gd name="connsiteY241" fmla="*/ 2385984 h 2831069"/>
              <a:gd name="connsiteX242" fmla="*/ 2748812 w 4953849"/>
              <a:gd name="connsiteY242" fmla="*/ 2403392 h 2831069"/>
              <a:gd name="connsiteX243" fmla="*/ 2723632 w 4953849"/>
              <a:gd name="connsiteY243" fmla="*/ 2405257 h 2831069"/>
              <a:gd name="connsiteX244" fmla="*/ 2722907 w 4953849"/>
              <a:gd name="connsiteY244" fmla="*/ 2382461 h 2831069"/>
              <a:gd name="connsiteX245" fmla="*/ 2764624 w 4953849"/>
              <a:gd name="connsiteY245" fmla="*/ 2341469 h 2831069"/>
              <a:gd name="connsiteX246" fmla="*/ 2841157 w 4953849"/>
              <a:gd name="connsiteY246" fmla="*/ 2306218 h 2831069"/>
              <a:gd name="connsiteX247" fmla="*/ 2891226 w 4953849"/>
              <a:gd name="connsiteY247" fmla="*/ 2303047 h 2831069"/>
              <a:gd name="connsiteX248" fmla="*/ 2918706 w 4953849"/>
              <a:gd name="connsiteY248" fmla="*/ 2295131 h 2831069"/>
              <a:gd name="connsiteX249" fmla="*/ 2948631 w 4953849"/>
              <a:gd name="connsiteY249" fmla="*/ 2243777 h 2831069"/>
              <a:gd name="connsiteX250" fmla="*/ 3012792 w 4953849"/>
              <a:gd name="connsiteY250" fmla="*/ 2156301 h 2831069"/>
              <a:gd name="connsiteX251" fmla="*/ 3090983 w 4953849"/>
              <a:gd name="connsiteY251" fmla="*/ 2074152 h 2831069"/>
              <a:gd name="connsiteX252" fmla="*/ 3109179 w 4953849"/>
              <a:gd name="connsiteY252" fmla="*/ 2041864 h 2831069"/>
              <a:gd name="connsiteX253" fmla="*/ 3108826 w 4953849"/>
              <a:gd name="connsiteY253" fmla="*/ 2021078 h 2831069"/>
              <a:gd name="connsiteX254" fmla="*/ 3123063 w 4953849"/>
              <a:gd name="connsiteY254" fmla="*/ 2001308 h 2831069"/>
              <a:gd name="connsiteX255" fmla="*/ 3178085 w 4953849"/>
              <a:gd name="connsiteY255" fmla="*/ 1963611 h 2831069"/>
              <a:gd name="connsiteX256" fmla="*/ 3248940 w 4953849"/>
              <a:gd name="connsiteY256" fmla="*/ 1914703 h 2831069"/>
              <a:gd name="connsiteX257" fmla="*/ 3296771 w 4953849"/>
              <a:gd name="connsiteY257" fmla="*/ 1881109 h 2831069"/>
              <a:gd name="connsiteX258" fmla="*/ 3326261 w 4953849"/>
              <a:gd name="connsiteY258" fmla="*/ 1836221 h 2831069"/>
              <a:gd name="connsiteX259" fmla="*/ 3344104 w 4953849"/>
              <a:gd name="connsiteY259" fmla="*/ 1739400 h 2831069"/>
              <a:gd name="connsiteX260" fmla="*/ 3342384 w 4953849"/>
              <a:gd name="connsiteY260" fmla="*/ 1654225 h 2831069"/>
              <a:gd name="connsiteX261" fmla="*/ 3329577 w 4953849"/>
              <a:gd name="connsiteY261" fmla="*/ 1586312 h 2831069"/>
              <a:gd name="connsiteX262" fmla="*/ 3284544 w 4953849"/>
              <a:gd name="connsiteY262" fmla="*/ 1511499 h 2831069"/>
              <a:gd name="connsiteX263" fmla="*/ 3228734 w 4953849"/>
              <a:gd name="connsiteY263" fmla="*/ 1463296 h 2831069"/>
              <a:gd name="connsiteX264" fmla="*/ 3168884 w 4953849"/>
              <a:gd name="connsiteY264" fmla="*/ 1445017 h 2831069"/>
              <a:gd name="connsiteX265" fmla="*/ 3109904 w 4953849"/>
              <a:gd name="connsiteY265" fmla="*/ 1434655 h 2831069"/>
              <a:gd name="connsiteX266" fmla="*/ 3045743 w 4953849"/>
              <a:gd name="connsiteY266" fmla="*/ 1420708 h 2831069"/>
              <a:gd name="connsiteX267" fmla="*/ 2962599 w 4953849"/>
              <a:gd name="connsiteY267" fmla="*/ 1428044 h 2831069"/>
              <a:gd name="connsiteX268" fmla="*/ 2905339 w 4953849"/>
              <a:gd name="connsiteY268" fmla="*/ 1469036 h 2831069"/>
              <a:gd name="connsiteX269" fmla="*/ 2897132 w 4953849"/>
              <a:gd name="connsiteY269" fmla="*/ 1533923 h 2831069"/>
              <a:gd name="connsiteX270" fmla="*/ 2916840 w 4953849"/>
              <a:gd name="connsiteY270" fmla="*/ 1580240 h 2831069"/>
              <a:gd name="connsiteX271" fmla="*/ 2928487 w 4953849"/>
              <a:gd name="connsiteY271" fmla="*/ 1638081 h 2831069"/>
              <a:gd name="connsiteX272" fmla="*/ 2912799 w 4953849"/>
              <a:gd name="connsiteY272" fmla="*/ 1733037 h 2831069"/>
              <a:gd name="connsiteX273" fmla="*/ 2916820 w 4953849"/>
              <a:gd name="connsiteY273" fmla="*/ 1799063 h 2831069"/>
              <a:gd name="connsiteX274" fmla="*/ 2973790 w 4953849"/>
              <a:gd name="connsiteY274" fmla="*/ 1841216 h 2831069"/>
              <a:gd name="connsiteX275" fmla="*/ 3099521 w 4953849"/>
              <a:gd name="connsiteY275" fmla="*/ 1854168 h 2831069"/>
              <a:gd name="connsiteX276" fmla="*/ 3184261 w 4953849"/>
              <a:gd name="connsiteY276" fmla="*/ 1837050 h 2831069"/>
              <a:gd name="connsiteX277" fmla="*/ 3219512 w 4953849"/>
              <a:gd name="connsiteY277" fmla="*/ 1788577 h 2831069"/>
              <a:gd name="connsiteX278" fmla="*/ 3234330 w 4953849"/>
              <a:gd name="connsiteY278" fmla="*/ 1758507 h 2831069"/>
              <a:gd name="connsiteX279" fmla="*/ 3249293 w 4953849"/>
              <a:gd name="connsiteY279" fmla="*/ 1758507 h 2831069"/>
              <a:gd name="connsiteX280" fmla="*/ 3253748 w 4953849"/>
              <a:gd name="connsiteY280" fmla="*/ 1787562 h 2831069"/>
              <a:gd name="connsiteX281" fmla="*/ 3227843 w 4953849"/>
              <a:gd name="connsiteY281" fmla="*/ 1819497 h 2831069"/>
              <a:gd name="connsiteX282" fmla="*/ 3199493 w 4953849"/>
              <a:gd name="connsiteY282" fmla="*/ 1806110 h 2831069"/>
              <a:gd name="connsiteX283" fmla="*/ 3207700 w 4953849"/>
              <a:gd name="connsiteY283" fmla="*/ 1762092 h 2831069"/>
              <a:gd name="connsiteX284" fmla="*/ 3237480 w 4953849"/>
              <a:gd name="connsiteY284" fmla="*/ 1731297 h 2831069"/>
              <a:gd name="connsiteX285" fmla="*/ 3262079 w 4953849"/>
              <a:gd name="connsiteY285" fmla="*/ 1696626 h 2831069"/>
              <a:gd name="connsiteX286" fmla="*/ 3239345 w 4953849"/>
              <a:gd name="connsiteY286" fmla="*/ 1625563 h 2831069"/>
              <a:gd name="connsiteX287" fmla="*/ 3190872 w 4953849"/>
              <a:gd name="connsiteY287" fmla="*/ 1549175 h 2831069"/>
              <a:gd name="connsiteX288" fmla="*/ 3108287 w 4953849"/>
              <a:gd name="connsiteY288" fmla="*/ 1512349 h 2831069"/>
              <a:gd name="connsiteX289" fmla="*/ 3016211 w 4953849"/>
              <a:gd name="connsiteY289" fmla="*/ 1521260 h 2831069"/>
              <a:gd name="connsiteX290" fmla="*/ 2949750 w 4953849"/>
              <a:gd name="connsiteY290" fmla="*/ 1574624 h 2831069"/>
              <a:gd name="connsiteX291" fmla="*/ 2928322 w 4953849"/>
              <a:gd name="connsiteY291" fmla="*/ 1608280 h 2831069"/>
              <a:gd name="connsiteX292" fmla="*/ 2906168 w 4953849"/>
              <a:gd name="connsiteY292" fmla="*/ 1663384 h 2831069"/>
              <a:gd name="connsiteX293" fmla="*/ 2886749 w 4953849"/>
              <a:gd name="connsiteY293" fmla="*/ 1760351 h 2831069"/>
              <a:gd name="connsiteX294" fmla="*/ 2902437 w 4953849"/>
              <a:gd name="connsiteY294" fmla="*/ 1829693 h 2831069"/>
              <a:gd name="connsiteX295" fmla="*/ 2933088 w 4953849"/>
              <a:gd name="connsiteY295" fmla="*/ 1880115 h 2831069"/>
              <a:gd name="connsiteX296" fmla="*/ 2952361 w 4953849"/>
              <a:gd name="connsiteY296" fmla="*/ 1939737 h 2831069"/>
              <a:gd name="connsiteX297" fmla="*/ 2957107 w 4953849"/>
              <a:gd name="connsiteY297" fmla="*/ 1996769 h 2831069"/>
              <a:gd name="connsiteX298" fmla="*/ 2939554 w 4953849"/>
              <a:gd name="connsiteY298" fmla="*/ 2060205 h 2831069"/>
              <a:gd name="connsiteX299" fmla="*/ 2942434 w 4953849"/>
              <a:gd name="connsiteY299" fmla="*/ 2092430 h 2831069"/>
              <a:gd name="connsiteX300" fmla="*/ 2981561 w 4953849"/>
              <a:gd name="connsiteY300" fmla="*/ 2073157 h 2831069"/>
              <a:gd name="connsiteX301" fmla="*/ 3077305 w 4953849"/>
              <a:gd name="connsiteY301" fmla="*/ 2002592 h 2831069"/>
              <a:gd name="connsiteX302" fmla="*/ 3147808 w 4953849"/>
              <a:gd name="connsiteY302" fmla="*/ 1957705 h 2831069"/>
              <a:gd name="connsiteX303" fmla="*/ 3207078 w 4953849"/>
              <a:gd name="connsiteY303" fmla="*/ 1927987 h 2831069"/>
              <a:gd name="connsiteX304" fmla="*/ 3233480 w 4953849"/>
              <a:gd name="connsiteY304" fmla="*/ 1933520 h 2831069"/>
              <a:gd name="connsiteX305" fmla="*/ 3262038 w 4953849"/>
              <a:gd name="connsiteY305" fmla="*/ 1986034 h 2831069"/>
              <a:gd name="connsiteX306" fmla="*/ 3303838 w 4953849"/>
              <a:gd name="connsiteY306" fmla="*/ 2024809 h 2831069"/>
              <a:gd name="connsiteX307" fmla="*/ 3333266 w 4953849"/>
              <a:gd name="connsiteY307" fmla="*/ 2039129 h 2831069"/>
              <a:gd name="connsiteX308" fmla="*/ 3325639 w 4953849"/>
              <a:gd name="connsiteY308" fmla="*/ 2056392 h 2831069"/>
              <a:gd name="connsiteX309" fmla="*/ 3282907 w 4953849"/>
              <a:gd name="connsiteY309" fmla="*/ 2090420 h 2831069"/>
              <a:gd name="connsiteX310" fmla="*/ 3244505 w 4953849"/>
              <a:gd name="connsiteY310" fmla="*/ 2152281 h 2831069"/>
              <a:gd name="connsiteX311" fmla="*/ 3182354 w 4953849"/>
              <a:gd name="connsiteY311" fmla="*/ 2291753 h 2831069"/>
              <a:gd name="connsiteX312" fmla="*/ 3152429 w 4953849"/>
              <a:gd name="connsiteY312" fmla="*/ 2356639 h 2831069"/>
              <a:gd name="connsiteX313" fmla="*/ 3134876 w 4953849"/>
              <a:gd name="connsiteY313" fmla="*/ 2363043 h 2831069"/>
              <a:gd name="connsiteX314" fmla="*/ 3093304 w 4953849"/>
              <a:gd name="connsiteY314" fmla="*/ 2345054 h 2831069"/>
              <a:gd name="connsiteX315" fmla="*/ 3040147 w 4953849"/>
              <a:gd name="connsiteY315" fmla="*/ 2330174 h 2831069"/>
              <a:gd name="connsiteX316" fmla="*/ 2998720 w 4953849"/>
              <a:gd name="connsiteY316" fmla="*/ 2333345 h 2831069"/>
              <a:gd name="connsiteX317" fmla="*/ 2965334 w 4953849"/>
              <a:gd name="connsiteY317" fmla="*/ 2345075 h 2831069"/>
              <a:gd name="connsiteX318" fmla="*/ 2943035 w 4953849"/>
              <a:gd name="connsiteY318" fmla="*/ 2341759 h 2831069"/>
              <a:gd name="connsiteX319" fmla="*/ 2942745 w 4953849"/>
              <a:gd name="connsiteY319" fmla="*/ 2316435 h 2831069"/>
              <a:gd name="connsiteX320" fmla="*/ 2994244 w 4953849"/>
              <a:gd name="connsiteY320" fmla="*/ 2230907 h 2831069"/>
              <a:gd name="connsiteX321" fmla="*/ 3114090 w 4953849"/>
              <a:gd name="connsiteY321" fmla="*/ 2086462 h 2831069"/>
              <a:gd name="connsiteX322" fmla="*/ 3241272 w 4953849"/>
              <a:gd name="connsiteY322" fmla="*/ 2009494 h 2831069"/>
              <a:gd name="connsiteX323" fmla="*/ 3315940 w 4953849"/>
              <a:gd name="connsiteY323" fmla="*/ 2007773 h 2831069"/>
              <a:gd name="connsiteX324" fmla="*/ 3395644 w 4953849"/>
              <a:gd name="connsiteY324" fmla="*/ 2040579 h 2831069"/>
              <a:gd name="connsiteX325" fmla="*/ 3436636 w 4953849"/>
              <a:gd name="connsiteY325" fmla="*/ 2094378 h 2831069"/>
              <a:gd name="connsiteX326" fmla="*/ 3461815 w 4953849"/>
              <a:gd name="connsiteY326" fmla="*/ 2161420 h 2831069"/>
              <a:gd name="connsiteX327" fmla="*/ 3478643 w 4953849"/>
              <a:gd name="connsiteY327" fmla="*/ 2191781 h 2831069"/>
              <a:gd name="connsiteX328" fmla="*/ 3484695 w 4953849"/>
              <a:gd name="connsiteY328" fmla="*/ 2185874 h 2831069"/>
              <a:gd name="connsiteX329" fmla="*/ 3477939 w 4953849"/>
              <a:gd name="connsiteY329" fmla="*/ 2138106 h 2831069"/>
              <a:gd name="connsiteX330" fmla="*/ 3446003 w 4953849"/>
              <a:gd name="connsiteY330" fmla="*/ 2073364 h 2831069"/>
              <a:gd name="connsiteX331" fmla="*/ 3372910 w 4953849"/>
              <a:gd name="connsiteY331" fmla="*/ 2059127 h 2831069"/>
              <a:gd name="connsiteX332" fmla="*/ 3296377 w 4953849"/>
              <a:gd name="connsiteY332" fmla="*/ 2115517 h 2831069"/>
              <a:gd name="connsiteX333" fmla="*/ 3247904 w 4953849"/>
              <a:gd name="connsiteY333" fmla="*/ 2216504 h 2831069"/>
              <a:gd name="connsiteX334" fmla="*/ 3236962 w 4953849"/>
              <a:gd name="connsiteY334" fmla="*/ 2315771 h 2831069"/>
              <a:gd name="connsiteX335" fmla="*/ 3213502 w 4953849"/>
              <a:gd name="connsiteY335" fmla="*/ 2398211 h 2831069"/>
              <a:gd name="connsiteX336" fmla="*/ 3112370 w 4953849"/>
              <a:gd name="connsiteY336" fmla="*/ 2384554 h 2831069"/>
              <a:gd name="connsiteX337" fmla="*/ 3019859 w 4953849"/>
              <a:gd name="connsiteY337" fmla="*/ 2352183 h 2831069"/>
              <a:gd name="connsiteX338" fmla="*/ 3002741 w 4953849"/>
              <a:gd name="connsiteY338" fmla="*/ 2359229 h 2831069"/>
              <a:gd name="connsiteX339" fmla="*/ 3024169 w 4953849"/>
              <a:gd name="connsiteY339" fmla="*/ 2385549 h 2831069"/>
              <a:gd name="connsiteX340" fmla="*/ 3044603 w 4953849"/>
              <a:gd name="connsiteY340" fmla="*/ 2430727 h 2831069"/>
              <a:gd name="connsiteX341" fmla="*/ 3039422 w 4953849"/>
              <a:gd name="connsiteY341" fmla="*/ 2486412 h 2831069"/>
              <a:gd name="connsiteX342" fmla="*/ 3009932 w 4953849"/>
              <a:gd name="connsiteY342" fmla="*/ 2562364 h 2831069"/>
              <a:gd name="connsiteX343" fmla="*/ 3025185 w 4953849"/>
              <a:gd name="connsiteY343" fmla="*/ 2634587 h 2831069"/>
              <a:gd name="connsiteX344" fmla="*/ 3089346 w 4953849"/>
              <a:gd name="connsiteY344" fmla="*/ 2669984 h 2831069"/>
              <a:gd name="connsiteX345" fmla="*/ 3190043 w 4953849"/>
              <a:gd name="connsiteY345" fmla="*/ 2685526 h 2831069"/>
              <a:gd name="connsiteX346" fmla="*/ 3305703 w 4953849"/>
              <a:gd name="connsiteY346" fmla="*/ 2710706 h 2831069"/>
              <a:gd name="connsiteX347" fmla="*/ 3329888 w 4953849"/>
              <a:gd name="connsiteY347" fmla="*/ 2737274 h 2831069"/>
              <a:gd name="connsiteX348" fmla="*/ 3307506 w 4953849"/>
              <a:gd name="connsiteY348" fmla="*/ 2775385 h 2831069"/>
              <a:gd name="connsiteX349" fmla="*/ 3339690 w 4953849"/>
              <a:gd name="connsiteY349" fmla="*/ 2784130 h 2831069"/>
              <a:gd name="connsiteX350" fmla="*/ 3569787 w 4953849"/>
              <a:gd name="connsiteY350" fmla="*/ 2784130 h 2831069"/>
              <a:gd name="connsiteX351" fmla="*/ 4047119 w 4953849"/>
              <a:gd name="connsiteY351" fmla="*/ 2782162 h 2831069"/>
              <a:gd name="connsiteX352" fmla="*/ 4168188 w 4953849"/>
              <a:gd name="connsiteY352" fmla="*/ 2759884 h 2831069"/>
              <a:gd name="connsiteX353" fmla="*/ 4160686 w 4953849"/>
              <a:gd name="connsiteY353" fmla="*/ 2692303 h 2831069"/>
              <a:gd name="connsiteX354" fmla="*/ 4113788 w 4953849"/>
              <a:gd name="connsiteY354" fmla="*/ 2631872 h 2831069"/>
              <a:gd name="connsiteX355" fmla="*/ 3972513 w 4953849"/>
              <a:gd name="connsiteY355" fmla="*/ 2565701 h 2831069"/>
              <a:gd name="connsiteX356" fmla="*/ 3904332 w 4953849"/>
              <a:gd name="connsiteY356" fmla="*/ 2476651 h 2831069"/>
              <a:gd name="connsiteX357" fmla="*/ 3945469 w 4953849"/>
              <a:gd name="connsiteY357" fmla="*/ 2186330 h 2831069"/>
              <a:gd name="connsiteX358" fmla="*/ 3974814 w 4953849"/>
              <a:gd name="connsiteY358" fmla="*/ 1978159 h 2831069"/>
              <a:gd name="connsiteX359" fmla="*/ 4012511 w 4953849"/>
              <a:gd name="connsiteY359" fmla="*/ 1883202 h 2831069"/>
              <a:gd name="connsiteX360" fmla="*/ 4080422 w 4953849"/>
              <a:gd name="connsiteY360" fmla="*/ 1837175 h 2831069"/>
              <a:gd name="connsiteX361" fmla="*/ 4124150 w 4953849"/>
              <a:gd name="connsiteY361" fmla="*/ 1758051 h 2831069"/>
              <a:gd name="connsiteX362" fmla="*/ 4151775 w 4953849"/>
              <a:gd name="connsiteY362" fmla="*/ 1632029 h 2831069"/>
              <a:gd name="connsiteX363" fmla="*/ 4174799 w 4953849"/>
              <a:gd name="connsiteY363" fmla="*/ 1561817 h 2831069"/>
              <a:gd name="connsiteX364" fmla="*/ 4187461 w 4953849"/>
              <a:gd name="connsiteY364" fmla="*/ 1548305 h 2831069"/>
              <a:gd name="connsiteX365" fmla="*/ 4177099 w 4953849"/>
              <a:gd name="connsiteY365" fmla="*/ 1616217 h 2831069"/>
              <a:gd name="connsiteX366" fmla="*/ 4136522 w 4953849"/>
              <a:gd name="connsiteY366" fmla="*/ 1792308 h 2831069"/>
              <a:gd name="connsiteX367" fmla="*/ 4056528 w 4953849"/>
              <a:gd name="connsiteY367" fmla="*/ 1905377 h 2831069"/>
              <a:gd name="connsiteX368" fmla="*/ 3965032 w 4953849"/>
              <a:gd name="connsiteY368" fmla="*/ 1918329 h 2831069"/>
              <a:gd name="connsiteX369" fmla="*/ 3885473 w 4953849"/>
              <a:gd name="connsiteY369" fmla="*/ 1822813 h 2831069"/>
              <a:gd name="connsiteX370" fmla="*/ 3864335 w 4953849"/>
              <a:gd name="connsiteY370" fmla="*/ 1673912 h 2831069"/>
              <a:gd name="connsiteX371" fmla="*/ 3858864 w 4953849"/>
              <a:gd name="connsiteY371" fmla="*/ 1541984 h 2831069"/>
              <a:gd name="connsiteX372" fmla="*/ 3853973 w 4953849"/>
              <a:gd name="connsiteY372" fmla="*/ 1415527 h 2831069"/>
              <a:gd name="connsiteX373" fmla="*/ 3827363 w 4953849"/>
              <a:gd name="connsiteY373" fmla="*/ 1246918 h 2831069"/>
              <a:gd name="connsiteX374" fmla="*/ 3814991 w 4953849"/>
              <a:gd name="connsiteY374" fmla="*/ 1142615 h 2831069"/>
              <a:gd name="connsiteX375" fmla="*/ 3809375 w 4953849"/>
              <a:gd name="connsiteY375" fmla="*/ 1065211 h 2831069"/>
              <a:gd name="connsiteX376" fmla="*/ 3784776 w 4953849"/>
              <a:gd name="connsiteY376" fmla="*/ 939335 h 2831069"/>
              <a:gd name="connsiteX377" fmla="*/ 3736863 w 4953849"/>
              <a:gd name="connsiteY377" fmla="*/ 796630 h 2831069"/>
              <a:gd name="connsiteX378" fmla="*/ 3710958 w 4953849"/>
              <a:gd name="connsiteY378" fmla="*/ 692327 h 2831069"/>
              <a:gd name="connsiteX379" fmla="*/ 3719724 w 4953849"/>
              <a:gd name="connsiteY379" fmla="*/ 643564 h 2831069"/>
              <a:gd name="connsiteX380" fmla="*/ 3774248 w 4953849"/>
              <a:gd name="connsiteY380" fmla="*/ 635647 h 2831069"/>
              <a:gd name="connsiteX381" fmla="*/ 3823011 w 4953849"/>
              <a:gd name="connsiteY381" fmla="*/ 621700 h 2831069"/>
              <a:gd name="connsiteX382" fmla="*/ 3858843 w 4953849"/>
              <a:gd name="connsiteY382" fmla="*/ 587174 h 2831069"/>
              <a:gd name="connsiteX383" fmla="*/ 3871505 w 4953849"/>
              <a:gd name="connsiteY383" fmla="*/ 534080 h 2831069"/>
              <a:gd name="connsiteX384" fmla="*/ 3854823 w 4953849"/>
              <a:gd name="connsiteY384" fmla="*/ 480426 h 2831069"/>
              <a:gd name="connsiteX385" fmla="*/ 3790226 w 4953849"/>
              <a:gd name="connsiteY385" fmla="*/ 360020 h 2831069"/>
              <a:gd name="connsiteX386" fmla="*/ 3746789 w 4953849"/>
              <a:gd name="connsiteY386" fmla="*/ 280171 h 2831069"/>
              <a:gd name="connsiteX387" fmla="*/ 3683913 w 4953849"/>
              <a:gd name="connsiteY387" fmla="*/ 213564 h 2831069"/>
              <a:gd name="connsiteX388" fmla="*/ 3633844 w 4953849"/>
              <a:gd name="connsiteY388" fmla="*/ 194291 h 2831069"/>
              <a:gd name="connsiteX389" fmla="*/ 3589537 w 4953849"/>
              <a:gd name="connsiteY389" fmla="*/ 218310 h 2831069"/>
              <a:gd name="connsiteX390" fmla="*/ 3565953 w 4953849"/>
              <a:gd name="connsiteY390" fmla="*/ 264214 h 2831069"/>
              <a:gd name="connsiteX391" fmla="*/ 3565228 w 4953849"/>
              <a:gd name="connsiteY391" fmla="*/ 308666 h 2831069"/>
              <a:gd name="connsiteX392" fmla="*/ 3587817 w 4953849"/>
              <a:gd name="connsiteY392" fmla="*/ 327794 h 2831069"/>
              <a:gd name="connsiteX393" fmla="*/ 3618467 w 4953849"/>
              <a:gd name="connsiteY393" fmla="*/ 329660 h 2831069"/>
              <a:gd name="connsiteX394" fmla="*/ 3631565 w 4953849"/>
              <a:gd name="connsiteY394" fmla="*/ 299299 h 2831069"/>
              <a:gd name="connsiteX395" fmla="*/ 3635730 w 4953849"/>
              <a:gd name="connsiteY395" fmla="*/ 263053 h 2831069"/>
              <a:gd name="connsiteX396" fmla="*/ 3653863 w 4953849"/>
              <a:gd name="connsiteY396" fmla="*/ 251261 h 2831069"/>
              <a:gd name="connsiteX397" fmla="*/ 3695290 w 4953849"/>
              <a:gd name="connsiteY397" fmla="*/ 262058 h 2831069"/>
              <a:gd name="connsiteX398" fmla="*/ 3728241 w 4953849"/>
              <a:gd name="connsiteY398" fmla="*/ 269975 h 2831069"/>
              <a:gd name="connsiteX399" fmla="*/ 3742479 w 4953849"/>
              <a:gd name="connsiteY399" fmla="*/ 259903 h 2831069"/>
              <a:gd name="connsiteX400" fmla="*/ 3739971 w 4953849"/>
              <a:gd name="connsiteY400" fmla="*/ 230993 h 2831069"/>
              <a:gd name="connsiteX401" fmla="*/ 3711559 w 4953849"/>
              <a:gd name="connsiteY401" fmla="*/ 190851 h 2831069"/>
              <a:gd name="connsiteX402" fmla="*/ 3661573 w 4953849"/>
              <a:gd name="connsiteY402" fmla="*/ 163309 h 2831069"/>
              <a:gd name="connsiteX403" fmla="*/ 3621576 w 4953849"/>
              <a:gd name="connsiteY403" fmla="*/ 157548 h 2831069"/>
              <a:gd name="connsiteX404" fmla="*/ 3593599 w 4953849"/>
              <a:gd name="connsiteY404" fmla="*/ 169485 h 2831069"/>
              <a:gd name="connsiteX405" fmla="*/ 3562948 w 4953849"/>
              <a:gd name="connsiteY405" fmla="*/ 176469 h 2831069"/>
              <a:gd name="connsiteX406" fmla="*/ 3512092 w 4953849"/>
              <a:gd name="connsiteY406" fmla="*/ 162086 h 2831069"/>
              <a:gd name="connsiteX407" fmla="*/ 3472177 w 4953849"/>
              <a:gd name="connsiteY407" fmla="*/ 137280 h 2831069"/>
              <a:gd name="connsiteX408" fmla="*/ 3430750 w 4953849"/>
              <a:gd name="connsiteY408" fmla="*/ 77222 h 2831069"/>
              <a:gd name="connsiteX409" fmla="*/ 3418959 w 4953849"/>
              <a:gd name="connsiteY409" fmla="*/ 27008 h 2831069"/>
              <a:gd name="connsiteX410" fmla="*/ 3427891 w 4953849"/>
              <a:gd name="connsiteY410" fmla="*/ 1725 h 2831069"/>
              <a:gd name="connsiteX411" fmla="*/ 3450977 w 4953849"/>
              <a:gd name="connsiteY411" fmla="*/ 8461 h 2831069"/>
              <a:gd name="connsiteX412" fmla="*/ 3489482 w 4953849"/>
              <a:gd name="connsiteY412" fmla="*/ 49494 h 2831069"/>
              <a:gd name="connsiteX413" fmla="*/ 3538514 w 4953849"/>
              <a:gd name="connsiteY413" fmla="*/ 104412 h 2831069"/>
              <a:gd name="connsiteX414" fmla="*/ 3573766 w 4953849"/>
              <a:gd name="connsiteY414" fmla="*/ 149010 h 2831069"/>
              <a:gd name="connsiteX415" fmla="*/ 3564709 w 4953849"/>
              <a:gd name="connsiteY415" fmla="*/ 165837 h 2831069"/>
              <a:gd name="connsiteX416" fmla="*/ 3519821 w 4953849"/>
              <a:gd name="connsiteY416" fmla="*/ 172593 h 2831069"/>
              <a:gd name="connsiteX417" fmla="*/ 3508879 w 4953849"/>
              <a:gd name="connsiteY417" fmla="*/ 186976 h 2831069"/>
              <a:gd name="connsiteX418" fmla="*/ 3517646 w 4953849"/>
              <a:gd name="connsiteY418" fmla="*/ 210435 h 2831069"/>
              <a:gd name="connsiteX419" fmla="*/ 3532753 w 4953849"/>
              <a:gd name="connsiteY419" fmla="*/ 240360 h 2831069"/>
              <a:gd name="connsiteX420" fmla="*/ 3543405 w 4953849"/>
              <a:gd name="connsiteY420" fmla="*/ 276606 h 2831069"/>
              <a:gd name="connsiteX421" fmla="*/ 3541395 w 4953849"/>
              <a:gd name="connsiteY421" fmla="*/ 308832 h 2831069"/>
              <a:gd name="connsiteX422" fmla="*/ 3527448 w 4953849"/>
              <a:gd name="connsiteY422" fmla="*/ 318324 h 2831069"/>
              <a:gd name="connsiteX423" fmla="*/ 3517231 w 4953849"/>
              <a:gd name="connsiteY423" fmla="*/ 303216 h 2831069"/>
              <a:gd name="connsiteX424" fmla="*/ 3520112 w 4953849"/>
              <a:gd name="connsiteY424" fmla="*/ 281932 h 2831069"/>
              <a:gd name="connsiteX425" fmla="*/ 3517811 w 4953849"/>
              <a:gd name="connsiteY425" fmla="*/ 253168 h 2831069"/>
              <a:gd name="connsiteX426" fmla="*/ 3497523 w 4953849"/>
              <a:gd name="connsiteY426" fmla="*/ 238640 h 2831069"/>
              <a:gd name="connsiteX427" fmla="*/ 3460261 w 4953849"/>
              <a:gd name="connsiteY427" fmla="*/ 250142 h 2831069"/>
              <a:gd name="connsiteX428" fmla="*/ 3445589 w 4953849"/>
              <a:gd name="connsiteY428" fmla="*/ 281207 h 2831069"/>
              <a:gd name="connsiteX429" fmla="*/ 3459826 w 4953849"/>
              <a:gd name="connsiteY429" fmla="*/ 326820 h 2831069"/>
              <a:gd name="connsiteX430" fmla="*/ 3522847 w 4953849"/>
              <a:gd name="connsiteY430" fmla="*/ 396598 h 2831069"/>
              <a:gd name="connsiteX431" fmla="*/ 3625430 w 4953849"/>
              <a:gd name="connsiteY431" fmla="*/ 455288 h 2831069"/>
              <a:gd name="connsiteX432" fmla="*/ 3703974 w 4953849"/>
              <a:gd name="connsiteY432" fmla="*/ 542183 h 2831069"/>
              <a:gd name="connsiteX433" fmla="*/ 3745111 w 4953849"/>
              <a:gd name="connsiteY433" fmla="*/ 604624 h 2831069"/>
              <a:gd name="connsiteX434" fmla="*/ 3811862 w 4953849"/>
              <a:gd name="connsiteY434" fmla="*/ 595132 h 2831069"/>
              <a:gd name="connsiteX435" fmla="*/ 3888975 w 4953849"/>
              <a:gd name="connsiteY435" fmla="*/ 561746 h 2831069"/>
              <a:gd name="connsiteX436" fmla="*/ 3966379 w 4953849"/>
              <a:gd name="connsiteY436" fmla="*/ 631088 h 2831069"/>
              <a:gd name="connsiteX437" fmla="*/ 4078019 w 4953849"/>
              <a:gd name="connsiteY437" fmla="*/ 831052 h 2831069"/>
              <a:gd name="connsiteX438" fmla="*/ 4169514 w 4953849"/>
              <a:gd name="connsiteY438" fmla="*/ 1008013 h 2831069"/>
              <a:gd name="connsiteX439" fmla="*/ 4209221 w 4953849"/>
              <a:gd name="connsiteY439" fmla="*/ 1141081 h 2831069"/>
              <a:gd name="connsiteX440" fmla="*/ 4202320 w 4953849"/>
              <a:gd name="connsiteY440" fmla="*/ 1265963 h 2831069"/>
              <a:gd name="connsiteX441" fmla="*/ 4206631 w 4953849"/>
              <a:gd name="connsiteY441" fmla="*/ 1370556 h 2831069"/>
              <a:gd name="connsiteX442" fmla="*/ 4229220 w 4953849"/>
              <a:gd name="connsiteY442" fmla="*/ 1502194 h 2831069"/>
              <a:gd name="connsiteX443" fmla="*/ 4273818 w 4953849"/>
              <a:gd name="connsiteY443" fmla="*/ 1683756 h 2831069"/>
              <a:gd name="connsiteX444" fmla="*/ 4322146 w 4953849"/>
              <a:gd name="connsiteY444" fmla="*/ 1899699 h 2831069"/>
              <a:gd name="connsiteX445" fmla="*/ 4316094 w 4953849"/>
              <a:gd name="connsiteY445" fmla="*/ 2160094 h 2831069"/>
              <a:gd name="connsiteX446" fmla="*/ 4269341 w 4953849"/>
              <a:gd name="connsiteY446" fmla="*/ 2458476 h 2831069"/>
              <a:gd name="connsiteX447" fmla="*/ 4217842 w 4953849"/>
              <a:gd name="connsiteY447" fmla="*/ 2693547 h 2831069"/>
              <a:gd name="connsiteX448" fmla="*/ 4137848 w 4953849"/>
              <a:gd name="connsiteY448" fmla="*/ 2723762 h 2831069"/>
              <a:gd name="connsiteX449" fmla="*/ 3960038 w 4953849"/>
              <a:gd name="connsiteY449" fmla="*/ 2656720 h 2831069"/>
              <a:gd name="connsiteX450" fmla="*/ 3734459 w 4953849"/>
              <a:gd name="connsiteY450" fmla="*/ 2611832 h 2831069"/>
              <a:gd name="connsiteX451" fmla="*/ 3562388 w 4953849"/>
              <a:gd name="connsiteY451" fmla="*/ 2636287 h 2831069"/>
              <a:gd name="connsiteX452" fmla="*/ 3474623 w 4953849"/>
              <a:gd name="connsiteY452" fmla="*/ 2663621 h 2831069"/>
              <a:gd name="connsiteX453" fmla="*/ 3445568 w 4953849"/>
              <a:gd name="connsiteY453" fmla="*/ 2610382 h 2831069"/>
              <a:gd name="connsiteX454" fmla="*/ 3452759 w 4953849"/>
              <a:gd name="connsiteY454" fmla="*/ 2529538 h 2831069"/>
              <a:gd name="connsiteX455" fmla="*/ 3481524 w 4953849"/>
              <a:gd name="connsiteY455" fmla="*/ 2410127 h 2831069"/>
              <a:gd name="connsiteX456" fmla="*/ 3545395 w 4953849"/>
              <a:gd name="connsiteY456" fmla="*/ 2234762 h 2831069"/>
              <a:gd name="connsiteX457" fmla="*/ 3665386 w 4953849"/>
              <a:gd name="connsiteY457" fmla="*/ 1982428 h 2831069"/>
              <a:gd name="connsiteX458" fmla="*/ 3752861 w 4953849"/>
              <a:gd name="connsiteY458" fmla="*/ 1790940 h 2831069"/>
              <a:gd name="connsiteX459" fmla="*/ 3821913 w 4953849"/>
              <a:gd name="connsiteY459" fmla="*/ 1698284 h 2831069"/>
              <a:gd name="connsiteX460" fmla="*/ 3849248 w 4953849"/>
              <a:gd name="connsiteY460" fmla="*/ 1632962 h 2831069"/>
              <a:gd name="connsiteX461" fmla="*/ 3831695 w 4953849"/>
              <a:gd name="connsiteY461" fmla="*/ 1607927 h 2831069"/>
              <a:gd name="connsiteX462" fmla="*/ 3750996 w 4953849"/>
              <a:gd name="connsiteY462" fmla="*/ 1653541 h 2831069"/>
              <a:gd name="connsiteX463" fmla="*/ 3690565 w 4953849"/>
              <a:gd name="connsiteY463" fmla="*/ 1626206 h 2831069"/>
              <a:gd name="connsiteX464" fmla="*/ 3644807 w 4953849"/>
              <a:gd name="connsiteY464" fmla="*/ 1571972 h 2831069"/>
              <a:gd name="connsiteX465" fmla="*/ 3629845 w 4953849"/>
              <a:gd name="connsiteY465" fmla="*/ 1525364 h 2831069"/>
              <a:gd name="connsiteX466" fmla="*/ 3651998 w 4953849"/>
              <a:gd name="connsiteY466" fmla="*/ 1480476 h 2831069"/>
              <a:gd name="connsiteX467" fmla="*/ 3699912 w 4953849"/>
              <a:gd name="connsiteY467" fmla="*/ 1471710 h 2831069"/>
              <a:gd name="connsiteX468" fmla="*/ 3784797 w 4953849"/>
              <a:gd name="connsiteY468" fmla="*/ 1491128 h 2831069"/>
              <a:gd name="connsiteX469" fmla="*/ 3838161 w 4953849"/>
              <a:gd name="connsiteY469" fmla="*/ 1495148 h 2831069"/>
              <a:gd name="connsiteX470" fmla="*/ 3845352 w 4953849"/>
              <a:gd name="connsiteY470" fmla="*/ 1468539 h 2831069"/>
              <a:gd name="connsiteX471" fmla="*/ 3823633 w 4953849"/>
              <a:gd name="connsiteY471" fmla="*/ 1383509 h 2831069"/>
              <a:gd name="connsiteX472" fmla="*/ 3808816 w 4953849"/>
              <a:gd name="connsiteY472" fmla="*/ 1282957 h 2831069"/>
              <a:gd name="connsiteX473" fmla="*/ 3804650 w 4953849"/>
              <a:gd name="connsiteY473" fmla="*/ 1207999 h 2831069"/>
              <a:gd name="connsiteX474" fmla="*/ 3785957 w 4953849"/>
              <a:gd name="connsiteY474" fmla="*/ 1175628 h 2831069"/>
              <a:gd name="connsiteX475" fmla="*/ 3720781 w 4953849"/>
              <a:gd name="connsiteY475" fmla="*/ 1175918 h 2831069"/>
              <a:gd name="connsiteX476" fmla="*/ 3636186 w 4953849"/>
              <a:gd name="connsiteY476" fmla="*/ 1209574 h 2831069"/>
              <a:gd name="connsiteX477" fmla="*/ 3585972 w 4953849"/>
              <a:gd name="connsiteY477" fmla="*/ 1260223 h 2831069"/>
              <a:gd name="connsiteX478" fmla="*/ 3565393 w 4953849"/>
              <a:gd name="connsiteY478" fmla="*/ 1297774 h 2831069"/>
              <a:gd name="connsiteX479" fmla="*/ 3554886 w 4953849"/>
              <a:gd name="connsiteY479" fmla="*/ 1286977 h 2831069"/>
              <a:gd name="connsiteX480" fmla="*/ 3550140 w 4953849"/>
              <a:gd name="connsiteY480" fmla="*/ 1234028 h 2831069"/>
              <a:gd name="connsiteX481" fmla="*/ 3588272 w 4953849"/>
              <a:gd name="connsiteY481" fmla="*/ 1171587 h 2831069"/>
              <a:gd name="connsiteX482" fmla="*/ 3670132 w 4953849"/>
              <a:gd name="connsiteY482" fmla="*/ 1136045 h 2831069"/>
              <a:gd name="connsiteX483" fmla="*/ 3749981 w 4953849"/>
              <a:gd name="connsiteY483" fmla="*/ 1132294 h 2831069"/>
              <a:gd name="connsiteX484" fmla="*/ 3788672 w 4953849"/>
              <a:gd name="connsiteY484" fmla="*/ 1125683 h 2831069"/>
              <a:gd name="connsiteX485" fmla="*/ 3787512 w 4953849"/>
              <a:gd name="connsiteY485" fmla="*/ 1074765 h 2831069"/>
              <a:gd name="connsiteX486" fmla="*/ 3777875 w 4953849"/>
              <a:gd name="connsiteY486" fmla="*/ 1036778 h 2831069"/>
              <a:gd name="connsiteX487" fmla="*/ 3743204 w 4953849"/>
              <a:gd name="connsiteY487" fmla="*/ 1022831 h 2831069"/>
              <a:gd name="connsiteX488" fmla="*/ 3674877 w 4953849"/>
              <a:gd name="connsiteY488" fmla="*/ 1035493 h 2831069"/>
              <a:gd name="connsiteX489" fmla="*/ 3624518 w 4953849"/>
              <a:gd name="connsiteY489" fmla="*/ 1081811 h 2831069"/>
              <a:gd name="connsiteX490" fmla="*/ 3586532 w 4953849"/>
              <a:gd name="connsiteY490" fmla="*/ 1120088 h 2831069"/>
              <a:gd name="connsiteX491" fmla="*/ 3523656 w 4953849"/>
              <a:gd name="connsiteY491" fmla="*/ 1152894 h 2831069"/>
              <a:gd name="connsiteX492" fmla="*/ 3478623 w 4953849"/>
              <a:gd name="connsiteY492" fmla="*/ 1194756 h 2831069"/>
              <a:gd name="connsiteX493" fmla="*/ 3471867 w 4953849"/>
              <a:gd name="connsiteY493" fmla="*/ 1239354 h 2831069"/>
              <a:gd name="connsiteX494" fmla="*/ 3494891 w 4953849"/>
              <a:gd name="connsiteY494" fmla="*/ 1279351 h 2831069"/>
              <a:gd name="connsiteX495" fmla="*/ 3531572 w 4953849"/>
              <a:gd name="connsiteY495" fmla="*/ 1309566 h 2831069"/>
              <a:gd name="connsiteX496" fmla="*/ 3544379 w 4953849"/>
              <a:gd name="connsiteY496" fmla="*/ 1331865 h 2831069"/>
              <a:gd name="connsiteX497" fmla="*/ 3533727 w 4953849"/>
              <a:gd name="connsiteY497" fmla="*/ 1376173 h 2831069"/>
              <a:gd name="connsiteX498" fmla="*/ 3537893 w 4953849"/>
              <a:gd name="connsiteY498" fmla="*/ 1437598 h 2831069"/>
              <a:gd name="connsiteX499" fmla="*/ 3564937 w 4953849"/>
              <a:gd name="connsiteY499" fmla="*/ 1526939 h 2831069"/>
              <a:gd name="connsiteX500" fmla="*/ 3622778 w 4953849"/>
              <a:gd name="connsiteY500" fmla="*/ 1590374 h 2831069"/>
              <a:gd name="connsiteX501" fmla="*/ 3668805 w 4953849"/>
              <a:gd name="connsiteY501" fmla="*/ 1652525 h 2831069"/>
              <a:gd name="connsiteX502" fmla="*/ 3691975 w 4953849"/>
              <a:gd name="connsiteY502" fmla="*/ 1709350 h 2831069"/>
              <a:gd name="connsiteX503" fmla="*/ 3693260 w 4953849"/>
              <a:gd name="connsiteY503" fmla="*/ 1751502 h 2831069"/>
              <a:gd name="connsiteX504" fmla="*/ 3673841 w 4953849"/>
              <a:gd name="connsiteY504" fmla="*/ 1786463 h 2831069"/>
              <a:gd name="connsiteX505" fmla="*/ 3625638 w 4953849"/>
              <a:gd name="connsiteY505" fmla="*/ 1826170 h 2831069"/>
              <a:gd name="connsiteX506" fmla="*/ 3574284 w 4953849"/>
              <a:gd name="connsiteY506" fmla="*/ 1865877 h 2831069"/>
              <a:gd name="connsiteX507" fmla="*/ 3547674 w 4953849"/>
              <a:gd name="connsiteY507" fmla="*/ 1897668 h 2831069"/>
              <a:gd name="connsiteX508" fmla="*/ 3556876 w 4953849"/>
              <a:gd name="connsiteY508" fmla="*/ 1913791 h 2831069"/>
              <a:gd name="connsiteX509" fmla="*/ 3577890 w 4953849"/>
              <a:gd name="connsiteY509" fmla="*/ 1937955 h 2831069"/>
              <a:gd name="connsiteX510" fmla="*/ 3575299 w 4953849"/>
              <a:gd name="connsiteY510" fmla="*/ 2004416 h 2831069"/>
              <a:gd name="connsiteX511" fmla="*/ 3539613 w 4953849"/>
              <a:gd name="connsiteY511" fmla="*/ 2109155 h 2831069"/>
              <a:gd name="connsiteX512" fmla="*/ 3449547 w 4953849"/>
              <a:gd name="connsiteY512" fmla="*/ 2331853 h 2831069"/>
              <a:gd name="connsiteX513" fmla="*/ 3384806 w 4953849"/>
              <a:gd name="connsiteY513" fmla="*/ 2574405 h 2831069"/>
              <a:gd name="connsiteX514" fmla="*/ 3372724 w 4953849"/>
              <a:gd name="connsiteY514" fmla="*/ 2764443 h 2831069"/>
              <a:gd name="connsiteX515" fmla="*/ 3519034 w 4953849"/>
              <a:gd name="connsiteY515" fmla="*/ 2824874 h 2831069"/>
              <a:gd name="connsiteX516" fmla="*/ 4167131 w 4953849"/>
              <a:gd name="connsiteY516" fmla="*/ 2831070 h 2831069"/>
              <a:gd name="connsiteX517" fmla="*/ 4953850 w 4953849"/>
              <a:gd name="connsiteY517" fmla="*/ 2831070 h 2831069"/>
              <a:gd name="connsiteX0" fmla="*/ 903127 w 3473630"/>
              <a:gd name="connsiteY0" fmla="*/ 2755096 h 2831071"/>
              <a:gd name="connsiteX1" fmla="*/ 1435419 w 3473630"/>
              <a:gd name="connsiteY1" fmla="*/ 2751076 h 2831071"/>
              <a:gd name="connsiteX2" fmla="*/ 1517133 w 3473630"/>
              <a:gd name="connsiteY2" fmla="*/ 2717420 h 2831071"/>
              <a:gd name="connsiteX3" fmla="*/ 1452972 w 3473630"/>
              <a:gd name="connsiteY3" fmla="*/ 2641468 h 2831071"/>
              <a:gd name="connsiteX4" fmla="*/ 1358885 w 3473630"/>
              <a:gd name="connsiteY4" fmla="*/ 2615293 h 2831071"/>
              <a:gd name="connsiteX5" fmla="*/ 1279762 w 3473630"/>
              <a:gd name="connsiteY5" fmla="*/ 2592559 h 2831071"/>
              <a:gd name="connsiteX6" fmla="*/ 1214875 w 3473630"/>
              <a:gd name="connsiteY6" fmla="*/ 2517746 h 2831071"/>
              <a:gd name="connsiteX7" fmla="*/ 1186256 w 3473630"/>
              <a:gd name="connsiteY7" fmla="*/ 2427970 h 2831071"/>
              <a:gd name="connsiteX8" fmla="*/ 1188411 w 3473630"/>
              <a:gd name="connsiteY8" fmla="*/ 2366980 h 2831071"/>
              <a:gd name="connsiteX9" fmla="*/ 1213736 w 3473630"/>
              <a:gd name="connsiteY9" fmla="*/ 2320662 h 2831071"/>
              <a:gd name="connsiteX10" fmla="*/ 1209570 w 3473630"/>
              <a:gd name="connsiteY10" fmla="*/ 2270448 h 2831071"/>
              <a:gd name="connsiteX11" fmla="*/ 1120810 w 3473630"/>
              <a:gd name="connsiteY11" fmla="*/ 2115662 h 2831071"/>
              <a:gd name="connsiteX12" fmla="*/ 1030184 w 3473630"/>
              <a:gd name="connsiteY12" fmla="*/ 1957124 h 2831071"/>
              <a:gd name="connsiteX13" fmla="*/ 963578 w 3473630"/>
              <a:gd name="connsiteY13" fmla="*/ 1924173 h 2831071"/>
              <a:gd name="connsiteX14" fmla="*/ 805766 w 3473630"/>
              <a:gd name="connsiteY14" fmla="*/ 1954244 h 2831071"/>
              <a:gd name="connsiteX15" fmla="*/ 604931 w 3473630"/>
              <a:gd name="connsiteY15" fmla="*/ 1989060 h 2831071"/>
              <a:gd name="connsiteX16" fmla="*/ 477334 w 3473630"/>
              <a:gd name="connsiteY16" fmla="*/ 1993661 h 2831071"/>
              <a:gd name="connsiteX17" fmla="*/ 361674 w 3473630"/>
              <a:gd name="connsiteY17" fmla="*/ 2000852 h 2831071"/>
              <a:gd name="connsiteX18" fmla="*/ 98689 w 3473630"/>
              <a:gd name="connsiteY18" fmla="*/ 2062567 h 2831071"/>
              <a:gd name="connsiteX19" fmla="*/ 3318 w 3473630"/>
              <a:gd name="connsiteY19" fmla="*/ 2090047 h 2831071"/>
              <a:gd name="connsiteX20" fmla="*/ 45470 w 3473630"/>
              <a:gd name="connsiteY20" fmla="*/ 2164135 h 2831071"/>
              <a:gd name="connsiteX21" fmla="*/ 243279 w 3473630"/>
              <a:gd name="connsiteY21" fmla="*/ 2417629 h 2831071"/>
              <a:gd name="connsiteX22" fmla="*/ 343272 w 3473630"/>
              <a:gd name="connsiteY22" fmla="*/ 2553723 h 2831071"/>
              <a:gd name="connsiteX23" fmla="*/ 396636 w 3473630"/>
              <a:gd name="connsiteY23" fmla="*/ 2608392 h 2831071"/>
              <a:gd name="connsiteX24" fmla="*/ 442104 w 3473630"/>
              <a:gd name="connsiteY24" fmla="*/ 2644348 h 2831071"/>
              <a:gd name="connsiteX25" fmla="*/ 450020 w 3473630"/>
              <a:gd name="connsiteY25" fmla="*/ 2670108 h 2831071"/>
              <a:gd name="connsiteX26" fmla="*/ 431182 w 3473630"/>
              <a:gd name="connsiteY26" fmla="*/ 2687516 h 2831071"/>
              <a:gd name="connsiteX27" fmla="*/ 385009 w 3473630"/>
              <a:gd name="connsiteY27" fmla="*/ 2665507 h 2831071"/>
              <a:gd name="connsiteX28" fmla="*/ 320268 w 3473630"/>
              <a:gd name="connsiteY28" fmla="*/ 2569991 h 2831071"/>
              <a:gd name="connsiteX29" fmla="*/ 307461 w 3473630"/>
              <a:gd name="connsiteY29" fmla="*/ 2513166 h 2831071"/>
              <a:gd name="connsiteX30" fmla="*/ 319398 w 3473630"/>
              <a:gd name="connsiteY30" fmla="*/ 2499923 h 2831071"/>
              <a:gd name="connsiteX31" fmla="*/ 348017 w 3473630"/>
              <a:gd name="connsiteY31" fmla="*/ 2524378 h 2831071"/>
              <a:gd name="connsiteX32" fmla="*/ 378088 w 3473630"/>
              <a:gd name="connsiteY32" fmla="*/ 2562364 h 2831071"/>
              <a:gd name="connsiteX33" fmla="*/ 409733 w 3473630"/>
              <a:gd name="connsiteY33" fmla="*/ 2581348 h 2831071"/>
              <a:gd name="connsiteX34" fmla="*/ 431742 w 3473630"/>
              <a:gd name="connsiteY34" fmla="*/ 2604372 h 2831071"/>
              <a:gd name="connsiteX35" fmla="*/ 455325 w 3473630"/>
              <a:gd name="connsiteY35" fmla="*/ 2623645 h 2831071"/>
              <a:gd name="connsiteX36" fmla="*/ 472008 w 3473630"/>
              <a:gd name="connsiteY36" fmla="*/ 2654005 h 2831071"/>
              <a:gd name="connsiteX37" fmla="*/ 483800 w 3473630"/>
              <a:gd name="connsiteY37" fmla="*/ 2705649 h 2831071"/>
              <a:gd name="connsiteX38" fmla="*/ 515031 w 3473630"/>
              <a:gd name="connsiteY38" fmla="*/ 2761707 h 2831071"/>
              <a:gd name="connsiteX39" fmla="*/ 593926 w 3473630"/>
              <a:gd name="connsiteY39" fmla="*/ 2781975 h 2831071"/>
              <a:gd name="connsiteX40" fmla="*/ 917923 w 3473630"/>
              <a:gd name="connsiteY40" fmla="*/ 2784234 h 2831071"/>
              <a:gd name="connsiteX41" fmla="*/ 1481861 w 3473630"/>
              <a:gd name="connsiteY41" fmla="*/ 2784234 h 2831071"/>
              <a:gd name="connsiteX42" fmla="*/ 1611177 w 3473630"/>
              <a:gd name="connsiteY42" fmla="*/ 2760402 h 2831071"/>
              <a:gd name="connsiteX43" fmla="*/ 1530417 w 3473630"/>
              <a:gd name="connsiteY43" fmla="*/ 2653819 h 2831071"/>
              <a:gd name="connsiteX44" fmla="*/ 1485508 w 3473630"/>
              <a:gd name="connsiteY44" fmla="*/ 2582508 h 2831071"/>
              <a:gd name="connsiteX45" fmla="*/ 1444641 w 3473630"/>
              <a:gd name="connsiteY45" fmla="*/ 2563380 h 2831071"/>
              <a:gd name="connsiteX46" fmla="*/ 1360916 w 3473630"/>
              <a:gd name="connsiteY46" fmla="*/ 2569701 h 2831071"/>
              <a:gd name="connsiteX47" fmla="*/ 1305376 w 3473630"/>
              <a:gd name="connsiteY47" fmla="*/ 2561204 h 2831071"/>
              <a:gd name="connsiteX48" fmla="*/ 1259908 w 3473630"/>
              <a:gd name="connsiteY48" fmla="*/ 2517187 h 2831071"/>
              <a:gd name="connsiteX49" fmla="*/ 1228553 w 3473630"/>
              <a:gd name="connsiteY49" fmla="*/ 2442519 h 2831071"/>
              <a:gd name="connsiteX50" fmla="*/ 1227123 w 3473630"/>
              <a:gd name="connsiteY50" fmla="*/ 2364680 h 2831071"/>
              <a:gd name="connsiteX51" fmla="*/ 1271141 w 3473630"/>
              <a:gd name="connsiteY51" fmla="*/ 2317491 h 2831071"/>
              <a:gd name="connsiteX52" fmla="*/ 1254023 w 3473630"/>
              <a:gd name="connsiteY52" fmla="*/ 2254201 h 2831071"/>
              <a:gd name="connsiteX53" fmla="*/ 1118219 w 3473630"/>
              <a:gd name="connsiteY53" fmla="*/ 2041429 h 2831071"/>
              <a:gd name="connsiteX54" fmla="*/ 1021107 w 3473630"/>
              <a:gd name="connsiteY54" fmla="*/ 1888363 h 2831071"/>
              <a:gd name="connsiteX55" fmla="*/ 969173 w 3473630"/>
              <a:gd name="connsiteY55" fmla="*/ 1865338 h 2831071"/>
              <a:gd name="connsiteX56" fmla="*/ 890050 w 3473630"/>
              <a:gd name="connsiteY56" fmla="*/ 1886477 h 2831071"/>
              <a:gd name="connsiteX57" fmla="*/ 773810 w 3473630"/>
              <a:gd name="connsiteY57" fmla="*/ 1916837 h 2831071"/>
              <a:gd name="connsiteX58" fmla="*/ 552976 w 3473630"/>
              <a:gd name="connsiteY58" fmla="*/ 1960565 h 2831071"/>
              <a:gd name="connsiteX59" fmla="*/ 460465 w 3473630"/>
              <a:gd name="connsiteY59" fmla="*/ 1968771 h 2831071"/>
              <a:gd name="connsiteX60" fmla="*/ 390253 w 3473630"/>
              <a:gd name="connsiteY60" fmla="*/ 1936110 h 2831071"/>
              <a:gd name="connsiteX61" fmla="*/ 237331 w 3473630"/>
              <a:gd name="connsiteY61" fmla="*/ 1817280 h 2831071"/>
              <a:gd name="connsiteX62" fmla="*/ 148861 w 3473630"/>
              <a:gd name="connsiteY62" fmla="*/ 1724478 h 2831071"/>
              <a:gd name="connsiteX63" fmla="*/ 135328 w 3473630"/>
              <a:gd name="connsiteY63" fmla="*/ 1660753 h 2831071"/>
              <a:gd name="connsiteX64" fmla="*/ 160363 w 3473630"/>
              <a:gd name="connsiteY64" fmla="*/ 1619326 h 2831071"/>
              <a:gd name="connsiteX65" fmla="*/ 206536 w 3473630"/>
              <a:gd name="connsiteY65" fmla="*/ 1610829 h 2831071"/>
              <a:gd name="connsiteX66" fmla="*/ 299896 w 3473630"/>
              <a:gd name="connsiteY66" fmla="*/ 1646370 h 2831071"/>
              <a:gd name="connsiteX67" fmla="*/ 372554 w 3473630"/>
              <a:gd name="connsiteY67" fmla="*/ 1668959 h 2831071"/>
              <a:gd name="connsiteX68" fmla="*/ 375725 w 3473630"/>
              <a:gd name="connsiteY68" fmla="*/ 1692688 h 2831071"/>
              <a:gd name="connsiteX69" fmla="*/ 313284 w 3473630"/>
              <a:gd name="connsiteY69" fmla="*/ 1712832 h 2831071"/>
              <a:gd name="connsiteX70" fmla="*/ 211136 w 3473630"/>
              <a:gd name="connsiteY70" fmla="*/ 1685787 h 2831071"/>
              <a:gd name="connsiteX71" fmla="*/ 161358 w 3473630"/>
              <a:gd name="connsiteY71" fmla="*/ 1648235 h 2831071"/>
              <a:gd name="connsiteX72" fmla="*/ 166393 w 3473630"/>
              <a:gd name="connsiteY72" fmla="*/ 1605586 h 2831071"/>
              <a:gd name="connsiteX73" fmla="*/ 200194 w 3473630"/>
              <a:gd name="connsiteY73" fmla="*/ 1577816 h 2831071"/>
              <a:gd name="connsiteX74" fmla="*/ 287234 w 3473630"/>
              <a:gd name="connsiteY74" fmla="*/ 1590830 h 2831071"/>
              <a:gd name="connsiteX75" fmla="*/ 369011 w 3473630"/>
              <a:gd name="connsiteY75" fmla="*/ 1618953 h 2831071"/>
              <a:gd name="connsiteX76" fmla="*/ 419929 w 3473630"/>
              <a:gd name="connsiteY76" fmla="*/ 1621046 h 2831071"/>
              <a:gd name="connsiteX77" fmla="*/ 508627 w 3473630"/>
              <a:gd name="connsiteY77" fmla="*/ 1559682 h 2831071"/>
              <a:gd name="connsiteX78" fmla="*/ 603874 w 3473630"/>
              <a:gd name="connsiteY78" fmla="*/ 1496164 h 2831071"/>
              <a:gd name="connsiteX79" fmla="*/ 672491 w 3473630"/>
              <a:gd name="connsiteY79" fmla="*/ 1469699 h 2831071"/>
              <a:gd name="connsiteX80" fmla="*/ 740320 w 3473630"/>
              <a:gd name="connsiteY80" fmla="*/ 1459835 h 2831071"/>
              <a:gd name="connsiteX81" fmla="*/ 810677 w 3473630"/>
              <a:gd name="connsiteY81" fmla="*/ 1421288 h 2831071"/>
              <a:gd name="connsiteX82" fmla="*/ 854633 w 3473630"/>
              <a:gd name="connsiteY82" fmla="*/ 1394969 h 2831071"/>
              <a:gd name="connsiteX83" fmla="*/ 862984 w 3473630"/>
              <a:gd name="connsiteY83" fmla="*/ 1380214 h 2831071"/>
              <a:gd name="connsiteX84" fmla="*/ 851690 w 3473630"/>
              <a:gd name="connsiteY84" fmla="*/ 1366412 h 2831071"/>
              <a:gd name="connsiteX85" fmla="*/ 827526 w 3473630"/>
              <a:gd name="connsiteY85" fmla="*/ 1363614 h 2831071"/>
              <a:gd name="connsiteX86" fmla="*/ 824293 w 3473630"/>
              <a:gd name="connsiteY86" fmla="*/ 1354910 h 2831071"/>
              <a:gd name="connsiteX87" fmla="*/ 846654 w 3473630"/>
              <a:gd name="connsiteY87" fmla="*/ 1340030 h 2831071"/>
              <a:gd name="connsiteX88" fmla="*/ 880310 w 3473630"/>
              <a:gd name="connsiteY88" fmla="*/ 1319161 h 2831071"/>
              <a:gd name="connsiteX89" fmla="*/ 897365 w 3473630"/>
              <a:gd name="connsiteY89" fmla="*/ 1302831 h 2831071"/>
              <a:gd name="connsiteX90" fmla="*/ 886796 w 3473630"/>
              <a:gd name="connsiteY90" fmla="*/ 1295930 h 2831071"/>
              <a:gd name="connsiteX91" fmla="*/ 844644 w 3473630"/>
              <a:gd name="connsiteY91" fmla="*/ 1306934 h 2831071"/>
              <a:gd name="connsiteX92" fmla="*/ 809538 w 3473630"/>
              <a:gd name="connsiteY92" fmla="*/ 1335347 h 2831071"/>
              <a:gd name="connsiteX93" fmla="*/ 787031 w 3473630"/>
              <a:gd name="connsiteY93" fmla="*/ 1349667 h 2831071"/>
              <a:gd name="connsiteX94" fmla="*/ 782141 w 3473630"/>
              <a:gd name="connsiteY94" fmla="*/ 1343346 h 2831071"/>
              <a:gd name="connsiteX95" fmla="*/ 804585 w 3473630"/>
              <a:gd name="connsiteY95" fmla="*/ 1325296 h 2831071"/>
              <a:gd name="connsiteX96" fmla="*/ 816812 w 3473630"/>
              <a:gd name="connsiteY96" fmla="*/ 1307743 h 2831071"/>
              <a:gd name="connsiteX97" fmla="*/ 811278 w 3473630"/>
              <a:gd name="connsiteY97" fmla="*/ 1290977 h 2831071"/>
              <a:gd name="connsiteX98" fmla="*/ 791715 w 3473630"/>
              <a:gd name="connsiteY98" fmla="*/ 1290832 h 2831071"/>
              <a:gd name="connsiteX99" fmla="*/ 761935 w 3473630"/>
              <a:gd name="connsiteY99" fmla="*/ 1313856 h 2831071"/>
              <a:gd name="connsiteX100" fmla="*/ 742517 w 3473630"/>
              <a:gd name="connsiteY100" fmla="*/ 1324218 h 2831071"/>
              <a:gd name="connsiteX101" fmla="*/ 739864 w 3473630"/>
              <a:gd name="connsiteY101" fmla="*/ 1318457 h 2831071"/>
              <a:gd name="connsiteX102" fmla="*/ 752298 w 3473630"/>
              <a:gd name="connsiteY102" fmla="*/ 1300406 h 2831071"/>
              <a:gd name="connsiteX103" fmla="*/ 772587 w 3473630"/>
              <a:gd name="connsiteY103" fmla="*/ 1280615 h 2831071"/>
              <a:gd name="connsiteX104" fmla="*/ 776110 w 3473630"/>
              <a:gd name="connsiteY104" fmla="*/ 1263994 h 2831071"/>
              <a:gd name="connsiteX105" fmla="*/ 761085 w 3473630"/>
              <a:gd name="connsiteY105" fmla="*/ 1258026 h 2831071"/>
              <a:gd name="connsiteX106" fmla="*/ 718871 w 3473630"/>
              <a:gd name="connsiteY106" fmla="*/ 1273051 h 2831071"/>
              <a:gd name="connsiteX107" fmla="*/ 639602 w 3473630"/>
              <a:gd name="connsiteY107" fmla="*/ 1331181 h 2831071"/>
              <a:gd name="connsiteX108" fmla="*/ 569680 w 3473630"/>
              <a:gd name="connsiteY108" fmla="*/ 1382100 h 2831071"/>
              <a:gd name="connsiteX109" fmla="*/ 456175 w 3473630"/>
              <a:gd name="connsiteY109" fmla="*/ 1442530 h 2831071"/>
              <a:gd name="connsiteX110" fmla="*/ 325408 w 3473630"/>
              <a:gd name="connsiteY110" fmla="*/ 1515188 h 2831071"/>
              <a:gd name="connsiteX111" fmla="*/ 239528 w 3473630"/>
              <a:gd name="connsiteY111" fmla="*/ 1551144 h 2831071"/>
              <a:gd name="connsiteX112" fmla="*/ 218390 w 3473630"/>
              <a:gd name="connsiteY112" fmla="*/ 1575453 h 2831071"/>
              <a:gd name="connsiteX113" fmla="*/ 272914 w 3473630"/>
              <a:gd name="connsiteY113" fmla="*/ 1602208 h 2831071"/>
              <a:gd name="connsiteX114" fmla="*/ 357799 w 3473630"/>
              <a:gd name="connsiteY114" fmla="*/ 1635863 h 2831071"/>
              <a:gd name="connsiteX115" fmla="*/ 403412 w 3473630"/>
              <a:gd name="connsiteY115" fmla="*/ 1653271 h 2831071"/>
              <a:gd name="connsiteX116" fmla="*/ 416075 w 3473630"/>
              <a:gd name="connsiteY116" fmla="*/ 1682036 h 2831071"/>
              <a:gd name="connsiteX117" fmla="*/ 440819 w 3473630"/>
              <a:gd name="connsiteY117" fmla="*/ 1705060 h 2831071"/>
              <a:gd name="connsiteX118" fmla="*/ 514471 w 3473630"/>
              <a:gd name="connsiteY118" fmla="*/ 1733680 h 2831071"/>
              <a:gd name="connsiteX119" fmla="*/ 651290 w 3473630"/>
              <a:gd name="connsiteY119" fmla="*/ 1765905 h 2831071"/>
              <a:gd name="connsiteX120" fmla="*/ 768111 w 3473630"/>
              <a:gd name="connsiteY120" fmla="*/ 1785179 h 2831071"/>
              <a:gd name="connsiteX121" fmla="*/ 837308 w 3473630"/>
              <a:gd name="connsiteY121" fmla="*/ 1824740 h 2831071"/>
              <a:gd name="connsiteX122" fmla="*/ 840623 w 3473630"/>
              <a:gd name="connsiteY122" fmla="*/ 1854666 h 2831071"/>
              <a:gd name="connsiteX123" fmla="*/ 790845 w 3473630"/>
              <a:gd name="connsiteY123" fmla="*/ 1883430 h 2831071"/>
              <a:gd name="connsiteX124" fmla="*/ 713876 w 3473630"/>
              <a:gd name="connsiteY124" fmla="*/ 1902413 h 2831071"/>
              <a:gd name="connsiteX125" fmla="*/ 703369 w 3473630"/>
              <a:gd name="connsiteY125" fmla="*/ 1887741 h 2831071"/>
              <a:gd name="connsiteX126" fmla="*/ 735160 w 3473630"/>
              <a:gd name="connsiteY126" fmla="*/ 1840843 h 2831071"/>
              <a:gd name="connsiteX127" fmla="*/ 785664 w 3473630"/>
              <a:gd name="connsiteY127" fmla="*/ 1808037 h 2831071"/>
              <a:gd name="connsiteX128" fmla="*/ 864642 w 3473630"/>
              <a:gd name="connsiteY128" fmla="*/ 1809757 h 2831071"/>
              <a:gd name="connsiteX129" fmla="*/ 904639 w 3473630"/>
              <a:gd name="connsiteY129" fmla="*/ 1789468 h 2831071"/>
              <a:gd name="connsiteX130" fmla="*/ 916286 w 3473630"/>
              <a:gd name="connsiteY130" fmla="*/ 1745161 h 2831071"/>
              <a:gd name="connsiteX131" fmla="*/ 912121 w 3473630"/>
              <a:gd name="connsiteY131" fmla="*/ 1675238 h 2831071"/>
              <a:gd name="connsiteX132" fmla="*/ 918027 w 3473630"/>
              <a:gd name="connsiteY132" fmla="*/ 1647904 h 2831071"/>
              <a:gd name="connsiteX133" fmla="*/ 946232 w 3473630"/>
              <a:gd name="connsiteY133" fmla="*/ 1644588 h 2831071"/>
              <a:gd name="connsiteX134" fmla="*/ 993130 w 3473630"/>
              <a:gd name="connsiteY134" fmla="*/ 1664587 h 2831071"/>
              <a:gd name="connsiteX135" fmla="*/ 1043634 w 3473630"/>
              <a:gd name="connsiteY135" fmla="*/ 1685455 h 2831071"/>
              <a:gd name="connsiteX136" fmla="*/ 1091112 w 3473630"/>
              <a:gd name="connsiteY136" fmla="*/ 1667032 h 2831071"/>
              <a:gd name="connsiteX137" fmla="*/ 1113846 w 3473630"/>
              <a:gd name="connsiteY137" fmla="*/ 1609046 h 2831071"/>
              <a:gd name="connsiteX138" fmla="*/ 1137575 w 3473630"/>
              <a:gd name="connsiteY138" fmla="*/ 1536244 h 2831071"/>
              <a:gd name="connsiteX139" fmla="*/ 1175272 w 3473630"/>
              <a:gd name="connsiteY139" fmla="*/ 1484165 h 2831071"/>
              <a:gd name="connsiteX140" fmla="*/ 1215849 w 3473630"/>
              <a:gd name="connsiteY140" fmla="*/ 1437702 h 2831071"/>
              <a:gd name="connsiteX141" fmla="*/ 1213839 w 3473630"/>
              <a:gd name="connsiteY141" fmla="*/ 1405911 h 2831071"/>
              <a:gd name="connsiteX142" fmla="*/ 1160745 w 3473630"/>
              <a:gd name="connsiteY142" fmla="*/ 1359449 h 2831071"/>
              <a:gd name="connsiteX143" fmla="*/ 1072275 w 3473630"/>
              <a:gd name="connsiteY143" fmla="*/ 1326207 h 2831071"/>
              <a:gd name="connsiteX144" fmla="*/ 969422 w 3473630"/>
              <a:gd name="connsiteY144" fmla="*/ 1337709 h 2831071"/>
              <a:gd name="connsiteX145" fmla="*/ 912162 w 3473630"/>
              <a:gd name="connsiteY145" fmla="*/ 1380152 h 2831071"/>
              <a:gd name="connsiteX146" fmla="*/ 896329 w 3473630"/>
              <a:gd name="connsiteY146" fmla="*/ 1448333 h 2831071"/>
              <a:gd name="connsiteX147" fmla="*/ 877491 w 3473630"/>
              <a:gd name="connsiteY147" fmla="*/ 1512784 h 2831071"/>
              <a:gd name="connsiteX148" fmla="*/ 860808 w 3473630"/>
              <a:gd name="connsiteY148" fmla="*/ 1564138 h 2831071"/>
              <a:gd name="connsiteX149" fmla="*/ 859938 w 3473630"/>
              <a:gd name="connsiteY149" fmla="*/ 1636216 h 2831071"/>
              <a:gd name="connsiteX150" fmla="*/ 882672 w 3473630"/>
              <a:gd name="connsiteY150" fmla="*/ 1693040 h 2831071"/>
              <a:gd name="connsiteX151" fmla="*/ 939932 w 3473630"/>
              <a:gd name="connsiteY151" fmla="*/ 1728001 h 2831071"/>
              <a:gd name="connsiteX152" fmla="*/ 1032858 w 3473630"/>
              <a:gd name="connsiteY152" fmla="*/ 1733618 h 2831071"/>
              <a:gd name="connsiteX153" fmla="*/ 1121328 w 3473630"/>
              <a:gd name="connsiteY153" fmla="*/ 1688440 h 2831071"/>
              <a:gd name="connsiteX154" fmla="*/ 1171832 w 3473630"/>
              <a:gd name="connsiteY154" fmla="*/ 1627304 h 2831071"/>
              <a:gd name="connsiteX155" fmla="*/ 1192265 w 3473630"/>
              <a:gd name="connsiteY155" fmla="*/ 1592343 h 2831071"/>
              <a:gd name="connsiteX156" fmla="*/ 1215435 w 3473630"/>
              <a:gd name="connsiteY156" fmla="*/ 1590478 h 2831071"/>
              <a:gd name="connsiteX157" fmla="*/ 1223061 w 3473630"/>
              <a:gd name="connsiteY157" fmla="*/ 1624569 h 2831071"/>
              <a:gd name="connsiteX158" fmla="*/ 1193571 w 3473630"/>
              <a:gd name="connsiteY158" fmla="*/ 1655219 h 2831071"/>
              <a:gd name="connsiteX159" fmla="*/ 1160330 w 3473630"/>
              <a:gd name="connsiteY159" fmla="*/ 1650909 h 2831071"/>
              <a:gd name="connsiteX160" fmla="*/ 1152123 w 3473630"/>
              <a:gd name="connsiteY160" fmla="*/ 1619844 h 2831071"/>
              <a:gd name="connsiteX161" fmla="*/ 1169241 w 3473630"/>
              <a:gd name="connsiteY161" fmla="*/ 1577836 h 2831071"/>
              <a:gd name="connsiteX162" fmla="*/ 1208513 w 3473630"/>
              <a:gd name="connsiteY162" fmla="*/ 1555683 h 2831071"/>
              <a:gd name="connsiteX163" fmla="*/ 1223041 w 3473630"/>
              <a:gd name="connsiteY163" fmla="*/ 1534814 h 2831071"/>
              <a:gd name="connsiteX164" fmla="*/ 1221175 w 3473630"/>
              <a:gd name="connsiteY164" fmla="*/ 1493822 h 2831071"/>
              <a:gd name="connsiteX165" fmla="*/ 1192265 w 3473630"/>
              <a:gd name="connsiteY165" fmla="*/ 1435837 h 2831071"/>
              <a:gd name="connsiteX166" fmla="*/ 1126529 w 3473630"/>
              <a:gd name="connsiteY166" fmla="*/ 1373105 h 2831071"/>
              <a:gd name="connsiteX167" fmla="*/ 1015180 w 3473630"/>
              <a:gd name="connsiteY167" fmla="*/ 1361604 h 2831071"/>
              <a:gd name="connsiteX168" fmla="*/ 929301 w 3473630"/>
              <a:gd name="connsiteY168" fmla="*/ 1399591 h 2831071"/>
              <a:gd name="connsiteX169" fmla="*/ 891314 w 3473630"/>
              <a:gd name="connsiteY169" fmla="*/ 1413683 h 2831071"/>
              <a:gd name="connsiteX170" fmla="*/ 880807 w 3473630"/>
              <a:gd name="connsiteY170" fmla="*/ 1385623 h 2831071"/>
              <a:gd name="connsiteX171" fmla="*/ 887273 w 3473630"/>
              <a:gd name="connsiteY171" fmla="*/ 1343035 h 2831071"/>
              <a:gd name="connsiteX172" fmla="*/ 919353 w 3473630"/>
              <a:gd name="connsiteY172" fmla="*/ 1314270 h 2831071"/>
              <a:gd name="connsiteX173" fmla="*/ 976033 w 3473630"/>
              <a:gd name="connsiteY173" fmla="*/ 1293402 h 2831071"/>
              <a:gd name="connsiteX174" fmla="*/ 1018185 w 3473630"/>
              <a:gd name="connsiteY174" fmla="*/ 1281900 h 2831071"/>
              <a:gd name="connsiteX175" fmla="*/ 1050846 w 3473630"/>
              <a:gd name="connsiteY175" fmla="*/ 1268947 h 2831071"/>
              <a:gd name="connsiteX176" fmla="*/ 1109246 w 3473630"/>
              <a:gd name="connsiteY176" fmla="*/ 1272118 h 2831071"/>
              <a:gd name="connsiteX177" fmla="*/ 1183624 w 3473630"/>
              <a:gd name="connsiteY177" fmla="*/ 1306209 h 2831071"/>
              <a:gd name="connsiteX178" fmla="*/ 1247204 w 3473630"/>
              <a:gd name="connsiteY178" fmla="*/ 1382017 h 2831071"/>
              <a:gd name="connsiteX179" fmla="*/ 1276985 w 3473630"/>
              <a:gd name="connsiteY179" fmla="*/ 1470777 h 2831071"/>
              <a:gd name="connsiteX180" fmla="*/ 1290787 w 3473630"/>
              <a:gd name="connsiteY180" fmla="*/ 1538959 h 2831071"/>
              <a:gd name="connsiteX181" fmla="*/ 1286186 w 3473630"/>
              <a:gd name="connsiteY181" fmla="*/ 1598664 h 2831071"/>
              <a:gd name="connsiteX182" fmla="*/ 1251225 w 3473630"/>
              <a:gd name="connsiteY182" fmla="*/ 1657789 h 2831071"/>
              <a:gd name="connsiteX183" fmla="*/ 1190794 w 3473630"/>
              <a:gd name="connsiteY183" fmla="*/ 1692460 h 2831071"/>
              <a:gd name="connsiteX184" fmla="*/ 1155398 w 3473630"/>
              <a:gd name="connsiteY184" fmla="*/ 1717349 h 2831071"/>
              <a:gd name="connsiteX185" fmla="*/ 1128788 w 3473630"/>
              <a:gd name="connsiteY185" fmla="*/ 1768848 h 2831071"/>
              <a:gd name="connsiteX186" fmla="*/ 1124768 w 3473630"/>
              <a:gd name="connsiteY186" fmla="*/ 1813156 h 2831071"/>
              <a:gd name="connsiteX187" fmla="*/ 1143461 w 3473630"/>
              <a:gd name="connsiteY187" fmla="*/ 1838045 h 2831071"/>
              <a:gd name="connsiteX188" fmla="*/ 1176702 w 3473630"/>
              <a:gd name="connsiteY188" fmla="*/ 1874581 h 2831071"/>
              <a:gd name="connsiteX189" fmla="*/ 1211953 w 3473630"/>
              <a:gd name="connsiteY189" fmla="*/ 1930971 h 2831071"/>
              <a:gd name="connsiteX190" fmla="*/ 1269793 w 3473630"/>
              <a:gd name="connsiteY190" fmla="*/ 1970678 h 2831071"/>
              <a:gd name="connsiteX191" fmla="*/ 1289792 w 3473630"/>
              <a:gd name="connsiteY191" fmla="*/ 2016996 h 2831071"/>
              <a:gd name="connsiteX192" fmla="*/ 1236698 w 3473630"/>
              <a:gd name="connsiteY192" fmla="*/ 2105031 h 2831071"/>
              <a:gd name="connsiteX193" fmla="*/ 1189364 w 3473630"/>
              <a:gd name="connsiteY193" fmla="*/ 2099269 h 2831071"/>
              <a:gd name="connsiteX194" fmla="*/ 1126923 w 3473630"/>
              <a:gd name="connsiteY194" fmla="*/ 1994386 h 2831071"/>
              <a:gd name="connsiteX195" fmla="*/ 1124623 w 3473630"/>
              <a:gd name="connsiteY195" fmla="*/ 1948773 h 2831071"/>
              <a:gd name="connsiteX196" fmla="*/ 1178857 w 3473630"/>
              <a:gd name="connsiteY196" fmla="*/ 1910226 h 2831071"/>
              <a:gd name="connsiteX197" fmla="*/ 1235247 w 3473630"/>
              <a:gd name="connsiteY197" fmla="*/ 1918288 h 2831071"/>
              <a:gd name="connsiteX198" fmla="*/ 1332794 w 3473630"/>
              <a:gd name="connsiteY198" fmla="*/ 1988065 h 2831071"/>
              <a:gd name="connsiteX199" fmla="*/ 1387318 w 3473630"/>
              <a:gd name="connsiteY199" fmla="*/ 2070650 h 2831071"/>
              <a:gd name="connsiteX200" fmla="*/ 1383712 w 3473630"/>
              <a:gd name="connsiteY200" fmla="*/ 2126190 h 2831071"/>
              <a:gd name="connsiteX201" fmla="*/ 1348461 w 3473630"/>
              <a:gd name="connsiteY201" fmla="*/ 2203448 h 2831071"/>
              <a:gd name="connsiteX202" fmla="*/ 1311925 w 3473630"/>
              <a:gd name="connsiteY202" fmla="*/ 2248771 h 2831071"/>
              <a:gd name="connsiteX203" fmla="*/ 1270788 w 3473630"/>
              <a:gd name="connsiteY203" fmla="*/ 2226907 h 2831071"/>
              <a:gd name="connsiteX204" fmla="*/ 1256696 w 3473630"/>
              <a:gd name="connsiteY204" fmla="*/ 2197417 h 2831071"/>
              <a:gd name="connsiteX205" fmla="*/ 1262747 w 3473630"/>
              <a:gd name="connsiteY205" fmla="*/ 2172093 h 2831071"/>
              <a:gd name="connsiteX206" fmla="*/ 1299429 w 3473630"/>
              <a:gd name="connsiteY206" fmla="*/ 2127640 h 2831071"/>
              <a:gd name="connsiteX207" fmla="*/ 1357828 w 3473630"/>
              <a:gd name="connsiteY207" fmla="*/ 2086068 h 2831071"/>
              <a:gd name="connsiteX208" fmla="*/ 1404001 w 3473630"/>
              <a:gd name="connsiteY208" fmla="*/ 2048372 h 2831071"/>
              <a:gd name="connsiteX209" fmla="*/ 1428455 w 3473630"/>
              <a:gd name="connsiteY209" fmla="*/ 2028228 h 2831071"/>
              <a:gd name="connsiteX210" fmla="*/ 1435646 w 3473630"/>
              <a:gd name="connsiteY210" fmla="*/ 2043481 h 2831071"/>
              <a:gd name="connsiteX211" fmla="*/ 1439377 w 3473630"/>
              <a:gd name="connsiteY211" fmla="*/ 2107062 h 2831071"/>
              <a:gd name="connsiteX212" fmla="*/ 1432041 w 3473630"/>
              <a:gd name="connsiteY212" fmla="*/ 2164902 h 2831071"/>
              <a:gd name="connsiteX213" fmla="*/ 1405866 w 3473630"/>
              <a:gd name="connsiteY213" fmla="*/ 2266469 h 2831071"/>
              <a:gd name="connsiteX214" fmla="*/ 1412767 w 3473630"/>
              <a:gd name="connsiteY214" fmla="*/ 2328330 h 2831071"/>
              <a:gd name="connsiteX215" fmla="*/ 1440247 w 3473630"/>
              <a:gd name="connsiteY215" fmla="*/ 2353074 h 2831071"/>
              <a:gd name="connsiteX216" fmla="*/ 1475934 w 3473630"/>
              <a:gd name="connsiteY216" fmla="*/ 2367457 h 2831071"/>
              <a:gd name="connsiteX217" fmla="*/ 1511040 w 3473630"/>
              <a:gd name="connsiteY217" fmla="*/ 2382710 h 2831071"/>
              <a:gd name="connsiteX218" fmla="*/ 1536219 w 3473630"/>
              <a:gd name="connsiteY218" fmla="*/ 2415225 h 2831071"/>
              <a:gd name="connsiteX219" fmla="*/ 1543410 w 3473630"/>
              <a:gd name="connsiteY219" fmla="*/ 2463843 h 2831071"/>
              <a:gd name="connsiteX220" fmla="*/ 1512760 w 3473630"/>
              <a:gd name="connsiteY220" fmla="*/ 2507156 h 2831071"/>
              <a:gd name="connsiteX221" fmla="*/ 1467085 w 3473630"/>
              <a:gd name="connsiteY221" fmla="*/ 2522844 h 2831071"/>
              <a:gd name="connsiteX222" fmla="*/ 1422197 w 3473630"/>
              <a:gd name="connsiteY222" fmla="*/ 2523860 h 2831071"/>
              <a:gd name="connsiteX223" fmla="*/ 1366740 w 3473630"/>
              <a:gd name="connsiteY223" fmla="*/ 2540832 h 2831071"/>
              <a:gd name="connsiteX224" fmla="*/ 1320422 w 3473630"/>
              <a:gd name="connsiteY224" fmla="*/ 2536667 h 2831071"/>
              <a:gd name="connsiteX225" fmla="*/ 1321790 w 3473630"/>
              <a:gd name="connsiteY225" fmla="*/ 2519549 h 2831071"/>
              <a:gd name="connsiteX226" fmla="*/ 1369848 w 3473630"/>
              <a:gd name="connsiteY226" fmla="*/ 2497893 h 2831071"/>
              <a:gd name="connsiteX227" fmla="*/ 1396893 w 3473630"/>
              <a:gd name="connsiteY227" fmla="*/ 2480277 h 2831071"/>
              <a:gd name="connsiteX228" fmla="*/ 1381288 w 3473630"/>
              <a:gd name="connsiteY228" fmla="*/ 2474102 h 2831071"/>
              <a:gd name="connsiteX229" fmla="*/ 1307988 w 3473630"/>
              <a:gd name="connsiteY229" fmla="*/ 2503094 h 2831071"/>
              <a:gd name="connsiteX230" fmla="*/ 1275762 w 3473630"/>
              <a:gd name="connsiteY230" fmla="*/ 2503820 h 2831071"/>
              <a:gd name="connsiteX231" fmla="*/ 1277192 w 3473630"/>
              <a:gd name="connsiteY231" fmla="*/ 2490515 h 2831071"/>
              <a:gd name="connsiteX232" fmla="*/ 1302289 w 3473630"/>
              <a:gd name="connsiteY232" fmla="*/ 2478495 h 2831071"/>
              <a:gd name="connsiteX233" fmla="*/ 1350409 w 3473630"/>
              <a:gd name="connsiteY233" fmla="*/ 2445109 h 2831071"/>
              <a:gd name="connsiteX234" fmla="*/ 1346948 w 3473630"/>
              <a:gd name="connsiteY234" fmla="*/ 2435120 h 2831071"/>
              <a:gd name="connsiteX235" fmla="*/ 1292776 w 3473630"/>
              <a:gd name="connsiteY235" fmla="*/ 2461812 h 2831071"/>
              <a:gd name="connsiteX236" fmla="*/ 1261836 w 3473630"/>
              <a:gd name="connsiteY236" fmla="*/ 2459719 h 2831071"/>
              <a:gd name="connsiteX237" fmla="*/ 1265151 w 3473630"/>
              <a:gd name="connsiteY237" fmla="*/ 2438933 h 2831071"/>
              <a:gd name="connsiteX238" fmla="*/ 1303055 w 3473630"/>
              <a:gd name="connsiteY238" fmla="*/ 2411308 h 2831071"/>
              <a:gd name="connsiteX239" fmla="*/ 1318515 w 3473630"/>
              <a:gd name="connsiteY239" fmla="*/ 2393175 h 2831071"/>
              <a:gd name="connsiteX240" fmla="*/ 1306785 w 3473630"/>
              <a:gd name="connsiteY240" fmla="*/ 2385984 h 2831071"/>
              <a:gd name="connsiteX241" fmla="*/ 1268592 w 3473630"/>
              <a:gd name="connsiteY241" fmla="*/ 2403392 h 2831071"/>
              <a:gd name="connsiteX242" fmla="*/ 1243412 w 3473630"/>
              <a:gd name="connsiteY242" fmla="*/ 2405257 h 2831071"/>
              <a:gd name="connsiteX243" fmla="*/ 1242687 w 3473630"/>
              <a:gd name="connsiteY243" fmla="*/ 2382461 h 2831071"/>
              <a:gd name="connsiteX244" fmla="*/ 1284404 w 3473630"/>
              <a:gd name="connsiteY244" fmla="*/ 2341469 h 2831071"/>
              <a:gd name="connsiteX245" fmla="*/ 1360937 w 3473630"/>
              <a:gd name="connsiteY245" fmla="*/ 2306218 h 2831071"/>
              <a:gd name="connsiteX246" fmla="*/ 1411006 w 3473630"/>
              <a:gd name="connsiteY246" fmla="*/ 2303047 h 2831071"/>
              <a:gd name="connsiteX247" fmla="*/ 1438486 w 3473630"/>
              <a:gd name="connsiteY247" fmla="*/ 2295131 h 2831071"/>
              <a:gd name="connsiteX248" fmla="*/ 1468411 w 3473630"/>
              <a:gd name="connsiteY248" fmla="*/ 2243777 h 2831071"/>
              <a:gd name="connsiteX249" fmla="*/ 1532572 w 3473630"/>
              <a:gd name="connsiteY249" fmla="*/ 2156301 h 2831071"/>
              <a:gd name="connsiteX250" fmla="*/ 1610763 w 3473630"/>
              <a:gd name="connsiteY250" fmla="*/ 2074152 h 2831071"/>
              <a:gd name="connsiteX251" fmla="*/ 1628959 w 3473630"/>
              <a:gd name="connsiteY251" fmla="*/ 2041864 h 2831071"/>
              <a:gd name="connsiteX252" fmla="*/ 1628606 w 3473630"/>
              <a:gd name="connsiteY252" fmla="*/ 2021078 h 2831071"/>
              <a:gd name="connsiteX253" fmla="*/ 1642843 w 3473630"/>
              <a:gd name="connsiteY253" fmla="*/ 2001308 h 2831071"/>
              <a:gd name="connsiteX254" fmla="*/ 1697865 w 3473630"/>
              <a:gd name="connsiteY254" fmla="*/ 1963611 h 2831071"/>
              <a:gd name="connsiteX255" fmla="*/ 1768720 w 3473630"/>
              <a:gd name="connsiteY255" fmla="*/ 1914703 h 2831071"/>
              <a:gd name="connsiteX256" fmla="*/ 1816551 w 3473630"/>
              <a:gd name="connsiteY256" fmla="*/ 1881109 h 2831071"/>
              <a:gd name="connsiteX257" fmla="*/ 1846041 w 3473630"/>
              <a:gd name="connsiteY257" fmla="*/ 1836221 h 2831071"/>
              <a:gd name="connsiteX258" fmla="*/ 1863884 w 3473630"/>
              <a:gd name="connsiteY258" fmla="*/ 1739400 h 2831071"/>
              <a:gd name="connsiteX259" fmla="*/ 1862164 w 3473630"/>
              <a:gd name="connsiteY259" fmla="*/ 1654225 h 2831071"/>
              <a:gd name="connsiteX260" fmla="*/ 1849357 w 3473630"/>
              <a:gd name="connsiteY260" fmla="*/ 1586312 h 2831071"/>
              <a:gd name="connsiteX261" fmla="*/ 1804324 w 3473630"/>
              <a:gd name="connsiteY261" fmla="*/ 1511499 h 2831071"/>
              <a:gd name="connsiteX262" fmla="*/ 1748514 w 3473630"/>
              <a:gd name="connsiteY262" fmla="*/ 1463296 h 2831071"/>
              <a:gd name="connsiteX263" fmla="*/ 1688664 w 3473630"/>
              <a:gd name="connsiteY263" fmla="*/ 1445017 h 2831071"/>
              <a:gd name="connsiteX264" fmla="*/ 1629684 w 3473630"/>
              <a:gd name="connsiteY264" fmla="*/ 1434655 h 2831071"/>
              <a:gd name="connsiteX265" fmla="*/ 1565523 w 3473630"/>
              <a:gd name="connsiteY265" fmla="*/ 1420708 h 2831071"/>
              <a:gd name="connsiteX266" fmla="*/ 1482379 w 3473630"/>
              <a:gd name="connsiteY266" fmla="*/ 1428044 h 2831071"/>
              <a:gd name="connsiteX267" fmla="*/ 1425119 w 3473630"/>
              <a:gd name="connsiteY267" fmla="*/ 1469036 h 2831071"/>
              <a:gd name="connsiteX268" fmla="*/ 1416912 w 3473630"/>
              <a:gd name="connsiteY268" fmla="*/ 1533923 h 2831071"/>
              <a:gd name="connsiteX269" fmla="*/ 1436620 w 3473630"/>
              <a:gd name="connsiteY269" fmla="*/ 1580240 h 2831071"/>
              <a:gd name="connsiteX270" fmla="*/ 1448267 w 3473630"/>
              <a:gd name="connsiteY270" fmla="*/ 1638081 h 2831071"/>
              <a:gd name="connsiteX271" fmla="*/ 1432579 w 3473630"/>
              <a:gd name="connsiteY271" fmla="*/ 1733037 h 2831071"/>
              <a:gd name="connsiteX272" fmla="*/ 1436600 w 3473630"/>
              <a:gd name="connsiteY272" fmla="*/ 1799063 h 2831071"/>
              <a:gd name="connsiteX273" fmla="*/ 1493570 w 3473630"/>
              <a:gd name="connsiteY273" fmla="*/ 1841216 h 2831071"/>
              <a:gd name="connsiteX274" fmla="*/ 1619301 w 3473630"/>
              <a:gd name="connsiteY274" fmla="*/ 1854168 h 2831071"/>
              <a:gd name="connsiteX275" fmla="*/ 1704041 w 3473630"/>
              <a:gd name="connsiteY275" fmla="*/ 1837050 h 2831071"/>
              <a:gd name="connsiteX276" fmla="*/ 1739292 w 3473630"/>
              <a:gd name="connsiteY276" fmla="*/ 1788577 h 2831071"/>
              <a:gd name="connsiteX277" fmla="*/ 1754110 w 3473630"/>
              <a:gd name="connsiteY277" fmla="*/ 1758507 h 2831071"/>
              <a:gd name="connsiteX278" fmla="*/ 1769073 w 3473630"/>
              <a:gd name="connsiteY278" fmla="*/ 1758507 h 2831071"/>
              <a:gd name="connsiteX279" fmla="*/ 1773528 w 3473630"/>
              <a:gd name="connsiteY279" fmla="*/ 1787562 h 2831071"/>
              <a:gd name="connsiteX280" fmla="*/ 1747623 w 3473630"/>
              <a:gd name="connsiteY280" fmla="*/ 1819497 h 2831071"/>
              <a:gd name="connsiteX281" fmla="*/ 1719273 w 3473630"/>
              <a:gd name="connsiteY281" fmla="*/ 1806110 h 2831071"/>
              <a:gd name="connsiteX282" fmla="*/ 1727480 w 3473630"/>
              <a:gd name="connsiteY282" fmla="*/ 1762092 h 2831071"/>
              <a:gd name="connsiteX283" fmla="*/ 1757260 w 3473630"/>
              <a:gd name="connsiteY283" fmla="*/ 1731297 h 2831071"/>
              <a:gd name="connsiteX284" fmla="*/ 1781859 w 3473630"/>
              <a:gd name="connsiteY284" fmla="*/ 1696626 h 2831071"/>
              <a:gd name="connsiteX285" fmla="*/ 1759125 w 3473630"/>
              <a:gd name="connsiteY285" fmla="*/ 1625563 h 2831071"/>
              <a:gd name="connsiteX286" fmla="*/ 1710652 w 3473630"/>
              <a:gd name="connsiteY286" fmla="*/ 1549175 h 2831071"/>
              <a:gd name="connsiteX287" fmla="*/ 1628067 w 3473630"/>
              <a:gd name="connsiteY287" fmla="*/ 1512349 h 2831071"/>
              <a:gd name="connsiteX288" fmla="*/ 1535991 w 3473630"/>
              <a:gd name="connsiteY288" fmla="*/ 1521260 h 2831071"/>
              <a:gd name="connsiteX289" fmla="*/ 1469530 w 3473630"/>
              <a:gd name="connsiteY289" fmla="*/ 1574624 h 2831071"/>
              <a:gd name="connsiteX290" fmla="*/ 1448102 w 3473630"/>
              <a:gd name="connsiteY290" fmla="*/ 1608280 h 2831071"/>
              <a:gd name="connsiteX291" fmla="*/ 1425948 w 3473630"/>
              <a:gd name="connsiteY291" fmla="*/ 1663384 h 2831071"/>
              <a:gd name="connsiteX292" fmla="*/ 1406529 w 3473630"/>
              <a:gd name="connsiteY292" fmla="*/ 1760351 h 2831071"/>
              <a:gd name="connsiteX293" fmla="*/ 1422217 w 3473630"/>
              <a:gd name="connsiteY293" fmla="*/ 1829693 h 2831071"/>
              <a:gd name="connsiteX294" fmla="*/ 1452868 w 3473630"/>
              <a:gd name="connsiteY294" fmla="*/ 1880115 h 2831071"/>
              <a:gd name="connsiteX295" fmla="*/ 1472141 w 3473630"/>
              <a:gd name="connsiteY295" fmla="*/ 1939737 h 2831071"/>
              <a:gd name="connsiteX296" fmla="*/ 1476887 w 3473630"/>
              <a:gd name="connsiteY296" fmla="*/ 1996769 h 2831071"/>
              <a:gd name="connsiteX297" fmla="*/ 1459334 w 3473630"/>
              <a:gd name="connsiteY297" fmla="*/ 2060205 h 2831071"/>
              <a:gd name="connsiteX298" fmla="*/ 1462214 w 3473630"/>
              <a:gd name="connsiteY298" fmla="*/ 2092430 h 2831071"/>
              <a:gd name="connsiteX299" fmla="*/ 1501341 w 3473630"/>
              <a:gd name="connsiteY299" fmla="*/ 2073157 h 2831071"/>
              <a:gd name="connsiteX300" fmla="*/ 1597085 w 3473630"/>
              <a:gd name="connsiteY300" fmla="*/ 2002592 h 2831071"/>
              <a:gd name="connsiteX301" fmla="*/ 1667588 w 3473630"/>
              <a:gd name="connsiteY301" fmla="*/ 1957705 h 2831071"/>
              <a:gd name="connsiteX302" fmla="*/ 1726858 w 3473630"/>
              <a:gd name="connsiteY302" fmla="*/ 1927987 h 2831071"/>
              <a:gd name="connsiteX303" fmla="*/ 1753260 w 3473630"/>
              <a:gd name="connsiteY303" fmla="*/ 1933520 h 2831071"/>
              <a:gd name="connsiteX304" fmla="*/ 1781818 w 3473630"/>
              <a:gd name="connsiteY304" fmla="*/ 1986034 h 2831071"/>
              <a:gd name="connsiteX305" fmla="*/ 1823618 w 3473630"/>
              <a:gd name="connsiteY305" fmla="*/ 2024809 h 2831071"/>
              <a:gd name="connsiteX306" fmla="*/ 1853046 w 3473630"/>
              <a:gd name="connsiteY306" fmla="*/ 2039129 h 2831071"/>
              <a:gd name="connsiteX307" fmla="*/ 1845419 w 3473630"/>
              <a:gd name="connsiteY307" fmla="*/ 2056392 h 2831071"/>
              <a:gd name="connsiteX308" fmla="*/ 1802687 w 3473630"/>
              <a:gd name="connsiteY308" fmla="*/ 2090420 h 2831071"/>
              <a:gd name="connsiteX309" fmla="*/ 1764285 w 3473630"/>
              <a:gd name="connsiteY309" fmla="*/ 2152281 h 2831071"/>
              <a:gd name="connsiteX310" fmla="*/ 1702134 w 3473630"/>
              <a:gd name="connsiteY310" fmla="*/ 2291753 h 2831071"/>
              <a:gd name="connsiteX311" fmla="*/ 1672209 w 3473630"/>
              <a:gd name="connsiteY311" fmla="*/ 2356639 h 2831071"/>
              <a:gd name="connsiteX312" fmla="*/ 1654656 w 3473630"/>
              <a:gd name="connsiteY312" fmla="*/ 2363043 h 2831071"/>
              <a:gd name="connsiteX313" fmla="*/ 1613084 w 3473630"/>
              <a:gd name="connsiteY313" fmla="*/ 2345054 h 2831071"/>
              <a:gd name="connsiteX314" fmla="*/ 1559927 w 3473630"/>
              <a:gd name="connsiteY314" fmla="*/ 2330174 h 2831071"/>
              <a:gd name="connsiteX315" fmla="*/ 1518500 w 3473630"/>
              <a:gd name="connsiteY315" fmla="*/ 2333345 h 2831071"/>
              <a:gd name="connsiteX316" fmla="*/ 1485114 w 3473630"/>
              <a:gd name="connsiteY316" fmla="*/ 2345075 h 2831071"/>
              <a:gd name="connsiteX317" fmla="*/ 1462815 w 3473630"/>
              <a:gd name="connsiteY317" fmla="*/ 2341759 h 2831071"/>
              <a:gd name="connsiteX318" fmla="*/ 1462525 w 3473630"/>
              <a:gd name="connsiteY318" fmla="*/ 2316435 h 2831071"/>
              <a:gd name="connsiteX319" fmla="*/ 1514024 w 3473630"/>
              <a:gd name="connsiteY319" fmla="*/ 2230907 h 2831071"/>
              <a:gd name="connsiteX320" fmla="*/ 1633870 w 3473630"/>
              <a:gd name="connsiteY320" fmla="*/ 2086462 h 2831071"/>
              <a:gd name="connsiteX321" fmla="*/ 1761052 w 3473630"/>
              <a:gd name="connsiteY321" fmla="*/ 2009494 h 2831071"/>
              <a:gd name="connsiteX322" fmla="*/ 1835720 w 3473630"/>
              <a:gd name="connsiteY322" fmla="*/ 2007773 h 2831071"/>
              <a:gd name="connsiteX323" fmla="*/ 1915424 w 3473630"/>
              <a:gd name="connsiteY323" fmla="*/ 2040579 h 2831071"/>
              <a:gd name="connsiteX324" fmla="*/ 1956416 w 3473630"/>
              <a:gd name="connsiteY324" fmla="*/ 2094378 h 2831071"/>
              <a:gd name="connsiteX325" fmla="*/ 1981595 w 3473630"/>
              <a:gd name="connsiteY325" fmla="*/ 2161420 h 2831071"/>
              <a:gd name="connsiteX326" fmla="*/ 1998423 w 3473630"/>
              <a:gd name="connsiteY326" fmla="*/ 2191781 h 2831071"/>
              <a:gd name="connsiteX327" fmla="*/ 2004475 w 3473630"/>
              <a:gd name="connsiteY327" fmla="*/ 2185874 h 2831071"/>
              <a:gd name="connsiteX328" fmla="*/ 1997719 w 3473630"/>
              <a:gd name="connsiteY328" fmla="*/ 2138106 h 2831071"/>
              <a:gd name="connsiteX329" fmla="*/ 1965783 w 3473630"/>
              <a:gd name="connsiteY329" fmla="*/ 2073364 h 2831071"/>
              <a:gd name="connsiteX330" fmla="*/ 1892690 w 3473630"/>
              <a:gd name="connsiteY330" fmla="*/ 2059127 h 2831071"/>
              <a:gd name="connsiteX331" fmla="*/ 1816157 w 3473630"/>
              <a:gd name="connsiteY331" fmla="*/ 2115517 h 2831071"/>
              <a:gd name="connsiteX332" fmla="*/ 1767684 w 3473630"/>
              <a:gd name="connsiteY332" fmla="*/ 2216504 h 2831071"/>
              <a:gd name="connsiteX333" fmla="*/ 1756742 w 3473630"/>
              <a:gd name="connsiteY333" fmla="*/ 2315771 h 2831071"/>
              <a:gd name="connsiteX334" fmla="*/ 1733282 w 3473630"/>
              <a:gd name="connsiteY334" fmla="*/ 2398211 h 2831071"/>
              <a:gd name="connsiteX335" fmla="*/ 1632150 w 3473630"/>
              <a:gd name="connsiteY335" fmla="*/ 2384554 h 2831071"/>
              <a:gd name="connsiteX336" fmla="*/ 1539639 w 3473630"/>
              <a:gd name="connsiteY336" fmla="*/ 2352183 h 2831071"/>
              <a:gd name="connsiteX337" fmla="*/ 1522521 w 3473630"/>
              <a:gd name="connsiteY337" fmla="*/ 2359229 h 2831071"/>
              <a:gd name="connsiteX338" fmla="*/ 1543949 w 3473630"/>
              <a:gd name="connsiteY338" fmla="*/ 2385549 h 2831071"/>
              <a:gd name="connsiteX339" fmla="*/ 1564383 w 3473630"/>
              <a:gd name="connsiteY339" fmla="*/ 2430727 h 2831071"/>
              <a:gd name="connsiteX340" fmla="*/ 1559202 w 3473630"/>
              <a:gd name="connsiteY340" fmla="*/ 2486412 h 2831071"/>
              <a:gd name="connsiteX341" fmla="*/ 1529712 w 3473630"/>
              <a:gd name="connsiteY341" fmla="*/ 2562364 h 2831071"/>
              <a:gd name="connsiteX342" fmla="*/ 1544965 w 3473630"/>
              <a:gd name="connsiteY342" fmla="*/ 2634587 h 2831071"/>
              <a:gd name="connsiteX343" fmla="*/ 1609126 w 3473630"/>
              <a:gd name="connsiteY343" fmla="*/ 2669984 h 2831071"/>
              <a:gd name="connsiteX344" fmla="*/ 1709823 w 3473630"/>
              <a:gd name="connsiteY344" fmla="*/ 2685526 h 2831071"/>
              <a:gd name="connsiteX345" fmla="*/ 1825483 w 3473630"/>
              <a:gd name="connsiteY345" fmla="*/ 2710706 h 2831071"/>
              <a:gd name="connsiteX346" fmla="*/ 1849668 w 3473630"/>
              <a:gd name="connsiteY346" fmla="*/ 2737274 h 2831071"/>
              <a:gd name="connsiteX347" fmla="*/ 1827286 w 3473630"/>
              <a:gd name="connsiteY347" fmla="*/ 2775385 h 2831071"/>
              <a:gd name="connsiteX348" fmla="*/ 1859470 w 3473630"/>
              <a:gd name="connsiteY348" fmla="*/ 2784130 h 2831071"/>
              <a:gd name="connsiteX349" fmla="*/ 2089567 w 3473630"/>
              <a:gd name="connsiteY349" fmla="*/ 2784130 h 2831071"/>
              <a:gd name="connsiteX350" fmla="*/ 2566899 w 3473630"/>
              <a:gd name="connsiteY350" fmla="*/ 2782162 h 2831071"/>
              <a:gd name="connsiteX351" fmla="*/ 2687968 w 3473630"/>
              <a:gd name="connsiteY351" fmla="*/ 2759884 h 2831071"/>
              <a:gd name="connsiteX352" fmla="*/ 2680466 w 3473630"/>
              <a:gd name="connsiteY352" fmla="*/ 2692303 h 2831071"/>
              <a:gd name="connsiteX353" fmla="*/ 2633568 w 3473630"/>
              <a:gd name="connsiteY353" fmla="*/ 2631872 h 2831071"/>
              <a:gd name="connsiteX354" fmla="*/ 2492293 w 3473630"/>
              <a:gd name="connsiteY354" fmla="*/ 2565701 h 2831071"/>
              <a:gd name="connsiteX355" fmla="*/ 2424112 w 3473630"/>
              <a:gd name="connsiteY355" fmla="*/ 2476651 h 2831071"/>
              <a:gd name="connsiteX356" fmla="*/ 2465249 w 3473630"/>
              <a:gd name="connsiteY356" fmla="*/ 2186330 h 2831071"/>
              <a:gd name="connsiteX357" fmla="*/ 2494594 w 3473630"/>
              <a:gd name="connsiteY357" fmla="*/ 1978159 h 2831071"/>
              <a:gd name="connsiteX358" fmla="*/ 2532291 w 3473630"/>
              <a:gd name="connsiteY358" fmla="*/ 1883202 h 2831071"/>
              <a:gd name="connsiteX359" fmla="*/ 2600202 w 3473630"/>
              <a:gd name="connsiteY359" fmla="*/ 1837175 h 2831071"/>
              <a:gd name="connsiteX360" fmla="*/ 2643930 w 3473630"/>
              <a:gd name="connsiteY360" fmla="*/ 1758051 h 2831071"/>
              <a:gd name="connsiteX361" fmla="*/ 2671555 w 3473630"/>
              <a:gd name="connsiteY361" fmla="*/ 1632029 h 2831071"/>
              <a:gd name="connsiteX362" fmla="*/ 2694579 w 3473630"/>
              <a:gd name="connsiteY362" fmla="*/ 1561817 h 2831071"/>
              <a:gd name="connsiteX363" fmla="*/ 2707241 w 3473630"/>
              <a:gd name="connsiteY363" fmla="*/ 1548305 h 2831071"/>
              <a:gd name="connsiteX364" fmla="*/ 2696879 w 3473630"/>
              <a:gd name="connsiteY364" fmla="*/ 1616217 h 2831071"/>
              <a:gd name="connsiteX365" fmla="*/ 2656302 w 3473630"/>
              <a:gd name="connsiteY365" fmla="*/ 1792308 h 2831071"/>
              <a:gd name="connsiteX366" fmla="*/ 2576308 w 3473630"/>
              <a:gd name="connsiteY366" fmla="*/ 1905377 h 2831071"/>
              <a:gd name="connsiteX367" fmla="*/ 2484812 w 3473630"/>
              <a:gd name="connsiteY367" fmla="*/ 1918329 h 2831071"/>
              <a:gd name="connsiteX368" fmla="*/ 2405253 w 3473630"/>
              <a:gd name="connsiteY368" fmla="*/ 1822813 h 2831071"/>
              <a:gd name="connsiteX369" fmla="*/ 2384115 w 3473630"/>
              <a:gd name="connsiteY369" fmla="*/ 1673912 h 2831071"/>
              <a:gd name="connsiteX370" fmla="*/ 2378644 w 3473630"/>
              <a:gd name="connsiteY370" fmla="*/ 1541984 h 2831071"/>
              <a:gd name="connsiteX371" fmla="*/ 2373753 w 3473630"/>
              <a:gd name="connsiteY371" fmla="*/ 1415527 h 2831071"/>
              <a:gd name="connsiteX372" fmla="*/ 2347143 w 3473630"/>
              <a:gd name="connsiteY372" fmla="*/ 1246918 h 2831071"/>
              <a:gd name="connsiteX373" fmla="*/ 2334771 w 3473630"/>
              <a:gd name="connsiteY373" fmla="*/ 1142615 h 2831071"/>
              <a:gd name="connsiteX374" fmla="*/ 2329155 w 3473630"/>
              <a:gd name="connsiteY374" fmla="*/ 1065211 h 2831071"/>
              <a:gd name="connsiteX375" fmla="*/ 2304556 w 3473630"/>
              <a:gd name="connsiteY375" fmla="*/ 939335 h 2831071"/>
              <a:gd name="connsiteX376" fmla="*/ 2256643 w 3473630"/>
              <a:gd name="connsiteY376" fmla="*/ 796630 h 2831071"/>
              <a:gd name="connsiteX377" fmla="*/ 2230738 w 3473630"/>
              <a:gd name="connsiteY377" fmla="*/ 692327 h 2831071"/>
              <a:gd name="connsiteX378" fmla="*/ 2239504 w 3473630"/>
              <a:gd name="connsiteY378" fmla="*/ 643564 h 2831071"/>
              <a:gd name="connsiteX379" fmla="*/ 2294028 w 3473630"/>
              <a:gd name="connsiteY379" fmla="*/ 635647 h 2831071"/>
              <a:gd name="connsiteX380" fmla="*/ 2342791 w 3473630"/>
              <a:gd name="connsiteY380" fmla="*/ 621700 h 2831071"/>
              <a:gd name="connsiteX381" fmla="*/ 2378623 w 3473630"/>
              <a:gd name="connsiteY381" fmla="*/ 587174 h 2831071"/>
              <a:gd name="connsiteX382" fmla="*/ 2391285 w 3473630"/>
              <a:gd name="connsiteY382" fmla="*/ 534080 h 2831071"/>
              <a:gd name="connsiteX383" fmla="*/ 2374603 w 3473630"/>
              <a:gd name="connsiteY383" fmla="*/ 480426 h 2831071"/>
              <a:gd name="connsiteX384" fmla="*/ 2310006 w 3473630"/>
              <a:gd name="connsiteY384" fmla="*/ 360020 h 2831071"/>
              <a:gd name="connsiteX385" fmla="*/ 2266569 w 3473630"/>
              <a:gd name="connsiteY385" fmla="*/ 280171 h 2831071"/>
              <a:gd name="connsiteX386" fmla="*/ 2203693 w 3473630"/>
              <a:gd name="connsiteY386" fmla="*/ 213564 h 2831071"/>
              <a:gd name="connsiteX387" fmla="*/ 2153624 w 3473630"/>
              <a:gd name="connsiteY387" fmla="*/ 194291 h 2831071"/>
              <a:gd name="connsiteX388" fmla="*/ 2109317 w 3473630"/>
              <a:gd name="connsiteY388" fmla="*/ 218310 h 2831071"/>
              <a:gd name="connsiteX389" fmla="*/ 2085733 w 3473630"/>
              <a:gd name="connsiteY389" fmla="*/ 264214 h 2831071"/>
              <a:gd name="connsiteX390" fmla="*/ 2085008 w 3473630"/>
              <a:gd name="connsiteY390" fmla="*/ 308666 h 2831071"/>
              <a:gd name="connsiteX391" fmla="*/ 2107597 w 3473630"/>
              <a:gd name="connsiteY391" fmla="*/ 327794 h 2831071"/>
              <a:gd name="connsiteX392" fmla="*/ 2138247 w 3473630"/>
              <a:gd name="connsiteY392" fmla="*/ 329660 h 2831071"/>
              <a:gd name="connsiteX393" fmla="*/ 2151345 w 3473630"/>
              <a:gd name="connsiteY393" fmla="*/ 299299 h 2831071"/>
              <a:gd name="connsiteX394" fmla="*/ 2155510 w 3473630"/>
              <a:gd name="connsiteY394" fmla="*/ 263053 h 2831071"/>
              <a:gd name="connsiteX395" fmla="*/ 2173643 w 3473630"/>
              <a:gd name="connsiteY395" fmla="*/ 251261 h 2831071"/>
              <a:gd name="connsiteX396" fmla="*/ 2215070 w 3473630"/>
              <a:gd name="connsiteY396" fmla="*/ 262058 h 2831071"/>
              <a:gd name="connsiteX397" fmla="*/ 2248021 w 3473630"/>
              <a:gd name="connsiteY397" fmla="*/ 269975 h 2831071"/>
              <a:gd name="connsiteX398" fmla="*/ 2262259 w 3473630"/>
              <a:gd name="connsiteY398" fmla="*/ 259903 h 2831071"/>
              <a:gd name="connsiteX399" fmla="*/ 2259751 w 3473630"/>
              <a:gd name="connsiteY399" fmla="*/ 230993 h 2831071"/>
              <a:gd name="connsiteX400" fmla="*/ 2231339 w 3473630"/>
              <a:gd name="connsiteY400" fmla="*/ 190851 h 2831071"/>
              <a:gd name="connsiteX401" fmla="*/ 2181353 w 3473630"/>
              <a:gd name="connsiteY401" fmla="*/ 163309 h 2831071"/>
              <a:gd name="connsiteX402" fmla="*/ 2141356 w 3473630"/>
              <a:gd name="connsiteY402" fmla="*/ 157548 h 2831071"/>
              <a:gd name="connsiteX403" fmla="*/ 2113379 w 3473630"/>
              <a:gd name="connsiteY403" fmla="*/ 169485 h 2831071"/>
              <a:gd name="connsiteX404" fmla="*/ 2082728 w 3473630"/>
              <a:gd name="connsiteY404" fmla="*/ 176469 h 2831071"/>
              <a:gd name="connsiteX405" fmla="*/ 2031872 w 3473630"/>
              <a:gd name="connsiteY405" fmla="*/ 162086 h 2831071"/>
              <a:gd name="connsiteX406" fmla="*/ 1991957 w 3473630"/>
              <a:gd name="connsiteY406" fmla="*/ 137280 h 2831071"/>
              <a:gd name="connsiteX407" fmla="*/ 1950530 w 3473630"/>
              <a:gd name="connsiteY407" fmla="*/ 77222 h 2831071"/>
              <a:gd name="connsiteX408" fmla="*/ 1938739 w 3473630"/>
              <a:gd name="connsiteY408" fmla="*/ 27008 h 2831071"/>
              <a:gd name="connsiteX409" fmla="*/ 1947671 w 3473630"/>
              <a:gd name="connsiteY409" fmla="*/ 1725 h 2831071"/>
              <a:gd name="connsiteX410" fmla="*/ 1970757 w 3473630"/>
              <a:gd name="connsiteY410" fmla="*/ 8461 h 2831071"/>
              <a:gd name="connsiteX411" fmla="*/ 2009262 w 3473630"/>
              <a:gd name="connsiteY411" fmla="*/ 49494 h 2831071"/>
              <a:gd name="connsiteX412" fmla="*/ 2058294 w 3473630"/>
              <a:gd name="connsiteY412" fmla="*/ 104412 h 2831071"/>
              <a:gd name="connsiteX413" fmla="*/ 2093546 w 3473630"/>
              <a:gd name="connsiteY413" fmla="*/ 149010 h 2831071"/>
              <a:gd name="connsiteX414" fmla="*/ 2084489 w 3473630"/>
              <a:gd name="connsiteY414" fmla="*/ 165837 h 2831071"/>
              <a:gd name="connsiteX415" fmla="*/ 2039601 w 3473630"/>
              <a:gd name="connsiteY415" fmla="*/ 172593 h 2831071"/>
              <a:gd name="connsiteX416" fmla="*/ 2028659 w 3473630"/>
              <a:gd name="connsiteY416" fmla="*/ 186976 h 2831071"/>
              <a:gd name="connsiteX417" fmla="*/ 2037426 w 3473630"/>
              <a:gd name="connsiteY417" fmla="*/ 210435 h 2831071"/>
              <a:gd name="connsiteX418" fmla="*/ 2052533 w 3473630"/>
              <a:gd name="connsiteY418" fmla="*/ 240360 h 2831071"/>
              <a:gd name="connsiteX419" fmla="*/ 2063185 w 3473630"/>
              <a:gd name="connsiteY419" fmla="*/ 276606 h 2831071"/>
              <a:gd name="connsiteX420" fmla="*/ 2061175 w 3473630"/>
              <a:gd name="connsiteY420" fmla="*/ 308832 h 2831071"/>
              <a:gd name="connsiteX421" fmla="*/ 2047228 w 3473630"/>
              <a:gd name="connsiteY421" fmla="*/ 318324 h 2831071"/>
              <a:gd name="connsiteX422" fmla="*/ 2037011 w 3473630"/>
              <a:gd name="connsiteY422" fmla="*/ 303216 h 2831071"/>
              <a:gd name="connsiteX423" fmla="*/ 2039892 w 3473630"/>
              <a:gd name="connsiteY423" fmla="*/ 281932 h 2831071"/>
              <a:gd name="connsiteX424" fmla="*/ 2037591 w 3473630"/>
              <a:gd name="connsiteY424" fmla="*/ 253168 h 2831071"/>
              <a:gd name="connsiteX425" fmla="*/ 2017303 w 3473630"/>
              <a:gd name="connsiteY425" fmla="*/ 238640 h 2831071"/>
              <a:gd name="connsiteX426" fmla="*/ 1980041 w 3473630"/>
              <a:gd name="connsiteY426" fmla="*/ 250142 h 2831071"/>
              <a:gd name="connsiteX427" fmla="*/ 1965369 w 3473630"/>
              <a:gd name="connsiteY427" fmla="*/ 281207 h 2831071"/>
              <a:gd name="connsiteX428" fmla="*/ 1979606 w 3473630"/>
              <a:gd name="connsiteY428" fmla="*/ 326820 h 2831071"/>
              <a:gd name="connsiteX429" fmla="*/ 2042627 w 3473630"/>
              <a:gd name="connsiteY429" fmla="*/ 396598 h 2831071"/>
              <a:gd name="connsiteX430" fmla="*/ 2145210 w 3473630"/>
              <a:gd name="connsiteY430" fmla="*/ 455288 h 2831071"/>
              <a:gd name="connsiteX431" fmla="*/ 2223754 w 3473630"/>
              <a:gd name="connsiteY431" fmla="*/ 542183 h 2831071"/>
              <a:gd name="connsiteX432" fmla="*/ 2264891 w 3473630"/>
              <a:gd name="connsiteY432" fmla="*/ 604624 h 2831071"/>
              <a:gd name="connsiteX433" fmla="*/ 2331642 w 3473630"/>
              <a:gd name="connsiteY433" fmla="*/ 595132 h 2831071"/>
              <a:gd name="connsiteX434" fmla="*/ 2408755 w 3473630"/>
              <a:gd name="connsiteY434" fmla="*/ 561746 h 2831071"/>
              <a:gd name="connsiteX435" fmla="*/ 2486159 w 3473630"/>
              <a:gd name="connsiteY435" fmla="*/ 631088 h 2831071"/>
              <a:gd name="connsiteX436" fmla="*/ 2597799 w 3473630"/>
              <a:gd name="connsiteY436" fmla="*/ 831052 h 2831071"/>
              <a:gd name="connsiteX437" fmla="*/ 2689294 w 3473630"/>
              <a:gd name="connsiteY437" fmla="*/ 1008013 h 2831071"/>
              <a:gd name="connsiteX438" fmla="*/ 2729001 w 3473630"/>
              <a:gd name="connsiteY438" fmla="*/ 1141081 h 2831071"/>
              <a:gd name="connsiteX439" fmla="*/ 2722100 w 3473630"/>
              <a:gd name="connsiteY439" fmla="*/ 1265963 h 2831071"/>
              <a:gd name="connsiteX440" fmla="*/ 2726411 w 3473630"/>
              <a:gd name="connsiteY440" fmla="*/ 1370556 h 2831071"/>
              <a:gd name="connsiteX441" fmla="*/ 2749000 w 3473630"/>
              <a:gd name="connsiteY441" fmla="*/ 1502194 h 2831071"/>
              <a:gd name="connsiteX442" fmla="*/ 2793598 w 3473630"/>
              <a:gd name="connsiteY442" fmla="*/ 1683756 h 2831071"/>
              <a:gd name="connsiteX443" fmla="*/ 2841926 w 3473630"/>
              <a:gd name="connsiteY443" fmla="*/ 1899699 h 2831071"/>
              <a:gd name="connsiteX444" fmla="*/ 2835874 w 3473630"/>
              <a:gd name="connsiteY444" fmla="*/ 2160094 h 2831071"/>
              <a:gd name="connsiteX445" fmla="*/ 2789121 w 3473630"/>
              <a:gd name="connsiteY445" fmla="*/ 2458476 h 2831071"/>
              <a:gd name="connsiteX446" fmla="*/ 2737622 w 3473630"/>
              <a:gd name="connsiteY446" fmla="*/ 2693547 h 2831071"/>
              <a:gd name="connsiteX447" fmla="*/ 2657628 w 3473630"/>
              <a:gd name="connsiteY447" fmla="*/ 2723762 h 2831071"/>
              <a:gd name="connsiteX448" fmla="*/ 2479818 w 3473630"/>
              <a:gd name="connsiteY448" fmla="*/ 2656720 h 2831071"/>
              <a:gd name="connsiteX449" fmla="*/ 2254239 w 3473630"/>
              <a:gd name="connsiteY449" fmla="*/ 2611832 h 2831071"/>
              <a:gd name="connsiteX450" fmla="*/ 2082168 w 3473630"/>
              <a:gd name="connsiteY450" fmla="*/ 2636287 h 2831071"/>
              <a:gd name="connsiteX451" fmla="*/ 1994403 w 3473630"/>
              <a:gd name="connsiteY451" fmla="*/ 2663621 h 2831071"/>
              <a:gd name="connsiteX452" fmla="*/ 1965348 w 3473630"/>
              <a:gd name="connsiteY452" fmla="*/ 2610382 h 2831071"/>
              <a:gd name="connsiteX453" fmla="*/ 1972539 w 3473630"/>
              <a:gd name="connsiteY453" fmla="*/ 2529538 h 2831071"/>
              <a:gd name="connsiteX454" fmla="*/ 2001304 w 3473630"/>
              <a:gd name="connsiteY454" fmla="*/ 2410127 h 2831071"/>
              <a:gd name="connsiteX455" fmla="*/ 2065175 w 3473630"/>
              <a:gd name="connsiteY455" fmla="*/ 2234762 h 2831071"/>
              <a:gd name="connsiteX456" fmla="*/ 2185166 w 3473630"/>
              <a:gd name="connsiteY456" fmla="*/ 1982428 h 2831071"/>
              <a:gd name="connsiteX457" fmla="*/ 2272641 w 3473630"/>
              <a:gd name="connsiteY457" fmla="*/ 1790940 h 2831071"/>
              <a:gd name="connsiteX458" fmla="*/ 2341693 w 3473630"/>
              <a:gd name="connsiteY458" fmla="*/ 1698284 h 2831071"/>
              <a:gd name="connsiteX459" fmla="*/ 2369028 w 3473630"/>
              <a:gd name="connsiteY459" fmla="*/ 1632962 h 2831071"/>
              <a:gd name="connsiteX460" fmla="*/ 2351475 w 3473630"/>
              <a:gd name="connsiteY460" fmla="*/ 1607927 h 2831071"/>
              <a:gd name="connsiteX461" fmla="*/ 2270776 w 3473630"/>
              <a:gd name="connsiteY461" fmla="*/ 1653541 h 2831071"/>
              <a:gd name="connsiteX462" fmla="*/ 2210345 w 3473630"/>
              <a:gd name="connsiteY462" fmla="*/ 1626206 h 2831071"/>
              <a:gd name="connsiteX463" fmla="*/ 2164587 w 3473630"/>
              <a:gd name="connsiteY463" fmla="*/ 1571972 h 2831071"/>
              <a:gd name="connsiteX464" fmla="*/ 2149625 w 3473630"/>
              <a:gd name="connsiteY464" fmla="*/ 1525364 h 2831071"/>
              <a:gd name="connsiteX465" fmla="*/ 2171778 w 3473630"/>
              <a:gd name="connsiteY465" fmla="*/ 1480476 h 2831071"/>
              <a:gd name="connsiteX466" fmla="*/ 2219692 w 3473630"/>
              <a:gd name="connsiteY466" fmla="*/ 1471710 h 2831071"/>
              <a:gd name="connsiteX467" fmla="*/ 2304577 w 3473630"/>
              <a:gd name="connsiteY467" fmla="*/ 1491128 h 2831071"/>
              <a:gd name="connsiteX468" fmla="*/ 2357941 w 3473630"/>
              <a:gd name="connsiteY468" fmla="*/ 1495148 h 2831071"/>
              <a:gd name="connsiteX469" fmla="*/ 2365132 w 3473630"/>
              <a:gd name="connsiteY469" fmla="*/ 1468539 h 2831071"/>
              <a:gd name="connsiteX470" fmla="*/ 2343413 w 3473630"/>
              <a:gd name="connsiteY470" fmla="*/ 1383509 h 2831071"/>
              <a:gd name="connsiteX471" fmla="*/ 2328596 w 3473630"/>
              <a:gd name="connsiteY471" fmla="*/ 1282957 h 2831071"/>
              <a:gd name="connsiteX472" fmla="*/ 2324430 w 3473630"/>
              <a:gd name="connsiteY472" fmla="*/ 1207999 h 2831071"/>
              <a:gd name="connsiteX473" fmla="*/ 2305737 w 3473630"/>
              <a:gd name="connsiteY473" fmla="*/ 1175628 h 2831071"/>
              <a:gd name="connsiteX474" fmla="*/ 2240561 w 3473630"/>
              <a:gd name="connsiteY474" fmla="*/ 1175918 h 2831071"/>
              <a:gd name="connsiteX475" fmla="*/ 2155966 w 3473630"/>
              <a:gd name="connsiteY475" fmla="*/ 1209574 h 2831071"/>
              <a:gd name="connsiteX476" fmla="*/ 2105752 w 3473630"/>
              <a:gd name="connsiteY476" fmla="*/ 1260223 h 2831071"/>
              <a:gd name="connsiteX477" fmla="*/ 2085173 w 3473630"/>
              <a:gd name="connsiteY477" fmla="*/ 1297774 h 2831071"/>
              <a:gd name="connsiteX478" fmla="*/ 2074666 w 3473630"/>
              <a:gd name="connsiteY478" fmla="*/ 1286977 h 2831071"/>
              <a:gd name="connsiteX479" fmla="*/ 2069920 w 3473630"/>
              <a:gd name="connsiteY479" fmla="*/ 1234028 h 2831071"/>
              <a:gd name="connsiteX480" fmla="*/ 2108052 w 3473630"/>
              <a:gd name="connsiteY480" fmla="*/ 1171587 h 2831071"/>
              <a:gd name="connsiteX481" fmla="*/ 2189912 w 3473630"/>
              <a:gd name="connsiteY481" fmla="*/ 1136045 h 2831071"/>
              <a:gd name="connsiteX482" fmla="*/ 2269761 w 3473630"/>
              <a:gd name="connsiteY482" fmla="*/ 1132294 h 2831071"/>
              <a:gd name="connsiteX483" fmla="*/ 2308452 w 3473630"/>
              <a:gd name="connsiteY483" fmla="*/ 1125683 h 2831071"/>
              <a:gd name="connsiteX484" fmla="*/ 2307292 w 3473630"/>
              <a:gd name="connsiteY484" fmla="*/ 1074765 h 2831071"/>
              <a:gd name="connsiteX485" fmla="*/ 2297655 w 3473630"/>
              <a:gd name="connsiteY485" fmla="*/ 1036778 h 2831071"/>
              <a:gd name="connsiteX486" fmla="*/ 2262984 w 3473630"/>
              <a:gd name="connsiteY486" fmla="*/ 1022831 h 2831071"/>
              <a:gd name="connsiteX487" fmla="*/ 2194657 w 3473630"/>
              <a:gd name="connsiteY487" fmla="*/ 1035493 h 2831071"/>
              <a:gd name="connsiteX488" fmla="*/ 2144298 w 3473630"/>
              <a:gd name="connsiteY488" fmla="*/ 1081811 h 2831071"/>
              <a:gd name="connsiteX489" fmla="*/ 2106312 w 3473630"/>
              <a:gd name="connsiteY489" fmla="*/ 1120088 h 2831071"/>
              <a:gd name="connsiteX490" fmla="*/ 2043436 w 3473630"/>
              <a:gd name="connsiteY490" fmla="*/ 1152894 h 2831071"/>
              <a:gd name="connsiteX491" fmla="*/ 1998403 w 3473630"/>
              <a:gd name="connsiteY491" fmla="*/ 1194756 h 2831071"/>
              <a:gd name="connsiteX492" fmla="*/ 1991647 w 3473630"/>
              <a:gd name="connsiteY492" fmla="*/ 1239354 h 2831071"/>
              <a:gd name="connsiteX493" fmla="*/ 2014671 w 3473630"/>
              <a:gd name="connsiteY493" fmla="*/ 1279351 h 2831071"/>
              <a:gd name="connsiteX494" fmla="*/ 2051352 w 3473630"/>
              <a:gd name="connsiteY494" fmla="*/ 1309566 h 2831071"/>
              <a:gd name="connsiteX495" fmla="*/ 2064159 w 3473630"/>
              <a:gd name="connsiteY495" fmla="*/ 1331865 h 2831071"/>
              <a:gd name="connsiteX496" fmla="*/ 2053507 w 3473630"/>
              <a:gd name="connsiteY496" fmla="*/ 1376173 h 2831071"/>
              <a:gd name="connsiteX497" fmla="*/ 2057673 w 3473630"/>
              <a:gd name="connsiteY497" fmla="*/ 1437598 h 2831071"/>
              <a:gd name="connsiteX498" fmla="*/ 2084717 w 3473630"/>
              <a:gd name="connsiteY498" fmla="*/ 1526939 h 2831071"/>
              <a:gd name="connsiteX499" fmla="*/ 2142558 w 3473630"/>
              <a:gd name="connsiteY499" fmla="*/ 1590374 h 2831071"/>
              <a:gd name="connsiteX500" fmla="*/ 2188585 w 3473630"/>
              <a:gd name="connsiteY500" fmla="*/ 1652525 h 2831071"/>
              <a:gd name="connsiteX501" fmla="*/ 2211755 w 3473630"/>
              <a:gd name="connsiteY501" fmla="*/ 1709350 h 2831071"/>
              <a:gd name="connsiteX502" fmla="*/ 2213040 w 3473630"/>
              <a:gd name="connsiteY502" fmla="*/ 1751502 h 2831071"/>
              <a:gd name="connsiteX503" fmla="*/ 2193621 w 3473630"/>
              <a:gd name="connsiteY503" fmla="*/ 1786463 h 2831071"/>
              <a:gd name="connsiteX504" fmla="*/ 2145418 w 3473630"/>
              <a:gd name="connsiteY504" fmla="*/ 1826170 h 2831071"/>
              <a:gd name="connsiteX505" fmla="*/ 2094064 w 3473630"/>
              <a:gd name="connsiteY505" fmla="*/ 1865877 h 2831071"/>
              <a:gd name="connsiteX506" fmla="*/ 2067454 w 3473630"/>
              <a:gd name="connsiteY506" fmla="*/ 1897668 h 2831071"/>
              <a:gd name="connsiteX507" fmla="*/ 2076656 w 3473630"/>
              <a:gd name="connsiteY507" fmla="*/ 1913791 h 2831071"/>
              <a:gd name="connsiteX508" fmla="*/ 2097670 w 3473630"/>
              <a:gd name="connsiteY508" fmla="*/ 1937955 h 2831071"/>
              <a:gd name="connsiteX509" fmla="*/ 2095079 w 3473630"/>
              <a:gd name="connsiteY509" fmla="*/ 2004416 h 2831071"/>
              <a:gd name="connsiteX510" fmla="*/ 2059393 w 3473630"/>
              <a:gd name="connsiteY510" fmla="*/ 2109155 h 2831071"/>
              <a:gd name="connsiteX511" fmla="*/ 1969327 w 3473630"/>
              <a:gd name="connsiteY511" fmla="*/ 2331853 h 2831071"/>
              <a:gd name="connsiteX512" fmla="*/ 1904586 w 3473630"/>
              <a:gd name="connsiteY512" fmla="*/ 2574405 h 2831071"/>
              <a:gd name="connsiteX513" fmla="*/ 1892504 w 3473630"/>
              <a:gd name="connsiteY513" fmla="*/ 2764443 h 2831071"/>
              <a:gd name="connsiteX514" fmla="*/ 2038814 w 3473630"/>
              <a:gd name="connsiteY514" fmla="*/ 2824874 h 2831071"/>
              <a:gd name="connsiteX515" fmla="*/ 2686911 w 3473630"/>
              <a:gd name="connsiteY515" fmla="*/ 2831070 h 2831071"/>
              <a:gd name="connsiteX516" fmla="*/ 3473630 w 3473630"/>
              <a:gd name="connsiteY516" fmla="*/ 2831070 h 2831071"/>
              <a:gd name="connsiteX0" fmla="*/ 1435417 w 3473628"/>
              <a:gd name="connsiteY0" fmla="*/ 2751076 h 2831069"/>
              <a:gd name="connsiteX1" fmla="*/ 1517131 w 3473628"/>
              <a:gd name="connsiteY1" fmla="*/ 2717420 h 2831069"/>
              <a:gd name="connsiteX2" fmla="*/ 1452970 w 3473628"/>
              <a:gd name="connsiteY2" fmla="*/ 2641468 h 2831069"/>
              <a:gd name="connsiteX3" fmla="*/ 1358883 w 3473628"/>
              <a:gd name="connsiteY3" fmla="*/ 2615293 h 2831069"/>
              <a:gd name="connsiteX4" fmla="*/ 1279760 w 3473628"/>
              <a:gd name="connsiteY4" fmla="*/ 2592559 h 2831069"/>
              <a:gd name="connsiteX5" fmla="*/ 1214873 w 3473628"/>
              <a:gd name="connsiteY5" fmla="*/ 2517746 h 2831069"/>
              <a:gd name="connsiteX6" fmla="*/ 1186254 w 3473628"/>
              <a:gd name="connsiteY6" fmla="*/ 2427970 h 2831069"/>
              <a:gd name="connsiteX7" fmla="*/ 1188409 w 3473628"/>
              <a:gd name="connsiteY7" fmla="*/ 2366980 h 2831069"/>
              <a:gd name="connsiteX8" fmla="*/ 1213734 w 3473628"/>
              <a:gd name="connsiteY8" fmla="*/ 2320662 h 2831069"/>
              <a:gd name="connsiteX9" fmla="*/ 1209568 w 3473628"/>
              <a:gd name="connsiteY9" fmla="*/ 2270448 h 2831069"/>
              <a:gd name="connsiteX10" fmla="*/ 1120808 w 3473628"/>
              <a:gd name="connsiteY10" fmla="*/ 2115662 h 2831069"/>
              <a:gd name="connsiteX11" fmla="*/ 1030182 w 3473628"/>
              <a:gd name="connsiteY11" fmla="*/ 1957124 h 2831069"/>
              <a:gd name="connsiteX12" fmla="*/ 963576 w 3473628"/>
              <a:gd name="connsiteY12" fmla="*/ 1924173 h 2831069"/>
              <a:gd name="connsiteX13" fmla="*/ 805764 w 3473628"/>
              <a:gd name="connsiteY13" fmla="*/ 1954244 h 2831069"/>
              <a:gd name="connsiteX14" fmla="*/ 604929 w 3473628"/>
              <a:gd name="connsiteY14" fmla="*/ 1989060 h 2831069"/>
              <a:gd name="connsiteX15" fmla="*/ 477332 w 3473628"/>
              <a:gd name="connsiteY15" fmla="*/ 1993661 h 2831069"/>
              <a:gd name="connsiteX16" fmla="*/ 361672 w 3473628"/>
              <a:gd name="connsiteY16" fmla="*/ 2000852 h 2831069"/>
              <a:gd name="connsiteX17" fmla="*/ 98687 w 3473628"/>
              <a:gd name="connsiteY17" fmla="*/ 2062567 h 2831069"/>
              <a:gd name="connsiteX18" fmla="*/ 3316 w 3473628"/>
              <a:gd name="connsiteY18" fmla="*/ 2090047 h 2831069"/>
              <a:gd name="connsiteX19" fmla="*/ 45468 w 3473628"/>
              <a:gd name="connsiteY19" fmla="*/ 2164135 h 2831069"/>
              <a:gd name="connsiteX20" fmla="*/ 243277 w 3473628"/>
              <a:gd name="connsiteY20" fmla="*/ 2417629 h 2831069"/>
              <a:gd name="connsiteX21" fmla="*/ 343270 w 3473628"/>
              <a:gd name="connsiteY21" fmla="*/ 2553723 h 2831069"/>
              <a:gd name="connsiteX22" fmla="*/ 396634 w 3473628"/>
              <a:gd name="connsiteY22" fmla="*/ 2608392 h 2831069"/>
              <a:gd name="connsiteX23" fmla="*/ 442102 w 3473628"/>
              <a:gd name="connsiteY23" fmla="*/ 2644348 h 2831069"/>
              <a:gd name="connsiteX24" fmla="*/ 450018 w 3473628"/>
              <a:gd name="connsiteY24" fmla="*/ 2670108 h 2831069"/>
              <a:gd name="connsiteX25" fmla="*/ 431180 w 3473628"/>
              <a:gd name="connsiteY25" fmla="*/ 2687516 h 2831069"/>
              <a:gd name="connsiteX26" fmla="*/ 385007 w 3473628"/>
              <a:gd name="connsiteY26" fmla="*/ 2665507 h 2831069"/>
              <a:gd name="connsiteX27" fmla="*/ 320266 w 3473628"/>
              <a:gd name="connsiteY27" fmla="*/ 2569991 h 2831069"/>
              <a:gd name="connsiteX28" fmla="*/ 307459 w 3473628"/>
              <a:gd name="connsiteY28" fmla="*/ 2513166 h 2831069"/>
              <a:gd name="connsiteX29" fmla="*/ 319396 w 3473628"/>
              <a:gd name="connsiteY29" fmla="*/ 2499923 h 2831069"/>
              <a:gd name="connsiteX30" fmla="*/ 348015 w 3473628"/>
              <a:gd name="connsiteY30" fmla="*/ 2524378 h 2831069"/>
              <a:gd name="connsiteX31" fmla="*/ 378086 w 3473628"/>
              <a:gd name="connsiteY31" fmla="*/ 2562364 h 2831069"/>
              <a:gd name="connsiteX32" fmla="*/ 409731 w 3473628"/>
              <a:gd name="connsiteY32" fmla="*/ 2581348 h 2831069"/>
              <a:gd name="connsiteX33" fmla="*/ 431740 w 3473628"/>
              <a:gd name="connsiteY33" fmla="*/ 2604372 h 2831069"/>
              <a:gd name="connsiteX34" fmla="*/ 455323 w 3473628"/>
              <a:gd name="connsiteY34" fmla="*/ 2623645 h 2831069"/>
              <a:gd name="connsiteX35" fmla="*/ 472006 w 3473628"/>
              <a:gd name="connsiteY35" fmla="*/ 2654005 h 2831069"/>
              <a:gd name="connsiteX36" fmla="*/ 483798 w 3473628"/>
              <a:gd name="connsiteY36" fmla="*/ 2705649 h 2831069"/>
              <a:gd name="connsiteX37" fmla="*/ 515029 w 3473628"/>
              <a:gd name="connsiteY37" fmla="*/ 2761707 h 2831069"/>
              <a:gd name="connsiteX38" fmla="*/ 593924 w 3473628"/>
              <a:gd name="connsiteY38" fmla="*/ 2781975 h 2831069"/>
              <a:gd name="connsiteX39" fmla="*/ 917921 w 3473628"/>
              <a:gd name="connsiteY39" fmla="*/ 2784234 h 2831069"/>
              <a:gd name="connsiteX40" fmla="*/ 1481859 w 3473628"/>
              <a:gd name="connsiteY40" fmla="*/ 2784234 h 2831069"/>
              <a:gd name="connsiteX41" fmla="*/ 1611175 w 3473628"/>
              <a:gd name="connsiteY41" fmla="*/ 2760402 h 2831069"/>
              <a:gd name="connsiteX42" fmla="*/ 1530415 w 3473628"/>
              <a:gd name="connsiteY42" fmla="*/ 2653819 h 2831069"/>
              <a:gd name="connsiteX43" fmla="*/ 1485506 w 3473628"/>
              <a:gd name="connsiteY43" fmla="*/ 2582508 h 2831069"/>
              <a:gd name="connsiteX44" fmla="*/ 1444639 w 3473628"/>
              <a:gd name="connsiteY44" fmla="*/ 2563380 h 2831069"/>
              <a:gd name="connsiteX45" fmla="*/ 1360914 w 3473628"/>
              <a:gd name="connsiteY45" fmla="*/ 2569701 h 2831069"/>
              <a:gd name="connsiteX46" fmla="*/ 1305374 w 3473628"/>
              <a:gd name="connsiteY46" fmla="*/ 2561204 h 2831069"/>
              <a:gd name="connsiteX47" fmla="*/ 1259906 w 3473628"/>
              <a:gd name="connsiteY47" fmla="*/ 2517187 h 2831069"/>
              <a:gd name="connsiteX48" fmla="*/ 1228551 w 3473628"/>
              <a:gd name="connsiteY48" fmla="*/ 2442519 h 2831069"/>
              <a:gd name="connsiteX49" fmla="*/ 1227121 w 3473628"/>
              <a:gd name="connsiteY49" fmla="*/ 2364680 h 2831069"/>
              <a:gd name="connsiteX50" fmla="*/ 1271139 w 3473628"/>
              <a:gd name="connsiteY50" fmla="*/ 2317491 h 2831069"/>
              <a:gd name="connsiteX51" fmla="*/ 1254021 w 3473628"/>
              <a:gd name="connsiteY51" fmla="*/ 2254201 h 2831069"/>
              <a:gd name="connsiteX52" fmla="*/ 1118217 w 3473628"/>
              <a:gd name="connsiteY52" fmla="*/ 2041429 h 2831069"/>
              <a:gd name="connsiteX53" fmla="*/ 1021105 w 3473628"/>
              <a:gd name="connsiteY53" fmla="*/ 1888363 h 2831069"/>
              <a:gd name="connsiteX54" fmla="*/ 969171 w 3473628"/>
              <a:gd name="connsiteY54" fmla="*/ 1865338 h 2831069"/>
              <a:gd name="connsiteX55" fmla="*/ 890048 w 3473628"/>
              <a:gd name="connsiteY55" fmla="*/ 1886477 h 2831069"/>
              <a:gd name="connsiteX56" fmla="*/ 773808 w 3473628"/>
              <a:gd name="connsiteY56" fmla="*/ 1916837 h 2831069"/>
              <a:gd name="connsiteX57" fmla="*/ 552974 w 3473628"/>
              <a:gd name="connsiteY57" fmla="*/ 1960565 h 2831069"/>
              <a:gd name="connsiteX58" fmla="*/ 460463 w 3473628"/>
              <a:gd name="connsiteY58" fmla="*/ 1968771 h 2831069"/>
              <a:gd name="connsiteX59" fmla="*/ 390251 w 3473628"/>
              <a:gd name="connsiteY59" fmla="*/ 1936110 h 2831069"/>
              <a:gd name="connsiteX60" fmla="*/ 237329 w 3473628"/>
              <a:gd name="connsiteY60" fmla="*/ 1817280 h 2831069"/>
              <a:gd name="connsiteX61" fmla="*/ 148859 w 3473628"/>
              <a:gd name="connsiteY61" fmla="*/ 1724478 h 2831069"/>
              <a:gd name="connsiteX62" fmla="*/ 135326 w 3473628"/>
              <a:gd name="connsiteY62" fmla="*/ 1660753 h 2831069"/>
              <a:gd name="connsiteX63" fmla="*/ 160361 w 3473628"/>
              <a:gd name="connsiteY63" fmla="*/ 1619326 h 2831069"/>
              <a:gd name="connsiteX64" fmla="*/ 206534 w 3473628"/>
              <a:gd name="connsiteY64" fmla="*/ 1610829 h 2831069"/>
              <a:gd name="connsiteX65" fmla="*/ 299894 w 3473628"/>
              <a:gd name="connsiteY65" fmla="*/ 1646370 h 2831069"/>
              <a:gd name="connsiteX66" fmla="*/ 372552 w 3473628"/>
              <a:gd name="connsiteY66" fmla="*/ 1668959 h 2831069"/>
              <a:gd name="connsiteX67" fmla="*/ 375723 w 3473628"/>
              <a:gd name="connsiteY67" fmla="*/ 1692688 h 2831069"/>
              <a:gd name="connsiteX68" fmla="*/ 313282 w 3473628"/>
              <a:gd name="connsiteY68" fmla="*/ 1712832 h 2831069"/>
              <a:gd name="connsiteX69" fmla="*/ 211134 w 3473628"/>
              <a:gd name="connsiteY69" fmla="*/ 1685787 h 2831069"/>
              <a:gd name="connsiteX70" fmla="*/ 161356 w 3473628"/>
              <a:gd name="connsiteY70" fmla="*/ 1648235 h 2831069"/>
              <a:gd name="connsiteX71" fmla="*/ 166391 w 3473628"/>
              <a:gd name="connsiteY71" fmla="*/ 1605586 h 2831069"/>
              <a:gd name="connsiteX72" fmla="*/ 200192 w 3473628"/>
              <a:gd name="connsiteY72" fmla="*/ 1577816 h 2831069"/>
              <a:gd name="connsiteX73" fmla="*/ 287232 w 3473628"/>
              <a:gd name="connsiteY73" fmla="*/ 1590830 h 2831069"/>
              <a:gd name="connsiteX74" fmla="*/ 369009 w 3473628"/>
              <a:gd name="connsiteY74" fmla="*/ 1618953 h 2831069"/>
              <a:gd name="connsiteX75" fmla="*/ 419927 w 3473628"/>
              <a:gd name="connsiteY75" fmla="*/ 1621046 h 2831069"/>
              <a:gd name="connsiteX76" fmla="*/ 508625 w 3473628"/>
              <a:gd name="connsiteY76" fmla="*/ 1559682 h 2831069"/>
              <a:gd name="connsiteX77" fmla="*/ 603872 w 3473628"/>
              <a:gd name="connsiteY77" fmla="*/ 1496164 h 2831069"/>
              <a:gd name="connsiteX78" fmla="*/ 672489 w 3473628"/>
              <a:gd name="connsiteY78" fmla="*/ 1469699 h 2831069"/>
              <a:gd name="connsiteX79" fmla="*/ 740318 w 3473628"/>
              <a:gd name="connsiteY79" fmla="*/ 1459835 h 2831069"/>
              <a:gd name="connsiteX80" fmla="*/ 810675 w 3473628"/>
              <a:gd name="connsiteY80" fmla="*/ 1421288 h 2831069"/>
              <a:gd name="connsiteX81" fmla="*/ 854631 w 3473628"/>
              <a:gd name="connsiteY81" fmla="*/ 1394969 h 2831069"/>
              <a:gd name="connsiteX82" fmla="*/ 862982 w 3473628"/>
              <a:gd name="connsiteY82" fmla="*/ 1380214 h 2831069"/>
              <a:gd name="connsiteX83" fmla="*/ 851688 w 3473628"/>
              <a:gd name="connsiteY83" fmla="*/ 1366412 h 2831069"/>
              <a:gd name="connsiteX84" fmla="*/ 827524 w 3473628"/>
              <a:gd name="connsiteY84" fmla="*/ 1363614 h 2831069"/>
              <a:gd name="connsiteX85" fmla="*/ 824291 w 3473628"/>
              <a:gd name="connsiteY85" fmla="*/ 1354910 h 2831069"/>
              <a:gd name="connsiteX86" fmla="*/ 846652 w 3473628"/>
              <a:gd name="connsiteY86" fmla="*/ 1340030 h 2831069"/>
              <a:gd name="connsiteX87" fmla="*/ 880308 w 3473628"/>
              <a:gd name="connsiteY87" fmla="*/ 1319161 h 2831069"/>
              <a:gd name="connsiteX88" fmla="*/ 897363 w 3473628"/>
              <a:gd name="connsiteY88" fmla="*/ 1302831 h 2831069"/>
              <a:gd name="connsiteX89" fmla="*/ 886794 w 3473628"/>
              <a:gd name="connsiteY89" fmla="*/ 1295930 h 2831069"/>
              <a:gd name="connsiteX90" fmla="*/ 844642 w 3473628"/>
              <a:gd name="connsiteY90" fmla="*/ 1306934 h 2831069"/>
              <a:gd name="connsiteX91" fmla="*/ 809536 w 3473628"/>
              <a:gd name="connsiteY91" fmla="*/ 1335347 h 2831069"/>
              <a:gd name="connsiteX92" fmla="*/ 787029 w 3473628"/>
              <a:gd name="connsiteY92" fmla="*/ 1349667 h 2831069"/>
              <a:gd name="connsiteX93" fmla="*/ 782139 w 3473628"/>
              <a:gd name="connsiteY93" fmla="*/ 1343346 h 2831069"/>
              <a:gd name="connsiteX94" fmla="*/ 804583 w 3473628"/>
              <a:gd name="connsiteY94" fmla="*/ 1325296 h 2831069"/>
              <a:gd name="connsiteX95" fmla="*/ 816810 w 3473628"/>
              <a:gd name="connsiteY95" fmla="*/ 1307743 h 2831069"/>
              <a:gd name="connsiteX96" fmla="*/ 811276 w 3473628"/>
              <a:gd name="connsiteY96" fmla="*/ 1290977 h 2831069"/>
              <a:gd name="connsiteX97" fmla="*/ 791713 w 3473628"/>
              <a:gd name="connsiteY97" fmla="*/ 1290832 h 2831069"/>
              <a:gd name="connsiteX98" fmla="*/ 761933 w 3473628"/>
              <a:gd name="connsiteY98" fmla="*/ 1313856 h 2831069"/>
              <a:gd name="connsiteX99" fmla="*/ 742515 w 3473628"/>
              <a:gd name="connsiteY99" fmla="*/ 1324218 h 2831069"/>
              <a:gd name="connsiteX100" fmla="*/ 739862 w 3473628"/>
              <a:gd name="connsiteY100" fmla="*/ 1318457 h 2831069"/>
              <a:gd name="connsiteX101" fmla="*/ 752296 w 3473628"/>
              <a:gd name="connsiteY101" fmla="*/ 1300406 h 2831069"/>
              <a:gd name="connsiteX102" fmla="*/ 772585 w 3473628"/>
              <a:gd name="connsiteY102" fmla="*/ 1280615 h 2831069"/>
              <a:gd name="connsiteX103" fmla="*/ 776108 w 3473628"/>
              <a:gd name="connsiteY103" fmla="*/ 1263994 h 2831069"/>
              <a:gd name="connsiteX104" fmla="*/ 761083 w 3473628"/>
              <a:gd name="connsiteY104" fmla="*/ 1258026 h 2831069"/>
              <a:gd name="connsiteX105" fmla="*/ 718869 w 3473628"/>
              <a:gd name="connsiteY105" fmla="*/ 1273051 h 2831069"/>
              <a:gd name="connsiteX106" fmla="*/ 639600 w 3473628"/>
              <a:gd name="connsiteY106" fmla="*/ 1331181 h 2831069"/>
              <a:gd name="connsiteX107" fmla="*/ 569678 w 3473628"/>
              <a:gd name="connsiteY107" fmla="*/ 1382100 h 2831069"/>
              <a:gd name="connsiteX108" fmla="*/ 456173 w 3473628"/>
              <a:gd name="connsiteY108" fmla="*/ 1442530 h 2831069"/>
              <a:gd name="connsiteX109" fmla="*/ 325406 w 3473628"/>
              <a:gd name="connsiteY109" fmla="*/ 1515188 h 2831069"/>
              <a:gd name="connsiteX110" fmla="*/ 239526 w 3473628"/>
              <a:gd name="connsiteY110" fmla="*/ 1551144 h 2831069"/>
              <a:gd name="connsiteX111" fmla="*/ 218388 w 3473628"/>
              <a:gd name="connsiteY111" fmla="*/ 1575453 h 2831069"/>
              <a:gd name="connsiteX112" fmla="*/ 272912 w 3473628"/>
              <a:gd name="connsiteY112" fmla="*/ 1602208 h 2831069"/>
              <a:gd name="connsiteX113" fmla="*/ 357797 w 3473628"/>
              <a:gd name="connsiteY113" fmla="*/ 1635863 h 2831069"/>
              <a:gd name="connsiteX114" fmla="*/ 403410 w 3473628"/>
              <a:gd name="connsiteY114" fmla="*/ 1653271 h 2831069"/>
              <a:gd name="connsiteX115" fmla="*/ 416073 w 3473628"/>
              <a:gd name="connsiteY115" fmla="*/ 1682036 h 2831069"/>
              <a:gd name="connsiteX116" fmla="*/ 440817 w 3473628"/>
              <a:gd name="connsiteY116" fmla="*/ 1705060 h 2831069"/>
              <a:gd name="connsiteX117" fmla="*/ 514469 w 3473628"/>
              <a:gd name="connsiteY117" fmla="*/ 1733680 h 2831069"/>
              <a:gd name="connsiteX118" fmla="*/ 651288 w 3473628"/>
              <a:gd name="connsiteY118" fmla="*/ 1765905 h 2831069"/>
              <a:gd name="connsiteX119" fmla="*/ 768109 w 3473628"/>
              <a:gd name="connsiteY119" fmla="*/ 1785179 h 2831069"/>
              <a:gd name="connsiteX120" fmla="*/ 837306 w 3473628"/>
              <a:gd name="connsiteY120" fmla="*/ 1824740 h 2831069"/>
              <a:gd name="connsiteX121" fmla="*/ 840621 w 3473628"/>
              <a:gd name="connsiteY121" fmla="*/ 1854666 h 2831069"/>
              <a:gd name="connsiteX122" fmla="*/ 790843 w 3473628"/>
              <a:gd name="connsiteY122" fmla="*/ 1883430 h 2831069"/>
              <a:gd name="connsiteX123" fmla="*/ 713874 w 3473628"/>
              <a:gd name="connsiteY123" fmla="*/ 1902413 h 2831069"/>
              <a:gd name="connsiteX124" fmla="*/ 703367 w 3473628"/>
              <a:gd name="connsiteY124" fmla="*/ 1887741 h 2831069"/>
              <a:gd name="connsiteX125" fmla="*/ 735158 w 3473628"/>
              <a:gd name="connsiteY125" fmla="*/ 1840843 h 2831069"/>
              <a:gd name="connsiteX126" fmla="*/ 785662 w 3473628"/>
              <a:gd name="connsiteY126" fmla="*/ 1808037 h 2831069"/>
              <a:gd name="connsiteX127" fmla="*/ 864640 w 3473628"/>
              <a:gd name="connsiteY127" fmla="*/ 1809757 h 2831069"/>
              <a:gd name="connsiteX128" fmla="*/ 904637 w 3473628"/>
              <a:gd name="connsiteY128" fmla="*/ 1789468 h 2831069"/>
              <a:gd name="connsiteX129" fmla="*/ 916284 w 3473628"/>
              <a:gd name="connsiteY129" fmla="*/ 1745161 h 2831069"/>
              <a:gd name="connsiteX130" fmla="*/ 912119 w 3473628"/>
              <a:gd name="connsiteY130" fmla="*/ 1675238 h 2831069"/>
              <a:gd name="connsiteX131" fmla="*/ 918025 w 3473628"/>
              <a:gd name="connsiteY131" fmla="*/ 1647904 h 2831069"/>
              <a:gd name="connsiteX132" fmla="*/ 946230 w 3473628"/>
              <a:gd name="connsiteY132" fmla="*/ 1644588 h 2831069"/>
              <a:gd name="connsiteX133" fmla="*/ 993128 w 3473628"/>
              <a:gd name="connsiteY133" fmla="*/ 1664587 h 2831069"/>
              <a:gd name="connsiteX134" fmla="*/ 1043632 w 3473628"/>
              <a:gd name="connsiteY134" fmla="*/ 1685455 h 2831069"/>
              <a:gd name="connsiteX135" fmla="*/ 1091110 w 3473628"/>
              <a:gd name="connsiteY135" fmla="*/ 1667032 h 2831069"/>
              <a:gd name="connsiteX136" fmla="*/ 1113844 w 3473628"/>
              <a:gd name="connsiteY136" fmla="*/ 1609046 h 2831069"/>
              <a:gd name="connsiteX137" fmla="*/ 1137573 w 3473628"/>
              <a:gd name="connsiteY137" fmla="*/ 1536244 h 2831069"/>
              <a:gd name="connsiteX138" fmla="*/ 1175270 w 3473628"/>
              <a:gd name="connsiteY138" fmla="*/ 1484165 h 2831069"/>
              <a:gd name="connsiteX139" fmla="*/ 1215847 w 3473628"/>
              <a:gd name="connsiteY139" fmla="*/ 1437702 h 2831069"/>
              <a:gd name="connsiteX140" fmla="*/ 1213837 w 3473628"/>
              <a:gd name="connsiteY140" fmla="*/ 1405911 h 2831069"/>
              <a:gd name="connsiteX141" fmla="*/ 1160743 w 3473628"/>
              <a:gd name="connsiteY141" fmla="*/ 1359449 h 2831069"/>
              <a:gd name="connsiteX142" fmla="*/ 1072273 w 3473628"/>
              <a:gd name="connsiteY142" fmla="*/ 1326207 h 2831069"/>
              <a:gd name="connsiteX143" fmla="*/ 969420 w 3473628"/>
              <a:gd name="connsiteY143" fmla="*/ 1337709 h 2831069"/>
              <a:gd name="connsiteX144" fmla="*/ 912160 w 3473628"/>
              <a:gd name="connsiteY144" fmla="*/ 1380152 h 2831069"/>
              <a:gd name="connsiteX145" fmla="*/ 896327 w 3473628"/>
              <a:gd name="connsiteY145" fmla="*/ 1448333 h 2831069"/>
              <a:gd name="connsiteX146" fmla="*/ 877489 w 3473628"/>
              <a:gd name="connsiteY146" fmla="*/ 1512784 h 2831069"/>
              <a:gd name="connsiteX147" fmla="*/ 860806 w 3473628"/>
              <a:gd name="connsiteY147" fmla="*/ 1564138 h 2831069"/>
              <a:gd name="connsiteX148" fmla="*/ 859936 w 3473628"/>
              <a:gd name="connsiteY148" fmla="*/ 1636216 h 2831069"/>
              <a:gd name="connsiteX149" fmla="*/ 882670 w 3473628"/>
              <a:gd name="connsiteY149" fmla="*/ 1693040 h 2831069"/>
              <a:gd name="connsiteX150" fmla="*/ 939930 w 3473628"/>
              <a:gd name="connsiteY150" fmla="*/ 1728001 h 2831069"/>
              <a:gd name="connsiteX151" fmla="*/ 1032856 w 3473628"/>
              <a:gd name="connsiteY151" fmla="*/ 1733618 h 2831069"/>
              <a:gd name="connsiteX152" fmla="*/ 1121326 w 3473628"/>
              <a:gd name="connsiteY152" fmla="*/ 1688440 h 2831069"/>
              <a:gd name="connsiteX153" fmla="*/ 1171830 w 3473628"/>
              <a:gd name="connsiteY153" fmla="*/ 1627304 h 2831069"/>
              <a:gd name="connsiteX154" fmla="*/ 1192263 w 3473628"/>
              <a:gd name="connsiteY154" fmla="*/ 1592343 h 2831069"/>
              <a:gd name="connsiteX155" fmla="*/ 1215433 w 3473628"/>
              <a:gd name="connsiteY155" fmla="*/ 1590478 h 2831069"/>
              <a:gd name="connsiteX156" fmla="*/ 1223059 w 3473628"/>
              <a:gd name="connsiteY156" fmla="*/ 1624569 h 2831069"/>
              <a:gd name="connsiteX157" fmla="*/ 1193569 w 3473628"/>
              <a:gd name="connsiteY157" fmla="*/ 1655219 h 2831069"/>
              <a:gd name="connsiteX158" fmla="*/ 1160328 w 3473628"/>
              <a:gd name="connsiteY158" fmla="*/ 1650909 h 2831069"/>
              <a:gd name="connsiteX159" fmla="*/ 1152121 w 3473628"/>
              <a:gd name="connsiteY159" fmla="*/ 1619844 h 2831069"/>
              <a:gd name="connsiteX160" fmla="*/ 1169239 w 3473628"/>
              <a:gd name="connsiteY160" fmla="*/ 1577836 h 2831069"/>
              <a:gd name="connsiteX161" fmla="*/ 1208511 w 3473628"/>
              <a:gd name="connsiteY161" fmla="*/ 1555683 h 2831069"/>
              <a:gd name="connsiteX162" fmla="*/ 1223039 w 3473628"/>
              <a:gd name="connsiteY162" fmla="*/ 1534814 h 2831069"/>
              <a:gd name="connsiteX163" fmla="*/ 1221173 w 3473628"/>
              <a:gd name="connsiteY163" fmla="*/ 1493822 h 2831069"/>
              <a:gd name="connsiteX164" fmla="*/ 1192263 w 3473628"/>
              <a:gd name="connsiteY164" fmla="*/ 1435837 h 2831069"/>
              <a:gd name="connsiteX165" fmla="*/ 1126527 w 3473628"/>
              <a:gd name="connsiteY165" fmla="*/ 1373105 h 2831069"/>
              <a:gd name="connsiteX166" fmla="*/ 1015178 w 3473628"/>
              <a:gd name="connsiteY166" fmla="*/ 1361604 h 2831069"/>
              <a:gd name="connsiteX167" fmla="*/ 929299 w 3473628"/>
              <a:gd name="connsiteY167" fmla="*/ 1399591 h 2831069"/>
              <a:gd name="connsiteX168" fmla="*/ 891312 w 3473628"/>
              <a:gd name="connsiteY168" fmla="*/ 1413683 h 2831069"/>
              <a:gd name="connsiteX169" fmla="*/ 880805 w 3473628"/>
              <a:gd name="connsiteY169" fmla="*/ 1385623 h 2831069"/>
              <a:gd name="connsiteX170" fmla="*/ 887271 w 3473628"/>
              <a:gd name="connsiteY170" fmla="*/ 1343035 h 2831069"/>
              <a:gd name="connsiteX171" fmla="*/ 919351 w 3473628"/>
              <a:gd name="connsiteY171" fmla="*/ 1314270 h 2831069"/>
              <a:gd name="connsiteX172" fmla="*/ 976031 w 3473628"/>
              <a:gd name="connsiteY172" fmla="*/ 1293402 h 2831069"/>
              <a:gd name="connsiteX173" fmla="*/ 1018183 w 3473628"/>
              <a:gd name="connsiteY173" fmla="*/ 1281900 h 2831069"/>
              <a:gd name="connsiteX174" fmla="*/ 1050844 w 3473628"/>
              <a:gd name="connsiteY174" fmla="*/ 1268947 h 2831069"/>
              <a:gd name="connsiteX175" fmla="*/ 1109244 w 3473628"/>
              <a:gd name="connsiteY175" fmla="*/ 1272118 h 2831069"/>
              <a:gd name="connsiteX176" fmla="*/ 1183622 w 3473628"/>
              <a:gd name="connsiteY176" fmla="*/ 1306209 h 2831069"/>
              <a:gd name="connsiteX177" fmla="*/ 1247202 w 3473628"/>
              <a:gd name="connsiteY177" fmla="*/ 1382017 h 2831069"/>
              <a:gd name="connsiteX178" fmla="*/ 1276983 w 3473628"/>
              <a:gd name="connsiteY178" fmla="*/ 1470777 h 2831069"/>
              <a:gd name="connsiteX179" fmla="*/ 1290785 w 3473628"/>
              <a:gd name="connsiteY179" fmla="*/ 1538959 h 2831069"/>
              <a:gd name="connsiteX180" fmla="*/ 1286184 w 3473628"/>
              <a:gd name="connsiteY180" fmla="*/ 1598664 h 2831069"/>
              <a:gd name="connsiteX181" fmla="*/ 1251223 w 3473628"/>
              <a:gd name="connsiteY181" fmla="*/ 1657789 h 2831069"/>
              <a:gd name="connsiteX182" fmla="*/ 1190792 w 3473628"/>
              <a:gd name="connsiteY182" fmla="*/ 1692460 h 2831069"/>
              <a:gd name="connsiteX183" fmla="*/ 1155396 w 3473628"/>
              <a:gd name="connsiteY183" fmla="*/ 1717349 h 2831069"/>
              <a:gd name="connsiteX184" fmla="*/ 1128786 w 3473628"/>
              <a:gd name="connsiteY184" fmla="*/ 1768848 h 2831069"/>
              <a:gd name="connsiteX185" fmla="*/ 1124766 w 3473628"/>
              <a:gd name="connsiteY185" fmla="*/ 1813156 h 2831069"/>
              <a:gd name="connsiteX186" fmla="*/ 1143459 w 3473628"/>
              <a:gd name="connsiteY186" fmla="*/ 1838045 h 2831069"/>
              <a:gd name="connsiteX187" fmla="*/ 1176700 w 3473628"/>
              <a:gd name="connsiteY187" fmla="*/ 1874581 h 2831069"/>
              <a:gd name="connsiteX188" fmla="*/ 1211951 w 3473628"/>
              <a:gd name="connsiteY188" fmla="*/ 1930971 h 2831069"/>
              <a:gd name="connsiteX189" fmla="*/ 1269791 w 3473628"/>
              <a:gd name="connsiteY189" fmla="*/ 1970678 h 2831069"/>
              <a:gd name="connsiteX190" fmla="*/ 1289790 w 3473628"/>
              <a:gd name="connsiteY190" fmla="*/ 2016996 h 2831069"/>
              <a:gd name="connsiteX191" fmla="*/ 1236696 w 3473628"/>
              <a:gd name="connsiteY191" fmla="*/ 2105031 h 2831069"/>
              <a:gd name="connsiteX192" fmla="*/ 1189362 w 3473628"/>
              <a:gd name="connsiteY192" fmla="*/ 2099269 h 2831069"/>
              <a:gd name="connsiteX193" fmla="*/ 1126921 w 3473628"/>
              <a:gd name="connsiteY193" fmla="*/ 1994386 h 2831069"/>
              <a:gd name="connsiteX194" fmla="*/ 1124621 w 3473628"/>
              <a:gd name="connsiteY194" fmla="*/ 1948773 h 2831069"/>
              <a:gd name="connsiteX195" fmla="*/ 1178855 w 3473628"/>
              <a:gd name="connsiteY195" fmla="*/ 1910226 h 2831069"/>
              <a:gd name="connsiteX196" fmla="*/ 1235245 w 3473628"/>
              <a:gd name="connsiteY196" fmla="*/ 1918288 h 2831069"/>
              <a:gd name="connsiteX197" fmla="*/ 1332792 w 3473628"/>
              <a:gd name="connsiteY197" fmla="*/ 1988065 h 2831069"/>
              <a:gd name="connsiteX198" fmla="*/ 1387316 w 3473628"/>
              <a:gd name="connsiteY198" fmla="*/ 2070650 h 2831069"/>
              <a:gd name="connsiteX199" fmla="*/ 1383710 w 3473628"/>
              <a:gd name="connsiteY199" fmla="*/ 2126190 h 2831069"/>
              <a:gd name="connsiteX200" fmla="*/ 1348459 w 3473628"/>
              <a:gd name="connsiteY200" fmla="*/ 2203448 h 2831069"/>
              <a:gd name="connsiteX201" fmla="*/ 1311923 w 3473628"/>
              <a:gd name="connsiteY201" fmla="*/ 2248771 h 2831069"/>
              <a:gd name="connsiteX202" fmla="*/ 1270786 w 3473628"/>
              <a:gd name="connsiteY202" fmla="*/ 2226907 h 2831069"/>
              <a:gd name="connsiteX203" fmla="*/ 1256694 w 3473628"/>
              <a:gd name="connsiteY203" fmla="*/ 2197417 h 2831069"/>
              <a:gd name="connsiteX204" fmla="*/ 1262745 w 3473628"/>
              <a:gd name="connsiteY204" fmla="*/ 2172093 h 2831069"/>
              <a:gd name="connsiteX205" fmla="*/ 1299427 w 3473628"/>
              <a:gd name="connsiteY205" fmla="*/ 2127640 h 2831069"/>
              <a:gd name="connsiteX206" fmla="*/ 1357826 w 3473628"/>
              <a:gd name="connsiteY206" fmla="*/ 2086068 h 2831069"/>
              <a:gd name="connsiteX207" fmla="*/ 1403999 w 3473628"/>
              <a:gd name="connsiteY207" fmla="*/ 2048372 h 2831069"/>
              <a:gd name="connsiteX208" fmla="*/ 1428453 w 3473628"/>
              <a:gd name="connsiteY208" fmla="*/ 2028228 h 2831069"/>
              <a:gd name="connsiteX209" fmla="*/ 1435644 w 3473628"/>
              <a:gd name="connsiteY209" fmla="*/ 2043481 h 2831069"/>
              <a:gd name="connsiteX210" fmla="*/ 1439375 w 3473628"/>
              <a:gd name="connsiteY210" fmla="*/ 2107062 h 2831069"/>
              <a:gd name="connsiteX211" fmla="*/ 1432039 w 3473628"/>
              <a:gd name="connsiteY211" fmla="*/ 2164902 h 2831069"/>
              <a:gd name="connsiteX212" fmla="*/ 1405864 w 3473628"/>
              <a:gd name="connsiteY212" fmla="*/ 2266469 h 2831069"/>
              <a:gd name="connsiteX213" fmla="*/ 1412765 w 3473628"/>
              <a:gd name="connsiteY213" fmla="*/ 2328330 h 2831069"/>
              <a:gd name="connsiteX214" fmla="*/ 1440245 w 3473628"/>
              <a:gd name="connsiteY214" fmla="*/ 2353074 h 2831069"/>
              <a:gd name="connsiteX215" fmla="*/ 1475932 w 3473628"/>
              <a:gd name="connsiteY215" fmla="*/ 2367457 h 2831069"/>
              <a:gd name="connsiteX216" fmla="*/ 1511038 w 3473628"/>
              <a:gd name="connsiteY216" fmla="*/ 2382710 h 2831069"/>
              <a:gd name="connsiteX217" fmla="*/ 1536217 w 3473628"/>
              <a:gd name="connsiteY217" fmla="*/ 2415225 h 2831069"/>
              <a:gd name="connsiteX218" fmla="*/ 1543408 w 3473628"/>
              <a:gd name="connsiteY218" fmla="*/ 2463843 h 2831069"/>
              <a:gd name="connsiteX219" fmla="*/ 1512758 w 3473628"/>
              <a:gd name="connsiteY219" fmla="*/ 2507156 h 2831069"/>
              <a:gd name="connsiteX220" fmla="*/ 1467083 w 3473628"/>
              <a:gd name="connsiteY220" fmla="*/ 2522844 h 2831069"/>
              <a:gd name="connsiteX221" fmla="*/ 1422195 w 3473628"/>
              <a:gd name="connsiteY221" fmla="*/ 2523860 h 2831069"/>
              <a:gd name="connsiteX222" fmla="*/ 1366738 w 3473628"/>
              <a:gd name="connsiteY222" fmla="*/ 2540832 h 2831069"/>
              <a:gd name="connsiteX223" fmla="*/ 1320420 w 3473628"/>
              <a:gd name="connsiteY223" fmla="*/ 2536667 h 2831069"/>
              <a:gd name="connsiteX224" fmla="*/ 1321788 w 3473628"/>
              <a:gd name="connsiteY224" fmla="*/ 2519549 h 2831069"/>
              <a:gd name="connsiteX225" fmla="*/ 1369846 w 3473628"/>
              <a:gd name="connsiteY225" fmla="*/ 2497893 h 2831069"/>
              <a:gd name="connsiteX226" fmla="*/ 1396891 w 3473628"/>
              <a:gd name="connsiteY226" fmla="*/ 2480277 h 2831069"/>
              <a:gd name="connsiteX227" fmla="*/ 1381286 w 3473628"/>
              <a:gd name="connsiteY227" fmla="*/ 2474102 h 2831069"/>
              <a:gd name="connsiteX228" fmla="*/ 1307986 w 3473628"/>
              <a:gd name="connsiteY228" fmla="*/ 2503094 h 2831069"/>
              <a:gd name="connsiteX229" fmla="*/ 1275760 w 3473628"/>
              <a:gd name="connsiteY229" fmla="*/ 2503820 h 2831069"/>
              <a:gd name="connsiteX230" fmla="*/ 1277190 w 3473628"/>
              <a:gd name="connsiteY230" fmla="*/ 2490515 h 2831069"/>
              <a:gd name="connsiteX231" fmla="*/ 1302287 w 3473628"/>
              <a:gd name="connsiteY231" fmla="*/ 2478495 h 2831069"/>
              <a:gd name="connsiteX232" fmla="*/ 1350407 w 3473628"/>
              <a:gd name="connsiteY232" fmla="*/ 2445109 h 2831069"/>
              <a:gd name="connsiteX233" fmla="*/ 1346946 w 3473628"/>
              <a:gd name="connsiteY233" fmla="*/ 2435120 h 2831069"/>
              <a:gd name="connsiteX234" fmla="*/ 1292774 w 3473628"/>
              <a:gd name="connsiteY234" fmla="*/ 2461812 h 2831069"/>
              <a:gd name="connsiteX235" fmla="*/ 1261834 w 3473628"/>
              <a:gd name="connsiteY235" fmla="*/ 2459719 h 2831069"/>
              <a:gd name="connsiteX236" fmla="*/ 1265149 w 3473628"/>
              <a:gd name="connsiteY236" fmla="*/ 2438933 h 2831069"/>
              <a:gd name="connsiteX237" fmla="*/ 1303053 w 3473628"/>
              <a:gd name="connsiteY237" fmla="*/ 2411308 h 2831069"/>
              <a:gd name="connsiteX238" fmla="*/ 1318513 w 3473628"/>
              <a:gd name="connsiteY238" fmla="*/ 2393175 h 2831069"/>
              <a:gd name="connsiteX239" fmla="*/ 1306783 w 3473628"/>
              <a:gd name="connsiteY239" fmla="*/ 2385984 h 2831069"/>
              <a:gd name="connsiteX240" fmla="*/ 1268590 w 3473628"/>
              <a:gd name="connsiteY240" fmla="*/ 2403392 h 2831069"/>
              <a:gd name="connsiteX241" fmla="*/ 1243410 w 3473628"/>
              <a:gd name="connsiteY241" fmla="*/ 2405257 h 2831069"/>
              <a:gd name="connsiteX242" fmla="*/ 1242685 w 3473628"/>
              <a:gd name="connsiteY242" fmla="*/ 2382461 h 2831069"/>
              <a:gd name="connsiteX243" fmla="*/ 1284402 w 3473628"/>
              <a:gd name="connsiteY243" fmla="*/ 2341469 h 2831069"/>
              <a:gd name="connsiteX244" fmla="*/ 1360935 w 3473628"/>
              <a:gd name="connsiteY244" fmla="*/ 2306218 h 2831069"/>
              <a:gd name="connsiteX245" fmla="*/ 1411004 w 3473628"/>
              <a:gd name="connsiteY245" fmla="*/ 2303047 h 2831069"/>
              <a:gd name="connsiteX246" fmla="*/ 1438484 w 3473628"/>
              <a:gd name="connsiteY246" fmla="*/ 2295131 h 2831069"/>
              <a:gd name="connsiteX247" fmla="*/ 1468409 w 3473628"/>
              <a:gd name="connsiteY247" fmla="*/ 2243777 h 2831069"/>
              <a:gd name="connsiteX248" fmla="*/ 1532570 w 3473628"/>
              <a:gd name="connsiteY248" fmla="*/ 2156301 h 2831069"/>
              <a:gd name="connsiteX249" fmla="*/ 1610761 w 3473628"/>
              <a:gd name="connsiteY249" fmla="*/ 2074152 h 2831069"/>
              <a:gd name="connsiteX250" fmla="*/ 1628957 w 3473628"/>
              <a:gd name="connsiteY250" fmla="*/ 2041864 h 2831069"/>
              <a:gd name="connsiteX251" fmla="*/ 1628604 w 3473628"/>
              <a:gd name="connsiteY251" fmla="*/ 2021078 h 2831069"/>
              <a:gd name="connsiteX252" fmla="*/ 1642841 w 3473628"/>
              <a:gd name="connsiteY252" fmla="*/ 2001308 h 2831069"/>
              <a:gd name="connsiteX253" fmla="*/ 1697863 w 3473628"/>
              <a:gd name="connsiteY253" fmla="*/ 1963611 h 2831069"/>
              <a:gd name="connsiteX254" fmla="*/ 1768718 w 3473628"/>
              <a:gd name="connsiteY254" fmla="*/ 1914703 h 2831069"/>
              <a:gd name="connsiteX255" fmla="*/ 1816549 w 3473628"/>
              <a:gd name="connsiteY255" fmla="*/ 1881109 h 2831069"/>
              <a:gd name="connsiteX256" fmla="*/ 1846039 w 3473628"/>
              <a:gd name="connsiteY256" fmla="*/ 1836221 h 2831069"/>
              <a:gd name="connsiteX257" fmla="*/ 1863882 w 3473628"/>
              <a:gd name="connsiteY257" fmla="*/ 1739400 h 2831069"/>
              <a:gd name="connsiteX258" fmla="*/ 1862162 w 3473628"/>
              <a:gd name="connsiteY258" fmla="*/ 1654225 h 2831069"/>
              <a:gd name="connsiteX259" fmla="*/ 1849355 w 3473628"/>
              <a:gd name="connsiteY259" fmla="*/ 1586312 h 2831069"/>
              <a:gd name="connsiteX260" fmla="*/ 1804322 w 3473628"/>
              <a:gd name="connsiteY260" fmla="*/ 1511499 h 2831069"/>
              <a:gd name="connsiteX261" fmla="*/ 1748512 w 3473628"/>
              <a:gd name="connsiteY261" fmla="*/ 1463296 h 2831069"/>
              <a:gd name="connsiteX262" fmla="*/ 1688662 w 3473628"/>
              <a:gd name="connsiteY262" fmla="*/ 1445017 h 2831069"/>
              <a:gd name="connsiteX263" fmla="*/ 1629682 w 3473628"/>
              <a:gd name="connsiteY263" fmla="*/ 1434655 h 2831069"/>
              <a:gd name="connsiteX264" fmla="*/ 1565521 w 3473628"/>
              <a:gd name="connsiteY264" fmla="*/ 1420708 h 2831069"/>
              <a:gd name="connsiteX265" fmla="*/ 1482377 w 3473628"/>
              <a:gd name="connsiteY265" fmla="*/ 1428044 h 2831069"/>
              <a:gd name="connsiteX266" fmla="*/ 1425117 w 3473628"/>
              <a:gd name="connsiteY266" fmla="*/ 1469036 h 2831069"/>
              <a:gd name="connsiteX267" fmla="*/ 1416910 w 3473628"/>
              <a:gd name="connsiteY267" fmla="*/ 1533923 h 2831069"/>
              <a:gd name="connsiteX268" fmla="*/ 1436618 w 3473628"/>
              <a:gd name="connsiteY268" fmla="*/ 1580240 h 2831069"/>
              <a:gd name="connsiteX269" fmla="*/ 1448265 w 3473628"/>
              <a:gd name="connsiteY269" fmla="*/ 1638081 h 2831069"/>
              <a:gd name="connsiteX270" fmla="*/ 1432577 w 3473628"/>
              <a:gd name="connsiteY270" fmla="*/ 1733037 h 2831069"/>
              <a:gd name="connsiteX271" fmla="*/ 1436598 w 3473628"/>
              <a:gd name="connsiteY271" fmla="*/ 1799063 h 2831069"/>
              <a:gd name="connsiteX272" fmla="*/ 1493568 w 3473628"/>
              <a:gd name="connsiteY272" fmla="*/ 1841216 h 2831069"/>
              <a:gd name="connsiteX273" fmla="*/ 1619299 w 3473628"/>
              <a:gd name="connsiteY273" fmla="*/ 1854168 h 2831069"/>
              <a:gd name="connsiteX274" fmla="*/ 1704039 w 3473628"/>
              <a:gd name="connsiteY274" fmla="*/ 1837050 h 2831069"/>
              <a:gd name="connsiteX275" fmla="*/ 1739290 w 3473628"/>
              <a:gd name="connsiteY275" fmla="*/ 1788577 h 2831069"/>
              <a:gd name="connsiteX276" fmla="*/ 1754108 w 3473628"/>
              <a:gd name="connsiteY276" fmla="*/ 1758507 h 2831069"/>
              <a:gd name="connsiteX277" fmla="*/ 1769071 w 3473628"/>
              <a:gd name="connsiteY277" fmla="*/ 1758507 h 2831069"/>
              <a:gd name="connsiteX278" fmla="*/ 1773526 w 3473628"/>
              <a:gd name="connsiteY278" fmla="*/ 1787562 h 2831069"/>
              <a:gd name="connsiteX279" fmla="*/ 1747621 w 3473628"/>
              <a:gd name="connsiteY279" fmla="*/ 1819497 h 2831069"/>
              <a:gd name="connsiteX280" fmla="*/ 1719271 w 3473628"/>
              <a:gd name="connsiteY280" fmla="*/ 1806110 h 2831069"/>
              <a:gd name="connsiteX281" fmla="*/ 1727478 w 3473628"/>
              <a:gd name="connsiteY281" fmla="*/ 1762092 h 2831069"/>
              <a:gd name="connsiteX282" fmla="*/ 1757258 w 3473628"/>
              <a:gd name="connsiteY282" fmla="*/ 1731297 h 2831069"/>
              <a:gd name="connsiteX283" fmla="*/ 1781857 w 3473628"/>
              <a:gd name="connsiteY283" fmla="*/ 1696626 h 2831069"/>
              <a:gd name="connsiteX284" fmla="*/ 1759123 w 3473628"/>
              <a:gd name="connsiteY284" fmla="*/ 1625563 h 2831069"/>
              <a:gd name="connsiteX285" fmla="*/ 1710650 w 3473628"/>
              <a:gd name="connsiteY285" fmla="*/ 1549175 h 2831069"/>
              <a:gd name="connsiteX286" fmla="*/ 1628065 w 3473628"/>
              <a:gd name="connsiteY286" fmla="*/ 1512349 h 2831069"/>
              <a:gd name="connsiteX287" fmla="*/ 1535989 w 3473628"/>
              <a:gd name="connsiteY287" fmla="*/ 1521260 h 2831069"/>
              <a:gd name="connsiteX288" fmla="*/ 1469528 w 3473628"/>
              <a:gd name="connsiteY288" fmla="*/ 1574624 h 2831069"/>
              <a:gd name="connsiteX289" fmla="*/ 1448100 w 3473628"/>
              <a:gd name="connsiteY289" fmla="*/ 1608280 h 2831069"/>
              <a:gd name="connsiteX290" fmla="*/ 1425946 w 3473628"/>
              <a:gd name="connsiteY290" fmla="*/ 1663384 h 2831069"/>
              <a:gd name="connsiteX291" fmla="*/ 1406527 w 3473628"/>
              <a:gd name="connsiteY291" fmla="*/ 1760351 h 2831069"/>
              <a:gd name="connsiteX292" fmla="*/ 1422215 w 3473628"/>
              <a:gd name="connsiteY292" fmla="*/ 1829693 h 2831069"/>
              <a:gd name="connsiteX293" fmla="*/ 1452866 w 3473628"/>
              <a:gd name="connsiteY293" fmla="*/ 1880115 h 2831069"/>
              <a:gd name="connsiteX294" fmla="*/ 1472139 w 3473628"/>
              <a:gd name="connsiteY294" fmla="*/ 1939737 h 2831069"/>
              <a:gd name="connsiteX295" fmla="*/ 1476885 w 3473628"/>
              <a:gd name="connsiteY295" fmla="*/ 1996769 h 2831069"/>
              <a:gd name="connsiteX296" fmla="*/ 1459332 w 3473628"/>
              <a:gd name="connsiteY296" fmla="*/ 2060205 h 2831069"/>
              <a:gd name="connsiteX297" fmla="*/ 1462212 w 3473628"/>
              <a:gd name="connsiteY297" fmla="*/ 2092430 h 2831069"/>
              <a:gd name="connsiteX298" fmla="*/ 1501339 w 3473628"/>
              <a:gd name="connsiteY298" fmla="*/ 2073157 h 2831069"/>
              <a:gd name="connsiteX299" fmla="*/ 1597083 w 3473628"/>
              <a:gd name="connsiteY299" fmla="*/ 2002592 h 2831069"/>
              <a:gd name="connsiteX300" fmla="*/ 1667586 w 3473628"/>
              <a:gd name="connsiteY300" fmla="*/ 1957705 h 2831069"/>
              <a:gd name="connsiteX301" fmla="*/ 1726856 w 3473628"/>
              <a:gd name="connsiteY301" fmla="*/ 1927987 h 2831069"/>
              <a:gd name="connsiteX302" fmla="*/ 1753258 w 3473628"/>
              <a:gd name="connsiteY302" fmla="*/ 1933520 h 2831069"/>
              <a:gd name="connsiteX303" fmla="*/ 1781816 w 3473628"/>
              <a:gd name="connsiteY303" fmla="*/ 1986034 h 2831069"/>
              <a:gd name="connsiteX304" fmla="*/ 1823616 w 3473628"/>
              <a:gd name="connsiteY304" fmla="*/ 2024809 h 2831069"/>
              <a:gd name="connsiteX305" fmla="*/ 1853044 w 3473628"/>
              <a:gd name="connsiteY305" fmla="*/ 2039129 h 2831069"/>
              <a:gd name="connsiteX306" fmla="*/ 1845417 w 3473628"/>
              <a:gd name="connsiteY306" fmla="*/ 2056392 h 2831069"/>
              <a:gd name="connsiteX307" fmla="*/ 1802685 w 3473628"/>
              <a:gd name="connsiteY307" fmla="*/ 2090420 h 2831069"/>
              <a:gd name="connsiteX308" fmla="*/ 1764283 w 3473628"/>
              <a:gd name="connsiteY308" fmla="*/ 2152281 h 2831069"/>
              <a:gd name="connsiteX309" fmla="*/ 1702132 w 3473628"/>
              <a:gd name="connsiteY309" fmla="*/ 2291753 h 2831069"/>
              <a:gd name="connsiteX310" fmla="*/ 1672207 w 3473628"/>
              <a:gd name="connsiteY310" fmla="*/ 2356639 h 2831069"/>
              <a:gd name="connsiteX311" fmla="*/ 1654654 w 3473628"/>
              <a:gd name="connsiteY311" fmla="*/ 2363043 h 2831069"/>
              <a:gd name="connsiteX312" fmla="*/ 1613082 w 3473628"/>
              <a:gd name="connsiteY312" fmla="*/ 2345054 h 2831069"/>
              <a:gd name="connsiteX313" fmla="*/ 1559925 w 3473628"/>
              <a:gd name="connsiteY313" fmla="*/ 2330174 h 2831069"/>
              <a:gd name="connsiteX314" fmla="*/ 1518498 w 3473628"/>
              <a:gd name="connsiteY314" fmla="*/ 2333345 h 2831069"/>
              <a:gd name="connsiteX315" fmla="*/ 1485112 w 3473628"/>
              <a:gd name="connsiteY315" fmla="*/ 2345075 h 2831069"/>
              <a:gd name="connsiteX316" fmla="*/ 1462813 w 3473628"/>
              <a:gd name="connsiteY316" fmla="*/ 2341759 h 2831069"/>
              <a:gd name="connsiteX317" fmla="*/ 1462523 w 3473628"/>
              <a:gd name="connsiteY317" fmla="*/ 2316435 h 2831069"/>
              <a:gd name="connsiteX318" fmla="*/ 1514022 w 3473628"/>
              <a:gd name="connsiteY318" fmla="*/ 2230907 h 2831069"/>
              <a:gd name="connsiteX319" fmla="*/ 1633868 w 3473628"/>
              <a:gd name="connsiteY319" fmla="*/ 2086462 h 2831069"/>
              <a:gd name="connsiteX320" fmla="*/ 1761050 w 3473628"/>
              <a:gd name="connsiteY320" fmla="*/ 2009494 h 2831069"/>
              <a:gd name="connsiteX321" fmla="*/ 1835718 w 3473628"/>
              <a:gd name="connsiteY321" fmla="*/ 2007773 h 2831069"/>
              <a:gd name="connsiteX322" fmla="*/ 1915422 w 3473628"/>
              <a:gd name="connsiteY322" fmla="*/ 2040579 h 2831069"/>
              <a:gd name="connsiteX323" fmla="*/ 1956414 w 3473628"/>
              <a:gd name="connsiteY323" fmla="*/ 2094378 h 2831069"/>
              <a:gd name="connsiteX324" fmla="*/ 1981593 w 3473628"/>
              <a:gd name="connsiteY324" fmla="*/ 2161420 h 2831069"/>
              <a:gd name="connsiteX325" fmla="*/ 1998421 w 3473628"/>
              <a:gd name="connsiteY325" fmla="*/ 2191781 h 2831069"/>
              <a:gd name="connsiteX326" fmla="*/ 2004473 w 3473628"/>
              <a:gd name="connsiteY326" fmla="*/ 2185874 h 2831069"/>
              <a:gd name="connsiteX327" fmla="*/ 1997717 w 3473628"/>
              <a:gd name="connsiteY327" fmla="*/ 2138106 h 2831069"/>
              <a:gd name="connsiteX328" fmla="*/ 1965781 w 3473628"/>
              <a:gd name="connsiteY328" fmla="*/ 2073364 h 2831069"/>
              <a:gd name="connsiteX329" fmla="*/ 1892688 w 3473628"/>
              <a:gd name="connsiteY329" fmla="*/ 2059127 h 2831069"/>
              <a:gd name="connsiteX330" fmla="*/ 1816155 w 3473628"/>
              <a:gd name="connsiteY330" fmla="*/ 2115517 h 2831069"/>
              <a:gd name="connsiteX331" fmla="*/ 1767682 w 3473628"/>
              <a:gd name="connsiteY331" fmla="*/ 2216504 h 2831069"/>
              <a:gd name="connsiteX332" fmla="*/ 1756740 w 3473628"/>
              <a:gd name="connsiteY332" fmla="*/ 2315771 h 2831069"/>
              <a:gd name="connsiteX333" fmla="*/ 1733280 w 3473628"/>
              <a:gd name="connsiteY333" fmla="*/ 2398211 h 2831069"/>
              <a:gd name="connsiteX334" fmla="*/ 1632148 w 3473628"/>
              <a:gd name="connsiteY334" fmla="*/ 2384554 h 2831069"/>
              <a:gd name="connsiteX335" fmla="*/ 1539637 w 3473628"/>
              <a:gd name="connsiteY335" fmla="*/ 2352183 h 2831069"/>
              <a:gd name="connsiteX336" fmla="*/ 1522519 w 3473628"/>
              <a:gd name="connsiteY336" fmla="*/ 2359229 h 2831069"/>
              <a:gd name="connsiteX337" fmla="*/ 1543947 w 3473628"/>
              <a:gd name="connsiteY337" fmla="*/ 2385549 h 2831069"/>
              <a:gd name="connsiteX338" fmla="*/ 1564381 w 3473628"/>
              <a:gd name="connsiteY338" fmla="*/ 2430727 h 2831069"/>
              <a:gd name="connsiteX339" fmla="*/ 1559200 w 3473628"/>
              <a:gd name="connsiteY339" fmla="*/ 2486412 h 2831069"/>
              <a:gd name="connsiteX340" fmla="*/ 1529710 w 3473628"/>
              <a:gd name="connsiteY340" fmla="*/ 2562364 h 2831069"/>
              <a:gd name="connsiteX341" fmla="*/ 1544963 w 3473628"/>
              <a:gd name="connsiteY341" fmla="*/ 2634587 h 2831069"/>
              <a:gd name="connsiteX342" fmla="*/ 1609124 w 3473628"/>
              <a:gd name="connsiteY342" fmla="*/ 2669984 h 2831069"/>
              <a:gd name="connsiteX343" fmla="*/ 1709821 w 3473628"/>
              <a:gd name="connsiteY343" fmla="*/ 2685526 h 2831069"/>
              <a:gd name="connsiteX344" fmla="*/ 1825481 w 3473628"/>
              <a:gd name="connsiteY344" fmla="*/ 2710706 h 2831069"/>
              <a:gd name="connsiteX345" fmla="*/ 1849666 w 3473628"/>
              <a:gd name="connsiteY345" fmla="*/ 2737274 h 2831069"/>
              <a:gd name="connsiteX346" fmla="*/ 1827284 w 3473628"/>
              <a:gd name="connsiteY346" fmla="*/ 2775385 h 2831069"/>
              <a:gd name="connsiteX347" fmla="*/ 1859468 w 3473628"/>
              <a:gd name="connsiteY347" fmla="*/ 2784130 h 2831069"/>
              <a:gd name="connsiteX348" fmla="*/ 2089565 w 3473628"/>
              <a:gd name="connsiteY348" fmla="*/ 2784130 h 2831069"/>
              <a:gd name="connsiteX349" fmla="*/ 2566897 w 3473628"/>
              <a:gd name="connsiteY349" fmla="*/ 2782162 h 2831069"/>
              <a:gd name="connsiteX350" fmla="*/ 2687966 w 3473628"/>
              <a:gd name="connsiteY350" fmla="*/ 2759884 h 2831069"/>
              <a:gd name="connsiteX351" fmla="*/ 2680464 w 3473628"/>
              <a:gd name="connsiteY351" fmla="*/ 2692303 h 2831069"/>
              <a:gd name="connsiteX352" fmla="*/ 2633566 w 3473628"/>
              <a:gd name="connsiteY352" fmla="*/ 2631872 h 2831069"/>
              <a:gd name="connsiteX353" fmla="*/ 2492291 w 3473628"/>
              <a:gd name="connsiteY353" fmla="*/ 2565701 h 2831069"/>
              <a:gd name="connsiteX354" fmla="*/ 2424110 w 3473628"/>
              <a:gd name="connsiteY354" fmla="*/ 2476651 h 2831069"/>
              <a:gd name="connsiteX355" fmla="*/ 2465247 w 3473628"/>
              <a:gd name="connsiteY355" fmla="*/ 2186330 h 2831069"/>
              <a:gd name="connsiteX356" fmla="*/ 2494592 w 3473628"/>
              <a:gd name="connsiteY356" fmla="*/ 1978159 h 2831069"/>
              <a:gd name="connsiteX357" fmla="*/ 2532289 w 3473628"/>
              <a:gd name="connsiteY357" fmla="*/ 1883202 h 2831069"/>
              <a:gd name="connsiteX358" fmla="*/ 2600200 w 3473628"/>
              <a:gd name="connsiteY358" fmla="*/ 1837175 h 2831069"/>
              <a:gd name="connsiteX359" fmla="*/ 2643928 w 3473628"/>
              <a:gd name="connsiteY359" fmla="*/ 1758051 h 2831069"/>
              <a:gd name="connsiteX360" fmla="*/ 2671553 w 3473628"/>
              <a:gd name="connsiteY360" fmla="*/ 1632029 h 2831069"/>
              <a:gd name="connsiteX361" fmla="*/ 2694577 w 3473628"/>
              <a:gd name="connsiteY361" fmla="*/ 1561817 h 2831069"/>
              <a:gd name="connsiteX362" fmla="*/ 2707239 w 3473628"/>
              <a:gd name="connsiteY362" fmla="*/ 1548305 h 2831069"/>
              <a:gd name="connsiteX363" fmla="*/ 2696877 w 3473628"/>
              <a:gd name="connsiteY363" fmla="*/ 1616217 h 2831069"/>
              <a:gd name="connsiteX364" fmla="*/ 2656300 w 3473628"/>
              <a:gd name="connsiteY364" fmla="*/ 1792308 h 2831069"/>
              <a:gd name="connsiteX365" fmla="*/ 2576306 w 3473628"/>
              <a:gd name="connsiteY365" fmla="*/ 1905377 h 2831069"/>
              <a:gd name="connsiteX366" fmla="*/ 2484810 w 3473628"/>
              <a:gd name="connsiteY366" fmla="*/ 1918329 h 2831069"/>
              <a:gd name="connsiteX367" fmla="*/ 2405251 w 3473628"/>
              <a:gd name="connsiteY367" fmla="*/ 1822813 h 2831069"/>
              <a:gd name="connsiteX368" fmla="*/ 2384113 w 3473628"/>
              <a:gd name="connsiteY368" fmla="*/ 1673912 h 2831069"/>
              <a:gd name="connsiteX369" fmla="*/ 2378642 w 3473628"/>
              <a:gd name="connsiteY369" fmla="*/ 1541984 h 2831069"/>
              <a:gd name="connsiteX370" fmla="*/ 2373751 w 3473628"/>
              <a:gd name="connsiteY370" fmla="*/ 1415527 h 2831069"/>
              <a:gd name="connsiteX371" fmla="*/ 2347141 w 3473628"/>
              <a:gd name="connsiteY371" fmla="*/ 1246918 h 2831069"/>
              <a:gd name="connsiteX372" fmla="*/ 2334769 w 3473628"/>
              <a:gd name="connsiteY372" fmla="*/ 1142615 h 2831069"/>
              <a:gd name="connsiteX373" fmla="*/ 2329153 w 3473628"/>
              <a:gd name="connsiteY373" fmla="*/ 1065211 h 2831069"/>
              <a:gd name="connsiteX374" fmla="*/ 2304554 w 3473628"/>
              <a:gd name="connsiteY374" fmla="*/ 939335 h 2831069"/>
              <a:gd name="connsiteX375" fmla="*/ 2256641 w 3473628"/>
              <a:gd name="connsiteY375" fmla="*/ 796630 h 2831069"/>
              <a:gd name="connsiteX376" fmla="*/ 2230736 w 3473628"/>
              <a:gd name="connsiteY376" fmla="*/ 692327 h 2831069"/>
              <a:gd name="connsiteX377" fmla="*/ 2239502 w 3473628"/>
              <a:gd name="connsiteY377" fmla="*/ 643564 h 2831069"/>
              <a:gd name="connsiteX378" fmla="*/ 2294026 w 3473628"/>
              <a:gd name="connsiteY378" fmla="*/ 635647 h 2831069"/>
              <a:gd name="connsiteX379" fmla="*/ 2342789 w 3473628"/>
              <a:gd name="connsiteY379" fmla="*/ 621700 h 2831069"/>
              <a:gd name="connsiteX380" fmla="*/ 2378621 w 3473628"/>
              <a:gd name="connsiteY380" fmla="*/ 587174 h 2831069"/>
              <a:gd name="connsiteX381" fmla="*/ 2391283 w 3473628"/>
              <a:gd name="connsiteY381" fmla="*/ 534080 h 2831069"/>
              <a:gd name="connsiteX382" fmla="*/ 2374601 w 3473628"/>
              <a:gd name="connsiteY382" fmla="*/ 480426 h 2831069"/>
              <a:gd name="connsiteX383" fmla="*/ 2310004 w 3473628"/>
              <a:gd name="connsiteY383" fmla="*/ 360020 h 2831069"/>
              <a:gd name="connsiteX384" fmla="*/ 2266567 w 3473628"/>
              <a:gd name="connsiteY384" fmla="*/ 280171 h 2831069"/>
              <a:gd name="connsiteX385" fmla="*/ 2203691 w 3473628"/>
              <a:gd name="connsiteY385" fmla="*/ 213564 h 2831069"/>
              <a:gd name="connsiteX386" fmla="*/ 2153622 w 3473628"/>
              <a:gd name="connsiteY386" fmla="*/ 194291 h 2831069"/>
              <a:gd name="connsiteX387" fmla="*/ 2109315 w 3473628"/>
              <a:gd name="connsiteY387" fmla="*/ 218310 h 2831069"/>
              <a:gd name="connsiteX388" fmla="*/ 2085731 w 3473628"/>
              <a:gd name="connsiteY388" fmla="*/ 264214 h 2831069"/>
              <a:gd name="connsiteX389" fmla="*/ 2085006 w 3473628"/>
              <a:gd name="connsiteY389" fmla="*/ 308666 h 2831069"/>
              <a:gd name="connsiteX390" fmla="*/ 2107595 w 3473628"/>
              <a:gd name="connsiteY390" fmla="*/ 327794 h 2831069"/>
              <a:gd name="connsiteX391" fmla="*/ 2138245 w 3473628"/>
              <a:gd name="connsiteY391" fmla="*/ 329660 h 2831069"/>
              <a:gd name="connsiteX392" fmla="*/ 2151343 w 3473628"/>
              <a:gd name="connsiteY392" fmla="*/ 299299 h 2831069"/>
              <a:gd name="connsiteX393" fmla="*/ 2155508 w 3473628"/>
              <a:gd name="connsiteY393" fmla="*/ 263053 h 2831069"/>
              <a:gd name="connsiteX394" fmla="*/ 2173641 w 3473628"/>
              <a:gd name="connsiteY394" fmla="*/ 251261 h 2831069"/>
              <a:gd name="connsiteX395" fmla="*/ 2215068 w 3473628"/>
              <a:gd name="connsiteY395" fmla="*/ 262058 h 2831069"/>
              <a:gd name="connsiteX396" fmla="*/ 2248019 w 3473628"/>
              <a:gd name="connsiteY396" fmla="*/ 269975 h 2831069"/>
              <a:gd name="connsiteX397" fmla="*/ 2262257 w 3473628"/>
              <a:gd name="connsiteY397" fmla="*/ 259903 h 2831069"/>
              <a:gd name="connsiteX398" fmla="*/ 2259749 w 3473628"/>
              <a:gd name="connsiteY398" fmla="*/ 230993 h 2831069"/>
              <a:gd name="connsiteX399" fmla="*/ 2231337 w 3473628"/>
              <a:gd name="connsiteY399" fmla="*/ 190851 h 2831069"/>
              <a:gd name="connsiteX400" fmla="*/ 2181351 w 3473628"/>
              <a:gd name="connsiteY400" fmla="*/ 163309 h 2831069"/>
              <a:gd name="connsiteX401" fmla="*/ 2141354 w 3473628"/>
              <a:gd name="connsiteY401" fmla="*/ 157548 h 2831069"/>
              <a:gd name="connsiteX402" fmla="*/ 2113377 w 3473628"/>
              <a:gd name="connsiteY402" fmla="*/ 169485 h 2831069"/>
              <a:gd name="connsiteX403" fmla="*/ 2082726 w 3473628"/>
              <a:gd name="connsiteY403" fmla="*/ 176469 h 2831069"/>
              <a:gd name="connsiteX404" fmla="*/ 2031870 w 3473628"/>
              <a:gd name="connsiteY404" fmla="*/ 162086 h 2831069"/>
              <a:gd name="connsiteX405" fmla="*/ 1991955 w 3473628"/>
              <a:gd name="connsiteY405" fmla="*/ 137280 h 2831069"/>
              <a:gd name="connsiteX406" fmla="*/ 1950528 w 3473628"/>
              <a:gd name="connsiteY406" fmla="*/ 77222 h 2831069"/>
              <a:gd name="connsiteX407" fmla="*/ 1938737 w 3473628"/>
              <a:gd name="connsiteY407" fmla="*/ 27008 h 2831069"/>
              <a:gd name="connsiteX408" fmla="*/ 1947669 w 3473628"/>
              <a:gd name="connsiteY408" fmla="*/ 1725 h 2831069"/>
              <a:gd name="connsiteX409" fmla="*/ 1970755 w 3473628"/>
              <a:gd name="connsiteY409" fmla="*/ 8461 h 2831069"/>
              <a:gd name="connsiteX410" fmla="*/ 2009260 w 3473628"/>
              <a:gd name="connsiteY410" fmla="*/ 49494 h 2831069"/>
              <a:gd name="connsiteX411" fmla="*/ 2058292 w 3473628"/>
              <a:gd name="connsiteY411" fmla="*/ 104412 h 2831069"/>
              <a:gd name="connsiteX412" fmla="*/ 2093544 w 3473628"/>
              <a:gd name="connsiteY412" fmla="*/ 149010 h 2831069"/>
              <a:gd name="connsiteX413" fmla="*/ 2084487 w 3473628"/>
              <a:gd name="connsiteY413" fmla="*/ 165837 h 2831069"/>
              <a:gd name="connsiteX414" fmla="*/ 2039599 w 3473628"/>
              <a:gd name="connsiteY414" fmla="*/ 172593 h 2831069"/>
              <a:gd name="connsiteX415" fmla="*/ 2028657 w 3473628"/>
              <a:gd name="connsiteY415" fmla="*/ 186976 h 2831069"/>
              <a:gd name="connsiteX416" fmla="*/ 2037424 w 3473628"/>
              <a:gd name="connsiteY416" fmla="*/ 210435 h 2831069"/>
              <a:gd name="connsiteX417" fmla="*/ 2052531 w 3473628"/>
              <a:gd name="connsiteY417" fmla="*/ 240360 h 2831069"/>
              <a:gd name="connsiteX418" fmla="*/ 2063183 w 3473628"/>
              <a:gd name="connsiteY418" fmla="*/ 276606 h 2831069"/>
              <a:gd name="connsiteX419" fmla="*/ 2061173 w 3473628"/>
              <a:gd name="connsiteY419" fmla="*/ 308832 h 2831069"/>
              <a:gd name="connsiteX420" fmla="*/ 2047226 w 3473628"/>
              <a:gd name="connsiteY420" fmla="*/ 318324 h 2831069"/>
              <a:gd name="connsiteX421" fmla="*/ 2037009 w 3473628"/>
              <a:gd name="connsiteY421" fmla="*/ 303216 h 2831069"/>
              <a:gd name="connsiteX422" fmla="*/ 2039890 w 3473628"/>
              <a:gd name="connsiteY422" fmla="*/ 281932 h 2831069"/>
              <a:gd name="connsiteX423" fmla="*/ 2037589 w 3473628"/>
              <a:gd name="connsiteY423" fmla="*/ 253168 h 2831069"/>
              <a:gd name="connsiteX424" fmla="*/ 2017301 w 3473628"/>
              <a:gd name="connsiteY424" fmla="*/ 238640 h 2831069"/>
              <a:gd name="connsiteX425" fmla="*/ 1980039 w 3473628"/>
              <a:gd name="connsiteY425" fmla="*/ 250142 h 2831069"/>
              <a:gd name="connsiteX426" fmla="*/ 1965367 w 3473628"/>
              <a:gd name="connsiteY426" fmla="*/ 281207 h 2831069"/>
              <a:gd name="connsiteX427" fmla="*/ 1979604 w 3473628"/>
              <a:gd name="connsiteY427" fmla="*/ 326820 h 2831069"/>
              <a:gd name="connsiteX428" fmla="*/ 2042625 w 3473628"/>
              <a:gd name="connsiteY428" fmla="*/ 396598 h 2831069"/>
              <a:gd name="connsiteX429" fmla="*/ 2145208 w 3473628"/>
              <a:gd name="connsiteY429" fmla="*/ 455288 h 2831069"/>
              <a:gd name="connsiteX430" fmla="*/ 2223752 w 3473628"/>
              <a:gd name="connsiteY430" fmla="*/ 542183 h 2831069"/>
              <a:gd name="connsiteX431" fmla="*/ 2264889 w 3473628"/>
              <a:gd name="connsiteY431" fmla="*/ 604624 h 2831069"/>
              <a:gd name="connsiteX432" fmla="*/ 2331640 w 3473628"/>
              <a:gd name="connsiteY432" fmla="*/ 595132 h 2831069"/>
              <a:gd name="connsiteX433" fmla="*/ 2408753 w 3473628"/>
              <a:gd name="connsiteY433" fmla="*/ 561746 h 2831069"/>
              <a:gd name="connsiteX434" fmla="*/ 2486157 w 3473628"/>
              <a:gd name="connsiteY434" fmla="*/ 631088 h 2831069"/>
              <a:gd name="connsiteX435" fmla="*/ 2597797 w 3473628"/>
              <a:gd name="connsiteY435" fmla="*/ 831052 h 2831069"/>
              <a:gd name="connsiteX436" fmla="*/ 2689292 w 3473628"/>
              <a:gd name="connsiteY436" fmla="*/ 1008013 h 2831069"/>
              <a:gd name="connsiteX437" fmla="*/ 2728999 w 3473628"/>
              <a:gd name="connsiteY437" fmla="*/ 1141081 h 2831069"/>
              <a:gd name="connsiteX438" fmla="*/ 2722098 w 3473628"/>
              <a:gd name="connsiteY438" fmla="*/ 1265963 h 2831069"/>
              <a:gd name="connsiteX439" fmla="*/ 2726409 w 3473628"/>
              <a:gd name="connsiteY439" fmla="*/ 1370556 h 2831069"/>
              <a:gd name="connsiteX440" fmla="*/ 2748998 w 3473628"/>
              <a:gd name="connsiteY440" fmla="*/ 1502194 h 2831069"/>
              <a:gd name="connsiteX441" fmla="*/ 2793596 w 3473628"/>
              <a:gd name="connsiteY441" fmla="*/ 1683756 h 2831069"/>
              <a:gd name="connsiteX442" fmla="*/ 2841924 w 3473628"/>
              <a:gd name="connsiteY442" fmla="*/ 1899699 h 2831069"/>
              <a:gd name="connsiteX443" fmla="*/ 2835872 w 3473628"/>
              <a:gd name="connsiteY443" fmla="*/ 2160094 h 2831069"/>
              <a:gd name="connsiteX444" fmla="*/ 2789119 w 3473628"/>
              <a:gd name="connsiteY444" fmla="*/ 2458476 h 2831069"/>
              <a:gd name="connsiteX445" fmla="*/ 2737620 w 3473628"/>
              <a:gd name="connsiteY445" fmla="*/ 2693547 h 2831069"/>
              <a:gd name="connsiteX446" fmla="*/ 2657626 w 3473628"/>
              <a:gd name="connsiteY446" fmla="*/ 2723762 h 2831069"/>
              <a:gd name="connsiteX447" fmla="*/ 2479816 w 3473628"/>
              <a:gd name="connsiteY447" fmla="*/ 2656720 h 2831069"/>
              <a:gd name="connsiteX448" fmla="*/ 2254237 w 3473628"/>
              <a:gd name="connsiteY448" fmla="*/ 2611832 h 2831069"/>
              <a:gd name="connsiteX449" fmla="*/ 2082166 w 3473628"/>
              <a:gd name="connsiteY449" fmla="*/ 2636287 h 2831069"/>
              <a:gd name="connsiteX450" fmla="*/ 1994401 w 3473628"/>
              <a:gd name="connsiteY450" fmla="*/ 2663621 h 2831069"/>
              <a:gd name="connsiteX451" fmla="*/ 1965346 w 3473628"/>
              <a:gd name="connsiteY451" fmla="*/ 2610382 h 2831069"/>
              <a:gd name="connsiteX452" fmla="*/ 1972537 w 3473628"/>
              <a:gd name="connsiteY452" fmla="*/ 2529538 h 2831069"/>
              <a:gd name="connsiteX453" fmla="*/ 2001302 w 3473628"/>
              <a:gd name="connsiteY453" fmla="*/ 2410127 h 2831069"/>
              <a:gd name="connsiteX454" fmla="*/ 2065173 w 3473628"/>
              <a:gd name="connsiteY454" fmla="*/ 2234762 h 2831069"/>
              <a:gd name="connsiteX455" fmla="*/ 2185164 w 3473628"/>
              <a:gd name="connsiteY455" fmla="*/ 1982428 h 2831069"/>
              <a:gd name="connsiteX456" fmla="*/ 2272639 w 3473628"/>
              <a:gd name="connsiteY456" fmla="*/ 1790940 h 2831069"/>
              <a:gd name="connsiteX457" fmla="*/ 2341691 w 3473628"/>
              <a:gd name="connsiteY457" fmla="*/ 1698284 h 2831069"/>
              <a:gd name="connsiteX458" fmla="*/ 2369026 w 3473628"/>
              <a:gd name="connsiteY458" fmla="*/ 1632962 h 2831069"/>
              <a:gd name="connsiteX459" fmla="*/ 2351473 w 3473628"/>
              <a:gd name="connsiteY459" fmla="*/ 1607927 h 2831069"/>
              <a:gd name="connsiteX460" fmla="*/ 2270774 w 3473628"/>
              <a:gd name="connsiteY460" fmla="*/ 1653541 h 2831069"/>
              <a:gd name="connsiteX461" fmla="*/ 2210343 w 3473628"/>
              <a:gd name="connsiteY461" fmla="*/ 1626206 h 2831069"/>
              <a:gd name="connsiteX462" fmla="*/ 2164585 w 3473628"/>
              <a:gd name="connsiteY462" fmla="*/ 1571972 h 2831069"/>
              <a:gd name="connsiteX463" fmla="*/ 2149623 w 3473628"/>
              <a:gd name="connsiteY463" fmla="*/ 1525364 h 2831069"/>
              <a:gd name="connsiteX464" fmla="*/ 2171776 w 3473628"/>
              <a:gd name="connsiteY464" fmla="*/ 1480476 h 2831069"/>
              <a:gd name="connsiteX465" fmla="*/ 2219690 w 3473628"/>
              <a:gd name="connsiteY465" fmla="*/ 1471710 h 2831069"/>
              <a:gd name="connsiteX466" fmla="*/ 2304575 w 3473628"/>
              <a:gd name="connsiteY466" fmla="*/ 1491128 h 2831069"/>
              <a:gd name="connsiteX467" fmla="*/ 2357939 w 3473628"/>
              <a:gd name="connsiteY467" fmla="*/ 1495148 h 2831069"/>
              <a:gd name="connsiteX468" fmla="*/ 2365130 w 3473628"/>
              <a:gd name="connsiteY468" fmla="*/ 1468539 h 2831069"/>
              <a:gd name="connsiteX469" fmla="*/ 2343411 w 3473628"/>
              <a:gd name="connsiteY469" fmla="*/ 1383509 h 2831069"/>
              <a:gd name="connsiteX470" fmla="*/ 2328594 w 3473628"/>
              <a:gd name="connsiteY470" fmla="*/ 1282957 h 2831069"/>
              <a:gd name="connsiteX471" fmla="*/ 2324428 w 3473628"/>
              <a:gd name="connsiteY471" fmla="*/ 1207999 h 2831069"/>
              <a:gd name="connsiteX472" fmla="*/ 2305735 w 3473628"/>
              <a:gd name="connsiteY472" fmla="*/ 1175628 h 2831069"/>
              <a:gd name="connsiteX473" fmla="*/ 2240559 w 3473628"/>
              <a:gd name="connsiteY473" fmla="*/ 1175918 h 2831069"/>
              <a:gd name="connsiteX474" fmla="*/ 2155964 w 3473628"/>
              <a:gd name="connsiteY474" fmla="*/ 1209574 h 2831069"/>
              <a:gd name="connsiteX475" fmla="*/ 2105750 w 3473628"/>
              <a:gd name="connsiteY475" fmla="*/ 1260223 h 2831069"/>
              <a:gd name="connsiteX476" fmla="*/ 2085171 w 3473628"/>
              <a:gd name="connsiteY476" fmla="*/ 1297774 h 2831069"/>
              <a:gd name="connsiteX477" fmla="*/ 2074664 w 3473628"/>
              <a:gd name="connsiteY477" fmla="*/ 1286977 h 2831069"/>
              <a:gd name="connsiteX478" fmla="*/ 2069918 w 3473628"/>
              <a:gd name="connsiteY478" fmla="*/ 1234028 h 2831069"/>
              <a:gd name="connsiteX479" fmla="*/ 2108050 w 3473628"/>
              <a:gd name="connsiteY479" fmla="*/ 1171587 h 2831069"/>
              <a:gd name="connsiteX480" fmla="*/ 2189910 w 3473628"/>
              <a:gd name="connsiteY480" fmla="*/ 1136045 h 2831069"/>
              <a:gd name="connsiteX481" fmla="*/ 2269759 w 3473628"/>
              <a:gd name="connsiteY481" fmla="*/ 1132294 h 2831069"/>
              <a:gd name="connsiteX482" fmla="*/ 2308450 w 3473628"/>
              <a:gd name="connsiteY482" fmla="*/ 1125683 h 2831069"/>
              <a:gd name="connsiteX483" fmla="*/ 2307290 w 3473628"/>
              <a:gd name="connsiteY483" fmla="*/ 1074765 h 2831069"/>
              <a:gd name="connsiteX484" fmla="*/ 2297653 w 3473628"/>
              <a:gd name="connsiteY484" fmla="*/ 1036778 h 2831069"/>
              <a:gd name="connsiteX485" fmla="*/ 2262982 w 3473628"/>
              <a:gd name="connsiteY485" fmla="*/ 1022831 h 2831069"/>
              <a:gd name="connsiteX486" fmla="*/ 2194655 w 3473628"/>
              <a:gd name="connsiteY486" fmla="*/ 1035493 h 2831069"/>
              <a:gd name="connsiteX487" fmla="*/ 2144296 w 3473628"/>
              <a:gd name="connsiteY487" fmla="*/ 1081811 h 2831069"/>
              <a:gd name="connsiteX488" fmla="*/ 2106310 w 3473628"/>
              <a:gd name="connsiteY488" fmla="*/ 1120088 h 2831069"/>
              <a:gd name="connsiteX489" fmla="*/ 2043434 w 3473628"/>
              <a:gd name="connsiteY489" fmla="*/ 1152894 h 2831069"/>
              <a:gd name="connsiteX490" fmla="*/ 1998401 w 3473628"/>
              <a:gd name="connsiteY490" fmla="*/ 1194756 h 2831069"/>
              <a:gd name="connsiteX491" fmla="*/ 1991645 w 3473628"/>
              <a:gd name="connsiteY491" fmla="*/ 1239354 h 2831069"/>
              <a:gd name="connsiteX492" fmla="*/ 2014669 w 3473628"/>
              <a:gd name="connsiteY492" fmla="*/ 1279351 h 2831069"/>
              <a:gd name="connsiteX493" fmla="*/ 2051350 w 3473628"/>
              <a:gd name="connsiteY493" fmla="*/ 1309566 h 2831069"/>
              <a:gd name="connsiteX494" fmla="*/ 2064157 w 3473628"/>
              <a:gd name="connsiteY494" fmla="*/ 1331865 h 2831069"/>
              <a:gd name="connsiteX495" fmla="*/ 2053505 w 3473628"/>
              <a:gd name="connsiteY495" fmla="*/ 1376173 h 2831069"/>
              <a:gd name="connsiteX496" fmla="*/ 2057671 w 3473628"/>
              <a:gd name="connsiteY496" fmla="*/ 1437598 h 2831069"/>
              <a:gd name="connsiteX497" fmla="*/ 2084715 w 3473628"/>
              <a:gd name="connsiteY497" fmla="*/ 1526939 h 2831069"/>
              <a:gd name="connsiteX498" fmla="*/ 2142556 w 3473628"/>
              <a:gd name="connsiteY498" fmla="*/ 1590374 h 2831069"/>
              <a:gd name="connsiteX499" fmla="*/ 2188583 w 3473628"/>
              <a:gd name="connsiteY499" fmla="*/ 1652525 h 2831069"/>
              <a:gd name="connsiteX500" fmla="*/ 2211753 w 3473628"/>
              <a:gd name="connsiteY500" fmla="*/ 1709350 h 2831069"/>
              <a:gd name="connsiteX501" fmla="*/ 2213038 w 3473628"/>
              <a:gd name="connsiteY501" fmla="*/ 1751502 h 2831069"/>
              <a:gd name="connsiteX502" fmla="*/ 2193619 w 3473628"/>
              <a:gd name="connsiteY502" fmla="*/ 1786463 h 2831069"/>
              <a:gd name="connsiteX503" fmla="*/ 2145416 w 3473628"/>
              <a:gd name="connsiteY503" fmla="*/ 1826170 h 2831069"/>
              <a:gd name="connsiteX504" fmla="*/ 2094062 w 3473628"/>
              <a:gd name="connsiteY504" fmla="*/ 1865877 h 2831069"/>
              <a:gd name="connsiteX505" fmla="*/ 2067452 w 3473628"/>
              <a:gd name="connsiteY505" fmla="*/ 1897668 h 2831069"/>
              <a:gd name="connsiteX506" fmla="*/ 2076654 w 3473628"/>
              <a:gd name="connsiteY506" fmla="*/ 1913791 h 2831069"/>
              <a:gd name="connsiteX507" fmla="*/ 2097668 w 3473628"/>
              <a:gd name="connsiteY507" fmla="*/ 1937955 h 2831069"/>
              <a:gd name="connsiteX508" fmla="*/ 2095077 w 3473628"/>
              <a:gd name="connsiteY508" fmla="*/ 2004416 h 2831069"/>
              <a:gd name="connsiteX509" fmla="*/ 2059391 w 3473628"/>
              <a:gd name="connsiteY509" fmla="*/ 2109155 h 2831069"/>
              <a:gd name="connsiteX510" fmla="*/ 1969325 w 3473628"/>
              <a:gd name="connsiteY510" fmla="*/ 2331853 h 2831069"/>
              <a:gd name="connsiteX511" fmla="*/ 1904584 w 3473628"/>
              <a:gd name="connsiteY511" fmla="*/ 2574405 h 2831069"/>
              <a:gd name="connsiteX512" fmla="*/ 1892502 w 3473628"/>
              <a:gd name="connsiteY512" fmla="*/ 2764443 h 2831069"/>
              <a:gd name="connsiteX513" fmla="*/ 2038812 w 3473628"/>
              <a:gd name="connsiteY513" fmla="*/ 2824874 h 2831069"/>
              <a:gd name="connsiteX514" fmla="*/ 2686909 w 3473628"/>
              <a:gd name="connsiteY514" fmla="*/ 2831070 h 2831069"/>
              <a:gd name="connsiteX515" fmla="*/ 3473628 w 3473628"/>
              <a:gd name="connsiteY515" fmla="*/ 2831070 h 2831069"/>
              <a:gd name="connsiteX0" fmla="*/ 1517131 w 3473628"/>
              <a:gd name="connsiteY0" fmla="*/ 2717420 h 2831071"/>
              <a:gd name="connsiteX1" fmla="*/ 1452970 w 3473628"/>
              <a:gd name="connsiteY1" fmla="*/ 2641468 h 2831071"/>
              <a:gd name="connsiteX2" fmla="*/ 1358883 w 3473628"/>
              <a:gd name="connsiteY2" fmla="*/ 2615293 h 2831071"/>
              <a:gd name="connsiteX3" fmla="*/ 1279760 w 3473628"/>
              <a:gd name="connsiteY3" fmla="*/ 2592559 h 2831071"/>
              <a:gd name="connsiteX4" fmla="*/ 1214873 w 3473628"/>
              <a:gd name="connsiteY4" fmla="*/ 2517746 h 2831071"/>
              <a:gd name="connsiteX5" fmla="*/ 1186254 w 3473628"/>
              <a:gd name="connsiteY5" fmla="*/ 2427970 h 2831071"/>
              <a:gd name="connsiteX6" fmla="*/ 1188409 w 3473628"/>
              <a:gd name="connsiteY6" fmla="*/ 2366980 h 2831071"/>
              <a:gd name="connsiteX7" fmla="*/ 1213734 w 3473628"/>
              <a:gd name="connsiteY7" fmla="*/ 2320662 h 2831071"/>
              <a:gd name="connsiteX8" fmla="*/ 1209568 w 3473628"/>
              <a:gd name="connsiteY8" fmla="*/ 2270448 h 2831071"/>
              <a:gd name="connsiteX9" fmla="*/ 1120808 w 3473628"/>
              <a:gd name="connsiteY9" fmla="*/ 2115662 h 2831071"/>
              <a:gd name="connsiteX10" fmla="*/ 1030182 w 3473628"/>
              <a:gd name="connsiteY10" fmla="*/ 1957124 h 2831071"/>
              <a:gd name="connsiteX11" fmla="*/ 963576 w 3473628"/>
              <a:gd name="connsiteY11" fmla="*/ 1924173 h 2831071"/>
              <a:gd name="connsiteX12" fmla="*/ 805764 w 3473628"/>
              <a:gd name="connsiteY12" fmla="*/ 1954244 h 2831071"/>
              <a:gd name="connsiteX13" fmla="*/ 604929 w 3473628"/>
              <a:gd name="connsiteY13" fmla="*/ 1989060 h 2831071"/>
              <a:gd name="connsiteX14" fmla="*/ 477332 w 3473628"/>
              <a:gd name="connsiteY14" fmla="*/ 1993661 h 2831071"/>
              <a:gd name="connsiteX15" fmla="*/ 361672 w 3473628"/>
              <a:gd name="connsiteY15" fmla="*/ 2000852 h 2831071"/>
              <a:gd name="connsiteX16" fmla="*/ 98687 w 3473628"/>
              <a:gd name="connsiteY16" fmla="*/ 2062567 h 2831071"/>
              <a:gd name="connsiteX17" fmla="*/ 3316 w 3473628"/>
              <a:gd name="connsiteY17" fmla="*/ 2090047 h 2831071"/>
              <a:gd name="connsiteX18" fmla="*/ 45468 w 3473628"/>
              <a:gd name="connsiteY18" fmla="*/ 2164135 h 2831071"/>
              <a:gd name="connsiteX19" fmla="*/ 243277 w 3473628"/>
              <a:gd name="connsiteY19" fmla="*/ 2417629 h 2831071"/>
              <a:gd name="connsiteX20" fmla="*/ 343270 w 3473628"/>
              <a:gd name="connsiteY20" fmla="*/ 2553723 h 2831071"/>
              <a:gd name="connsiteX21" fmla="*/ 396634 w 3473628"/>
              <a:gd name="connsiteY21" fmla="*/ 2608392 h 2831071"/>
              <a:gd name="connsiteX22" fmla="*/ 442102 w 3473628"/>
              <a:gd name="connsiteY22" fmla="*/ 2644348 h 2831071"/>
              <a:gd name="connsiteX23" fmla="*/ 450018 w 3473628"/>
              <a:gd name="connsiteY23" fmla="*/ 2670108 h 2831071"/>
              <a:gd name="connsiteX24" fmla="*/ 431180 w 3473628"/>
              <a:gd name="connsiteY24" fmla="*/ 2687516 h 2831071"/>
              <a:gd name="connsiteX25" fmla="*/ 385007 w 3473628"/>
              <a:gd name="connsiteY25" fmla="*/ 2665507 h 2831071"/>
              <a:gd name="connsiteX26" fmla="*/ 320266 w 3473628"/>
              <a:gd name="connsiteY26" fmla="*/ 2569991 h 2831071"/>
              <a:gd name="connsiteX27" fmla="*/ 307459 w 3473628"/>
              <a:gd name="connsiteY27" fmla="*/ 2513166 h 2831071"/>
              <a:gd name="connsiteX28" fmla="*/ 319396 w 3473628"/>
              <a:gd name="connsiteY28" fmla="*/ 2499923 h 2831071"/>
              <a:gd name="connsiteX29" fmla="*/ 348015 w 3473628"/>
              <a:gd name="connsiteY29" fmla="*/ 2524378 h 2831071"/>
              <a:gd name="connsiteX30" fmla="*/ 378086 w 3473628"/>
              <a:gd name="connsiteY30" fmla="*/ 2562364 h 2831071"/>
              <a:gd name="connsiteX31" fmla="*/ 409731 w 3473628"/>
              <a:gd name="connsiteY31" fmla="*/ 2581348 h 2831071"/>
              <a:gd name="connsiteX32" fmla="*/ 431740 w 3473628"/>
              <a:gd name="connsiteY32" fmla="*/ 2604372 h 2831071"/>
              <a:gd name="connsiteX33" fmla="*/ 455323 w 3473628"/>
              <a:gd name="connsiteY33" fmla="*/ 2623645 h 2831071"/>
              <a:gd name="connsiteX34" fmla="*/ 472006 w 3473628"/>
              <a:gd name="connsiteY34" fmla="*/ 2654005 h 2831071"/>
              <a:gd name="connsiteX35" fmla="*/ 483798 w 3473628"/>
              <a:gd name="connsiteY35" fmla="*/ 2705649 h 2831071"/>
              <a:gd name="connsiteX36" fmla="*/ 515029 w 3473628"/>
              <a:gd name="connsiteY36" fmla="*/ 2761707 h 2831071"/>
              <a:gd name="connsiteX37" fmla="*/ 593924 w 3473628"/>
              <a:gd name="connsiteY37" fmla="*/ 2781975 h 2831071"/>
              <a:gd name="connsiteX38" fmla="*/ 917921 w 3473628"/>
              <a:gd name="connsiteY38" fmla="*/ 2784234 h 2831071"/>
              <a:gd name="connsiteX39" fmla="*/ 1481859 w 3473628"/>
              <a:gd name="connsiteY39" fmla="*/ 2784234 h 2831071"/>
              <a:gd name="connsiteX40" fmla="*/ 1611175 w 3473628"/>
              <a:gd name="connsiteY40" fmla="*/ 2760402 h 2831071"/>
              <a:gd name="connsiteX41" fmla="*/ 1530415 w 3473628"/>
              <a:gd name="connsiteY41" fmla="*/ 2653819 h 2831071"/>
              <a:gd name="connsiteX42" fmla="*/ 1485506 w 3473628"/>
              <a:gd name="connsiteY42" fmla="*/ 2582508 h 2831071"/>
              <a:gd name="connsiteX43" fmla="*/ 1444639 w 3473628"/>
              <a:gd name="connsiteY43" fmla="*/ 2563380 h 2831071"/>
              <a:gd name="connsiteX44" fmla="*/ 1360914 w 3473628"/>
              <a:gd name="connsiteY44" fmla="*/ 2569701 h 2831071"/>
              <a:gd name="connsiteX45" fmla="*/ 1305374 w 3473628"/>
              <a:gd name="connsiteY45" fmla="*/ 2561204 h 2831071"/>
              <a:gd name="connsiteX46" fmla="*/ 1259906 w 3473628"/>
              <a:gd name="connsiteY46" fmla="*/ 2517187 h 2831071"/>
              <a:gd name="connsiteX47" fmla="*/ 1228551 w 3473628"/>
              <a:gd name="connsiteY47" fmla="*/ 2442519 h 2831071"/>
              <a:gd name="connsiteX48" fmla="*/ 1227121 w 3473628"/>
              <a:gd name="connsiteY48" fmla="*/ 2364680 h 2831071"/>
              <a:gd name="connsiteX49" fmla="*/ 1271139 w 3473628"/>
              <a:gd name="connsiteY49" fmla="*/ 2317491 h 2831071"/>
              <a:gd name="connsiteX50" fmla="*/ 1254021 w 3473628"/>
              <a:gd name="connsiteY50" fmla="*/ 2254201 h 2831071"/>
              <a:gd name="connsiteX51" fmla="*/ 1118217 w 3473628"/>
              <a:gd name="connsiteY51" fmla="*/ 2041429 h 2831071"/>
              <a:gd name="connsiteX52" fmla="*/ 1021105 w 3473628"/>
              <a:gd name="connsiteY52" fmla="*/ 1888363 h 2831071"/>
              <a:gd name="connsiteX53" fmla="*/ 969171 w 3473628"/>
              <a:gd name="connsiteY53" fmla="*/ 1865338 h 2831071"/>
              <a:gd name="connsiteX54" fmla="*/ 890048 w 3473628"/>
              <a:gd name="connsiteY54" fmla="*/ 1886477 h 2831071"/>
              <a:gd name="connsiteX55" fmla="*/ 773808 w 3473628"/>
              <a:gd name="connsiteY55" fmla="*/ 1916837 h 2831071"/>
              <a:gd name="connsiteX56" fmla="*/ 552974 w 3473628"/>
              <a:gd name="connsiteY56" fmla="*/ 1960565 h 2831071"/>
              <a:gd name="connsiteX57" fmla="*/ 460463 w 3473628"/>
              <a:gd name="connsiteY57" fmla="*/ 1968771 h 2831071"/>
              <a:gd name="connsiteX58" fmla="*/ 390251 w 3473628"/>
              <a:gd name="connsiteY58" fmla="*/ 1936110 h 2831071"/>
              <a:gd name="connsiteX59" fmla="*/ 237329 w 3473628"/>
              <a:gd name="connsiteY59" fmla="*/ 1817280 h 2831071"/>
              <a:gd name="connsiteX60" fmla="*/ 148859 w 3473628"/>
              <a:gd name="connsiteY60" fmla="*/ 1724478 h 2831071"/>
              <a:gd name="connsiteX61" fmla="*/ 135326 w 3473628"/>
              <a:gd name="connsiteY61" fmla="*/ 1660753 h 2831071"/>
              <a:gd name="connsiteX62" fmla="*/ 160361 w 3473628"/>
              <a:gd name="connsiteY62" fmla="*/ 1619326 h 2831071"/>
              <a:gd name="connsiteX63" fmla="*/ 206534 w 3473628"/>
              <a:gd name="connsiteY63" fmla="*/ 1610829 h 2831071"/>
              <a:gd name="connsiteX64" fmla="*/ 299894 w 3473628"/>
              <a:gd name="connsiteY64" fmla="*/ 1646370 h 2831071"/>
              <a:gd name="connsiteX65" fmla="*/ 372552 w 3473628"/>
              <a:gd name="connsiteY65" fmla="*/ 1668959 h 2831071"/>
              <a:gd name="connsiteX66" fmla="*/ 375723 w 3473628"/>
              <a:gd name="connsiteY66" fmla="*/ 1692688 h 2831071"/>
              <a:gd name="connsiteX67" fmla="*/ 313282 w 3473628"/>
              <a:gd name="connsiteY67" fmla="*/ 1712832 h 2831071"/>
              <a:gd name="connsiteX68" fmla="*/ 211134 w 3473628"/>
              <a:gd name="connsiteY68" fmla="*/ 1685787 h 2831071"/>
              <a:gd name="connsiteX69" fmla="*/ 161356 w 3473628"/>
              <a:gd name="connsiteY69" fmla="*/ 1648235 h 2831071"/>
              <a:gd name="connsiteX70" fmla="*/ 166391 w 3473628"/>
              <a:gd name="connsiteY70" fmla="*/ 1605586 h 2831071"/>
              <a:gd name="connsiteX71" fmla="*/ 200192 w 3473628"/>
              <a:gd name="connsiteY71" fmla="*/ 1577816 h 2831071"/>
              <a:gd name="connsiteX72" fmla="*/ 287232 w 3473628"/>
              <a:gd name="connsiteY72" fmla="*/ 1590830 h 2831071"/>
              <a:gd name="connsiteX73" fmla="*/ 369009 w 3473628"/>
              <a:gd name="connsiteY73" fmla="*/ 1618953 h 2831071"/>
              <a:gd name="connsiteX74" fmla="*/ 419927 w 3473628"/>
              <a:gd name="connsiteY74" fmla="*/ 1621046 h 2831071"/>
              <a:gd name="connsiteX75" fmla="*/ 508625 w 3473628"/>
              <a:gd name="connsiteY75" fmla="*/ 1559682 h 2831071"/>
              <a:gd name="connsiteX76" fmla="*/ 603872 w 3473628"/>
              <a:gd name="connsiteY76" fmla="*/ 1496164 h 2831071"/>
              <a:gd name="connsiteX77" fmla="*/ 672489 w 3473628"/>
              <a:gd name="connsiteY77" fmla="*/ 1469699 h 2831071"/>
              <a:gd name="connsiteX78" fmla="*/ 740318 w 3473628"/>
              <a:gd name="connsiteY78" fmla="*/ 1459835 h 2831071"/>
              <a:gd name="connsiteX79" fmla="*/ 810675 w 3473628"/>
              <a:gd name="connsiteY79" fmla="*/ 1421288 h 2831071"/>
              <a:gd name="connsiteX80" fmla="*/ 854631 w 3473628"/>
              <a:gd name="connsiteY80" fmla="*/ 1394969 h 2831071"/>
              <a:gd name="connsiteX81" fmla="*/ 862982 w 3473628"/>
              <a:gd name="connsiteY81" fmla="*/ 1380214 h 2831071"/>
              <a:gd name="connsiteX82" fmla="*/ 851688 w 3473628"/>
              <a:gd name="connsiteY82" fmla="*/ 1366412 h 2831071"/>
              <a:gd name="connsiteX83" fmla="*/ 827524 w 3473628"/>
              <a:gd name="connsiteY83" fmla="*/ 1363614 h 2831071"/>
              <a:gd name="connsiteX84" fmla="*/ 824291 w 3473628"/>
              <a:gd name="connsiteY84" fmla="*/ 1354910 h 2831071"/>
              <a:gd name="connsiteX85" fmla="*/ 846652 w 3473628"/>
              <a:gd name="connsiteY85" fmla="*/ 1340030 h 2831071"/>
              <a:gd name="connsiteX86" fmla="*/ 880308 w 3473628"/>
              <a:gd name="connsiteY86" fmla="*/ 1319161 h 2831071"/>
              <a:gd name="connsiteX87" fmla="*/ 897363 w 3473628"/>
              <a:gd name="connsiteY87" fmla="*/ 1302831 h 2831071"/>
              <a:gd name="connsiteX88" fmla="*/ 886794 w 3473628"/>
              <a:gd name="connsiteY88" fmla="*/ 1295930 h 2831071"/>
              <a:gd name="connsiteX89" fmla="*/ 844642 w 3473628"/>
              <a:gd name="connsiteY89" fmla="*/ 1306934 h 2831071"/>
              <a:gd name="connsiteX90" fmla="*/ 809536 w 3473628"/>
              <a:gd name="connsiteY90" fmla="*/ 1335347 h 2831071"/>
              <a:gd name="connsiteX91" fmla="*/ 787029 w 3473628"/>
              <a:gd name="connsiteY91" fmla="*/ 1349667 h 2831071"/>
              <a:gd name="connsiteX92" fmla="*/ 782139 w 3473628"/>
              <a:gd name="connsiteY92" fmla="*/ 1343346 h 2831071"/>
              <a:gd name="connsiteX93" fmla="*/ 804583 w 3473628"/>
              <a:gd name="connsiteY93" fmla="*/ 1325296 h 2831071"/>
              <a:gd name="connsiteX94" fmla="*/ 816810 w 3473628"/>
              <a:gd name="connsiteY94" fmla="*/ 1307743 h 2831071"/>
              <a:gd name="connsiteX95" fmla="*/ 811276 w 3473628"/>
              <a:gd name="connsiteY95" fmla="*/ 1290977 h 2831071"/>
              <a:gd name="connsiteX96" fmla="*/ 791713 w 3473628"/>
              <a:gd name="connsiteY96" fmla="*/ 1290832 h 2831071"/>
              <a:gd name="connsiteX97" fmla="*/ 761933 w 3473628"/>
              <a:gd name="connsiteY97" fmla="*/ 1313856 h 2831071"/>
              <a:gd name="connsiteX98" fmla="*/ 742515 w 3473628"/>
              <a:gd name="connsiteY98" fmla="*/ 1324218 h 2831071"/>
              <a:gd name="connsiteX99" fmla="*/ 739862 w 3473628"/>
              <a:gd name="connsiteY99" fmla="*/ 1318457 h 2831071"/>
              <a:gd name="connsiteX100" fmla="*/ 752296 w 3473628"/>
              <a:gd name="connsiteY100" fmla="*/ 1300406 h 2831071"/>
              <a:gd name="connsiteX101" fmla="*/ 772585 w 3473628"/>
              <a:gd name="connsiteY101" fmla="*/ 1280615 h 2831071"/>
              <a:gd name="connsiteX102" fmla="*/ 776108 w 3473628"/>
              <a:gd name="connsiteY102" fmla="*/ 1263994 h 2831071"/>
              <a:gd name="connsiteX103" fmla="*/ 761083 w 3473628"/>
              <a:gd name="connsiteY103" fmla="*/ 1258026 h 2831071"/>
              <a:gd name="connsiteX104" fmla="*/ 718869 w 3473628"/>
              <a:gd name="connsiteY104" fmla="*/ 1273051 h 2831071"/>
              <a:gd name="connsiteX105" fmla="*/ 639600 w 3473628"/>
              <a:gd name="connsiteY105" fmla="*/ 1331181 h 2831071"/>
              <a:gd name="connsiteX106" fmla="*/ 569678 w 3473628"/>
              <a:gd name="connsiteY106" fmla="*/ 1382100 h 2831071"/>
              <a:gd name="connsiteX107" fmla="*/ 456173 w 3473628"/>
              <a:gd name="connsiteY107" fmla="*/ 1442530 h 2831071"/>
              <a:gd name="connsiteX108" fmla="*/ 325406 w 3473628"/>
              <a:gd name="connsiteY108" fmla="*/ 1515188 h 2831071"/>
              <a:gd name="connsiteX109" fmla="*/ 239526 w 3473628"/>
              <a:gd name="connsiteY109" fmla="*/ 1551144 h 2831071"/>
              <a:gd name="connsiteX110" fmla="*/ 218388 w 3473628"/>
              <a:gd name="connsiteY110" fmla="*/ 1575453 h 2831071"/>
              <a:gd name="connsiteX111" fmla="*/ 272912 w 3473628"/>
              <a:gd name="connsiteY111" fmla="*/ 1602208 h 2831071"/>
              <a:gd name="connsiteX112" fmla="*/ 357797 w 3473628"/>
              <a:gd name="connsiteY112" fmla="*/ 1635863 h 2831071"/>
              <a:gd name="connsiteX113" fmla="*/ 403410 w 3473628"/>
              <a:gd name="connsiteY113" fmla="*/ 1653271 h 2831071"/>
              <a:gd name="connsiteX114" fmla="*/ 416073 w 3473628"/>
              <a:gd name="connsiteY114" fmla="*/ 1682036 h 2831071"/>
              <a:gd name="connsiteX115" fmla="*/ 440817 w 3473628"/>
              <a:gd name="connsiteY115" fmla="*/ 1705060 h 2831071"/>
              <a:gd name="connsiteX116" fmla="*/ 514469 w 3473628"/>
              <a:gd name="connsiteY116" fmla="*/ 1733680 h 2831071"/>
              <a:gd name="connsiteX117" fmla="*/ 651288 w 3473628"/>
              <a:gd name="connsiteY117" fmla="*/ 1765905 h 2831071"/>
              <a:gd name="connsiteX118" fmla="*/ 768109 w 3473628"/>
              <a:gd name="connsiteY118" fmla="*/ 1785179 h 2831071"/>
              <a:gd name="connsiteX119" fmla="*/ 837306 w 3473628"/>
              <a:gd name="connsiteY119" fmla="*/ 1824740 h 2831071"/>
              <a:gd name="connsiteX120" fmla="*/ 840621 w 3473628"/>
              <a:gd name="connsiteY120" fmla="*/ 1854666 h 2831071"/>
              <a:gd name="connsiteX121" fmla="*/ 790843 w 3473628"/>
              <a:gd name="connsiteY121" fmla="*/ 1883430 h 2831071"/>
              <a:gd name="connsiteX122" fmla="*/ 713874 w 3473628"/>
              <a:gd name="connsiteY122" fmla="*/ 1902413 h 2831071"/>
              <a:gd name="connsiteX123" fmla="*/ 703367 w 3473628"/>
              <a:gd name="connsiteY123" fmla="*/ 1887741 h 2831071"/>
              <a:gd name="connsiteX124" fmla="*/ 735158 w 3473628"/>
              <a:gd name="connsiteY124" fmla="*/ 1840843 h 2831071"/>
              <a:gd name="connsiteX125" fmla="*/ 785662 w 3473628"/>
              <a:gd name="connsiteY125" fmla="*/ 1808037 h 2831071"/>
              <a:gd name="connsiteX126" fmla="*/ 864640 w 3473628"/>
              <a:gd name="connsiteY126" fmla="*/ 1809757 h 2831071"/>
              <a:gd name="connsiteX127" fmla="*/ 904637 w 3473628"/>
              <a:gd name="connsiteY127" fmla="*/ 1789468 h 2831071"/>
              <a:gd name="connsiteX128" fmla="*/ 916284 w 3473628"/>
              <a:gd name="connsiteY128" fmla="*/ 1745161 h 2831071"/>
              <a:gd name="connsiteX129" fmla="*/ 912119 w 3473628"/>
              <a:gd name="connsiteY129" fmla="*/ 1675238 h 2831071"/>
              <a:gd name="connsiteX130" fmla="*/ 918025 w 3473628"/>
              <a:gd name="connsiteY130" fmla="*/ 1647904 h 2831071"/>
              <a:gd name="connsiteX131" fmla="*/ 946230 w 3473628"/>
              <a:gd name="connsiteY131" fmla="*/ 1644588 h 2831071"/>
              <a:gd name="connsiteX132" fmla="*/ 993128 w 3473628"/>
              <a:gd name="connsiteY132" fmla="*/ 1664587 h 2831071"/>
              <a:gd name="connsiteX133" fmla="*/ 1043632 w 3473628"/>
              <a:gd name="connsiteY133" fmla="*/ 1685455 h 2831071"/>
              <a:gd name="connsiteX134" fmla="*/ 1091110 w 3473628"/>
              <a:gd name="connsiteY134" fmla="*/ 1667032 h 2831071"/>
              <a:gd name="connsiteX135" fmla="*/ 1113844 w 3473628"/>
              <a:gd name="connsiteY135" fmla="*/ 1609046 h 2831071"/>
              <a:gd name="connsiteX136" fmla="*/ 1137573 w 3473628"/>
              <a:gd name="connsiteY136" fmla="*/ 1536244 h 2831071"/>
              <a:gd name="connsiteX137" fmla="*/ 1175270 w 3473628"/>
              <a:gd name="connsiteY137" fmla="*/ 1484165 h 2831071"/>
              <a:gd name="connsiteX138" fmla="*/ 1215847 w 3473628"/>
              <a:gd name="connsiteY138" fmla="*/ 1437702 h 2831071"/>
              <a:gd name="connsiteX139" fmla="*/ 1213837 w 3473628"/>
              <a:gd name="connsiteY139" fmla="*/ 1405911 h 2831071"/>
              <a:gd name="connsiteX140" fmla="*/ 1160743 w 3473628"/>
              <a:gd name="connsiteY140" fmla="*/ 1359449 h 2831071"/>
              <a:gd name="connsiteX141" fmla="*/ 1072273 w 3473628"/>
              <a:gd name="connsiteY141" fmla="*/ 1326207 h 2831071"/>
              <a:gd name="connsiteX142" fmla="*/ 969420 w 3473628"/>
              <a:gd name="connsiteY142" fmla="*/ 1337709 h 2831071"/>
              <a:gd name="connsiteX143" fmla="*/ 912160 w 3473628"/>
              <a:gd name="connsiteY143" fmla="*/ 1380152 h 2831071"/>
              <a:gd name="connsiteX144" fmla="*/ 896327 w 3473628"/>
              <a:gd name="connsiteY144" fmla="*/ 1448333 h 2831071"/>
              <a:gd name="connsiteX145" fmla="*/ 877489 w 3473628"/>
              <a:gd name="connsiteY145" fmla="*/ 1512784 h 2831071"/>
              <a:gd name="connsiteX146" fmla="*/ 860806 w 3473628"/>
              <a:gd name="connsiteY146" fmla="*/ 1564138 h 2831071"/>
              <a:gd name="connsiteX147" fmla="*/ 859936 w 3473628"/>
              <a:gd name="connsiteY147" fmla="*/ 1636216 h 2831071"/>
              <a:gd name="connsiteX148" fmla="*/ 882670 w 3473628"/>
              <a:gd name="connsiteY148" fmla="*/ 1693040 h 2831071"/>
              <a:gd name="connsiteX149" fmla="*/ 939930 w 3473628"/>
              <a:gd name="connsiteY149" fmla="*/ 1728001 h 2831071"/>
              <a:gd name="connsiteX150" fmla="*/ 1032856 w 3473628"/>
              <a:gd name="connsiteY150" fmla="*/ 1733618 h 2831071"/>
              <a:gd name="connsiteX151" fmla="*/ 1121326 w 3473628"/>
              <a:gd name="connsiteY151" fmla="*/ 1688440 h 2831071"/>
              <a:gd name="connsiteX152" fmla="*/ 1171830 w 3473628"/>
              <a:gd name="connsiteY152" fmla="*/ 1627304 h 2831071"/>
              <a:gd name="connsiteX153" fmla="*/ 1192263 w 3473628"/>
              <a:gd name="connsiteY153" fmla="*/ 1592343 h 2831071"/>
              <a:gd name="connsiteX154" fmla="*/ 1215433 w 3473628"/>
              <a:gd name="connsiteY154" fmla="*/ 1590478 h 2831071"/>
              <a:gd name="connsiteX155" fmla="*/ 1223059 w 3473628"/>
              <a:gd name="connsiteY155" fmla="*/ 1624569 h 2831071"/>
              <a:gd name="connsiteX156" fmla="*/ 1193569 w 3473628"/>
              <a:gd name="connsiteY156" fmla="*/ 1655219 h 2831071"/>
              <a:gd name="connsiteX157" fmla="*/ 1160328 w 3473628"/>
              <a:gd name="connsiteY157" fmla="*/ 1650909 h 2831071"/>
              <a:gd name="connsiteX158" fmla="*/ 1152121 w 3473628"/>
              <a:gd name="connsiteY158" fmla="*/ 1619844 h 2831071"/>
              <a:gd name="connsiteX159" fmla="*/ 1169239 w 3473628"/>
              <a:gd name="connsiteY159" fmla="*/ 1577836 h 2831071"/>
              <a:gd name="connsiteX160" fmla="*/ 1208511 w 3473628"/>
              <a:gd name="connsiteY160" fmla="*/ 1555683 h 2831071"/>
              <a:gd name="connsiteX161" fmla="*/ 1223039 w 3473628"/>
              <a:gd name="connsiteY161" fmla="*/ 1534814 h 2831071"/>
              <a:gd name="connsiteX162" fmla="*/ 1221173 w 3473628"/>
              <a:gd name="connsiteY162" fmla="*/ 1493822 h 2831071"/>
              <a:gd name="connsiteX163" fmla="*/ 1192263 w 3473628"/>
              <a:gd name="connsiteY163" fmla="*/ 1435837 h 2831071"/>
              <a:gd name="connsiteX164" fmla="*/ 1126527 w 3473628"/>
              <a:gd name="connsiteY164" fmla="*/ 1373105 h 2831071"/>
              <a:gd name="connsiteX165" fmla="*/ 1015178 w 3473628"/>
              <a:gd name="connsiteY165" fmla="*/ 1361604 h 2831071"/>
              <a:gd name="connsiteX166" fmla="*/ 929299 w 3473628"/>
              <a:gd name="connsiteY166" fmla="*/ 1399591 h 2831071"/>
              <a:gd name="connsiteX167" fmla="*/ 891312 w 3473628"/>
              <a:gd name="connsiteY167" fmla="*/ 1413683 h 2831071"/>
              <a:gd name="connsiteX168" fmla="*/ 880805 w 3473628"/>
              <a:gd name="connsiteY168" fmla="*/ 1385623 h 2831071"/>
              <a:gd name="connsiteX169" fmla="*/ 887271 w 3473628"/>
              <a:gd name="connsiteY169" fmla="*/ 1343035 h 2831071"/>
              <a:gd name="connsiteX170" fmla="*/ 919351 w 3473628"/>
              <a:gd name="connsiteY170" fmla="*/ 1314270 h 2831071"/>
              <a:gd name="connsiteX171" fmla="*/ 976031 w 3473628"/>
              <a:gd name="connsiteY171" fmla="*/ 1293402 h 2831071"/>
              <a:gd name="connsiteX172" fmla="*/ 1018183 w 3473628"/>
              <a:gd name="connsiteY172" fmla="*/ 1281900 h 2831071"/>
              <a:gd name="connsiteX173" fmla="*/ 1050844 w 3473628"/>
              <a:gd name="connsiteY173" fmla="*/ 1268947 h 2831071"/>
              <a:gd name="connsiteX174" fmla="*/ 1109244 w 3473628"/>
              <a:gd name="connsiteY174" fmla="*/ 1272118 h 2831071"/>
              <a:gd name="connsiteX175" fmla="*/ 1183622 w 3473628"/>
              <a:gd name="connsiteY175" fmla="*/ 1306209 h 2831071"/>
              <a:gd name="connsiteX176" fmla="*/ 1247202 w 3473628"/>
              <a:gd name="connsiteY176" fmla="*/ 1382017 h 2831071"/>
              <a:gd name="connsiteX177" fmla="*/ 1276983 w 3473628"/>
              <a:gd name="connsiteY177" fmla="*/ 1470777 h 2831071"/>
              <a:gd name="connsiteX178" fmla="*/ 1290785 w 3473628"/>
              <a:gd name="connsiteY178" fmla="*/ 1538959 h 2831071"/>
              <a:gd name="connsiteX179" fmla="*/ 1286184 w 3473628"/>
              <a:gd name="connsiteY179" fmla="*/ 1598664 h 2831071"/>
              <a:gd name="connsiteX180" fmla="*/ 1251223 w 3473628"/>
              <a:gd name="connsiteY180" fmla="*/ 1657789 h 2831071"/>
              <a:gd name="connsiteX181" fmla="*/ 1190792 w 3473628"/>
              <a:gd name="connsiteY181" fmla="*/ 1692460 h 2831071"/>
              <a:gd name="connsiteX182" fmla="*/ 1155396 w 3473628"/>
              <a:gd name="connsiteY182" fmla="*/ 1717349 h 2831071"/>
              <a:gd name="connsiteX183" fmla="*/ 1128786 w 3473628"/>
              <a:gd name="connsiteY183" fmla="*/ 1768848 h 2831071"/>
              <a:gd name="connsiteX184" fmla="*/ 1124766 w 3473628"/>
              <a:gd name="connsiteY184" fmla="*/ 1813156 h 2831071"/>
              <a:gd name="connsiteX185" fmla="*/ 1143459 w 3473628"/>
              <a:gd name="connsiteY185" fmla="*/ 1838045 h 2831071"/>
              <a:gd name="connsiteX186" fmla="*/ 1176700 w 3473628"/>
              <a:gd name="connsiteY186" fmla="*/ 1874581 h 2831071"/>
              <a:gd name="connsiteX187" fmla="*/ 1211951 w 3473628"/>
              <a:gd name="connsiteY187" fmla="*/ 1930971 h 2831071"/>
              <a:gd name="connsiteX188" fmla="*/ 1269791 w 3473628"/>
              <a:gd name="connsiteY188" fmla="*/ 1970678 h 2831071"/>
              <a:gd name="connsiteX189" fmla="*/ 1289790 w 3473628"/>
              <a:gd name="connsiteY189" fmla="*/ 2016996 h 2831071"/>
              <a:gd name="connsiteX190" fmla="*/ 1236696 w 3473628"/>
              <a:gd name="connsiteY190" fmla="*/ 2105031 h 2831071"/>
              <a:gd name="connsiteX191" fmla="*/ 1189362 w 3473628"/>
              <a:gd name="connsiteY191" fmla="*/ 2099269 h 2831071"/>
              <a:gd name="connsiteX192" fmla="*/ 1126921 w 3473628"/>
              <a:gd name="connsiteY192" fmla="*/ 1994386 h 2831071"/>
              <a:gd name="connsiteX193" fmla="*/ 1124621 w 3473628"/>
              <a:gd name="connsiteY193" fmla="*/ 1948773 h 2831071"/>
              <a:gd name="connsiteX194" fmla="*/ 1178855 w 3473628"/>
              <a:gd name="connsiteY194" fmla="*/ 1910226 h 2831071"/>
              <a:gd name="connsiteX195" fmla="*/ 1235245 w 3473628"/>
              <a:gd name="connsiteY195" fmla="*/ 1918288 h 2831071"/>
              <a:gd name="connsiteX196" fmla="*/ 1332792 w 3473628"/>
              <a:gd name="connsiteY196" fmla="*/ 1988065 h 2831071"/>
              <a:gd name="connsiteX197" fmla="*/ 1387316 w 3473628"/>
              <a:gd name="connsiteY197" fmla="*/ 2070650 h 2831071"/>
              <a:gd name="connsiteX198" fmla="*/ 1383710 w 3473628"/>
              <a:gd name="connsiteY198" fmla="*/ 2126190 h 2831071"/>
              <a:gd name="connsiteX199" fmla="*/ 1348459 w 3473628"/>
              <a:gd name="connsiteY199" fmla="*/ 2203448 h 2831071"/>
              <a:gd name="connsiteX200" fmla="*/ 1311923 w 3473628"/>
              <a:gd name="connsiteY200" fmla="*/ 2248771 h 2831071"/>
              <a:gd name="connsiteX201" fmla="*/ 1270786 w 3473628"/>
              <a:gd name="connsiteY201" fmla="*/ 2226907 h 2831071"/>
              <a:gd name="connsiteX202" fmla="*/ 1256694 w 3473628"/>
              <a:gd name="connsiteY202" fmla="*/ 2197417 h 2831071"/>
              <a:gd name="connsiteX203" fmla="*/ 1262745 w 3473628"/>
              <a:gd name="connsiteY203" fmla="*/ 2172093 h 2831071"/>
              <a:gd name="connsiteX204" fmla="*/ 1299427 w 3473628"/>
              <a:gd name="connsiteY204" fmla="*/ 2127640 h 2831071"/>
              <a:gd name="connsiteX205" fmla="*/ 1357826 w 3473628"/>
              <a:gd name="connsiteY205" fmla="*/ 2086068 h 2831071"/>
              <a:gd name="connsiteX206" fmla="*/ 1403999 w 3473628"/>
              <a:gd name="connsiteY206" fmla="*/ 2048372 h 2831071"/>
              <a:gd name="connsiteX207" fmla="*/ 1428453 w 3473628"/>
              <a:gd name="connsiteY207" fmla="*/ 2028228 h 2831071"/>
              <a:gd name="connsiteX208" fmla="*/ 1435644 w 3473628"/>
              <a:gd name="connsiteY208" fmla="*/ 2043481 h 2831071"/>
              <a:gd name="connsiteX209" fmla="*/ 1439375 w 3473628"/>
              <a:gd name="connsiteY209" fmla="*/ 2107062 h 2831071"/>
              <a:gd name="connsiteX210" fmla="*/ 1432039 w 3473628"/>
              <a:gd name="connsiteY210" fmla="*/ 2164902 h 2831071"/>
              <a:gd name="connsiteX211" fmla="*/ 1405864 w 3473628"/>
              <a:gd name="connsiteY211" fmla="*/ 2266469 h 2831071"/>
              <a:gd name="connsiteX212" fmla="*/ 1412765 w 3473628"/>
              <a:gd name="connsiteY212" fmla="*/ 2328330 h 2831071"/>
              <a:gd name="connsiteX213" fmla="*/ 1440245 w 3473628"/>
              <a:gd name="connsiteY213" fmla="*/ 2353074 h 2831071"/>
              <a:gd name="connsiteX214" fmla="*/ 1475932 w 3473628"/>
              <a:gd name="connsiteY214" fmla="*/ 2367457 h 2831071"/>
              <a:gd name="connsiteX215" fmla="*/ 1511038 w 3473628"/>
              <a:gd name="connsiteY215" fmla="*/ 2382710 h 2831071"/>
              <a:gd name="connsiteX216" fmla="*/ 1536217 w 3473628"/>
              <a:gd name="connsiteY216" fmla="*/ 2415225 h 2831071"/>
              <a:gd name="connsiteX217" fmla="*/ 1543408 w 3473628"/>
              <a:gd name="connsiteY217" fmla="*/ 2463843 h 2831071"/>
              <a:gd name="connsiteX218" fmla="*/ 1512758 w 3473628"/>
              <a:gd name="connsiteY218" fmla="*/ 2507156 h 2831071"/>
              <a:gd name="connsiteX219" fmla="*/ 1467083 w 3473628"/>
              <a:gd name="connsiteY219" fmla="*/ 2522844 h 2831071"/>
              <a:gd name="connsiteX220" fmla="*/ 1422195 w 3473628"/>
              <a:gd name="connsiteY220" fmla="*/ 2523860 h 2831071"/>
              <a:gd name="connsiteX221" fmla="*/ 1366738 w 3473628"/>
              <a:gd name="connsiteY221" fmla="*/ 2540832 h 2831071"/>
              <a:gd name="connsiteX222" fmla="*/ 1320420 w 3473628"/>
              <a:gd name="connsiteY222" fmla="*/ 2536667 h 2831071"/>
              <a:gd name="connsiteX223" fmla="*/ 1321788 w 3473628"/>
              <a:gd name="connsiteY223" fmla="*/ 2519549 h 2831071"/>
              <a:gd name="connsiteX224" fmla="*/ 1369846 w 3473628"/>
              <a:gd name="connsiteY224" fmla="*/ 2497893 h 2831071"/>
              <a:gd name="connsiteX225" fmla="*/ 1396891 w 3473628"/>
              <a:gd name="connsiteY225" fmla="*/ 2480277 h 2831071"/>
              <a:gd name="connsiteX226" fmla="*/ 1381286 w 3473628"/>
              <a:gd name="connsiteY226" fmla="*/ 2474102 h 2831071"/>
              <a:gd name="connsiteX227" fmla="*/ 1307986 w 3473628"/>
              <a:gd name="connsiteY227" fmla="*/ 2503094 h 2831071"/>
              <a:gd name="connsiteX228" fmla="*/ 1275760 w 3473628"/>
              <a:gd name="connsiteY228" fmla="*/ 2503820 h 2831071"/>
              <a:gd name="connsiteX229" fmla="*/ 1277190 w 3473628"/>
              <a:gd name="connsiteY229" fmla="*/ 2490515 h 2831071"/>
              <a:gd name="connsiteX230" fmla="*/ 1302287 w 3473628"/>
              <a:gd name="connsiteY230" fmla="*/ 2478495 h 2831071"/>
              <a:gd name="connsiteX231" fmla="*/ 1350407 w 3473628"/>
              <a:gd name="connsiteY231" fmla="*/ 2445109 h 2831071"/>
              <a:gd name="connsiteX232" fmla="*/ 1346946 w 3473628"/>
              <a:gd name="connsiteY232" fmla="*/ 2435120 h 2831071"/>
              <a:gd name="connsiteX233" fmla="*/ 1292774 w 3473628"/>
              <a:gd name="connsiteY233" fmla="*/ 2461812 h 2831071"/>
              <a:gd name="connsiteX234" fmla="*/ 1261834 w 3473628"/>
              <a:gd name="connsiteY234" fmla="*/ 2459719 h 2831071"/>
              <a:gd name="connsiteX235" fmla="*/ 1265149 w 3473628"/>
              <a:gd name="connsiteY235" fmla="*/ 2438933 h 2831071"/>
              <a:gd name="connsiteX236" fmla="*/ 1303053 w 3473628"/>
              <a:gd name="connsiteY236" fmla="*/ 2411308 h 2831071"/>
              <a:gd name="connsiteX237" fmla="*/ 1318513 w 3473628"/>
              <a:gd name="connsiteY237" fmla="*/ 2393175 h 2831071"/>
              <a:gd name="connsiteX238" fmla="*/ 1306783 w 3473628"/>
              <a:gd name="connsiteY238" fmla="*/ 2385984 h 2831071"/>
              <a:gd name="connsiteX239" fmla="*/ 1268590 w 3473628"/>
              <a:gd name="connsiteY239" fmla="*/ 2403392 h 2831071"/>
              <a:gd name="connsiteX240" fmla="*/ 1243410 w 3473628"/>
              <a:gd name="connsiteY240" fmla="*/ 2405257 h 2831071"/>
              <a:gd name="connsiteX241" fmla="*/ 1242685 w 3473628"/>
              <a:gd name="connsiteY241" fmla="*/ 2382461 h 2831071"/>
              <a:gd name="connsiteX242" fmla="*/ 1284402 w 3473628"/>
              <a:gd name="connsiteY242" fmla="*/ 2341469 h 2831071"/>
              <a:gd name="connsiteX243" fmla="*/ 1360935 w 3473628"/>
              <a:gd name="connsiteY243" fmla="*/ 2306218 h 2831071"/>
              <a:gd name="connsiteX244" fmla="*/ 1411004 w 3473628"/>
              <a:gd name="connsiteY244" fmla="*/ 2303047 h 2831071"/>
              <a:gd name="connsiteX245" fmla="*/ 1438484 w 3473628"/>
              <a:gd name="connsiteY245" fmla="*/ 2295131 h 2831071"/>
              <a:gd name="connsiteX246" fmla="*/ 1468409 w 3473628"/>
              <a:gd name="connsiteY246" fmla="*/ 2243777 h 2831071"/>
              <a:gd name="connsiteX247" fmla="*/ 1532570 w 3473628"/>
              <a:gd name="connsiteY247" fmla="*/ 2156301 h 2831071"/>
              <a:gd name="connsiteX248" fmla="*/ 1610761 w 3473628"/>
              <a:gd name="connsiteY248" fmla="*/ 2074152 h 2831071"/>
              <a:gd name="connsiteX249" fmla="*/ 1628957 w 3473628"/>
              <a:gd name="connsiteY249" fmla="*/ 2041864 h 2831071"/>
              <a:gd name="connsiteX250" fmla="*/ 1628604 w 3473628"/>
              <a:gd name="connsiteY250" fmla="*/ 2021078 h 2831071"/>
              <a:gd name="connsiteX251" fmla="*/ 1642841 w 3473628"/>
              <a:gd name="connsiteY251" fmla="*/ 2001308 h 2831071"/>
              <a:gd name="connsiteX252" fmla="*/ 1697863 w 3473628"/>
              <a:gd name="connsiteY252" fmla="*/ 1963611 h 2831071"/>
              <a:gd name="connsiteX253" fmla="*/ 1768718 w 3473628"/>
              <a:gd name="connsiteY253" fmla="*/ 1914703 h 2831071"/>
              <a:gd name="connsiteX254" fmla="*/ 1816549 w 3473628"/>
              <a:gd name="connsiteY254" fmla="*/ 1881109 h 2831071"/>
              <a:gd name="connsiteX255" fmla="*/ 1846039 w 3473628"/>
              <a:gd name="connsiteY255" fmla="*/ 1836221 h 2831071"/>
              <a:gd name="connsiteX256" fmla="*/ 1863882 w 3473628"/>
              <a:gd name="connsiteY256" fmla="*/ 1739400 h 2831071"/>
              <a:gd name="connsiteX257" fmla="*/ 1862162 w 3473628"/>
              <a:gd name="connsiteY257" fmla="*/ 1654225 h 2831071"/>
              <a:gd name="connsiteX258" fmla="*/ 1849355 w 3473628"/>
              <a:gd name="connsiteY258" fmla="*/ 1586312 h 2831071"/>
              <a:gd name="connsiteX259" fmla="*/ 1804322 w 3473628"/>
              <a:gd name="connsiteY259" fmla="*/ 1511499 h 2831071"/>
              <a:gd name="connsiteX260" fmla="*/ 1748512 w 3473628"/>
              <a:gd name="connsiteY260" fmla="*/ 1463296 h 2831071"/>
              <a:gd name="connsiteX261" fmla="*/ 1688662 w 3473628"/>
              <a:gd name="connsiteY261" fmla="*/ 1445017 h 2831071"/>
              <a:gd name="connsiteX262" fmla="*/ 1629682 w 3473628"/>
              <a:gd name="connsiteY262" fmla="*/ 1434655 h 2831071"/>
              <a:gd name="connsiteX263" fmla="*/ 1565521 w 3473628"/>
              <a:gd name="connsiteY263" fmla="*/ 1420708 h 2831071"/>
              <a:gd name="connsiteX264" fmla="*/ 1482377 w 3473628"/>
              <a:gd name="connsiteY264" fmla="*/ 1428044 h 2831071"/>
              <a:gd name="connsiteX265" fmla="*/ 1425117 w 3473628"/>
              <a:gd name="connsiteY265" fmla="*/ 1469036 h 2831071"/>
              <a:gd name="connsiteX266" fmla="*/ 1416910 w 3473628"/>
              <a:gd name="connsiteY266" fmla="*/ 1533923 h 2831071"/>
              <a:gd name="connsiteX267" fmla="*/ 1436618 w 3473628"/>
              <a:gd name="connsiteY267" fmla="*/ 1580240 h 2831071"/>
              <a:gd name="connsiteX268" fmla="*/ 1448265 w 3473628"/>
              <a:gd name="connsiteY268" fmla="*/ 1638081 h 2831071"/>
              <a:gd name="connsiteX269" fmla="*/ 1432577 w 3473628"/>
              <a:gd name="connsiteY269" fmla="*/ 1733037 h 2831071"/>
              <a:gd name="connsiteX270" fmla="*/ 1436598 w 3473628"/>
              <a:gd name="connsiteY270" fmla="*/ 1799063 h 2831071"/>
              <a:gd name="connsiteX271" fmla="*/ 1493568 w 3473628"/>
              <a:gd name="connsiteY271" fmla="*/ 1841216 h 2831071"/>
              <a:gd name="connsiteX272" fmla="*/ 1619299 w 3473628"/>
              <a:gd name="connsiteY272" fmla="*/ 1854168 h 2831071"/>
              <a:gd name="connsiteX273" fmla="*/ 1704039 w 3473628"/>
              <a:gd name="connsiteY273" fmla="*/ 1837050 h 2831071"/>
              <a:gd name="connsiteX274" fmla="*/ 1739290 w 3473628"/>
              <a:gd name="connsiteY274" fmla="*/ 1788577 h 2831071"/>
              <a:gd name="connsiteX275" fmla="*/ 1754108 w 3473628"/>
              <a:gd name="connsiteY275" fmla="*/ 1758507 h 2831071"/>
              <a:gd name="connsiteX276" fmla="*/ 1769071 w 3473628"/>
              <a:gd name="connsiteY276" fmla="*/ 1758507 h 2831071"/>
              <a:gd name="connsiteX277" fmla="*/ 1773526 w 3473628"/>
              <a:gd name="connsiteY277" fmla="*/ 1787562 h 2831071"/>
              <a:gd name="connsiteX278" fmla="*/ 1747621 w 3473628"/>
              <a:gd name="connsiteY278" fmla="*/ 1819497 h 2831071"/>
              <a:gd name="connsiteX279" fmla="*/ 1719271 w 3473628"/>
              <a:gd name="connsiteY279" fmla="*/ 1806110 h 2831071"/>
              <a:gd name="connsiteX280" fmla="*/ 1727478 w 3473628"/>
              <a:gd name="connsiteY280" fmla="*/ 1762092 h 2831071"/>
              <a:gd name="connsiteX281" fmla="*/ 1757258 w 3473628"/>
              <a:gd name="connsiteY281" fmla="*/ 1731297 h 2831071"/>
              <a:gd name="connsiteX282" fmla="*/ 1781857 w 3473628"/>
              <a:gd name="connsiteY282" fmla="*/ 1696626 h 2831071"/>
              <a:gd name="connsiteX283" fmla="*/ 1759123 w 3473628"/>
              <a:gd name="connsiteY283" fmla="*/ 1625563 h 2831071"/>
              <a:gd name="connsiteX284" fmla="*/ 1710650 w 3473628"/>
              <a:gd name="connsiteY284" fmla="*/ 1549175 h 2831071"/>
              <a:gd name="connsiteX285" fmla="*/ 1628065 w 3473628"/>
              <a:gd name="connsiteY285" fmla="*/ 1512349 h 2831071"/>
              <a:gd name="connsiteX286" fmla="*/ 1535989 w 3473628"/>
              <a:gd name="connsiteY286" fmla="*/ 1521260 h 2831071"/>
              <a:gd name="connsiteX287" fmla="*/ 1469528 w 3473628"/>
              <a:gd name="connsiteY287" fmla="*/ 1574624 h 2831071"/>
              <a:gd name="connsiteX288" fmla="*/ 1448100 w 3473628"/>
              <a:gd name="connsiteY288" fmla="*/ 1608280 h 2831071"/>
              <a:gd name="connsiteX289" fmla="*/ 1425946 w 3473628"/>
              <a:gd name="connsiteY289" fmla="*/ 1663384 h 2831071"/>
              <a:gd name="connsiteX290" fmla="*/ 1406527 w 3473628"/>
              <a:gd name="connsiteY290" fmla="*/ 1760351 h 2831071"/>
              <a:gd name="connsiteX291" fmla="*/ 1422215 w 3473628"/>
              <a:gd name="connsiteY291" fmla="*/ 1829693 h 2831071"/>
              <a:gd name="connsiteX292" fmla="*/ 1452866 w 3473628"/>
              <a:gd name="connsiteY292" fmla="*/ 1880115 h 2831071"/>
              <a:gd name="connsiteX293" fmla="*/ 1472139 w 3473628"/>
              <a:gd name="connsiteY293" fmla="*/ 1939737 h 2831071"/>
              <a:gd name="connsiteX294" fmla="*/ 1476885 w 3473628"/>
              <a:gd name="connsiteY294" fmla="*/ 1996769 h 2831071"/>
              <a:gd name="connsiteX295" fmla="*/ 1459332 w 3473628"/>
              <a:gd name="connsiteY295" fmla="*/ 2060205 h 2831071"/>
              <a:gd name="connsiteX296" fmla="*/ 1462212 w 3473628"/>
              <a:gd name="connsiteY296" fmla="*/ 2092430 h 2831071"/>
              <a:gd name="connsiteX297" fmla="*/ 1501339 w 3473628"/>
              <a:gd name="connsiteY297" fmla="*/ 2073157 h 2831071"/>
              <a:gd name="connsiteX298" fmla="*/ 1597083 w 3473628"/>
              <a:gd name="connsiteY298" fmla="*/ 2002592 h 2831071"/>
              <a:gd name="connsiteX299" fmla="*/ 1667586 w 3473628"/>
              <a:gd name="connsiteY299" fmla="*/ 1957705 h 2831071"/>
              <a:gd name="connsiteX300" fmla="*/ 1726856 w 3473628"/>
              <a:gd name="connsiteY300" fmla="*/ 1927987 h 2831071"/>
              <a:gd name="connsiteX301" fmla="*/ 1753258 w 3473628"/>
              <a:gd name="connsiteY301" fmla="*/ 1933520 h 2831071"/>
              <a:gd name="connsiteX302" fmla="*/ 1781816 w 3473628"/>
              <a:gd name="connsiteY302" fmla="*/ 1986034 h 2831071"/>
              <a:gd name="connsiteX303" fmla="*/ 1823616 w 3473628"/>
              <a:gd name="connsiteY303" fmla="*/ 2024809 h 2831071"/>
              <a:gd name="connsiteX304" fmla="*/ 1853044 w 3473628"/>
              <a:gd name="connsiteY304" fmla="*/ 2039129 h 2831071"/>
              <a:gd name="connsiteX305" fmla="*/ 1845417 w 3473628"/>
              <a:gd name="connsiteY305" fmla="*/ 2056392 h 2831071"/>
              <a:gd name="connsiteX306" fmla="*/ 1802685 w 3473628"/>
              <a:gd name="connsiteY306" fmla="*/ 2090420 h 2831071"/>
              <a:gd name="connsiteX307" fmla="*/ 1764283 w 3473628"/>
              <a:gd name="connsiteY307" fmla="*/ 2152281 h 2831071"/>
              <a:gd name="connsiteX308" fmla="*/ 1702132 w 3473628"/>
              <a:gd name="connsiteY308" fmla="*/ 2291753 h 2831071"/>
              <a:gd name="connsiteX309" fmla="*/ 1672207 w 3473628"/>
              <a:gd name="connsiteY309" fmla="*/ 2356639 h 2831071"/>
              <a:gd name="connsiteX310" fmla="*/ 1654654 w 3473628"/>
              <a:gd name="connsiteY310" fmla="*/ 2363043 h 2831071"/>
              <a:gd name="connsiteX311" fmla="*/ 1613082 w 3473628"/>
              <a:gd name="connsiteY311" fmla="*/ 2345054 h 2831071"/>
              <a:gd name="connsiteX312" fmla="*/ 1559925 w 3473628"/>
              <a:gd name="connsiteY312" fmla="*/ 2330174 h 2831071"/>
              <a:gd name="connsiteX313" fmla="*/ 1518498 w 3473628"/>
              <a:gd name="connsiteY313" fmla="*/ 2333345 h 2831071"/>
              <a:gd name="connsiteX314" fmla="*/ 1485112 w 3473628"/>
              <a:gd name="connsiteY314" fmla="*/ 2345075 h 2831071"/>
              <a:gd name="connsiteX315" fmla="*/ 1462813 w 3473628"/>
              <a:gd name="connsiteY315" fmla="*/ 2341759 h 2831071"/>
              <a:gd name="connsiteX316" fmla="*/ 1462523 w 3473628"/>
              <a:gd name="connsiteY316" fmla="*/ 2316435 h 2831071"/>
              <a:gd name="connsiteX317" fmla="*/ 1514022 w 3473628"/>
              <a:gd name="connsiteY317" fmla="*/ 2230907 h 2831071"/>
              <a:gd name="connsiteX318" fmla="*/ 1633868 w 3473628"/>
              <a:gd name="connsiteY318" fmla="*/ 2086462 h 2831071"/>
              <a:gd name="connsiteX319" fmla="*/ 1761050 w 3473628"/>
              <a:gd name="connsiteY319" fmla="*/ 2009494 h 2831071"/>
              <a:gd name="connsiteX320" fmla="*/ 1835718 w 3473628"/>
              <a:gd name="connsiteY320" fmla="*/ 2007773 h 2831071"/>
              <a:gd name="connsiteX321" fmla="*/ 1915422 w 3473628"/>
              <a:gd name="connsiteY321" fmla="*/ 2040579 h 2831071"/>
              <a:gd name="connsiteX322" fmla="*/ 1956414 w 3473628"/>
              <a:gd name="connsiteY322" fmla="*/ 2094378 h 2831071"/>
              <a:gd name="connsiteX323" fmla="*/ 1981593 w 3473628"/>
              <a:gd name="connsiteY323" fmla="*/ 2161420 h 2831071"/>
              <a:gd name="connsiteX324" fmla="*/ 1998421 w 3473628"/>
              <a:gd name="connsiteY324" fmla="*/ 2191781 h 2831071"/>
              <a:gd name="connsiteX325" fmla="*/ 2004473 w 3473628"/>
              <a:gd name="connsiteY325" fmla="*/ 2185874 h 2831071"/>
              <a:gd name="connsiteX326" fmla="*/ 1997717 w 3473628"/>
              <a:gd name="connsiteY326" fmla="*/ 2138106 h 2831071"/>
              <a:gd name="connsiteX327" fmla="*/ 1965781 w 3473628"/>
              <a:gd name="connsiteY327" fmla="*/ 2073364 h 2831071"/>
              <a:gd name="connsiteX328" fmla="*/ 1892688 w 3473628"/>
              <a:gd name="connsiteY328" fmla="*/ 2059127 h 2831071"/>
              <a:gd name="connsiteX329" fmla="*/ 1816155 w 3473628"/>
              <a:gd name="connsiteY329" fmla="*/ 2115517 h 2831071"/>
              <a:gd name="connsiteX330" fmla="*/ 1767682 w 3473628"/>
              <a:gd name="connsiteY330" fmla="*/ 2216504 h 2831071"/>
              <a:gd name="connsiteX331" fmla="*/ 1756740 w 3473628"/>
              <a:gd name="connsiteY331" fmla="*/ 2315771 h 2831071"/>
              <a:gd name="connsiteX332" fmla="*/ 1733280 w 3473628"/>
              <a:gd name="connsiteY332" fmla="*/ 2398211 h 2831071"/>
              <a:gd name="connsiteX333" fmla="*/ 1632148 w 3473628"/>
              <a:gd name="connsiteY333" fmla="*/ 2384554 h 2831071"/>
              <a:gd name="connsiteX334" fmla="*/ 1539637 w 3473628"/>
              <a:gd name="connsiteY334" fmla="*/ 2352183 h 2831071"/>
              <a:gd name="connsiteX335" fmla="*/ 1522519 w 3473628"/>
              <a:gd name="connsiteY335" fmla="*/ 2359229 h 2831071"/>
              <a:gd name="connsiteX336" fmla="*/ 1543947 w 3473628"/>
              <a:gd name="connsiteY336" fmla="*/ 2385549 h 2831071"/>
              <a:gd name="connsiteX337" fmla="*/ 1564381 w 3473628"/>
              <a:gd name="connsiteY337" fmla="*/ 2430727 h 2831071"/>
              <a:gd name="connsiteX338" fmla="*/ 1559200 w 3473628"/>
              <a:gd name="connsiteY338" fmla="*/ 2486412 h 2831071"/>
              <a:gd name="connsiteX339" fmla="*/ 1529710 w 3473628"/>
              <a:gd name="connsiteY339" fmla="*/ 2562364 h 2831071"/>
              <a:gd name="connsiteX340" fmla="*/ 1544963 w 3473628"/>
              <a:gd name="connsiteY340" fmla="*/ 2634587 h 2831071"/>
              <a:gd name="connsiteX341" fmla="*/ 1609124 w 3473628"/>
              <a:gd name="connsiteY341" fmla="*/ 2669984 h 2831071"/>
              <a:gd name="connsiteX342" fmla="*/ 1709821 w 3473628"/>
              <a:gd name="connsiteY342" fmla="*/ 2685526 h 2831071"/>
              <a:gd name="connsiteX343" fmla="*/ 1825481 w 3473628"/>
              <a:gd name="connsiteY343" fmla="*/ 2710706 h 2831071"/>
              <a:gd name="connsiteX344" fmla="*/ 1849666 w 3473628"/>
              <a:gd name="connsiteY344" fmla="*/ 2737274 h 2831071"/>
              <a:gd name="connsiteX345" fmla="*/ 1827284 w 3473628"/>
              <a:gd name="connsiteY345" fmla="*/ 2775385 h 2831071"/>
              <a:gd name="connsiteX346" fmla="*/ 1859468 w 3473628"/>
              <a:gd name="connsiteY346" fmla="*/ 2784130 h 2831071"/>
              <a:gd name="connsiteX347" fmla="*/ 2089565 w 3473628"/>
              <a:gd name="connsiteY347" fmla="*/ 2784130 h 2831071"/>
              <a:gd name="connsiteX348" fmla="*/ 2566897 w 3473628"/>
              <a:gd name="connsiteY348" fmla="*/ 2782162 h 2831071"/>
              <a:gd name="connsiteX349" fmla="*/ 2687966 w 3473628"/>
              <a:gd name="connsiteY349" fmla="*/ 2759884 h 2831071"/>
              <a:gd name="connsiteX350" fmla="*/ 2680464 w 3473628"/>
              <a:gd name="connsiteY350" fmla="*/ 2692303 h 2831071"/>
              <a:gd name="connsiteX351" fmla="*/ 2633566 w 3473628"/>
              <a:gd name="connsiteY351" fmla="*/ 2631872 h 2831071"/>
              <a:gd name="connsiteX352" fmla="*/ 2492291 w 3473628"/>
              <a:gd name="connsiteY352" fmla="*/ 2565701 h 2831071"/>
              <a:gd name="connsiteX353" fmla="*/ 2424110 w 3473628"/>
              <a:gd name="connsiteY353" fmla="*/ 2476651 h 2831071"/>
              <a:gd name="connsiteX354" fmla="*/ 2465247 w 3473628"/>
              <a:gd name="connsiteY354" fmla="*/ 2186330 h 2831071"/>
              <a:gd name="connsiteX355" fmla="*/ 2494592 w 3473628"/>
              <a:gd name="connsiteY355" fmla="*/ 1978159 h 2831071"/>
              <a:gd name="connsiteX356" fmla="*/ 2532289 w 3473628"/>
              <a:gd name="connsiteY356" fmla="*/ 1883202 h 2831071"/>
              <a:gd name="connsiteX357" fmla="*/ 2600200 w 3473628"/>
              <a:gd name="connsiteY357" fmla="*/ 1837175 h 2831071"/>
              <a:gd name="connsiteX358" fmla="*/ 2643928 w 3473628"/>
              <a:gd name="connsiteY358" fmla="*/ 1758051 h 2831071"/>
              <a:gd name="connsiteX359" fmla="*/ 2671553 w 3473628"/>
              <a:gd name="connsiteY359" fmla="*/ 1632029 h 2831071"/>
              <a:gd name="connsiteX360" fmla="*/ 2694577 w 3473628"/>
              <a:gd name="connsiteY360" fmla="*/ 1561817 h 2831071"/>
              <a:gd name="connsiteX361" fmla="*/ 2707239 w 3473628"/>
              <a:gd name="connsiteY361" fmla="*/ 1548305 h 2831071"/>
              <a:gd name="connsiteX362" fmla="*/ 2696877 w 3473628"/>
              <a:gd name="connsiteY362" fmla="*/ 1616217 h 2831071"/>
              <a:gd name="connsiteX363" fmla="*/ 2656300 w 3473628"/>
              <a:gd name="connsiteY363" fmla="*/ 1792308 h 2831071"/>
              <a:gd name="connsiteX364" fmla="*/ 2576306 w 3473628"/>
              <a:gd name="connsiteY364" fmla="*/ 1905377 h 2831071"/>
              <a:gd name="connsiteX365" fmla="*/ 2484810 w 3473628"/>
              <a:gd name="connsiteY365" fmla="*/ 1918329 h 2831071"/>
              <a:gd name="connsiteX366" fmla="*/ 2405251 w 3473628"/>
              <a:gd name="connsiteY366" fmla="*/ 1822813 h 2831071"/>
              <a:gd name="connsiteX367" fmla="*/ 2384113 w 3473628"/>
              <a:gd name="connsiteY367" fmla="*/ 1673912 h 2831071"/>
              <a:gd name="connsiteX368" fmla="*/ 2378642 w 3473628"/>
              <a:gd name="connsiteY368" fmla="*/ 1541984 h 2831071"/>
              <a:gd name="connsiteX369" fmla="*/ 2373751 w 3473628"/>
              <a:gd name="connsiteY369" fmla="*/ 1415527 h 2831071"/>
              <a:gd name="connsiteX370" fmla="*/ 2347141 w 3473628"/>
              <a:gd name="connsiteY370" fmla="*/ 1246918 h 2831071"/>
              <a:gd name="connsiteX371" fmla="*/ 2334769 w 3473628"/>
              <a:gd name="connsiteY371" fmla="*/ 1142615 h 2831071"/>
              <a:gd name="connsiteX372" fmla="*/ 2329153 w 3473628"/>
              <a:gd name="connsiteY372" fmla="*/ 1065211 h 2831071"/>
              <a:gd name="connsiteX373" fmla="*/ 2304554 w 3473628"/>
              <a:gd name="connsiteY373" fmla="*/ 939335 h 2831071"/>
              <a:gd name="connsiteX374" fmla="*/ 2256641 w 3473628"/>
              <a:gd name="connsiteY374" fmla="*/ 796630 h 2831071"/>
              <a:gd name="connsiteX375" fmla="*/ 2230736 w 3473628"/>
              <a:gd name="connsiteY375" fmla="*/ 692327 h 2831071"/>
              <a:gd name="connsiteX376" fmla="*/ 2239502 w 3473628"/>
              <a:gd name="connsiteY376" fmla="*/ 643564 h 2831071"/>
              <a:gd name="connsiteX377" fmla="*/ 2294026 w 3473628"/>
              <a:gd name="connsiteY377" fmla="*/ 635647 h 2831071"/>
              <a:gd name="connsiteX378" fmla="*/ 2342789 w 3473628"/>
              <a:gd name="connsiteY378" fmla="*/ 621700 h 2831071"/>
              <a:gd name="connsiteX379" fmla="*/ 2378621 w 3473628"/>
              <a:gd name="connsiteY379" fmla="*/ 587174 h 2831071"/>
              <a:gd name="connsiteX380" fmla="*/ 2391283 w 3473628"/>
              <a:gd name="connsiteY380" fmla="*/ 534080 h 2831071"/>
              <a:gd name="connsiteX381" fmla="*/ 2374601 w 3473628"/>
              <a:gd name="connsiteY381" fmla="*/ 480426 h 2831071"/>
              <a:gd name="connsiteX382" fmla="*/ 2310004 w 3473628"/>
              <a:gd name="connsiteY382" fmla="*/ 360020 h 2831071"/>
              <a:gd name="connsiteX383" fmla="*/ 2266567 w 3473628"/>
              <a:gd name="connsiteY383" fmla="*/ 280171 h 2831071"/>
              <a:gd name="connsiteX384" fmla="*/ 2203691 w 3473628"/>
              <a:gd name="connsiteY384" fmla="*/ 213564 h 2831071"/>
              <a:gd name="connsiteX385" fmla="*/ 2153622 w 3473628"/>
              <a:gd name="connsiteY385" fmla="*/ 194291 h 2831071"/>
              <a:gd name="connsiteX386" fmla="*/ 2109315 w 3473628"/>
              <a:gd name="connsiteY386" fmla="*/ 218310 h 2831071"/>
              <a:gd name="connsiteX387" fmla="*/ 2085731 w 3473628"/>
              <a:gd name="connsiteY387" fmla="*/ 264214 h 2831071"/>
              <a:gd name="connsiteX388" fmla="*/ 2085006 w 3473628"/>
              <a:gd name="connsiteY388" fmla="*/ 308666 h 2831071"/>
              <a:gd name="connsiteX389" fmla="*/ 2107595 w 3473628"/>
              <a:gd name="connsiteY389" fmla="*/ 327794 h 2831071"/>
              <a:gd name="connsiteX390" fmla="*/ 2138245 w 3473628"/>
              <a:gd name="connsiteY390" fmla="*/ 329660 h 2831071"/>
              <a:gd name="connsiteX391" fmla="*/ 2151343 w 3473628"/>
              <a:gd name="connsiteY391" fmla="*/ 299299 h 2831071"/>
              <a:gd name="connsiteX392" fmla="*/ 2155508 w 3473628"/>
              <a:gd name="connsiteY392" fmla="*/ 263053 h 2831071"/>
              <a:gd name="connsiteX393" fmla="*/ 2173641 w 3473628"/>
              <a:gd name="connsiteY393" fmla="*/ 251261 h 2831071"/>
              <a:gd name="connsiteX394" fmla="*/ 2215068 w 3473628"/>
              <a:gd name="connsiteY394" fmla="*/ 262058 h 2831071"/>
              <a:gd name="connsiteX395" fmla="*/ 2248019 w 3473628"/>
              <a:gd name="connsiteY395" fmla="*/ 269975 h 2831071"/>
              <a:gd name="connsiteX396" fmla="*/ 2262257 w 3473628"/>
              <a:gd name="connsiteY396" fmla="*/ 259903 h 2831071"/>
              <a:gd name="connsiteX397" fmla="*/ 2259749 w 3473628"/>
              <a:gd name="connsiteY397" fmla="*/ 230993 h 2831071"/>
              <a:gd name="connsiteX398" fmla="*/ 2231337 w 3473628"/>
              <a:gd name="connsiteY398" fmla="*/ 190851 h 2831071"/>
              <a:gd name="connsiteX399" fmla="*/ 2181351 w 3473628"/>
              <a:gd name="connsiteY399" fmla="*/ 163309 h 2831071"/>
              <a:gd name="connsiteX400" fmla="*/ 2141354 w 3473628"/>
              <a:gd name="connsiteY400" fmla="*/ 157548 h 2831071"/>
              <a:gd name="connsiteX401" fmla="*/ 2113377 w 3473628"/>
              <a:gd name="connsiteY401" fmla="*/ 169485 h 2831071"/>
              <a:gd name="connsiteX402" fmla="*/ 2082726 w 3473628"/>
              <a:gd name="connsiteY402" fmla="*/ 176469 h 2831071"/>
              <a:gd name="connsiteX403" fmla="*/ 2031870 w 3473628"/>
              <a:gd name="connsiteY403" fmla="*/ 162086 h 2831071"/>
              <a:gd name="connsiteX404" fmla="*/ 1991955 w 3473628"/>
              <a:gd name="connsiteY404" fmla="*/ 137280 h 2831071"/>
              <a:gd name="connsiteX405" fmla="*/ 1950528 w 3473628"/>
              <a:gd name="connsiteY405" fmla="*/ 77222 h 2831071"/>
              <a:gd name="connsiteX406" fmla="*/ 1938737 w 3473628"/>
              <a:gd name="connsiteY406" fmla="*/ 27008 h 2831071"/>
              <a:gd name="connsiteX407" fmla="*/ 1947669 w 3473628"/>
              <a:gd name="connsiteY407" fmla="*/ 1725 h 2831071"/>
              <a:gd name="connsiteX408" fmla="*/ 1970755 w 3473628"/>
              <a:gd name="connsiteY408" fmla="*/ 8461 h 2831071"/>
              <a:gd name="connsiteX409" fmla="*/ 2009260 w 3473628"/>
              <a:gd name="connsiteY409" fmla="*/ 49494 h 2831071"/>
              <a:gd name="connsiteX410" fmla="*/ 2058292 w 3473628"/>
              <a:gd name="connsiteY410" fmla="*/ 104412 h 2831071"/>
              <a:gd name="connsiteX411" fmla="*/ 2093544 w 3473628"/>
              <a:gd name="connsiteY411" fmla="*/ 149010 h 2831071"/>
              <a:gd name="connsiteX412" fmla="*/ 2084487 w 3473628"/>
              <a:gd name="connsiteY412" fmla="*/ 165837 h 2831071"/>
              <a:gd name="connsiteX413" fmla="*/ 2039599 w 3473628"/>
              <a:gd name="connsiteY413" fmla="*/ 172593 h 2831071"/>
              <a:gd name="connsiteX414" fmla="*/ 2028657 w 3473628"/>
              <a:gd name="connsiteY414" fmla="*/ 186976 h 2831071"/>
              <a:gd name="connsiteX415" fmla="*/ 2037424 w 3473628"/>
              <a:gd name="connsiteY415" fmla="*/ 210435 h 2831071"/>
              <a:gd name="connsiteX416" fmla="*/ 2052531 w 3473628"/>
              <a:gd name="connsiteY416" fmla="*/ 240360 h 2831071"/>
              <a:gd name="connsiteX417" fmla="*/ 2063183 w 3473628"/>
              <a:gd name="connsiteY417" fmla="*/ 276606 h 2831071"/>
              <a:gd name="connsiteX418" fmla="*/ 2061173 w 3473628"/>
              <a:gd name="connsiteY418" fmla="*/ 308832 h 2831071"/>
              <a:gd name="connsiteX419" fmla="*/ 2047226 w 3473628"/>
              <a:gd name="connsiteY419" fmla="*/ 318324 h 2831071"/>
              <a:gd name="connsiteX420" fmla="*/ 2037009 w 3473628"/>
              <a:gd name="connsiteY420" fmla="*/ 303216 h 2831071"/>
              <a:gd name="connsiteX421" fmla="*/ 2039890 w 3473628"/>
              <a:gd name="connsiteY421" fmla="*/ 281932 h 2831071"/>
              <a:gd name="connsiteX422" fmla="*/ 2037589 w 3473628"/>
              <a:gd name="connsiteY422" fmla="*/ 253168 h 2831071"/>
              <a:gd name="connsiteX423" fmla="*/ 2017301 w 3473628"/>
              <a:gd name="connsiteY423" fmla="*/ 238640 h 2831071"/>
              <a:gd name="connsiteX424" fmla="*/ 1980039 w 3473628"/>
              <a:gd name="connsiteY424" fmla="*/ 250142 h 2831071"/>
              <a:gd name="connsiteX425" fmla="*/ 1965367 w 3473628"/>
              <a:gd name="connsiteY425" fmla="*/ 281207 h 2831071"/>
              <a:gd name="connsiteX426" fmla="*/ 1979604 w 3473628"/>
              <a:gd name="connsiteY426" fmla="*/ 326820 h 2831071"/>
              <a:gd name="connsiteX427" fmla="*/ 2042625 w 3473628"/>
              <a:gd name="connsiteY427" fmla="*/ 396598 h 2831071"/>
              <a:gd name="connsiteX428" fmla="*/ 2145208 w 3473628"/>
              <a:gd name="connsiteY428" fmla="*/ 455288 h 2831071"/>
              <a:gd name="connsiteX429" fmla="*/ 2223752 w 3473628"/>
              <a:gd name="connsiteY429" fmla="*/ 542183 h 2831071"/>
              <a:gd name="connsiteX430" fmla="*/ 2264889 w 3473628"/>
              <a:gd name="connsiteY430" fmla="*/ 604624 h 2831071"/>
              <a:gd name="connsiteX431" fmla="*/ 2331640 w 3473628"/>
              <a:gd name="connsiteY431" fmla="*/ 595132 h 2831071"/>
              <a:gd name="connsiteX432" fmla="*/ 2408753 w 3473628"/>
              <a:gd name="connsiteY432" fmla="*/ 561746 h 2831071"/>
              <a:gd name="connsiteX433" fmla="*/ 2486157 w 3473628"/>
              <a:gd name="connsiteY433" fmla="*/ 631088 h 2831071"/>
              <a:gd name="connsiteX434" fmla="*/ 2597797 w 3473628"/>
              <a:gd name="connsiteY434" fmla="*/ 831052 h 2831071"/>
              <a:gd name="connsiteX435" fmla="*/ 2689292 w 3473628"/>
              <a:gd name="connsiteY435" fmla="*/ 1008013 h 2831071"/>
              <a:gd name="connsiteX436" fmla="*/ 2728999 w 3473628"/>
              <a:gd name="connsiteY436" fmla="*/ 1141081 h 2831071"/>
              <a:gd name="connsiteX437" fmla="*/ 2722098 w 3473628"/>
              <a:gd name="connsiteY437" fmla="*/ 1265963 h 2831071"/>
              <a:gd name="connsiteX438" fmla="*/ 2726409 w 3473628"/>
              <a:gd name="connsiteY438" fmla="*/ 1370556 h 2831071"/>
              <a:gd name="connsiteX439" fmla="*/ 2748998 w 3473628"/>
              <a:gd name="connsiteY439" fmla="*/ 1502194 h 2831071"/>
              <a:gd name="connsiteX440" fmla="*/ 2793596 w 3473628"/>
              <a:gd name="connsiteY440" fmla="*/ 1683756 h 2831071"/>
              <a:gd name="connsiteX441" fmla="*/ 2841924 w 3473628"/>
              <a:gd name="connsiteY441" fmla="*/ 1899699 h 2831071"/>
              <a:gd name="connsiteX442" fmla="*/ 2835872 w 3473628"/>
              <a:gd name="connsiteY442" fmla="*/ 2160094 h 2831071"/>
              <a:gd name="connsiteX443" fmla="*/ 2789119 w 3473628"/>
              <a:gd name="connsiteY443" fmla="*/ 2458476 h 2831071"/>
              <a:gd name="connsiteX444" fmla="*/ 2737620 w 3473628"/>
              <a:gd name="connsiteY444" fmla="*/ 2693547 h 2831071"/>
              <a:gd name="connsiteX445" fmla="*/ 2657626 w 3473628"/>
              <a:gd name="connsiteY445" fmla="*/ 2723762 h 2831071"/>
              <a:gd name="connsiteX446" fmla="*/ 2479816 w 3473628"/>
              <a:gd name="connsiteY446" fmla="*/ 2656720 h 2831071"/>
              <a:gd name="connsiteX447" fmla="*/ 2254237 w 3473628"/>
              <a:gd name="connsiteY447" fmla="*/ 2611832 h 2831071"/>
              <a:gd name="connsiteX448" fmla="*/ 2082166 w 3473628"/>
              <a:gd name="connsiteY448" fmla="*/ 2636287 h 2831071"/>
              <a:gd name="connsiteX449" fmla="*/ 1994401 w 3473628"/>
              <a:gd name="connsiteY449" fmla="*/ 2663621 h 2831071"/>
              <a:gd name="connsiteX450" fmla="*/ 1965346 w 3473628"/>
              <a:gd name="connsiteY450" fmla="*/ 2610382 h 2831071"/>
              <a:gd name="connsiteX451" fmla="*/ 1972537 w 3473628"/>
              <a:gd name="connsiteY451" fmla="*/ 2529538 h 2831071"/>
              <a:gd name="connsiteX452" fmla="*/ 2001302 w 3473628"/>
              <a:gd name="connsiteY452" fmla="*/ 2410127 h 2831071"/>
              <a:gd name="connsiteX453" fmla="*/ 2065173 w 3473628"/>
              <a:gd name="connsiteY453" fmla="*/ 2234762 h 2831071"/>
              <a:gd name="connsiteX454" fmla="*/ 2185164 w 3473628"/>
              <a:gd name="connsiteY454" fmla="*/ 1982428 h 2831071"/>
              <a:gd name="connsiteX455" fmla="*/ 2272639 w 3473628"/>
              <a:gd name="connsiteY455" fmla="*/ 1790940 h 2831071"/>
              <a:gd name="connsiteX456" fmla="*/ 2341691 w 3473628"/>
              <a:gd name="connsiteY456" fmla="*/ 1698284 h 2831071"/>
              <a:gd name="connsiteX457" fmla="*/ 2369026 w 3473628"/>
              <a:gd name="connsiteY457" fmla="*/ 1632962 h 2831071"/>
              <a:gd name="connsiteX458" fmla="*/ 2351473 w 3473628"/>
              <a:gd name="connsiteY458" fmla="*/ 1607927 h 2831071"/>
              <a:gd name="connsiteX459" fmla="*/ 2270774 w 3473628"/>
              <a:gd name="connsiteY459" fmla="*/ 1653541 h 2831071"/>
              <a:gd name="connsiteX460" fmla="*/ 2210343 w 3473628"/>
              <a:gd name="connsiteY460" fmla="*/ 1626206 h 2831071"/>
              <a:gd name="connsiteX461" fmla="*/ 2164585 w 3473628"/>
              <a:gd name="connsiteY461" fmla="*/ 1571972 h 2831071"/>
              <a:gd name="connsiteX462" fmla="*/ 2149623 w 3473628"/>
              <a:gd name="connsiteY462" fmla="*/ 1525364 h 2831071"/>
              <a:gd name="connsiteX463" fmla="*/ 2171776 w 3473628"/>
              <a:gd name="connsiteY463" fmla="*/ 1480476 h 2831071"/>
              <a:gd name="connsiteX464" fmla="*/ 2219690 w 3473628"/>
              <a:gd name="connsiteY464" fmla="*/ 1471710 h 2831071"/>
              <a:gd name="connsiteX465" fmla="*/ 2304575 w 3473628"/>
              <a:gd name="connsiteY465" fmla="*/ 1491128 h 2831071"/>
              <a:gd name="connsiteX466" fmla="*/ 2357939 w 3473628"/>
              <a:gd name="connsiteY466" fmla="*/ 1495148 h 2831071"/>
              <a:gd name="connsiteX467" fmla="*/ 2365130 w 3473628"/>
              <a:gd name="connsiteY467" fmla="*/ 1468539 h 2831071"/>
              <a:gd name="connsiteX468" fmla="*/ 2343411 w 3473628"/>
              <a:gd name="connsiteY468" fmla="*/ 1383509 h 2831071"/>
              <a:gd name="connsiteX469" fmla="*/ 2328594 w 3473628"/>
              <a:gd name="connsiteY469" fmla="*/ 1282957 h 2831071"/>
              <a:gd name="connsiteX470" fmla="*/ 2324428 w 3473628"/>
              <a:gd name="connsiteY470" fmla="*/ 1207999 h 2831071"/>
              <a:gd name="connsiteX471" fmla="*/ 2305735 w 3473628"/>
              <a:gd name="connsiteY471" fmla="*/ 1175628 h 2831071"/>
              <a:gd name="connsiteX472" fmla="*/ 2240559 w 3473628"/>
              <a:gd name="connsiteY472" fmla="*/ 1175918 h 2831071"/>
              <a:gd name="connsiteX473" fmla="*/ 2155964 w 3473628"/>
              <a:gd name="connsiteY473" fmla="*/ 1209574 h 2831071"/>
              <a:gd name="connsiteX474" fmla="*/ 2105750 w 3473628"/>
              <a:gd name="connsiteY474" fmla="*/ 1260223 h 2831071"/>
              <a:gd name="connsiteX475" fmla="*/ 2085171 w 3473628"/>
              <a:gd name="connsiteY475" fmla="*/ 1297774 h 2831071"/>
              <a:gd name="connsiteX476" fmla="*/ 2074664 w 3473628"/>
              <a:gd name="connsiteY476" fmla="*/ 1286977 h 2831071"/>
              <a:gd name="connsiteX477" fmla="*/ 2069918 w 3473628"/>
              <a:gd name="connsiteY477" fmla="*/ 1234028 h 2831071"/>
              <a:gd name="connsiteX478" fmla="*/ 2108050 w 3473628"/>
              <a:gd name="connsiteY478" fmla="*/ 1171587 h 2831071"/>
              <a:gd name="connsiteX479" fmla="*/ 2189910 w 3473628"/>
              <a:gd name="connsiteY479" fmla="*/ 1136045 h 2831071"/>
              <a:gd name="connsiteX480" fmla="*/ 2269759 w 3473628"/>
              <a:gd name="connsiteY480" fmla="*/ 1132294 h 2831071"/>
              <a:gd name="connsiteX481" fmla="*/ 2308450 w 3473628"/>
              <a:gd name="connsiteY481" fmla="*/ 1125683 h 2831071"/>
              <a:gd name="connsiteX482" fmla="*/ 2307290 w 3473628"/>
              <a:gd name="connsiteY482" fmla="*/ 1074765 h 2831071"/>
              <a:gd name="connsiteX483" fmla="*/ 2297653 w 3473628"/>
              <a:gd name="connsiteY483" fmla="*/ 1036778 h 2831071"/>
              <a:gd name="connsiteX484" fmla="*/ 2262982 w 3473628"/>
              <a:gd name="connsiteY484" fmla="*/ 1022831 h 2831071"/>
              <a:gd name="connsiteX485" fmla="*/ 2194655 w 3473628"/>
              <a:gd name="connsiteY485" fmla="*/ 1035493 h 2831071"/>
              <a:gd name="connsiteX486" fmla="*/ 2144296 w 3473628"/>
              <a:gd name="connsiteY486" fmla="*/ 1081811 h 2831071"/>
              <a:gd name="connsiteX487" fmla="*/ 2106310 w 3473628"/>
              <a:gd name="connsiteY487" fmla="*/ 1120088 h 2831071"/>
              <a:gd name="connsiteX488" fmla="*/ 2043434 w 3473628"/>
              <a:gd name="connsiteY488" fmla="*/ 1152894 h 2831071"/>
              <a:gd name="connsiteX489" fmla="*/ 1998401 w 3473628"/>
              <a:gd name="connsiteY489" fmla="*/ 1194756 h 2831071"/>
              <a:gd name="connsiteX490" fmla="*/ 1991645 w 3473628"/>
              <a:gd name="connsiteY490" fmla="*/ 1239354 h 2831071"/>
              <a:gd name="connsiteX491" fmla="*/ 2014669 w 3473628"/>
              <a:gd name="connsiteY491" fmla="*/ 1279351 h 2831071"/>
              <a:gd name="connsiteX492" fmla="*/ 2051350 w 3473628"/>
              <a:gd name="connsiteY492" fmla="*/ 1309566 h 2831071"/>
              <a:gd name="connsiteX493" fmla="*/ 2064157 w 3473628"/>
              <a:gd name="connsiteY493" fmla="*/ 1331865 h 2831071"/>
              <a:gd name="connsiteX494" fmla="*/ 2053505 w 3473628"/>
              <a:gd name="connsiteY494" fmla="*/ 1376173 h 2831071"/>
              <a:gd name="connsiteX495" fmla="*/ 2057671 w 3473628"/>
              <a:gd name="connsiteY495" fmla="*/ 1437598 h 2831071"/>
              <a:gd name="connsiteX496" fmla="*/ 2084715 w 3473628"/>
              <a:gd name="connsiteY496" fmla="*/ 1526939 h 2831071"/>
              <a:gd name="connsiteX497" fmla="*/ 2142556 w 3473628"/>
              <a:gd name="connsiteY497" fmla="*/ 1590374 h 2831071"/>
              <a:gd name="connsiteX498" fmla="*/ 2188583 w 3473628"/>
              <a:gd name="connsiteY498" fmla="*/ 1652525 h 2831071"/>
              <a:gd name="connsiteX499" fmla="*/ 2211753 w 3473628"/>
              <a:gd name="connsiteY499" fmla="*/ 1709350 h 2831071"/>
              <a:gd name="connsiteX500" fmla="*/ 2213038 w 3473628"/>
              <a:gd name="connsiteY500" fmla="*/ 1751502 h 2831071"/>
              <a:gd name="connsiteX501" fmla="*/ 2193619 w 3473628"/>
              <a:gd name="connsiteY501" fmla="*/ 1786463 h 2831071"/>
              <a:gd name="connsiteX502" fmla="*/ 2145416 w 3473628"/>
              <a:gd name="connsiteY502" fmla="*/ 1826170 h 2831071"/>
              <a:gd name="connsiteX503" fmla="*/ 2094062 w 3473628"/>
              <a:gd name="connsiteY503" fmla="*/ 1865877 h 2831071"/>
              <a:gd name="connsiteX504" fmla="*/ 2067452 w 3473628"/>
              <a:gd name="connsiteY504" fmla="*/ 1897668 h 2831071"/>
              <a:gd name="connsiteX505" fmla="*/ 2076654 w 3473628"/>
              <a:gd name="connsiteY505" fmla="*/ 1913791 h 2831071"/>
              <a:gd name="connsiteX506" fmla="*/ 2097668 w 3473628"/>
              <a:gd name="connsiteY506" fmla="*/ 1937955 h 2831071"/>
              <a:gd name="connsiteX507" fmla="*/ 2095077 w 3473628"/>
              <a:gd name="connsiteY507" fmla="*/ 2004416 h 2831071"/>
              <a:gd name="connsiteX508" fmla="*/ 2059391 w 3473628"/>
              <a:gd name="connsiteY508" fmla="*/ 2109155 h 2831071"/>
              <a:gd name="connsiteX509" fmla="*/ 1969325 w 3473628"/>
              <a:gd name="connsiteY509" fmla="*/ 2331853 h 2831071"/>
              <a:gd name="connsiteX510" fmla="*/ 1904584 w 3473628"/>
              <a:gd name="connsiteY510" fmla="*/ 2574405 h 2831071"/>
              <a:gd name="connsiteX511" fmla="*/ 1892502 w 3473628"/>
              <a:gd name="connsiteY511" fmla="*/ 2764443 h 2831071"/>
              <a:gd name="connsiteX512" fmla="*/ 2038812 w 3473628"/>
              <a:gd name="connsiteY512" fmla="*/ 2824874 h 2831071"/>
              <a:gd name="connsiteX513" fmla="*/ 2686909 w 3473628"/>
              <a:gd name="connsiteY513" fmla="*/ 2831070 h 2831071"/>
              <a:gd name="connsiteX514" fmla="*/ 3473628 w 3473628"/>
              <a:gd name="connsiteY514" fmla="*/ 2831070 h 2831071"/>
              <a:gd name="connsiteX0" fmla="*/ 1452970 w 3473628"/>
              <a:gd name="connsiteY0" fmla="*/ 2641468 h 2831069"/>
              <a:gd name="connsiteX1" fmla="*/ 1358883 w 3473628"/>
              <a:gd name="connsiteY1" fmla="*/ 2615293 h 2831069"/>
              <a:gd name="connsiteX2" fmla="*/ 1279760 w 3473628"/>
              <a:gd name="connsiteY2" fmla="*/ 2592559 h 2831069"/>
              <a:gd name="connsiteX3" fmla="*/ 1214873 w 3473628"/>
              <a:gd name="connsiteY3" fmla="*/ 2517746 h 2831069"/>
              <a:gd name="connsiteX4" fmla="*/ 1186254 w 3473628"/>
              <a:gd name="connsiteY4" fmla="*/ 2427970 h 2831069"/>
              <a:gd name="connsiteX5" fmla="*/ 1188409 w 3473628"/>
              <a:gd name="connsiteY5" fmla="*/ 2366980 h 2831069"/>
              <a:gd name="connsiteX6" fmla="*/ 1213734 w 3473628"/>
              <a:gd name="connsiteY6" fmla="*/ 2320662 h 2831069"/>
              <a:gd name="connsiteX7" fmla="*/ 1209568 w 3473628"/>
              <a:gd name="connsiteY7" fmla="*/ 2270448 h 2831069"/>
              <a:gd name="connsiteX8" fmla="*/ 1120808 w 3473628"/>
              <a:gd name="connsiteY8" fmla="*/ 2115662 h 2831069"/>
              <a:gd name="connsiteX9" fmla="*/ 1030182 w 3473628"/>
              <a:gd name="connsiteY9" fmla="*/ 1957124 h 2831069"/>
              <a:gd name="connsiteX10" fmla="*/ 963576 w 3473628"/>
              <a:gd name="connsiteY10" fmla="*/ 1924173 h 2831069"/>
              <a:gd name="connsiteX11" fmla="*/ 805764 w 3473628"/>
              <a:gd name="connsiteY11" fmla="*/ 1954244 h 2831069"/>
              <a:gd name="connsiteX12" fmla="*/ 604929 w 3473628"/>
              <a:gd name="connsiteY12" fmla="*/ 1989060 h 2831069"/>
              <a:gd name="connsiteX13" fmla="*/ 477332 w 3473628"/>
              <a:gd name="connsiteY13" fmla="*/ 1993661 h 2831069"/>
              <a:gd name="connsiteX14" fmla="*/ 361672 w 3473628"/>
              <a:gd name="connsiteY14" fmla="*/ 2000852 h 2831069"/>
              <a:gd name="connsiteX15" fmla="*/ 98687 w 3473628"/>
              <a:gd name="connsiteY15" fmla="*/ 2062567 h 2831069"/>
              <a:gd name="connsiteX16" fmla="*/ 3316 w 3473628"/>
              <a:gd name="connsiteY16" fmla="*/ 2090047 h 2831069"/>
              <a:gd name="connsiteX17" fmla="*/ 45468 w 3473628"/>
              <a:gd name="connsiteY17" fmla="*/ 2164135 h 2831069"/>
              <a:gd name="connsiteX18" fmla="*/ 243277 w 3473628"/>
              <a:gd name="connsiteY18" fmla="*/ 2417629 h 2831069"/>
              <a:gd name="connsiteX19" fmla="*/ 343270 w 3473628"/>
              <a:gd name="connsiteY19" fmla="*/ 2553723 h 2831069"/>
              <a:gd name="connsiteX20" fmla="*/ 396634 w 3473628"/>
              <a:gd name="connsiteY20" fmla="*/ 2608392 h 2831069"/>
              <a:gd name="connsiteX21" fmla="*/ 442102 w 3473628"/>
              <a:gd name="connsiteY21" fmla="*/ 2644348 h 2831069"/>
              <a:gd name="connsiteX22" fmla="*/ 450018 w 3473628"/>
              <a:gd name="connsiteY22" fmla="*/ 2670108 h 2831069"/>
              <a:gd name="connsiteX23" fmla="*/ 431180 w 3473628"/>
              <a:gd name="connsiteY23" fmla="*/ 2687516 h 2831069"/>
              <a:gd name="connsiteX24" fmla="*/ 385007 w 3473628"/>
              <a:gd name="connsiteY24" fmla="*/ 2665507 h 2831069"/>
              <a:gd name="connsiteX25" fmla="*/ 320266 w 3473628"/>
              <a:gd name="connsiteY25" fmla="*/ 2569991 h 2831069"/>
              <a:gd name="connsiteX26" fmla="*/ 307459 w 3473628"/>
              <a:gd name="connsiteY26" fmla="*/ 2513166 h 2831069"/>
              <a:gd name="connsiteX27" fmla="*/ 319396 w 3473628"/>
              <a:gd name="connsiteY27" fmla="*/ 2499923 h 2831069"/>
              <a:gd name="connsiteX28" fmla="*/ 348015 w 3473628"/>
              <a:gd name="connsiteY28" fmla="*/ 2524378 h 2831069"/>
              <a:gd name="connsiteX29" fmla="*/ 378086 w 3473628"/>
              <a:gd name="connsiteY29" fmla="*/ 2562364 h 2831069"/>
              <a:gd name="connsiteX30" fmla="*/ 409731 w 3473628"/>
              <a:gd name="connsiteY30" fmla="*/ 2581348 h 2831069"/>
              <a:gd name="connsiteX31" fmla="*/ 431740 w 3473628"/>
              <a:gd name="connsiteY31" fmla="*/ 2604372 h 2831069"/>
              <a:gd name="connsiteX32" fmla="*/ 455323 w 3473628"/>
              <a:gd name="connsiteY32" fmla="*/ 2623645 h 2831069"/>
              <a:gd name="connsiteX33" fmla="*/ 472006 w 3473628"/>
              <a:gd name="connsiteY33" fmla="*/ 2654005 h 2831069"/>
              <a:gd name="connsiteX34" fmla="*/ 483798 w 3473628"/>
              <a:gd name="connsiteY34" fmla="*/ 2705649 h 2831069"/>
              <a:gd name="connsiteX35" fmla="*/ 515029 w 3473628"/>
              <a:gd name="connsiteY35" fmla="*/ 2761707 h 2831069"/>
              <a:gd name="connsiteX36" fmla="*/ 593924 w 3473628"/>
              <a:gd name="connsiteY36" fmla="*/ 2781975 h 2831069"/>
              <a:gd name="connsiteX37" fmla="*/ 917921 w 3473628"/>
              <a:gd name="connsiteY37" fmla="*/ 2784234 h 2831069"/>
              <a:gd name="connsiteX38" fmla="*/ 1481859 w 3473628"/>
              <a:gd name="connsiteY38" fmla="*/ 2784234 h 2831069"/>
              <a:gd name="connsiteX39" fmla="*/ 1611175 w 3473628"/>
              <a:gd name="connsiteY39" fmla="*/ 2760402 h 2831069"/>
              <a:gd name="connsiteX40" fmla="*/ 1530415 w 3473628"/>
              <a:gd name="connsiteY40" fmla="*/ 2653819 h 2831069"/>
              <a:gd name="connsiteX41" fmla="*/ 1485506 w 3473628"/>
              <a:gd name="connsiteY41" fmla="*/ 2582508 h 2831069"/>
              <a:gd name="connsiteX42" fmla="*/ 1444639 w 3473628"/>
              <a:gd name="connsiteY42" fmla="*/ 2563380 h 2831069"/>
              <a:gd name="connsiteX43" fmla="*/ 1360914 w 3473628"/>
              <a:gd name="connsiteY43" fmla="*/ 2569701 h 2831069"/>
              <a:gd name="connsiteX44" fmla="*/ 1305374 w 3473628"/>
              <a:gd name="connsiteY44" fmla="*/ 2561204 h 2831069"/>
              <a:gd name="connsiteX45" fmla="*/ 1259906 w 3473628"/>
              <a:gd name="connsiteY45" fmla="*/ 2517187 h 2831069"/>
              <a:gd name="connsiteX46" fmla="*/ 1228551 w 3473628"/>
              <a:gd name="connsiteY46" fmla="*/ 2442519 h 2831069"/>
              <a:gd name="connsiteX47" fmla="*/ 1227121 w 3473628"/>
              <a:gd name="connsiteY47" fmla="*/ 2364680 h 2831069"/>
              <a:gd name="connsiteX48" fmla="*/ 1271139 w 3473628"/>
              <a:gd name="connsiteY48" fmla="*/ 2317491 h 2831069"/>
              <a:gd name="connsiteX49" fmla="*/ 1254021 w 3473628"/>
              <a:gd name="connsiteY49" fmla="*/ 2254201 h 2831069"/>
              <a:gd name="connsiteX50" fmla="*/ 1118217 w 3473628"/>
              <a:gd name="connsiteY50" fmla="*/ 2041429 h 2831069"/>
              <a:gd name="connsiteX51" fmla="*/ 1021105 w 3473628"/>
              <a:gd name="connsiteY51" fmla="*/ 1888363 h 2831069"/>
              <a:gd name="connsiteX52" fmla="*/ 969171 w 3473628"/>
              <a:gd name="connsiteY52" fmla="*/ 1865338 h 2831069"/>
              <a:gd name="connsiteX53" fmla="*/ 890048 w 3473628"/>
              <a:gd name="connsiteY53" fmla="*/ 1886477 h 2831069"/>
              <a:gd name="connsiteX54" fmla="*/ 773808 w 3473628"/>
              <a:gd name="connsiteY54" fmla="*/ 1916837 h 2831069"/>
              <a:gd name="connsiteX55" fmla="*/ 552974 w 3473628"/>
              <a:gd name="connsiteY55" fmla="*/ 1960565 h 2831069"/>
              <a:gd name="connsiteX56" fmla="*/ 460463 w 3473628"/>
              <a:gd name="connsiteY56" fmla="*/ 1968771 h 2831069"/>
              <a:gd name="connsiteX57" fmla="*/ 390251 w 3473628"/>
              <a:gd name="connsiteY57" fmla="*/ 1936110 h 2831069"/>
              <a:gd name="connsiteX58" fmla="*/ 237329 w 3473628"/>
              <a:gd name="connsiteY58" fmla="*/ 1817280 h 2831069"/>
              <a:gd name="connsiteX59" fmla="*/ 148859 w 3473628"/>
              <a:gd name="connsiteY59" fmla="*/ 1724478 h 2831069"/>
              <a:gd name="connsiteX60" fmla="*/ 135326 w 3473628"/>
              <a:gd name="connsiteY60" fmla="*/ 1660753 h 2831069"/>
              <a:gd name="connsiteX61" fmla="*/ 160361 w 3473628"/>
              <a:gd name="connsiteY61" fmla="*/ 1619326 h 2831069"/>
              <a:gd name="connsiteX62" fmla="*/ 206534 w 3473628"/>
              <a:gd name="connsiteY62" fmla="*/ 1610829 h 2831069"/>
              <a:gd name="connsiteX63" fmla="*/ 299894 w 3473628"/>
              <a:gd name="connsiteY63" fmla="*/ 1646370 h 2831069"/>
              <a:gd name="connsiteX64" fmla="*/ 372552 w 3473628"/>
              <a:gd name="connsiteY64" fmla="*/ 1668959 h 2831069"/>
              <a:gd name="connsiteX65" fmla="*/ 375723 w 3473628"/>
              <a:gd name="connsiteY65" fmla="*/ 1692688 h 2831069"/>
              <a:gd name="connsiteX66" fmla="*/ 313282 w 3473628"/>
              <a:gd name="connsiteY66" fmla="*/ 1712832 h 2831069"/>
              <a:gd name="connsiteX67" fmla="*/ 211134 w 3473628"/>
              <a:gd name="connsiteY67" fmla="*/ 1685787 h 2831069"/>
              <a:gd name="connsiteX68" fmla="*/ 161356 w 3473628"/>
              <a:gd name="connsiteY68" fmla="*/ 1648235 h 2831069"/>
              <a:gd name="connsiteX69" fmla="*/ 166391 w 3473628"/>
              <a:gd name="connsiteY69" fmla="*/ 1605586 h 2831069"/>
              <a:gd name="connsiteX70" fmla="*/ 200192 w 3473628"/>
              <a:gd name="connsiteY70" fmla="*/ 1577816 h 2831069"/>
              <a:gd name="connsiteX71" fmla="*/ 287232 w 3473628"/>
              <a:gd name="connsiteY71" fmla="*/ 1590830 h 2831069"/>
              <a:gd name="connsiteX72" fmla="*/ 369009 w 3473628"/>
              <a:gd name="connsiteY72" fmla="*/ 1618953 h 2831069"/>
              <a:gd name="connsiteX73" fmla="*/ 419927 w 3473628"/>
              <a:gd name="connsiteY73" fmla="*/ 1621046 h 2831069"/>
              <a:gd name="connsiteX74" fmla="*/ 508625 w 3473628"/>
              <a:gd name="connsiteY74" fmla="*/ 1559682 h 2831069"/>
              <a:gd name="connsiteX75" fmla="*/ 603872 w 3473628"/>
              <a:gd name="connsiteY75" fmla="*/ 1496164 h 2831069"/>
              <a:gd name="connsiteX76" fmla="*/ 672489 w 3473628"/>
              <a:gd name="connsiteY76" fmla="*/ 1469699 h 2831069"/>
              <a:gd name="connsiteX77" fmla="*/ 740318 w 3473628"/>
              <a:gd name="connsiteY77" fmla="*/ 1459835 h 2831069"/>
              <a:gd name="connsiteX78" fmla="*/ 810675 w 3473628"/>
              <a:gd name="connsiteY78" fmla="*/ 1421288 h 2831069"/>
              <a:gd name="connsiteX79" fmla="*/ 854631 w 3473628"/>
              <a:gd name="connsiteY79" fmla="*/ 1394969 h 2831069"/>
              <a:gd name="connsiteX80" fmla="*/ 862982 w 3473628"/>
              <a:gd name="connsiteY80" fmla="*/ 1380214 h 2831069"/>
              <a:gd name="connsiteX81" fmla="*/ 851688 w 3473628"/>
              <a:gd name="connsiteY81" fmla="*/ 1366412 h 2831069"/>
              <a:gd name="connsiteX82" fmla="*/ 827524 w 3473628"/>
              <a:gd name="connsiteY82" fmla="*/ 1363614 h 2831069"/>
              <a:gd name="connsiteX83" fmla="*/ 824291 w 3473628"/>
              <a:gd name="connsiteY83" fmla="*/ 1354910 h 2831069"/>
              <a:gd name="connsiteX84" fmla="*/ 846652 w 3473628"/>
              <a:gd name="connsiteY84" fmla="*/ 1340030 h 2831069"/>
              <a:gd name="connsiteX85" fmla="*/ 880308 w 3473628"/>
              <a:gd name="connsiteY85" fmla="*/ 1319161 h 2831069"/>
              <a:gd name="connsiteX86" fmla="*/ 897363 w 3473628"/>
              <a:gd name="connsiteY86" fmla="*/ 1302831 h 2831069"/>
              <a:gd name="connsiteX87" fmla="*/ 886794 w 3473628"/>
              <a:gd name="connsiteY87" fmla="*/ 1295930 h 2831069"/>
              <a:gd name="connsiteX88" fmla="*/ 844642 w 3473628"/>
              <a:gd name="connsiteY88" fmla="*/ 1306934 h 2831069"/>
              <a:gd name="connsiteX89" fmla="*/ 809536 w 3473628"/>
              <a:gd name="connsiteY89" fmla="*/ 1335347 h 2831069"/>
              <a:gd name="connsiteX90" fmla="*/ 787029 w 3473628"/>
              <a:gd name="connsiteY90" fmla="*/ 1349667 h 2831069"/>
              <a:gd name="connsiteX91" fmla="*/ 782139 w 3473628"/>
              <a:gd name="connsiteY91" fmla="*/ 1343346 h 2831069"/>
              <a:gd name="connsiteX92" fmla="*/ 804583 w 3473628"/>
              <a:gd name="connsiteY92" fmla="*/ 1325296 h 2831069"/>
              <a:gd name="connsiteX93" fmla="*/ 816810 w 3473628"/>
              <a:gd name="connsiteY93" fmla="*/ 1307743 h 2831069"/>
              <a:gd name="connsiteX94" fmla="*/ 811276 w 3473628"/>
              <a:gd name="connsiteY94" fmla="*/ 1290977 h 2831069"/>
              <a:gd name="connsiteX95" fmla="*/ 791713 w 3473628"/>
              <a:gd name="connsiteY95" fmla="*/ 1290832 h 2831069"/>
              <a:gd name="connsiteX96" fmla="*/ 761933 w 3473628"/>
              <a:gd name="connsiteY96" fmla="*/ 1313856 h 2831069"/>
              <a:gd name="connsiteX97" fmla="*/ 742515 w 3473628"/>
              <a:gd name="connsiteY97" fmla="*/ 1324218 h 2831069"/>
              <a:gd name="connsiteX98" fmla="*/ 739862 w 3473628"/>
              <a:gd name="connsiteY98" fmla="*/ 1318457 h 2831069"/>
              <a:gd name="connsiteX99" fmla="*/ 752296 w 3473628"/>
              <a:gd name="connsiteY99" fmla="*/ 1300406 h 2831069"/>
              <a:gd name="connsiteX100" fmla="*/ 772585 w 3473628"/>
              <a:gd name="connsiteY100" fmla="*/ 1280615 h 2831069"/>
              <a:gd name="connsiteX101" fmla="*/ 776108 w 3473628"/>
              <a:gd name="connsiteY101" fmla="*/ 1263994 h 2831069"/>
              <a:gd name="connsiteX102" fmla="*/ 761083 w 3473628"/>
              <a:gd name="connsiteY102" fmla="*/ 1258026 h 2831069"/>
              <a:gd name="connsiteX103" fmla="*/ 718869 w 3473628"/>
              <a:gd name="connsiteY103" fmla="*/ 1273051 h 2831069"/>
              <a:gd name="connsiteX104" fmla="*/ 639600 w 3473628"/>
              <a:gd name="connsiteY104" fmla="*/ 1331181 h 2831069"/>
              <a:gd name="connsiteX105" fmla="*/ 569678 w 3473628"/>
              <a:gd name="connsiteY105" fmla="*/ 1382100 h 2831069"/>
              <a:gd name="connsiteX106" fmla="*/ 456173 w 3473628"/>
              <a:gd name="connsiteY106" fmla="*/ 1442530 h 2831069"/>
              <a:gd name="connsiteX107" fmla="*/ 325406 w 3473628"/>
              <a:gd name="connsiteY107" fmla="*/ 1515188 h 2831069"/>
              <a:gd name="connsiteX108" fmla="*/ 239526 w 3473628"/>
              <a:gd name="connsiteY108" fmla="*/ 1551144 h 2831069"/>
              <a:gd name="connsiteX109" fmla="*/ 218388 w 3473628"/>
              <a:gd name="connsiteY109" fmla="*/ 1575453 h 2831069"/>
              <a:gd name="connsiteX110" fmla="*/ 272912 w 3473628"/>
              <a:gd name="connsiteY110" fmla="*/ 1602208 h 2831069"/>
              <a:gd name="connsiteX111" fmla="*/ 357797 w 3473628"/>
              <a:gd name="connsiteY111" fmla="*/ 1635863 h 2831069"/>
              <a:gd name="connsiteX112" fmla="*/ 403410 w 3473628"/>
              <a:gd name="connsiteY112" fmla="*/ 1653271 h 2831069"/>
              <a:gd name="connsiteX113" fmla="*/ 416073 w 3473628"/>
              <a:gd name="connsiteY113" fmla="*/ 1682036 h 2831069"/>
              <a:gd name="connsiteX114" fmla="*/ 440817 w 3473628"/>
              <a:gd name="connsiteY114" fmla="*/ 1705060 h 2831069"/>
              <a:gd name="connsiteX115" fmla="*/ 514469 w 3473628"/>
              <a:gd name="connsiteY115" fmla="*/ 1733680 h 2831069"/>
              <a:gd name="connsiteX116" fmla="*/ 651288 w 3473628"/>
              <a:gd name="connsiteY116" fmla="*/ 1765905 h 2831069"/>
              <a:gd name="connsiteX117" fmla="*/ 768109 w 3473628"/>
              <a:gd name="connsiteY117" fmla="*/ 1785179 h 2831069"/>
              <a:gd name="connsiteX118" fmla="*/ 837306 w 3473628"/>
              <a:gd name="connsiteY118" fmla="*/ 1824740 h 2831069"/>
              <a:gd name="connsiteX119" fmla="*/ 840621 w 3473628"/>
              <a:gd name="connsiteY119" fmla="*/ 1854666 h 2831069"/>
              <a:gd name="connsiteX120" fmla="*/ 790843 w 3473628"/>
              <a:gd name="connsiteY120" fmla="*/ 1883430 h 2831069"/>
              <a:gd name="connsiteX121" fmla="*/ 713874 w 3473628"/>
              <a:gd name="connsiteY121" fmla="*/ 1902413 h 2831069"/>
              <a:gd name="connsiteX122" fmla="*/ 703367 w 3473628"/>
              <a:gd name="connsiteY122" fmla="*/ 1887741 h 2831069"/>
              <a:gd name="connsiteX123" fmla="*/ 735158 w 3473628"/>
              <a:gd name="connsiteY123" fmla="*/ 1840843 h 2831069"/>
              <a:gd name="connsiteX124" fmla="*/ 785662 w 3473628"/>
              <a:gd name="connsiteY124" fmla="*/ 1808037 h 2831069"/>
              <a:gd name="connsiteX125" fmla="*/ 864640 w 3473628"/>
              <a:gd name="connsiteY125" fmla="*/ 1809757 h 2831069"/>
              <a:gd name="connsiteX126" fmla="*/ 904637 w 3473628"/>
              <a:gd name="connsiteY126" fmla="*/ 1789468 h 2831069"/>
              <a:gd name="connsiteX127" fmla="*/ 916284 w 3473628"/>
              <a:gd name="connsiteY127" fmla="*/ 1745161 h 2831069"/>
              <a:gd name="connsiteX128" fmla="*/ 912119 w 3473628"/>
              <a:gd name="connsiteY128" fmla="*/ 1675238 h 2831069"/>
              <a:gd name="connsiteX129" fmla="*/ 918025 w 3473628"/>
              <a:gd name="connsiteY129" fmla="*/ 1647904 h 2831069"/>
              <a:gd name="connsiteX130" fmla="*/ 946230 w 3473628"/>
              <a:gd name="connsiteY130" fmla="*/ 1644588 h 2831069"/>
              <a:gd name="connsiteX131" fmla="*/ 993128 w 3473628"/>
              <a:gd name="connsiteY131" fmla="*/ 1664587 h 2831069"/>
              <a:gd name="connsiteX132" fmla="*/ 1043632 w 3473628"/>
              <a:gd name="connsiteY132" fmla="*/ 1685455 h 2831069"/>
              <a:gd name="connsiteX133" fmla="*/ 1091110 w 3473628"/>
              <a:gd name="connsiteY133" fmla="*/ 1667032 h 2831069"/>
              <a:gd name="connsiteX134" fmla="*/ 1113844 w 3473628"/>
              <a:gd name="connsiteY134" fmla="*/ 1609046 h 2831069"/>
              <a:gd name="connsiteX135" fmla="*/ 1137573 w 3473628"/>
              <a:gd name="connsiteY135" fmla="*/ 1536244 h 2831069"/>
              <a:gd name="connsiteX136" fmla="*/ 1175270 w 3473628"/>
              <a:gd name="connsiteY136" fmla="*/ 1484165 h 2831069"/>
              <a:gd name="connsiteX137" fmla="*/ 1215847 w 3473628"/>
              <a:gd name="connsiteY137" fmla="*/ 1437702 h 2831069"/>
              <a:gd name="connsiteX138" fmla="*/ 1213837 w 3473628"/>
              <a:gd name="connsiteY138" fmla="*/ 1405911 h 2831069"/>
              <a:gd name="connsiteX139" fmla="*/ 1160743 w 3473628"/>
              <a:gd name="connsiteY139" fmla="*/ 1359449 h 2831069"/>
              <a:gd name="connsiteX140" fmla="*/ 1072273 w 3473628"/>
              <a:gd name="connsiteY140" fmla="*/ 1326207 h 2831069"/>
              <a:gd name="connsiteX141" fmla="*/ 969420 w 3473628"/>
              <a:gd name="connsiteY141" fmla="*/ 1337709 h 2831069"/>
              <a:gd name="connsiteX142" fmla="*/ 912160 w 3473628"/>
              <a:gd name="connsiteY142" fmla="*/ 1380152 h 2831069"/>
              <a:gd name="connsiteX143" fmla="*/ 896327 w 3473628"/>
              <a:gd name="connsiteY143" fmla="*/ 1448333 h 2831069"/>
              <a:gd name="connsiteX144" fmla="*/ 877489 w 3473628"/>
              <a:gd name="connsiteY144" fmla="*/ 1512784 h 2831069"/>
              <a:gd name="connsiteX145" fmla="*/ 860806 w 3473628"/>
              <a:gd name="connsiteY145" fmla="*/ 1564138 h 2831069"/>
              <a:gd name="connsiteX146" fmla="*/ 859936 w 3473628"/>
              <a:gd name="connsiteY146" fmla="*/ 1636216 h 2831069"/>
              <a:gd name="connsiteX147" fmla="*/ 882670 w 3473628"/>
              <a:gd name="connsiteY147" fmla="*/ 1693040 h 2831069"/>
              <a:gd name="connsiteX148" fmla="*/ 939930 w 3473628"/>
              <a:gd name="connsiteY148" fmla="*/ 1728001 h 2831069"/>
              <a:gd name="connsiteX149" fmla="*/ 1032856 w 3473628"/>
              <a:gd name="connsiteY149" fmla="*/ 1733618 h 2831069"/>
              <a:gd name="connsiteX150" fmla="*/ 1121326 w 3473628"/>
              <a:gd name="connsiteY150" fmla="*/ 1688440 h 2831069"/>
              <a:gd name="connsiteX151" fmla="*/ 1171830 w 3473628"/>
              <a:gd name="connsiteY151" fmla="*/ 1627304 h 2831069"/>
              <a:gd name="connsiteX152" fmla="*/ 1192263 w 3473628"/>
              <a:gd name="connsiteY152" fmla="*/ 1592343 h 2831069"/>
              <a:gd name="connsiteX153" fmla="*/ 1215433 w 3473628"/>
              <a:gd name="connsiteY153" fmla="*/ 1590478 h 2831069"/>
              <a:gd name="connsiteX154" fmla="*/ 1223059 w 3473628"/>
              <a:gd name="connsiteY154" fmla="*/ 1624569 h 2831069"/>
              <a:gd name="connsiteX155" fmla="*/ 1193569 w 3473628"/>
              <a:gd name="connsiteY155" fmla="*/ 1655219 h 2831069"/>
              <a:gd name="connsiteX156" fmla="*/ 1160328 w 3473628"/>
              <a:gd name="connsiteY156" fmla="*/ 1650909 h 2831069"/>
              <a:gd name="connsiteX157" fmla="*/ 1152121 w 3473628"/>
              <a:gd name="connsiteY157" fmla="*/ 1619844 h 2831069"/>
              <a:gd name="connsiteX158" fmla="*/ 1169239 w 3473628"/>
              <a:gd name="connsiteY158" fmla="*/ 1577836 h 2831069"/>
              <a:gd name="connsiteX159" fmla="*/ 1208511 w 3473628"/>
              <a:gd name="connsiteY159" fmla="*/ 1555683 h 2831069"/>
              <a:gd name="connsiteX160" fmla="*/ 1223039 w 3473628"/>
              <a:gd name="connsiteY160" fmla="*/ 1534814 h 2831069"/>
              <a:gd name="connsiteX161" fmla="*/ 1221173 w 3473628"/>
              <a:gd name="connsiteY161" fmla="*/ 1493822 h 2831069"/>
              <a:gd name="connsiteX162" fmla="*/ 1192263 w 3473628"/>
              <a:gd name="connsiteY162" fmla="*/ 1435837 h 2831069"/>
              <a:gd name="connsiteX163" fmla="*/ 1126527 w 3473628"/>
              <a:gd name="connsiteY163" fmla="*/ 1373105 h 2831069"/>
              <a:gd name="connsiteX164" fmla="*/ 1015178 w 3473628"/>
              <a:gd name="connsiteY164" fmla="*/ 1361604 h 2831069"/>
              <a:gd name="connsiteX165" fmla="*/ 929299 w 3473628"/>
              <a:gd name="connsiteY165" fmla="*/ 1399591 h 2831069"/>
              <a:gd name="connsiteX166" fmla="*/ 891312 w 3473628"/>
              <a:gd name="connsiteY166" fmla="*/ 1413683 h 2831069"/>
              <a:gd name="connsiteX167" fmla="*/ 880805 w 3473628"/>
              <a:gd name="connsiteY167" fmla="*/ 1385623 h 2831069"/>
              <a:gd name="connsiteX168" fmla="*/ 887271 w 3473628"/>
              <a:gd name="connsiteY168" fmla="*/ 1343035 h 2831069"/>
              <a:gd name="connsiteX169" fmla="*/ 919351 w 3473628"/>
              <a:gd name="connsiteY169" fmla="*/ 1314270 h 2831069"/>
              <a:gd name="connsiteX170" fmla="*/ 976031 w 3473628"/>
              <a:gd name="connsiteY170" fmla="*/ 1293402 h 2831069"/>
              <a:gd name="connsiteX171" fmla="*/ 1018183 w 3473628"/>
              <a:gd name="connsiteY171" fmla="*/ 1281900 h 2831069"/>
              <a:gd name="connsiteX172" fmla="*/ 1050844 w 3473628"/>
              <a:gd name="connsiteY172" fmla="*/ 1268947 h 2831069"/>
              <a:gd name="connsiteX173" fmla="*/ 1109244 w 3473628"/>
              <a:gd name="connsiteY173" fmla="*/ 1272118 h 2831069"/>
              <a:gd name="connsiteX174" fmla="*/ 1183622 w 3473628"/>
              <a:gd name="connsiteY174" fmla="*/ 1306209 h 2831069"/>
              <a:gd name="connsiteX175" fmla="*/ 1247202 w 3473628"/>
              <a:gd name="connsiteY175" fmla="*/ 1382017 h 2831069"/>
              <a:gd name="connsiteX176" fmla="*/ 1276983 w 3473628"/>
              <a:gd name="connsiteY176" fmla="*/ 1470777 h 2831069"/>
              <a:gd name="connsiteX177" fmla="*/ 1290785 w 3473628"/>
              <a:gd name="connsiteY177" fmla="*/ 1538959 h 2831069"/>
              <a:gd name="connsiteX178" fmla="*/ 1286184 w 3473628"/>
              <a:gd name="connsiteY178" fmla="*/ 1598664 h 2831069"/>
              <a:gd name="connsiteX179" fmla="*/ 1251223 w 3473628"/>
              <a:gd name="connsiteY179" fmla="*/ 1657789 h 2831069"/>
              <a:gd name="connsiteX180" fmla="*/ 1190792 w 3473628"/>
              <a:gd name="connsiteY180" fmla="*/ 1692460 h 2831069"/>
              <a:gd name="connsiteX181" fmla="*/ 1155396 w 3473628"/>
              <a:gd name="connsiteY181" fmla="*/ 1717349 h 2831069"/>
              <a:gd name="connsiteX182" fmla="*/ 1128786 w 3473628"/>
              <a:gd name="connsiteY182" fmla="*/ 1768848 h 2831069"/>
              <a:gd name="connsiteX183" fmla="*/ 1124766 w 3473628"/>
              <a:gd name="connsiteY183" fmla="*/ 1813156 h 2831069"/>
              <a:gd name="connsiteX184" fmla="*/ 1143459 w 3473628"/>
              <a:gd name="connsiteY184" fmla="*/ 1838045 h 2831069"/>
              <a:gd name="connsiteX185" fmla="*/ 1176700 w 3473628"/>
              <a:gd name="connsiteY185" fmla="*/ 1874581 h 2831069"/>
              <a:gd name="connsiteX186" fmla="*/ 1211951 w 3473628"/>
              <a:gd name="connsiteY186" fmla="*/ 1930971 h 2831069"/>
              <a:gd name="connsiteX187" fmla="*/ 1269791 w 3473628"/>
              <a:gd name="connsiteY187" fmla="*/ 1970678 h 2831069"/>
              <a:gd name="connsiteX188" fmla="*/ 1289790 w 3473628"/>
              <a:gd name="connsiteY188" fmla="*/ 2016996 h 2831069"/>
              <a:gd name="connsiteX189" fmla="*/ 1236696 w 3473628"/>
              <a:gd name="connsiteY189" fmla="*/ 2105031 h 2831069"/>
              <a:gd name="connsiteX190" fmla="*/ 1189362 w 3473628"/>
              <a:gd name="connsiteY190" fmla="*/ 2099269 h 2831069"/>
              <a:gd name="connsiteX191" fmla="*/ 1126921 w 3473628"/>
              <a:gd name="connsiteY191" fmla="*/ 1994386 h 2831069"/>
              <a:gd name="connsiteX192" fmla="*/ 1124621 w 3473628"/>
              <a:gd name="connsiteY192" fmla="*/ 1948773 h 2831069"/>
              <a:gd name="connsiteX193" fmla="*/ 1178855 w 3473628"/>
              <a:gd name="connsiteY193" fmla="*/ 1910226 h 2831069"/>
              <a:gd name="connsiteX194" fmla="*/ 1235245 w 3473628"/>
              <a:gd name="connsiteY194" fmla="*/ 1918288 h 2831069"/>
              <a:gd name="connsiteX195" fmla="*/ 1332792 w 3473628"/>
              <a:gd name="connsiteY195" fmla="*/ 1988065 h 2831069"/>
              <a:gd name="connsiteX196" fmla="*/ 1387316 w 3473628"/>
              <a:gd name="connsiteY196" fmla="*/ 2070650 h 2831069"/>
              <a:gd name="connsiteX197" fmla="*/ 1383710 w 3473628"/>
              <a:gd name="connsiteY197" fmla="*/ 2126190 h 2831069"/>
              <a:gd name="connsiteX198" fmla="*/ 1348459 w 3473628"/>
              <a:gd name="connsiteY198" fmla="*/ 2203448 h 2831069"/>
              <a:gd name="connsiteX199" fmla="*/ 1311923 w 3473628"/>
              <a:gd name="connsiteY199" fmla="*/ 2248771 h 2831069"/>
              <a:gd name="connsiteX200" fmla="*/ 1270786 w 3473628"/>
              <a:gd name="connsiteY200" fmla="*/ 2226907 h 2831069"/>
              <a:gd name="connsiteX201" fmla="*/ 1256694 w 3473628"/>
              <a:gd name="connsiteY201" fmla="*/ 2197417 h 2831069"/>
              <a:gd name="connsiteX202" fmla="*/ 1262745 w 3473628"/>
              <a:gd name="connsiteY202" fmla="*/ 2172093 h 2831069"/>
              <a:gd name="connsiteX203" fmla="*/ 1299427 w 3473628"/>
              <a:gd name="connsiteY203" fmla="*/ 2127640 h 2831069"/>
              <a:gd name="connsiteX204" fmla="*/ 1357826 w 3473628"/>
              <a:gd name="connsiteY204" fmla="*/ 2086068 h 2831069"/>
              <a:gd name="connsiteX205" fmla="*/ 1403999 w 3473628"/>
              <a:gd name="connsiteY205" fmla="*/ 2048372 h 2831069"/>
              <a:gd name="connsiteX206" fmla="*/ 1428453 w 3473628"/>
              <a:gd name="connsiteY206" fmla="*/ 2028228 h 2831069"/>
              <a:gd name="connsiteX207" fmla="*/ 1435644 w 3473628"/>
              <a:gd name="connsiteY207" fmla="*/ 2043481 h 2831069"/>
              <a:gd name="connsiteX208" fmla="*/ 1439375 w 3473628"/>
              <a:gd name="connsiteY208" fmla="*/ 2107062 h 2831069"/>
              <a:gd name="connsiteX209" fmla="*/ 1432039 w 3473628"/>
              <a:gd name="connsiteY209" fmla="*/ 2164902 h 2831069"/>
              <a:gd name="connsiteX210" fmla="*/ 1405864 w 3473628"/>
              <a:gd name="connsiteY210" fmla="*/ 2266469 h 2831069"/>
              <a:gd name="connsiteX211" fmla="*/ 1412765 w 3473628"/>
              <a:gd name="connsiteY211" fmla="*/ 2328330 h 2831069"/>
              <a:gd name="connsiteX212" fmla="*/ 1440245 w 3473628"/>
              <a:gd name="connsiteY212" fmla="*/ 2353074 h 2831069"/>
              <a:gd name="connsiteX213" fmla="*/ 1475932 w 3473628"/>
              <a:gd name="connsiteY213" fmla="*/ 2367457 h 2831069"/>
              <a:gd name="connsiteX214" fmla="*/ 1511038 w 3473628"/>
              <a:gd name="connsiteY214" fmla="*/ 2382710 h 2831069"/>
              <a:gd name="connsiteX215" fmla="*/ 1536217 w 3473628"/>
              <a:gd name="connsiteY215" fmla="*/ 2415225 h 2831069"/>
              <a:gd name="connsiteX216" fmla="*/ 1543408 w 3473628"/>
              <a:gd name="connsiteY216" fmla="*/ 2463843 h 2831069"/>
              <a:gd name="connsiteX217" fmla="*/ 1512758 w 3473628"/>
              <a:gd name="connsiteY217" fmla="*/ 2507156 h 2831069"/>
              <a:gd name="connsiteX218" fmla="*/ 1467083 w 3473628"/>
              <a:gd name="connsiteY218" fmla="*/ 2522844 h 2831069"/>
              <a:gd name="connsiteX219" fmla="*/ 1422195 w 3473628"/>
              <a:gd name="connsiteY219" fmla="*/ 2523860 h 2831069"/>
              <a:gd name="connsiteX220" fmla="*/ 1366738 w 3473628"/>
              <a:gd name="connsiteY220" fmla="*/ 2540832 h 2831069"/>
              <a:gd name="connsiteX221" fmla="*/ 1320420 w 3473628"/>
              <a:gd name="connsiteY221" fmla="*/ 2536667 h 2831069"/>
              <a:gd name="connsiteX222" fmla="*/ 1321788 w 3473628"/>
              <a:gd name="connsiteY222" fmla="*/ 2519549 h 2831069"/>
              <a:gd name="connsiteX223" fmla="*/ 1369846 w 3473628"/>
              <a:gd name="connsiteY223" fmla="*/ 2497893 h 2831069"/>
              <a:gd name="connsiteX224" fmla="*/ 1396891 w 3473628"/>
              <a:gd name="connsiteY224" fmla="*/ 2480277 h 2831069"/>
              <a:gd name="connsiteX225" fmla="*/ 1381286 w 3473628"/>
              <a:gd name="connsiteY225" fmla="*/ 2474102 h 2831069"/>
              <a:gd name="connsiteX226" fmla="*/ 1307986 w 3473628"/>
              <a:gd name="connsiteY226" fmla="*/ 2503094 h 2831069"/>
              <a:gd name="connsiteX227" fmla="*/ 1275760 w 3473628"/>
              <a:gd name="connsiteY227" fmla="*/ 2503820 h 2831069"/>
              <a:gd name="connsiteX228" fmla="*/ 1277190 w 3473628"/>
              <a:gd name="connsiteY228" fmla="*/ 2490515 h 2831069"/>
              <a:gd name="connsiteX229" fmla="*/ 1302287 w 3473628"/>
              <a:gd name="connsiteY229" fmla="*/ 2478495 h 2831069"/>
              <a:gd name="connsiteX230" fmla="*/ 1350407 w 3473628"/>
              <a:gd name="connsiteY230" fmla="*/ 2445109 h 2831069"/>
              <a:gd name="connsiteX231" fmla="*/ 1346946 w 3473628"/>
              <a:gd name="connsiteY231" fmla="*/ 2435120 h 2831069"/>
              <a:gd name="connsiteX232" fmla="*/ 1292774 w 3473628"/>
              <a:gd name="connsiteY232" fmla="*/ 2461812 h 2831069"/>
              <a:gd name="connsiteX233" fmla="*/ 1261834 w 3473628"/>
              <a:gd name="connsiteY233" fmla="*/ 2459719 h 2831069"/>
              <a:gd name="connsiteX234" fmla="*/ 1265149 w 3473628"/>
              <a:gd name="connsiteY234" fmla="*/ 2438933 h 2831069"/>
              <a:gd name="connsiteX235" fmla="*/ 1303053 w 3473628"/>
              <a:gd name="connsiteY235" fmla="*/ 2411308 h 2831069"/>
              <a:gd name="connsiteX236" fmla="*/ 1318513 w 3473628"/>
              <a:gd name="connsiteY236" fmla="*/ 2393175 h 2831069"/>
              <a:gd name="connsiteX237" fmla="*/ 1306783 w 3473628"/>
              <a:gd name="connsiteY237" fmla="*/ 2385984 h 2831069"/>
              <a:gd name="connsiteX238" fmla="*/ 1268590 w 3473628"/>
              <a:gd name="connsiteY238" fmla="*/ 2403392 h 2831069"/>
              <a:gd name="connsiteX239" fmla="*/ 1243410 w 3473628"/>
              <a:gd name="connsiteY239" fmla="*/ 2405257 h 2831069"/>
              <a:gd name="connsiteX240" fmla="*/ 1242685 w 3473628"/>
              <a:gd name="connsiteY240" fmla="*/ 2382461 h 2831069"/>
              <a:gd name="connsiteX241" fmla="*/ 1284402 w 3473628"/>
              <a:gd name="connsiteY241" fmla="*/ 2341469 h 2831069"/>
              <a:gd name="connsiteX242" fmla="*/ 1360935 w 3473628"/>
              <a:gd name="connsiteY242" fmla="*/ 2306218 h 2831069"/>
              <a:gd name="connsiteX243" fmla="*/ 1411004 w 3473628"/>
              <a:gd name="connsiteY243" fmla="*/ 2303047 h 2831069"/>
              <a:gd name="connsiteX244" fmla="*/ 1438484 w 3473628"/>
              <a:gd name="connsiteY244" fmla="*/ 2295131 h 2831069"/>
              <a:gd name="connsiteX245" fmla="*/ 1468409 w 3473628"/>
              <a:gd name="connsiteY245" fmla="*/ 2243777 h 2831069"/>
              <a:gd name="connsiteX246" fmla="*/ 1532570 w 3473628"/>
              <a:gd name="connsiteY246" fmla="*/ 2156301 h 2831069"/>
              <a:gd name="connsiteX247" fmla="*/ 1610761 w 3473628"/>
              <a:gd name="connsiteY247" fmla="*/ 2074152 h 2831069"/>
              <a:gd name="connsiteX248" fmla="*/ 1628957 w 3473628"/>
              <a:gd name="connsiteY248" fmla="*/ 2041864 h 2831069"/>
              <a:gd name="connsiteX249" fmla="*/ 1628604 w 3473628"/>
              <a:gd name="connsiteY249" fmla="*/ 2021078 h 2831069"/>
              <a:gd name="connsiteX250" fmla="*/ 1642841 w 3473628"/>
              <a:gd name="connsiteY250" fmla="*/ 2001308 h 2831069"/>
              <a:gd name="connsiteX251" fmla="*/ 1697863 w 3473628"/>
              <a:gd name="connsiteY251" fmla="*/ 1963611 h 2831069"/>
              <a:gd name="connsiteX252" fmla="*/ 1768718 w 3473628"/>
              <a:gd name="connsiteY252" fmla="*/ 1914703 h 2831069"/>
              <a:gd name="connsiteX253" fmla="*/ 1816549 w 3473628"/>
              <a:gd name="connsiteY253" fmla="*/ 1881109 h 2831069"/>
              <a:gd name="connsiteX254" fmla="*/ 1846039 w 3473628"/>
              <a:gd name="connsiteY254" fmla="*/ 1836221 h 2831069"/>
              <a:gd name="connsiteX255" fmla="*/ 1863882 w 3473628"/>
              <a:gd name="connsiteY255" fmla="*/ 1739400 h 2831069"/>
              <a:gd name="connsiteX256" fmla="*/ 1862162 w 3473628"/>
              <a:gd name="connsiteY256" fmla="*/ 1654225 h 2831069"/>
              <a:gd name="connsiteX257" fmla="*/ 1849355 w 3473628"/>
              <a:gd name="connsiteY257" fmla="*/ 1586312 h 2831069"/>
              <a:gd name="connsiteX258" fmla="*/ 1804322 w 3473628"/>
              <a:gd name="connsiteY258" fmla="*/ 1511499 h 2831069"/>
              <a:gd name="connsiteX259" fmla="*/ 1748512 w 3473628"/>
              <a:gd name="connsiteY259" fmla="*/ 1463296 h 2831069"/>
              <a:gd name="connsiteX260" fmla="*/ 1688662 w 3473628"/>
              <a:gd name="connsiteY260" fmla="*/ 1445017 h 2831069"/>
              <a:gd name="connsiteX261" fmla="*/ 1629682 w 3473628"/>
              <a:gd name="connsiteY261" fmla="*/ 1434655 h 2831069"/>
              <a:gd name="connsiteX262" fmla="*/ 1565521 w 3473628"/>
              <a:gd name="connsiteY262" fmla="*/ 1420708 h 2831069"/>
              <a:gd name="connsiteX263" fmla="*/ 1482377 w 3473628"/>
              <a:gd name="connsiteY263" fmla="*/ 1428044 h 2831069"/>
              <a:gd name="connsiteX264" fmla="*/ 1425117 w 3473628"/>
              <a:gd name="connsiteY264" fmla="*/ 1469036 h 2831069"/>
              <a:gd name="connsiteX265" fmla="*/ 1416910 w 3473628"/>
              <a:gd name="connsiteY265" fmla="*/ 1533923 h 2831069"/>
              <a:gd name="connsiteX266" fmla="*/ 1436618 w 3473628"/>
              <a:gd name="connsiteY266" fmla="*/ 1580240 h 2831069"/>
              <a:gd name="connsiteX267" fmla="*/ 1448265 w 3473628"/>
              <a:gd name="connsiteY267" fmla="*/ 1638081 h 2831069"/>
              <a:gd name="connsiteX268" fmla="*/ 1432577 w 3473628"/>
              <a:gd name="connsiteY268" fmla="*/ 1733037 h 2831069"/>
              <a:gd name="connsiteX269" fmla="*/ 1436598 w 3473628"/>
              <a:gd name="connsiteY269" fmla="*/ 1799063 h 2831069"/>
              <a:gd name="connsiteX270" fmla="*/ 1493568 w 3473628"/>
              <a:gd name="connsiteY270" fmla="*/ 1841216 h 2831069"/>
              <a:gd name="connsiteX271" fmla="*/ 1619299 w 3473628"/>
              <a:gd name="connsiteY271" fmla="*/ 1854168 h 2831069"/>
              <a:gd name="connsiteX272" fmla="*/ 1704039 w 3473628"/>
              <a:gd name="connsiteY272" fmla="*/ 1837050 h 2831069"/>
              <a:gd name="connsiteX273" fmla="*/ 1739290 w 3473628"/>
              <a:gd name="connsiteY273" fmla="*/ 1788577 h 2831069"/>
              <a:gd name="connsiteX274" fmla="*/ 1754108 w 3473628"/>
              <a:gd name="connsiteY274" fmla="*/ 1758507 h 2831069"/>
              <a:gd name="connsiteX275" fmla="*/ 1769071 w 3473628"/>
              <a:gd name="connsiteY275" fmla="*/ 1758507 h 2831069"/>
              <a:gd name="connsiteX276" fmla="*/ 1773526 w 3473628"/>
              <a:gd name="connsiteY276" fmla="*/ 1787562 h 2831069"/>
              <a:gd name="connsiteX277" fmla="*/ 1747621 w 3473628"/>
              <a:gd name="connsiteY277" fmla="*/ 1819497 h 2831069"/>
              <a:gd name="connsiteX278" fmla="*/ 1719271 w 3473628"/>
              <a:gd name="connsiteY278" fmla="*/ 1806110 h 2831069"/>
              <a:gd name="connsiteX279" fmla="*/ 1727478 w 3473628"/>
              <a:gd name="connsiteY279" fmla="*/ 1762092 h 2831069"/>
              <a:gd name="connsiteX280" fmla="*/ 1757258 w 3473628"/>
              <a:gd name="connsiteY280" fmla="*/ 1731297 h 2831069"/>
              <a:gd name="connsiteX281" fmla="*/ 1781857 w 3473628"/>
              <a:gd name="connsiteY281" fmla="*/ 1696626 h 2831069"/>
              <a:gd name="connsiteX282" fmla="*/ 1759123 w 3473628"/>
              <a:gd name="connsiteY282" fmla="*/ 1625563 h 2831069"/>
              <a:gd name="connsiteX283" fmla="*/ 1710650 w 3473628"/>
              <a:gd name="connsiteY283" fmla="*/ 1549175 h 2831069"/>
              <a:gd name="connsiteX284" fmla="*/ 1628065 w 3473628"/>
              <a:gd name="connsiteY284" fmla="*/ 1512349 h 2831069"/>
              <a:gd name="connsiteX285" fmla="*/ 1535989 w 3473628"/>
              <a:gd name="connsiteY285" fmla="*/ 1521260 h 2831069"/>
              <a:gd name="connsiteX286" fmla="*/ 1469528 w 3473628"/>
              <a:gd name="connsiteY286" fmla="*/ 1574624 h 2831069"/>
              <a:gd name="connsiteX287" fmla="*/ 1448100 w 3473628"/>
              <a:gd name="connsiteY287" fmla="*/ 1608280 h 2831069"/>
              <a:gd name="connsiteX288" fmla="*/ 1425946 w 3473628"/>
              <a:gd name="connsiteY288" fmla="*/ 1663384 h 2831069"/>
              <a:gd name="connsiteX289" fmla="*/ 1406527 w 3473628"/>
              <a:gd name="connsiteY289" fmla="*/ 1760351 h 2831069"/>
              <a:gd name="connsiteX290" fmla="*/ 1422215 w 3473628"/>
              <a:gd name="connsiteY290" fmla="*/ 1829693 h 2831069"/>
              <a:gd name="connsiteX291" fmla="*/ 1452866 w 3473628"/>
              <a:gd name="connsiteY291" fmla="*/ 1880115 h 2831069"/>
              <a:gd name="connsiteX292" fmla="*/ 1472139 w 3473628"/>
              <a:gd name="connsiteY292" fmla="*/ 1939737 h 2831069"/>
              <a:gd name="connsiteX293" fmla="*/ 1476885 w 3473628"/>
              <a:gd name="connsiteY293" fmla="*/ 1996769 h 2831069"/>
              <a:gd name="connsiteX294" fmla="*/ 1459332 w 3473628"/>
              <a:gd name="connsiteY294" fmla="*/ 2060205 h 2831069"/>
              <a:gd name="connsiteX295" fmla="*/ 1462212 w 3473628"/>
              <a:gd name="connsiteY295" fmla="*/ 2092430 h 2831069"/>
              <a:gd name="connsiteX296" fmla="*/ 1501339 w 3473628"/>
              <a:gd name="connsiteY296" fmla="*/ 2073157 h 2831069"/>
              <a:gd name="connsiteX297" fmla="*/ 1597083 w 3473628"/>
              <a:gd name="connsiteY297" fmla="*/ 2002592 h 2831069"/>
              <a:gd name="connsiteX298" fmla="*/ 1667586 w 3473628"/>
              <a:gd name="connsiteY298" fmla="*/ 1957705 h 2831069"/>
              <a:gd name="connsiteX299" fmla="*/ 1726856 w 3473628"/>
              <a:gd name="connsiteY299" fmla="*/ 1927987 h 2831069"/>
              <a:gd name="connsiteX300" fmla="*/ 1753258 w 3473628"/>
              <a:gd name="connsiteY300" fmla="*/ 1933520 h 2831069"/>
              <a:gd name="connsiteX301" fmla="*/ 1781816 w 3473628"/>
              <a:gd name="connsiteY301" fmla="*/ 1986034 h 2831069"/>
              <a:gd name="connsiteX302" fmla="*/ 1823616 w 3473628"/>
              <a:gd name="connsiteY302" fmla="*/ 2024809 h 2831069"/>
              <a:gd name="connsiteX303" fmla="*/ 1853044 w 3473628"/>
              <a:gd name="connsiteY303" fmla="*/ 2039129 h 2831069"/>
              <a:gd name="connsiteX304" fmla="*/ 1845417 w 3473628"/>
              <a:gd name="connsiteY304" fmla="*/ 2056392 h 2831069"/>
              <a:gd name="connsiteX305" fmla="*/ 1802685 w 3473628"/>
              <a:gd name="connsiteY305" fmla="*/ 2090420 h 2831069"/>
              <a:gd name="connsiteX306" fmla="*/ 1764283 w 3473628"/>
              <a:gd name="connsiteY306" fmla="*/ 2152281 h 2831069"/>
              <a:gd name="connsiteX307" fmla="*/ 1702132 w 3473628"/>
              <a:gd name="connsiteY307" fmla="*/ 2291753 h 2831069"/>
              <a:gd name="connsiteX308" fmla="*/ 1672207 w 3473628"/>
              <a:gd name="connsiteY308" fmla="*/ 2356639 h 2831069"/>
              <a:gd name="connsiteX309" fmla="*/ 1654654 w 3473628"/>
              <a:gd name="connsiteY309" fmla="*/ 2363043 h 2831069"/>
              <a:gd name="connsiteX310" fmla="*/ 1613082 w 3473628"/>
              <a:gd name="connsiteY310" fmla="*/ 2345054 h 2831069"/>
              <a:gd name="connsiteX311" fmla="*/ 1559925 w 3473628"/>
              <a:gd name="connsiteY311" fmla="*/ 2330174 h 2831069"/>
              <a:gd name="connsiteX312" fmla="*/ 1518498 w 3473628"/>
              <a:gd name="connsiteY312" fmla="*/ 2333345 h 2831069"/>
              <a:gd name="connsiteX313" fmla="*/ 1485112 w 3473628"/>
              <a:gd name="connsiteY313" fmla="*/ 2345075 h 2831069"/>
              <a:gd name="connsiteX314" fmla="*/ 1462813 w 3473628"/>
              <a:gd name="connsiteY314" fmla="*/ 2341759 h 2831069"/>
              <a:gd name="connsiteX315" fmla="*/ 1462523 w 3473628"/>
              <a:gd name="connsiteY315" fmla="*/ 2316435 h 2831069"/>
              <a:gd name="connsiteX316" fmla="*/ 1514022 w 3473628"/>
              <a:gd name="connsiteY316" fmla="*/ 2230907 h 2831069"/>
              <a:gd name="connsiteX317" fmla="*/ 1633868 w 3473628"/>
              <a:gd name="connsiteY317" fmla="*/ 2086462 h 2831069"/>
              <a:gd name="connsiteX318" fmla="*/ 1761050 w 3473628"/>
              <a:gd name="connsiteY318" fmla="*/ 2009494 h 2831069"/>
              <a:gd name="connsiteX319" fmla="*/ 1835718 w 3473628"/>
              <a:gd name="connsiteY319" fmla="*/ 2007773 h 2831069"/>
              <a:gd name="connsiteX320" fmla="*/ 1915422 w 3473628"/>
              <a:gd name="connsiteY320" fmla="*/ 2040579 h 2831069"/>
              <a:gd name="connsiteX321" fmla="*/ 1956414 w 3473628"/>
              <a:gd name="connsiteY321" fmla="*/ 2094378 h 2831069"/>
              <a:gd name="connsiteX322" fmla="*/ 1981593 w 3473628"/>
              <a:gd name="connsiteY322" fmla="*/ 2161420 h 2831069"/>
              <a:gd name="connsiteX323" fmla="*/ 1998421 w 3473628"/>
              <a:gd name="connsiteY323" fmla="*/ 2191781 h 2831069"/>
              <a:gd name="connsiteX324" fmla="*/ 2004473 w 3473628"/>
              <a:gd name="connsiteY324" fmla="*/ 2185874 h 2831069"/>
              <a:gd name="connsiteX325" fmla="*/ 1997717 w 3473628"/>
              <a:gd name="connsiteY325" fmla="*/ 2138106 h 2831069"/>
              <a:gd name="connsiteX326" fmla="*/ 1965781 w 3473628"/>
              <a:gd name="connsiteY326" fmla="*/ 2073364 h 2831069"/>
              <a:gd name="connsiteX327" fmla="*/ 1892688 w 3473628"/>
              <a:gd name="connsiteY327" fmla="*/ 2059127 h 2831069"/>
              <a:gd name="connsiteX328" fmla="*/ 1816155 w 3473628"/>
              <a:gd name="connsiteY328" fmla="*/ 2115517 h 2831069"/>
              <a:gd name="connsiteX329" fmla="*/ 1767682 w 3473628"/>
              <a:gd name="connsiteY329" fmla="*/ 2216504 h 2831069"/>
              <a:gd name="connsiteX330" fmla="*/ 1756740 w 3473628"/>
              <a:gd name="connsiteY330" fmla="*/ 2315771 h 2831069"/>
              <a:gd name="connsiteX331" fmla="*/ 1733280 w 3473628"/>
              <a:gd name="connsiteY331" fmla="*/ 2398211 h 2831069"/>
              <a:gd name="connsiteX332" fmla="*/ 1632148 w 3473628"/>
              <a:gd name="connsiteY332" fmla="*/ 2384554 h 2831069"/>
              <a:gd name="connsiteX333" fmla="*/ 1539637 w 3473628"/>
              <a:gd name="connsiteY333" fmla="*/ 2352183 h 2831069"/>
              <a:gd name="connsiteX334" fmla="*/ 1522519 w 3473628"/>
              <a:gd name="connsiteY334" fmla="*/ 2359229 h 2831069"/>
              <a:gd name="connsiteX335" fmla="*/ 1543947 w 3473628"/>
              <a:gd name="connsiteY335" fmla="*/ 2385549 h 2831069"/>
              <a:gd name="connsiteX336" fmla="*/ 1564381 w 3473628"/>
              <a:gd name="connsiteY336" fmla="*/ 2430727 h 2831069"/>
              <a:gd name="connsiteX337" fmla="*/ 1559200 w 3473628"/>
              <a:gd name="connsiteY337" fmla="*/ 2486412 h 2831069"/>
              <a:gd name="connsiteX338" fmla="*/ 1529710 w 3473628"/>
              <a:gd name="connsiteY338" fmla="*/ 2562364 h 2831069"/>
              <a:gd name="connsiteX339" fmla="*/ 1544963 w 3473628"/>
              <a:gd name="connsiteY339" fmla="*/ 2634587 h 2831069"/>
              <a:gd name="connsiteX340" fmla="*/ 1609124 w 3473628"/>
              <a:gd name="connsiteY340" fmla="*/ 2669984 h 2831069"/>
              <a:gd name="connsiteX341" fmla="*/ 1709821 w 3473628"/>
              <a:gd name="connsiteY341" fmla="*/ 2685526 h 2831069"/>
              <a:gd name="connsiteX342" fmla="*/ 1825481 w 3473628"/>
              <a:gd name="connsiteY342" fmla="*/ 2710706 h 2831069"/>
              <a:gd name="connsiteX343" fmla="*/ 1849666 w 3473628"/>
              <a:gd name="connsiteY343" fmla="*/ 2737274 h 2831069"/>
              <a:gd name="connsiteX344" fmla="*/ 1827284 w 3473628"/>
              <a:gd name="connsiteY344" fmla="*/ 2775385 h 2831069"/>
              <a:gd name="connsiteX345" fmla="*/ 1859468 w 3473628"/>
              <a:gd name="connsiteY345" fmla="*/ 2784130 h 2831069"/>
              <a:gd name="connsiteX346" fmla="*/ 2089565 w 3473628"/>
              <a:gd name="connsiteY346" fmla="*/ 2784130 h 2831069"/>
              <a:gd name="connsiteX347" fmla="*/ 2566897 w 3473628"/>
              <a:gd name="connsiteY347" fmla="*/ 2782162 h 2831069"/>
              <a:gd name="connsiteX348" fmla="*/ 2687966 w 3473628"/>
              <a:gd name="connsiteY348" fmla="*/ 2759884 h 2831069"/>
              <a:gd name="connsiteX349" fmla="*/ 2680464 w 3473628"/>
              <a:gd name="connsiteY349" fmla="*/ 2692303 h 2831069"/>
              <a:gd name="connsiteX350" fmla="*/ 2633566 w 3473628"/>
              <a:gd name="connsiteY350" fmla="*/ 2631872 h 2831069"/>
              <a:gd name="connsiteX351" fmla="*/ 2492291 w 3473628"/>
              <a:gd name="connsiteY351" fmla="*/ 2565701 h 2831069"/>
              <a:gd name="connsiteX352" fmla="*/ 2424110 w 3473628"/>
              <a:gd name="connsiteY352" fmla="*/ 2476651 h 2831069"/>
              <a:gd name="connsiteX353" fmla="*/ 2465247 w 3473628"/>
              <a:gd name="connsiteY353" fmla="*/ 2186330 h 2831069"/>
              <a:gd name="connsiteX354" fmla="*/ 2494592 w 3473628"/>
              <a:gd name="connsiteY354" fmla="*/ 1978159 h 2831069"/>
              <a:gd name="connsiteX355" fmla="*/ 2532289 w 3473628"/>
              <a:gd name="connsiteY355" fmla="*/ 1883202 h 2831069"/>
              <a:gd name="connsiteX356" fmla="*/ 2600200 w 3473628"/>
              <a:gd name="connsiteY356" fmla="*/ 1837175 h 2831069"/>
              <a:gd name="connsiteX357" fmla="*/ 2643928 w 3473628"/>
              <a:gd name="connsiteY357" fmla="*/ 1758051 h 2831069"/>
              <a:gd name="connsiteX358" fmla="*/ 2671553 w 3473628"/>
              <a:gd name="connsiteY358" fmla="*/ 1632029 h 2831069"/>
              <a:gd name="connsiteX359" fmla="*/ 2694577 w 3473628"/>
              <a:gd name="connsiteY359" fmla="*/ 1561817 h 2831069"/>
              <a:gd name="connsiteX360" fmla="*/ 2707239 w 3473628"/>
              <a:gd name="connsiteY360" fmla="*/ 1548305 h 2831069"/>
              <a:gd name="connsiteX361" fmla="*/ 2696877 w 3473628"/>
              <a:gd name="connsiteY361" fmla="*/ 1616217 h 2831069"/>
              <a:gd name="connsiteX362" fmla="*/ 2656300 w 3473628"/>
              <a:gd name="connsiteY362" fmla="*/ 1792308 h 2831069"/>
              <a:gd name="connsiteX363" fmla="*/ 2576306 w 3473628"/>
              <a:gd name="connsiteY363" fmla="*/ 1905377 h 2831069"/>
              <a:gd name="connsiteX364" fmla="*/ 2484810 w 3473628"/>
              <a:gd name="connsiteY364" fmla="*/ 1918329 h 2831069"/>
              <a:gd name="connsiteX365" fmla="*/ 2405251 w 3473628"/>
              <a:gd name="connsiteY365" fmla="*/ 1822813 h 2831069"/>
              <a:gd name="connsiteX366" fmla="*/ 2384113 w 3473628"/>
              <a:gd name="connsiteY366" fmla="*/ 1673912 h 2831069"/>
              <a:gd name="connsiteX367" fmla="*/ 2378642 w 3473628"/>
              <a:gd name="connsiteY367" fmla="*/ 1541984 h 2831069"/>
              <a:gd name="connsiteX368" fmla="*/ 2373751 w 3473628"/>
              <a:gd name="connsiteY368" fmla="*/ 1415527 h 2831069"/>
              <a:gd name="connsiteX369" fmla="*/ 2347141 w 3473628"/>
              <a:gd name="connsiteY369" fmla="*/ 1246918 h 2831069"/>
              <a:gd name="connsiteX370" fmla="*/ 2334769 w 3473628"/>
              <a:gd name="connsiteY370" fmla="*/ 1142615 h 2831069"/>
              <a:gd name="connsiteX371" fmla="*/ 2329153 w 3473628"/>
              <a:gd name="connsiteY371" fmla="*/ 1065211 h 2831069"/>
              <a:gd name="connsiteX372" fmla="*/ 2304554 w 3473628"/>
              <a:gd name="connsiteY372" fmla="*/ 939335 h 2831069"/>
              <a:gd name="connsiteX373" fmla="*/ 2256641 w 3473628"/>
              <a:gd name="connsiteY373" fmla="*/ 796630 h 2831069"/>
              <a:gd name="connsiteX374" fmla="*/ 2230736 w 3473628"/>
              <a:gd name="connsiteY374" fmla="*/ 692327 h 2831069"/>
              <a:gd name="connsiteX375" fmla="*/ 2239502 w 3473628"/>
              <a:gd name="connsiteY375" fmla="*/ 643564 h 2831069"/>
              <a:gd name="connsiteX376" fmla="*/ 2294026 w 3473628"/>
              <a:gd name="connsiteY376" fmla="*/ 635647 h 2831069"/>
              <a:gd name="connsiteX377" fmla="*/ 2342789 w 3473628"/>
              <a:gd name="connsiteY377" fmla="*/ 621700 h 2831069"/>
              <a:gd name="connsiteX378" fmla="*/ 2378621 w 3473628"/>
              <a:gd name="connsiteY378" fmla="*/ 587174 h 2831069"/>
              <a:gd name="connsiteX379" fmla="*/ 2391283 w 3473628"/>
              <a:gd name="connsiteY379" fmla="*/ 534080 h 2831069"/>
              <a:gd name="connsiteX380" fmla="*/ 2374601 w 3473628"/>
              <a:gd name="connsiteY380" fmla="*/ 480426 h 2831069"/>
              <a:gd name="connsiteX381" fmla="*/ 2310004 w 3473628"/>
              <a:gd name="connsiteY381" fmla="*/ 360020 h 2831069"/>
              <a:gd name="connsiteX382" fmla="*/ 2266567 w 3473628"/>
              <a:gd name="connsiteY382" fmla="*/ 280171 h 2831069"/>
              <a:gd name="connsiteX383" fmla="*/ 2203691 w 3473628"/>
              <a:gd name="connsiteY383" fmla="*/ 213564 h 2831069"/>
              <a:gd name="connsiteX384" fmla="*/ 2153622 w 3473628"/>
              <a:gd name="connsiteY384" fmla="*/ 194291 h 2831069"/>
              <a:gd name="connsiteX385" fmla="*/ 2109315 w 3473628"/>
              <a:gd name="connsiteY385" fmla="*/ 218310 h 2831069"/>
              <a:gd name="connsiteX386" fmla="*/ 2085731 w 3473628"/>
              <a:gd name="connsiteY386" fmla="*/ 264214 h 2831069"/>
              <a:gd name="connsiteX387" fmla="*/ 2085006 w 3473628"/>
              <a:gd name="connsiteY387" fmla="*/ 308666 h 2831069"/>
              <a:gd name="connsiteX388" fmla="*/ 2107595 w 3473628"/>
              <a:gd name="connsiteY388" fmla="*/ 327794 h 2831069"/>
              <a:gd name="connsiteX389" fmla="*/ 2138245 w 3473628"/>
              <a:gd name="connsiteY389" fmla="*/ 329660 h 2831069"/>
              <a:gd name="connsiteX390" fmla="*/ 2151343 w 3473628"/>
              <a:gd name="connsiteY390" fmla="*/ 299299 h 2831069"/>
              <a:gd name="connsiteX391" fmla="*/ 2155508 w 3473628"/>
              <a:gd name="connsiteY391" fmla="*/ 263053 h 2831069"/>
              <a:gd name="connsiteX392" fmla="*/ 2173641 w 3473628"/>
              <a:gd name="connsiteY392" fmla="*/ 251261 h 2831069"/>
              <a:gd name="connsiteX393" fmla="*/ 2215068 w 3473628"/>
              <a:gd name="connsiteY393" fmla="*/ 262058 h 2831069"/>
              <a:gd name="connsiteX394" fmla="*/ 2248019 w 3473628"/>
              <a:gd name="connsiteY394" fmla="*/ 269975 h 2831069"/>
              <a:gd name="connsiteX395" fmla="*/ 2262257 w 3473628"/>
              <a:gd name="connsiteY395" fmla="*/ 259903 h 2831069"/>
              <a:gd name="connsiteX396" fmla="*/ 2259749 w 3473628"/>
              <a:gd name="connsiteY396" fmla="*/ 230993 h 2831069"/>
              <a:gd name="connsiteX397" fmla="*/ 2231337 w 3473628"/>
              <a:gd name="connsiteY397" fmla="*/ 190851 h 2831069"/>
              <a:gd name="connsiteX398" fmla="*/ 2181351 w 3473628"/>
              <a:gd name="connsiteY398" fmla="*/ 163309 h 2831069"/>
              <a:gd name="connsiteX399" fmla="*/ 2141354 w 3473628"/>
              <a:gd name="connsiteY399" fmla="*/ 157548 h 2831069"/>
              <a:gd name="connsiteX400" fmla="*/ 2113377 w 3473628"/>
              <a:gd name="connsiteY400" fmla="*/ 169485 h 2831069"/>
              <a:gd name="connsiteX401" fmla="*/ 2082726 w 3473628"/>
              <a:gd name="connsiteY401" fmla="*/ 176469 h 2831069"/>
              <a:gd name="connsiteX402" fmla="*/ 2031870 w 3473628"/>
              <a:gd name="connsiteY402" fmla="*/ 162086 h 2831069"/>
              <a:gd name="connsiteX403" fmla="*/ 1991955 w 3473628"/>
              <a:gd name="connsiteY403" fmla="*/ 137280 h 2831069"/>
              <a:gd name="connsiteX404" fmla="*/ 1950528 w 3473628"/>
              <a:gd name="connsiteY404" fmla="*/ 77222 h 2831069"/>
              <a:gd name="connsiteX405" fmla="*/ 1938737 w 3473628"/>
              <a:gd name="connsiteY405" fmla="*/ 27008 h 2831069"/>
              <a:gd name="connsiteX406" fmla="*/ 1947669 w 3473628"/>
              <a:gd name="connsiteY406" fmla="*/ 1725 h 2831069"/>
              <a:gd name="connsiteX407" fmla="*/ 1970755 w 3473628"/>
              <a:gd name="connsiteY407" fmla="*/ 8461 h 2831069"/>
              <a:gd name="connsiteX408" fmla="*/ 2009260 w 3473628"/>
              <a:gd name="connsiteY408" fmla="*/ 49494 h 2831069"/>
              <a:gd name="connsiteX409" fmla="*/ 2058292 w 3473628"/>
              <a:gd name="connsiteY409" fmla="*/ 104412 h 2831069"/>
              <a:gd name="connsiteX410" fmla="*/ 2093544 w 3473628"/>
              <a:gd name="connsiteY410" fmla="*/ 149010 h 2831069"/>
              <a:gd name="connsiteX411" fmla="*/ 2084487 w 3473628"/>
              <a:gd name="connsiteY411" fmla="*/ 165837 h 2831069"/>
              <a:gd name="connsiteX412" fmla="*/ 2039599 w 3473628"/>
              <a:gd name="connsiteY412" fmla="*/ 172593 h 2831069"/>
              <a:gd name="connsiteX413" fmla="*/ 2028657 w 3473628"/>
              <a:gd name="connsiteY413" fmla="*/ 186976 h 2831069"/>
              <a:gd name="connsiteX414" fmla="*/ 2037424 w 3473628"/>
              <a:gd name="connsiteY414" fmla="*/ 210435 h 2831069"/>
              <a:gd name="connsiteX415" fmla="*/ 2052531 w 3473628"/>
              <a:gd name="connsiteY415" fmla="*/ 240360 h 2831069"/>
              <a:gd name="connsiteX416" fmla="*/ 2063183 w 3473628"/>
              <a:gd name="connsiteY416" fmla="*/ 276606 h 2831069"/>
              <a:gd name="connsiteX417" fmla="*/ 2061173 w 3473628"/>
              <a:gd name="connsiteY417" fmla="*/ 308832 h 2831069"/>
              <a:gd name="connsiteX418" fmla="*/ 2047226 w 3473628"/>
              <a:gd name="connsiteY418" fmla="*/ 318324 h 2831069"/>
              <a:gd name="connsiteX419" fmla="*/ 2037009 w 3473628"/>
              <a:gd name="connsiteY419" fmla="*/ 303216 h 2831069"/>
              <a:gd name="connsiteX420" fmla="*/ 2039890 w 3473628"/>
              <a:gd name="connsiteY420" fmla="*/ 281932 h 2831069"/>
              <a:gd name="connsiteX421" fmla="*/ 2037589 w 3473628"/>
              <a:gd name="connsiteY421" fmla="*/ 253168 h 2831069"/>
              <a:gd name="connsiteX422" fmla="*/ 2017301 w 3473628"/>
              <a:gd name="connsiteY422" fmla="*/ 238640 h 2831069"/>
              <a:gd name="connsiteX423" fmla="*/ 1980039 w 3473628"/>
              <a:gd name="connsiteY423" fmla="*/ 250142 h 2831069"/>
              <a:gd name="connsiteX424" fmla="*/ 1965367 w 3473628"/>
              <a:gd name="connsiteY424" fmla="*/ 281207 h 2831069"/>
              <a:gd name="connsiteX425" fmla="*/ 1979604 w 3473628"/>
              <a:gd name="connsiteY425" fmla="*/ 326820 h 2831069"/>
              <a:gd name="connsiteX426" fmla="*/ 2042625 w 3473628"/>
              <a:gd name="connsiteY426" fmla="*/ 396598 h 2831069"/>
              <a:gd name="connsiteX427" fmla="*/ 2145208 w 3473628"/>
              <a:gd name="connsiteY427" fmla="*/ 455288 h 2831069"/>
              <a:gd name="connsiteX428" fmla="*/ 2223752 w 3473628"/>
              <a:gd name="connsiteY428" fmla="*/ 542183 h 2831069"/>
              <a:gd name="connsiteX429" fmla="*/ 2264889 w 3473628"/>
              <a:gd name="connsiteY429" fmla="*/ 604624 h 2831069"/>
              <a:gd name="connsiteX430" fmla="*/ 2331640 w 3473628"/>
              <a:gd name="connsiteY430" fmla="*/ 595132 h 2831069"/>
              <a:gd name="connsiteX431" fmla="*/ 2408753 w 3473628"/>
              <a:gd name="connsiteY431" fmla="*/ 561746 h 2831069"/>
              <a:gd name="connsiteX432" fmla="*/ 2486157 w 3473628"/>
              <a:gd name="connsiteY432" fmla="*/ 631088 h 2831069"/>
              <a:gd name="connsiteX433" fmla="*/ 2597797 w 3473628"/>
              <a:gd name="connsiteY433" fmla="*/ 831052 h 2831069"/>
              <a:gd name="connsiteX434" fmla="*/ 2689292 w 3473628"/>
              <a:gd name="connsiteY434" fmla="*/ 1008013 h 2831069"/>
              <a:gd name="connsiteX435" fmla="*/ 2728999 w 3473628"/>
              <a:gd name="connsiteY435" fmla="*/ 1141081 h 2831069"/>
              <a:gd name="connsiteX436" fmla="*/ 2722098 w 3473628"/>
              <a:gd name="connsiteY436" fmla="*/ 1265963 h 2831069"/>
              <a:gd name="connsiteX437" fmla="*/ 2726409 w 3473628"/>
              <a:gd name="connsiteY437" fmla="*/ 1370556 h 2831069"/>
              <a:gd name="connsiteX438" fmla="*/ 2748998 w 3473628"/>
              <a:gd name="connsiteY438" fmla="*/ 1502194 h 2831069"/>
              <a:gd name="connsiteX439" fmla="*/ 2793596 w 3473628"/>
              <a:gd name="connsiteY439" fmla="*/ 1683756 h 2831069"/>
              <a:gd name="connsiteX440" fmla="*/ 2841924 w 3473628"/>
              <a:gd name="connsiteY440" fmla="*/ 1899699 h 2831069"/>
              <a:gd name="connsiteX441" fmla="*/ 2835872 w 3473628"/>
              <a:gd name="connsiteY441" fmla="*/ 2160094 h 2831069"/>
              <a:gd name="connsiteX442" fmla="*/ 2789119 w 3473628"/>
              <a:gd name="connsiteY442" fmla="*/ 2458476 h 2831069"/>
              <a:gd name="connsiteX443" fmla="*/ 2737620 w 3473628"/>
              <a:gd name="connsiteY443" fmla="*/ 2693547 h 2831069"/>
              <a:gd name="connsiteX444" fmla="*/ 2657626 w 3473628"/>
              <a:gd name="connsiteY444" fmla="*/ 2723762 h 2831069"/>
              <a:gd name="connsiteX445" fmla="*/ 2479816 w 3473628"/>
              <a:gd name="connsiteY445" fmla="*/ 2656720 h 2831069"/>
              <a:gd name="connsiteX446" fmla="*/ 2254237 w 3473628"/>
              <a:gd name="connsiteY446" fmla="*/ 2611832 h 2831069"/>
              <a:gd name="connsiteX447" fmla="*/ 2082166 w 3473628"/>
              <a:gd name="connsiteY447" fmla="*/ 2636287 h 2831069"/>
              <a:gd name="connsiteX448" fmla="*/ 1994401 w 3473628"/>
              <a:gd name="connsiteY448" fmla="*/ 2663621 h 2831069"/>
              <a:gd name="connsiteX449" fmla="*/ 1965346 w 3473628"/>
              <a:gd name="connsiteY449" fmla="*/ 2610382 h 2831069"/>
              <a:gd name="connsiteX450" fmla="*/ 1972537 w 3473628"/>
              <a:gd name="connsiteY450" fmla="*/ 2529538 h 2831069"/>
              <a:gd name="connsiteX451" fmla="*/ 2001302 w 3473628"/>
              <a:gd name="connsiteY451" fmla="*/ 2410127 h 2831069"/>
              <a:gd name="connsiteX452" fmla="*/ 2065173 w 3473628"/>
              <a:gd name="connsiteY452" fmla="*/ 2234762 h 2831069"/>
              <a:gd name="connsiteX453" fmla="*/ 2185164 w 3473628"/>
              <a:gd name="connsiteY453" fmla="*/ 1982428 h 2831069"/>
              <a:gd name="connsiteX454" fmla="*/ 2272639 w 3473628"/>
              <a:gd name="connsiteY454" fmla="*/ 1790940 h 2831069"/>
              <a:gd name="connsiteX455" fmla="*/ 2341691 w 3473628"/>
              <a:gd name="connsiteY455" fmla="*/ 1698284 h 2831069"/>
              <a:gd name="connsiteX456" fmla="*/ 2369026 w 3473628"/>
              <a:gd name="connsiteY456" fmla="*/ 1632962 h 2831069"/>
              <a:gd name="connsiteX457" fmla="*/ 2351473 w 3473628"/>
              <a:gd name="connsiteY457" fmla="*/ 1607927 h 2831069"/>
              <a:gd name="connsiteX458" fmla="*/ 2270774 w 3473628"/>
              <a:gd name="connsiteY458" fmla="*/ 1653541 h 2831069"/>
              <a:gd name="connsiteX459" fmla="*/ 2210343 w 3473628"/>
              <a:gd name="connsiteY459" fmla="*/ 1626206 h 2831069"/>
              <a:gd name="connsiteX460" fmla="*/ 2164585 w 3473628"/>
              <a:gd name="connsiteY460" fmla="*/ 1571972 h 2831069"/>
              <a:gd name="connsiteX461" fmla="*/ 2149623 w 3473628"/>
              <a:gd name="connsiteY461" fmla="*/ 1525364 h 2831069"/>
              <a:gd name="connsiteX462" fmla="*/ 2171776 w 3473628"/>
              <a:gd name="connsiteY462" fmla="*/ 1480476 h 2831069"/>
              <a:gd name="connsiteX463" fmla="*/ 2219690 w 3473628"/>
              <a:gd name="connsiteY463" fmla="*/ 1471710 h 2831069"/>
              <a:gd name="connsiteX464" fmla="*/ 2304575 w 3473628"/>
              <a:gd name="connsiteY464" fmla="*/ 1491128 h 2831069"/>
              <a:gd name="connsiteX465" fmla="*/ 2357939 w 3473628"/>
              <a:gd name="connsiteY465" fmla="*/ 1495148 h 2831069"/>
              <a:gd name="connsiteX466" fmla="*/ 2365130 w 3473628"/>
              <a:gd name="connsiteY466" fmla="*/ 1468539 h 2831069"/>
              <a:gd name="connsiteX467" fmla="*/ 2343411 w 3473628"/>
              <a:gd name="connsiteY467" fmla="*/ 1383509 h 2831069"/>
              <a:gd name="connsiteX468" fmla="*/ 2328594 w 3473628"/>
              <a:gd name="connsiteY468" fmla="*/ 1282957 h 2831069"/>
              <a:gd name="connsiteX469" fmla="*/ 2324428 w 3473628"/>
              <a:gd name="connsiteY469" fmla="*/ 1207999 h 2831069"/>
              <a:gd name="connsiteX470" fmla="*/ 2305735 w 3473628"/>
              <a:gd name="connsiteY470" fmla="*/ 1175628 h 2831069"/>
              <a:gd name="connsiteX471" fmla="*/ 2240559 w 3473628"/>
              <a:gd name="connsiteY471" fmla="*/ 1175918 h 2831069"/>
              <a:gd name="connsiteX472" fmla="*/ 2155964 w 3473628"/>
              <a:gd name="connsiteY472" fmla="*/ 1209574 h 2831069"/>
              <a:gd name="connsiteX473" fmla="*/ 2105750 w 3473628"/>
              <a:gd name="connsiteY473" fmla="*/ 1260223 h 2831069"/>
              <a:gd name="connsiteX474" fmla="*/ 2085171 w 3473628"/>
              <a:gd name="connsiteY474" fmla="*/ 1297774 h 2831069"/>
              <a:gd name="connsiteX475" fmla="*/ 2074664 w 3473628"/>
              <a:gd name="connsiteY475" fmla="*/ 1286977 h 2831069"/>
              <a:gd name="connsiteX476" fmla="*/ 2069918 w 3473628"/>
              <a:gd name="connsiteY476" fmla="*/ 1234028 h 2831069"/>
              <a:gd name="connsiteX477" fmla="*/ 2108050 w 3473628"/>
              <a:gd name="connsiteY477" fmla="*/ 1171587 h 2831069"/>
              <a:gd name="connsiteX478" fmla="*/ 2189910 w 3473628"/>
              <a:gd name="connsiteY478" fmla="*/ 1136045 h 2831069"/>
              <a:gd name="connsiteX479" fmla="*/ 2269759 w 3473628"/>
              <a:gd name="connsiteY479" fmla="*/ 1132294 h 2831069"/>
              <a:gd name="connsiteX480" fmla="*/ 2308450 w 3473628"/>
              <a:gd name="connsiteY480" fmla="*/ 1125683 h 2831069"/>
              <a:gd name="connsiteX481" fmla="*/ 2307290 w 3473628"/>
              <a:gd name="connsiteY481" fmla="*/ 1074765 h 2831069"/>
              <a:gd name="connsiteX482" fmla="*/ 2297653 w 3473628"/>
              <a:gd name="connsiteY482" fmla="*/ 1036778 h 2831069"/>
              <a:gd name="connsiteX483" fmla="*/ 2262982 w 3473628"/>
              <a:gd name="connsiteY483" fmla="*/ 1022831 h 2831069"/>
              <a:gd name="connsiteX484" fmla="*/ 2194655 w 3473628"/>
              <a:gd name="connsiteY484" fmla="*/ 1035493 h 2831069"/>
              <a:gd name="connsiteX485" fmla="*/ 2144296 w 3473628"/>
              <a:gd name="connsiteY485" fmla="*/ 1081811 h 2831069"/>
              <a:gd name="connsiteX486" fmla="*/ 2106310 w 3473628"/>
              <a:gd name="connsiteY486" fmla="*/ 1120088 h 2831069"/>
              <a:gd name="connsiteX487" fmla="*/ 2043434 w 3473628"/>
              <a:gd name="connsiteY487" fmla="*/ 1152894 h 2831069"/>
              <a:gd name="connsiteX488" fmla="*/ 1998401 w 3473628"/>
              <a:gd name="connsiteY488" fmla="*/ 1194756 h 2831069"/>
              <a:gd name="connsiteX489" fmla="*/ 1991645 w 3473628"/>
              <a:gd name="connsiteY489" fmla="*/ 1239354 h 2831069"/>
              <a:gd name="connsiteX490" fmla="*/ 2014669 w 3473628"/>
              <a:gd name="connsiteY490" fmla="*/ 1279351 h 2831069"/>
              <a:gd name="connsiteX491" fmla="*/ 2051350 w 3473628"/>
              <a:gd name="connsiteY491" fmla="*/ 1309566 h 2831069"/>
              <a:gd name="connsiteX492" fmla="*/ 2064157 w 3473628"/>
              <a:gd name="connsiteY492" fmla="*/ 1331865 h 2831069"/>
              <a:gd name="connsiteX493" fmla="*/ 2053505 w 3473628"/>
              <a:gd name="connsiteY493" fmla="*/ 1376173 h 2831069"/>
              <a:gd name="connsiteX494" fmla="*/ 2057671 w 3473628"/>
              <a:gd name="connsiteY494" fmla="*/ 1437598 h 2831069"/>
              <a:gd name="connsiteX495" fmla="*/ 2084715 w 3473628"/>
              <a:gd name="connsiteY495" fmla="*/ 1526939 h 2831069"/>
              <a:gd name="connsiteX496" fmla="*/ 2142556 w 3473628"/>
              <a:gd name="connsiteY496" fmla="*/ 1590374 h 2831069"/>
              <a:gd name="connsiteX497" fmla="*/ 2188583 w 3473628"/>
              <a:gd name="connsiteY497" fmla="*/ 1652525 h 2831069"/>
              <a:gd name="connsiteX498" fmla="*/ 2211753 w 3473628"/>
              <a:gd name="connsiteY498" fmla="*/ 1709350 h 2831069"/>
              <a:gd name="connsiteX499" fmla="*/ 2213038 w 3473628"/>
              <a:gd name="connsiteY499" fmla="*/ 1751502 h 2831069"/>
              <a:gd name="connsiteX500" fmla="*/ 2193619 w 3473628"/>
              <a:gd name="connsiteY500" fmla="*/ 1786463 h 2831069"/>
              <a:gd name="connsiteX501" fmla="*/ 2145416 w 3473628"/>
              <a:gd name="connsiteY501" fmla="*/ 1826170 h 2831069"/>
              <a:gd name="connsiteX502" fmla="*/ 2094062 w 3473628"/>
              <a:gd name="connsiteY502" fmla="*/ 1865877 h 2831069"/>
              <a:gd name="connsiteX503" fmla="*/ 2067452 w 3473628"/>
              <a:gd name="connsiteY503" fmla="*/ 1897668 h 2831069"/>
              <a:gd name="connsiteX504" fmla="*/ 2076654 w 3473628"/>
              <a:gd name="connsiteY504" fmla="*/ 1913791 h 2831069"/>
              <a:gd name="connsiteX505" fmla="*/ 2097668 w 3473628"/>
              <a:gd name="connsiteY505" fmla="*/ 1937955 h 2831069"/>
              <a:gd name="connsiteX506" fmla="*/ 2095077 w 3473628"/>
              <a:gd name="connsiteY506" fmla="*/ 2004416 h 2831069"/>
              <a:gd name="connsiteX507" fmla="*/ 2059391 w 3473628"/>
              <a:gd name="connsiteY507" fmla="*/ 2109155 h 2831069"/>
              <a:gd name="connsiteX508" fmla="*/ 1969325 w 3473628"/>
              <a:gd name="connsiteY508" fmla="*/ 2331853 h 2831069"/>
              <a:gd name="connsiteX509" fmla="*/ 1904584 w 3473628"/>
              <a:gd name="connsiteY509" fmla="*/ 2574405 h 2831069"/>
              <a:gd name="connsiteX510" fmla="*/ 1892502 w 3473628"/>
              <a:gd name="connsiteY510" fmla="*/ 2764443 h 2831069"/>
              <a:gd name="connsiteX511" fmla="*/ 2038812 w 3473628"/>
              <a:gd name="connsiteY511" fmla="*/ 2824874 h 2831069"/>
              <a:gd name="connsiteX512" fmla="*/ 2686909 w 3473628"/>
              <a:gd name="connsiteY512" fmla="*/ 2831070 h 2831069"/>
              <a:gd name="connsiteX513" fmla="*/ 3473628 w 3473628"/>
              <a:gd name="connsiteY513" fmla="*/ 2831070 h 2831069"/>
              <a:gd name="connsiteX0" fmla="*/ 1358883 w 3473628"/>
              <a:gd name="connsiteY0" fmla="*/ 2615293 h 2831071"/>
              <a:gd name="connsiteX1" fmla="*/ 1279760 w 3473628"/>
              <a:gd name="connsiteY1" fmla="*/ 2592559 h 2831071"/>
              <a:gd name="connsiteX2" fmla="*/ 1214873 w 3473628"/>
              <a:gd name="connsiteY2" fmla="*/ 2517746 h 2831071"/>
              <a:gd name="connsiteX3" fmla="*/ 1186254 w 3473628"/>
              <a:gd name="connsiteY3" fmla="*/ 2427970 h 2831071"/>
              <a:gd name="connsiteX4" fmla="*/ 1188409 w 3473628"/>
              <a:gd name="connsiteY4" fmla="*/ 2366980 h 2831071"/>
              <a:gd name="connsiteX5" fmla="*/ 1213734 w 3473628"/>
              <a:gd name="connsiteY5" fmla="*/ 2320662 h 2831071"/>
              <a:gd name="connsiteX6" fmla="*/ 1209568 w 3473628"/>
              <a:gd name="connsiteY6" fmla="*/ 2270448 h 2831071"/>
              <a:gd name="connsiteX7" fmla="*/ 1120808 w 3473628"/>
              <a:gd name="connsiteY7" fmla="*/ 2115662 h 2831071"/>
              <a:gd name="connsiteX8" fmla="*/ 1030182 w 3473628"/>
              <a:gd name="connsiteY8" fmla="*/ 1957124 h 2831071"/>
              <a:gd name="connsiteX9" fmla="*/ 963576 w 3473628"/>
              <a:gd name="connsiteY9" fmla="*/ 1924173 h 2831071"/>
              <a:gd name="connsiteX10" fmla="*/ 805764 w 3473628"/>
              <a:gd name="connsiteY10" fmla="*/ 1954244 h 2831071"/>
              <a:gd name="connsiteX11" fmla="*/ 604929 w 3473628"/>
              <a:gd name="connsiteY11" fmla="*/ 1989060 h 2831071"/>
              <a:gd name="connsiteX12" fmla="*/ 477332 w 3473628"/>
              <a:gd name="connsiteY12" fmla="*/ 1993661 h 2831071"/>
              <a:gd name="connsiteX13" fmla="*/ 361672 w 3473628"/>
              <a:gd name="connsiteY13" fmla="*/ 2000852 h 2831071"/>
              <a:gd name="connsiteX14" fmla="*/ 98687 w 3473628"/>
              <a:gd name="connsiteY14" fmla="*/ 2062567 h 2831071"/>
              <a:gd name="connsiteX15" fmla="*/ 3316 w 3473628"/>
              <a:gd name="connsiteY15" fmla="*/ 2090047 h 2831071"/>
              <a:gd name="connsiteX16" fmla="*/ 45468 w 3473628"/>
              <a:gd name="connsiteY16" fmla="*/ 2164135 h 2831071"/>
              <a:gd name="connsiteX17" fmla="*/ 243277 w 3473628"/>
              <a:gd name="connsiteY17" fmla="*/ 2417629 h 2831071"/>
              <a:gd name="connsiteX18" fmla="*/ 343270 w 3473628"/>
              <a:gd name="connsiteY18" fmla="*/ 2553723 h 2831071"/>
              <a:gd name="connsiteX19" fmla="*/ 396634 w 3473628"/>
              <a:gd name="connsiteY19" fmla="*/ 2608392 h 2831071"/>
              <a:gd name="connsiteX20" fmla="*/ 442102 w 3473628"/>
              <a:gd name="connsiteY20" fmla="*/ 2644348 h 2831071"/>
              <a:gd name="connsiteX21" fmla="*/ 450018 w 3473628"/>
              <a:gd name="connsiteY21" fmla="*/ 2670108 h 2831071"/>
              <a:gd name="connsiteX22" fmla="*/ 431180 w 3473628"/>
              <a:gd name="connsiteY22" fmla="*/ 2687516 h 2831071"/>
              <a:gd name="connsiteX23" fmla="*/ 385007 w 3473628"/>
              <a:gd name="connsiteY23" fmla="*/ 2665507 h 2831071"/>
              <a:gd name="connsiteX24" fmla="*/ 320266 w 3473628"/>
              <a:gd name="connsiteY24" fmla="*/ 2569991 h 2831071"/>
              <a:gd name="connsiteX25" fmla="*/ 307459 w 3473628"/>
              <a:gd name="connsiteY25" fmla="*/ 2513166 h 2831071"/>
              <a:gd name="connsiteX26" fmla="*/ 319396 w 3473628"/>
              <a:gd name="connsiteY26" fmla="*/ 2499923 h 2831071"/>
              <a:gd name="connsiteX27" fmla="*/ 348015 w 3473628"/>
              <a:gd name="connsiteY27" fmla="*/ 2524378 h 2831071"/>
              <a:gd name="connsiteX28" fmla="*/ 378086 w 3473628"/>
              <a:gd name="connsiteY28" fmla="*/ 2562364 h 2831071"/>
              <a:gd name="connsiteX29" fmla="*/ 409731 w 3473628"/>
              <a:gd name="connsiteY29" fmla="*/ 2581348 h 2831071"/>
              <a:gd name="connsiteX30" fmla="*/ 431740 w 3473628"/>
              <a:gd name="connsiteY30" fmla="*/ 2604372 h 2831071"/>
              <a:gd name="connsiteX31" fmla="*/ 455323 w 3473628"/>
              <a:gd name="connsiteY31" fmla="*/ 2623645 h 2831071"/>
              <a:gd name="connsiteX32" fmla="*/ 472006 w 3473628"/>
              <a:gd name="connsiteY32" fmla="*/ 2654005 h 2831071"/>
              <a:gd name="connsiteX33" fmla="*/ 483798 w 3473628"/>
              <a:gd name="connsiteY33" fmla="*/ 2705649 h 2831071"/>
              <a:gd name="connsiteX34" fmla="*/ 515029 w 3473628"/>
              <a:gd name="connsiteY34" fmla="*/ 2761707 h 2831071"/>
              <a:gd name="connsiteX35" fmla="*/ 593924 w 3473628"/>
              <a:gd name="connsiteY35" fmla="*/ 2781975 h 2831071"/>
              <a:gd name="connsiteX36" fmla="*/ 917921 w 3473628"/>
              <a:gd name="connsiteY36" fmla="*/ 2784234 h 2831071"/>
              <a:gd name="connsiteX37" fmla="*/ 1481859 w 3473628"/>
              <a:gd name="connsiteY37" fmla="*/ 2784234 h 2831071"/>
              <a:gd name="connsiteX38" fmla="*/ 1611175 w 3473628"/>
              <a:gd name="connsiteY38" fmla="*/ 2760402 h 2831071"/>
              <a:gd name="connsiteX39" fmla="*/ 1530415 w 3473628"/>
              <a:gd name="connsiteY39" fmla="*/ 2653819 h 2831071"/>
              <a:gd name="connsiteX40" fmla="*/ 1485506 w 3473628"/>
              <a:gd name="connsiteY40" fmla="*/ 2582508 h 2831071"/>
              <a:gd name="connsiteX41" fmla="*/ 1444639 w 3473628"/>
              <a:gd name="connsiteY41" fmla="*/ 2563380 h 2831071"/>
              <a:gd name="connsiteX42" fmla="*/ 1360914 w 3473628"/>
              <a:gd name="connsiteY42" fmla="*/ 2569701 h 2831071"/>
              <a:gd name="connsiteX43" fmla="*/ 1305374 w 3473628"/>
              <a:gd name="connsiteY43" fmla="*/ 2561204 h 2831071"/>
              <a:gd name="connsiteX44" fmla="*/ 1259906 w 3473628"/>
              <a:gd name="connsiteY44" fmla="*/ 2517187 h 2831071"/>
              <a:gd name="connsiteX45" fmla="*/ 1228551 w 3473628"/>
              <a:gd name="connsiteY45" fmla="*/ 2442519 h 2831071"/>
              <a:gd name="connsiteX46" fmla="*/ 1227121 w 3473628"/>
              <a:gd name="connsiteY46" fmla="*/ 2364680 h 2831071"/>
              <a:gd name="connsiteX47" fmla="*/ 1271139 w 3473628"/>
              <a:gd name="connsiteY47" fmla="*/ 2317491 h 2831071"/>
              <a:gd name="connsiteX48" fmla="*/ 1254021 w 3473628"/>
              <a:gd name="connsiteY48" fmla="*/ 2254201 h 2831071"/>
              <a:gd name="connsiteX49" fmla="*/ 1118217 w 3473628"/>
              <a:gd name="connsiteY49" fmla="*/ 2041429 h 2831071"/>
              <a:gd name="connsiteX50" fmla="*/ 1021105 w 3473628"/>
              <a:gd name="connsiteY50" fmla="*/ 1888363 h 2831071"/>
              <a:gd name="connsiteX51" fmla="*/ 969171 w 3473628"/>
              <a:gd name="connsiteY51" fmla="*/ 1865338 h 2831071"/>
              <a:gd name="connsiteX52" fmla="*/ 890048 w 3473628"/>
              <a:gd name="connsiteY52" fmla="*/ 1886477 h 2831071"/>
              <a:gd name="connsiteX53" fmla="*/ 773808 w 3473628"/>
              <a:gd name="connsiteY53" fmla="*/ 1916837 h 2831071"/>
              <a:gd name="connsiteX54" fmla="*/ 552974 w 3473628"/>
              <a:gd name="connsiteY54" fmla="*/ 1960565 h 2831071"/>
              <a:gd name="connsiteX55" fmla="*/ 460463 w 3473628"/>
              <a:gd name="connsiteY55" fmla="*/ 1968771 h 2831071"/>
              <a:gd name="connsiteX56" fmla="*/ 390251 w 3473628"/>
              <a:gd name="connsiteY56" fmla="*/ 1936110 h 2831071"/>
              <a:gd name="connsiteX57" fmla="*/ 237329 w 3473628"/>
              <a:gd name="connsiteY57" fmla="*/ 1817280 h 2831071"/>
              <a:gd name="connsiteX58" fmla="*/ 148859 w 3473628"/>
              <a:gd name="connsiteY58" fmla="*/ 1724478 h 2831071"/>
              <a:gd name="connsiteX59" fmla="*/ 135326 w 3473628"/>
              <a:gd name="connsiteY59" fmla="*/ 1660753 h 2831071"/>
              <a:gd name="connsiteX60" fmla="*/ 160361 w 3473628"/>
              <a:gd name="connsiteY60" fmla="*/ 1619326 h 2831071"/>
              <a:gd name="connsiteX61" fmla="*/ 206534 w 3473628"/>
              <a:gd name="connsiteY61" fmla="*/ 1610829 h 2831071"/>
              <a:gd name="connsiteX62" fmla="*/ 299894 w 3473628"/>
              <a:gd name="connsiteY62" fmla="*/ 1646370 h 2831071"/>
              <a:gd name="connsiteX63" fmla="*/ 372552 w 3473628"/>
              <a:gd name="connsiteY63" fmla="*/ 1668959 h 2831071"/>
              <a:gd name="connsiteX64" fmla="*/ 375723 w 3473628"/>
              <a:gd name="connsiteY64" fmla="*/ 1692688 h 2831071"/>
              <a:gd name="connsiteX65" fmla="*/ 313282 w 3473628"/>
              <a:gd name="connsiteY65" fmla="*/ 1712832 h 2831071"/>
              <a:gd name="connsiteX66" fmla="*/ 211134 w 3473628"/>
              <a:gd name="connsiteY66" fmla="*/ 1685787 h 2831071"/>
              <a:gd name="connsiteX67" fmla="*/ 161356 w 3473628"/>
              <a:gd name="connsiteY67" fmla="*/ 1648235 h 2831071"/>
              <a:gd name="connsiteX68" fmla="*/ 166391 w 3473628"/>
              <a:gd name="connsiteY68" fmla="*/ 1605586 h 2831071"/>
              <a:gd name="connsiteX69" fmla="*/ 200192 w 3473628"/>
              <a:gd name="connsiteY69" fmla="*/ 1577816 h 2831071"/>
              <a:gd name="connsiteX70" fmla="*/ 287232 w 3473628"/>
              <a:gd name="connsiteY70" fmla="*/ 1590830 h 2831071"/>
              <a:gd name="connsiteX71" fmla="*/ 369009 w 3473628"/>
              <a:gd name="connsiteY71" fmla="*/ 1618953 h 2831071"/>
              <a:gd name="connsiteX72" fmla="*/ 419927 w 3473628"/>
              <a:gd name="connsiteY72" fmla="*/ 1621046 h 2831071"/>
              <a:gd name="connsiteX73" fmla="*/ 508625 w 3473628"/>
              <a:gd name="connsiteY73" fmla="*/ 1559682 h 2831071"/>
              <a:gd name="connsiteX74" fmla="*/ 603872 w 3473628"/>
              <a:gd name="connsiteY74" fmla="*/ 1496164 h 2831071"/>
              <a:gd name="connsiteX75" fmla="*/ 672489 w 3473628"/>
              <a:gd name="connsiteY75" fmla="*/ 1469699 h 2831071"/>
              <a:gd name="connsiteX76" fmla="*/ 740318 w 3473628"/>
              <a:gd name="connsiteY76" fmla="*/ 1459835 h 2831071"/>
              <a:gd name="connsiteX77" fmla="*/ 810675 w 3473628"/>
              <a:gd name="connsiteY77" fmla="*/ 1421288 h 2831071"/>
              <a:gd name="connsiteX78" fmla="*/ 854631 w 3473628"/>
              <a:gd name="connsiteY78" fmla="*/ 1394969 h 2831071"/>
              <a:gd name="connsiteX79" fmla="*/ 862982 w 3473628"/>
              <a:gd name="connsiteY79" fmla="*/ 1380214 h 2831071"/>
              <a:gd name="connsiteX80" fmla="*/ 851688 w 3473628"/>
              <a:gd name="connsiteY80" fmla="*/ 1366412 h 2831071"/>
              <a:gd name="connsiteX81" fmla="*/ 827524 w 3473628"/>
              <a:gd name="connsiteY81" fmla="*/ 1363614 h 2831071"/>
              <a:gd name="connsiteX82" fmla="*/ 824291 w 3473628"/>
              <a:gd name="connsiteY82" fmla="*/ 1354910 h 2831071"/>
              <a:gd name="connsiteX83" fmla="*/ 846652 w 3473628"/>
              <a:gd name="connsiteY83" fmla="*/ 1340030 h 2831071"/>
              <a:gd name="connsiteX84" fmla="*/ 880308 w 3473628"/>
              <a:gd name="connsiteY84" fmla="*/ 1319161 h 2831071"/>
              <a:gd name="connsiteX85" fmla="*/ 897363 w 3473628"/>
              <a:gd name="connsiteY85" fmla="*/ 1302831 h 2831071"/>
              <a:gd name="connsiteX86" fmla="*/ 886794 w 3473628"/>
              <a:gd name="connsiteY86" fmla="*/ 1295930 h 2831071"/>
              <a:gd name="connsiteX87" fmla="*/ 844642 w 3473628"/>
              <a:gd name="connsiteY87" fmla="*/ 1306934 h 2831071"/>
              <a:gd name="connsiteX88" fmla="*/ 809536 w 3473628"/>
              <a:gd name="connsiteY88" fmla="*/ 1335347 h 2831071"/>
              <a:gd name="connsiteX89" fmla="*/ 787029 w 3473628"/>
              <a:gd name="connsiteY89" fmla="*/ 1349667 h 2831071"/>
              <a:gd name="connsiteX90" fmla="*/ 782139 w 3473628"/>
              <a:gd name="connsiteY90" fmla="*/ 1343346 h 2831071"/>
              <a:gd name="connsiteX91" fmla="*/ 804583 w 3473628"/>
              <a:gd name="connsiteY91" fmla="*/ 1325296 h 2831071"/>
              <a:gd name="connsiteX92" fmla="*/ 816810 w 3473628"/>
              <a:gd name="connsiteY92" fmla="*/ 1307743 h 2831071"/>
              <a:gd name="connsiteX93" fmla="*/ 811276 w 3473628"/>
              <a:gd name="connsiteY93" fmla="*/ 1290977 h 2831071"/>
              <a:gd name="connsiteX94" fmla="*/ 791713 w 3473628"/>
              <a:gd name="connsiteY94" fmla="*/ 1290832 h 2831071"/>
              <a:gd name="connsiteX95" fmla="*/ 761933 w 3473628"/>
              <a:gd name="connsiteY95" fmla="*/ 1313856 h 2831071"/>
              <a:gd name="connsiteX96" fmla="*/ 742515 w 3473628"/>
              <a:gd name="connsiteY96" fmla="*/ 1324218 h 2831071"/>
              <a:gd name="connsiteX97" fmla="*/ 739862 w 3473628"/>
              <a:gd name="connsiteY97" fmla="*/ 1318457 h 2831071"/>
              <a:gd name="connsiteX98" fmla="*/ 752296 w 3473628"/>
              <a:gd name="connsiteY98" fmla="*/ 1300406 h 2831071"/>
              <a:gd name="connsiteX99" fmla="*/ 772585 w 3473628"/>
              <a:gd name="connsiteY99" fmla="*/ 1280615 h 2831071"/>
              <a:gd name="connsiteX100" fmla="*/ 776108 w 3473628"/>
              <a:gd name="connsiteY100" fmla="*/ 1263994 h 2831071"/>
              <a:gd name="connsiteX101" fmla="*/ 761083 w 3473628"/>
              <a:gd name="connsiteY101" fmla="*/ 1258026 h 2831071"/>
              <a:gd name="connsiteX102" fmla="*/ 718869 w 3473628"/>
              <a:gd name="connsiteY102" fmla="*/ 1273051 h 2831071"/>
              <a:gd name="connsiteX103" fmla="*/ 639600 w 3473628"/>
              <a:gd name="connsiteY103" fmla="*/ 1331181 h 2831071"/>
              <a:gd name="connsiteX104" fmla="*/ 569678 w 3473628"/>
              <a:gd name="connsiteY104" fmla="*/ 1382100 h 2831071"/>
              <a:gd name="connsiteX105" fmla="*/ 456173 w 3473628"/>
              <a:gd name="connsiteY105" fmla="*/ 1442530 h 2831071"/>
              <a:gd name="connsiteX106" fmla="*/ 325406 w 3473628"/>
              <a:gd name="connsiteY106" fmla="*/ 1515188 h 2831071"/>
              <a:gd name="connsiteX107" fmla="*/ 239526 w 3473628"/>
              <a:gd name="connsiteY107" fmla="*/ 1551144 h 2831071"/>
              <a:gd name="connsiteX108" fmla="*/ 218388 w 3473628"/>
              <a:gd name="connsiteY108" fmla="*/ 1575453 h 2831071"/>
              <a:gd name="connsiteX109" fmla="*/ 272912 w 3473628"/>
              <a:gd name="connsiteY109" fmla="*/ 1602208 h 2831071"/>
              <a:gd name="connsiteX110" fmla="*/ 357797 w 3473628"/>
              <a:gd name="connsiteY110" fmla="*/ 1635863 h 2831071"/>
              <a:gd name="connsiteX111" fmla="*/ 403410 w 3473628"/>
              <a:gd name="connsiteY111" fmla="*/ 1653271 h 2831071"/>
              <a:gd name="connsiteX112" fmla="*/ 416073 w 3473628"/>
              <a:gd name="connsiteY112" fmla="*/ 1682036 h 2831071"/>
              <a:gd name="connsiteX113" fmla="*/ 440817 w 3473628"/>
              <a:gd name="connsiteY113" fmla="*/ 1705060 h 2831071"/>
              <a:gd name="connsiteX114" fmla="*/ 514469 w 3473628"/>
              <a:gd name="connsiteY114" fmla="*/ 1733680 h 2831071"/>
              <a:gd name="connsiteX115" fmla="*/ 651288 w 3473628"/>
              <a:gd name="connsiteY115" fmla="*/ 1765905 h 2831071"/>
              <a:gd name="connsiteX116" fmla="*/ 768109 w 3473628"/>
              <a:gd name="connsiteY116" fmla="*/ 1785179 h 2831071"/>
              <a:gd name="connsiteX117" fmla="*/ 837306 w 3473628"/>
              <a:gd name="connsiteY117" fmla="*/ 1824740 h 2831071"/>
              <a:gd name="connsiteX118" fmla="*/ 840621 w 3473628"/>
              <a:gd name="connsiteY118" fmla="*/ 1854666 h 2831071"/>
              <a:gd name="connsiteX119" fmla="*/ 790843 w 3473628"/>
              <a:gd name="connsiteY119" fmla="*/ 1883430 h 2831071"/>
              <a:gd name="connsiteX120" fmla="*/ 713874 w 3473628"/>
              <a:gd name="connsiteY120" fmla="*/ 1902413 h 2831071"/>
              <a:gd name="connsiteX121" fmla="*/ 703367 w 3473628"/>
              <a:gd name="connsiteY121" fmla="*/ 1887741 h 2831071"/>
              <a:gd name="connsiteX122" fmla="*/ 735158 w 3473628"/>
              <a:gd name="connsiteY122" fmla="*/ 1840843 h 2831071"/>
              <a:gd name="connsiteX123" fmla="*/ 785662 w 3473628"/>
              <a:gd name="connsiteY123" fmla="*/ 1808037 h 2831071"/>
              <a:gd name="connsiteX124" fmla="*/ 864640 w 3473628"/>
              <a:gd name="connsiteY124" fmla="*/ 1809757 h 2831071"/>
              <a:gd name="connsiteX125" fmla="*/ 904637 w 3473628"/>
              <a:gd name="connsiteY125" fmla="*/ 1789468 h 2831071"/>
              <a:gd name="connsiteX126" fmla="*/ 916284 w 3473628"/>
              <a:gd name="connsiteY126" fmla="*/ 1745161 h 2831071"/>
              <a:gd name="connsiteX127" fmla="*/ 912119 w 3473628"/>
              <a:gd name="connsiteY127" fmla="*/ 1675238 h 2831071"/>
              <a:gd name="connsiteX128" fmla="*/ 918025 w 3473628"/>
              <a:gd name="connsiteY128" fmla="*/ 1647904 h 2831071"/>
              <a:gd name="connsiteX129" fmla="*/ 946230 w 3473628"/>
              <a:gd name="connsiteY129" fmla="*/ 1644588 h 2831071"/>
              <a:gd name="connsiteX130" fmla="*/ 993128 w 3473628"/>
              <a:gd name="connsiteY130" fmla="*/ 1664587 h 2831071"/>
              <a:gd name="connsiteX131" fmla="*/ 1043632 w 3473628"/>
              <a:gd name="connsiteY131" fmla="*/ 1685455 h 2831071"/>
              <a:gd name="connsiteX132" fmla="*/ 1091110 w 3473628"/>
              <a:gd name="connsiteY132" fmla="*/ 1667032 h 2831071"/>
              <a:gd name="connsiteX133" fmla="*/ 1113844 w 3473628"/>
              <a:gd name="connsiteY133" fmla="*/ 1609046 h 2831071"/>
              <a:gd name="connsiteX134" fmla="*/ 1137573 w 3473628"/>
              <a:gd name="connsiteY134" fmla="*/ 1536244 h 2831071"/>
              <a:gd name="connsiteX135" fmla="*/ 1175270 w 3473628"/>
              <a:gd name="connsiteY135" fmla="*/ 1484165 h 2831071"/>
              <a:gd name="connsiteX136" fmla="*/ 1215847 w 3473628"/>
              <a:gd name="connsiteY136" fmla="*/ 1437702 h 2831071"/>
              <a:gd name="connsiteX137" fmla="*/ 1213837 w 3473628"/>
              <a:gd name="connsiteY137" fmla="*/ 1405911 h 2831071"/>
              <a:gd name="connsiteX138" fmla="*/ 1160743 w 3473628"/>
              <a:gd name="connsiteY138" fmla="*/ 1359449 h 2831071"/>
              <a:gd name="connsiteX139" fmla="*/ 1072273 w 3473628"/>
              <a:gd name="connsiteY139" fmla="*/ 1326207 h 2831071"/>
              <a:gd name="connsiteX140" fmla="*/ 969420 w 3473628"/>
              <a:gd name="connsiteY140" fmla="*/ 1337709 h 2831071"/>
              <a:gd name="connsiteX141" fmla="*/ 912160 w 3473628"/>
              <a:gd name="connsiteY141" fmla="*/ 1380152 h 2831071"/>
              <a:gd name="connsiteX142" fmla="*/ 896327 w 3473628"/>
              <a:gd name="connsiteY142" fmla="*/ 1448333 h 2831071"/>
              <a:gd name="connsiteX143" fmla="*/ 877489 w 3473628"/>
              <a:gd name="connsiteY143" fmla="*/ 1512784 h 2831071"/>
              <a:gd name="connsiteX144" fmla="*/ 860806 w 3473628"/>
              <a:gd name="connsiteY144" fmla="*/ 1564138 h 2831071"/>
              <a:gd name="connsiteX145" fmla="*/ 859936 w 3473628"/>
              <a:gd name="connsiteY145" fmla="*/ 1636216 h 2831071"/>
              <a:gd name="connsiteX146" fmla="*/ 882670 w 3473628"/>
              <a:gd name="connsiteY146" fmla="*/ 1693040 h 2831071"/>
              <a:gd name="connsiteX147" fmla="*/ 939930 w 3473628"/>
              <a:gd name="connsiteY147" fmla="*/ 1728001 h 2831071"/>
              <a:gd name="connsiteX148" fmla="*/ 1032856 w 3473628"/>
              <a:gd name="connsiteY148" fmla="*/ 1733618 h 2831071"/>
              <a:gd name="connsiteX149" fmla="*/ 1121326 w 3473628"/>
              <a:gd name="connsiteY149" fmla="*/ 1688440 h 2831071"/>
              <a:gd name="connsiteX150" fmla="*/ 1171830 w 3473628"/>
              <a:gd name="connsiteY150" fmla="*/ 1627304 h 2831071"/>
              <a:gd name="connsiteX151" fmla="*/ 1192263 w 3473628"/>
              <a:gd name="connsiteY151" fmla="*/ 1592343 h 2831071"/>
              <a:gd name="connsiteX152" fmla="*/ 1215433 w 3473628"/>
              <a:gd name="connsiteY152" fmla="*/ 1590478 h 2831071"/>
              <a:gd name="connsiteX153" fmla="*/ 1223059 w 3473628"/>
              <a:gd name="connsiteY153" fmla="*/ 1624569 h 2831071"/>
              <a:gd name="connsiteX154" fmla="*/ 1193569 w 3473628"/>
              <a:gd name="connsiteY154" fmla="*/ 1655219 h 2831071"/>
              <a:gd name="connsiteX155" fmla="*/ 1160328 w 3473628"/>
              <a:gd name="connsiteY155" fmla="*/ 1650909 h 2831071"/>
              <a:gd name="connsiteX156" fmla="*/ 1152121 w 3473628"/>
              <a:gd name="connsiteY156" fmla="*/ 1619844 h 2831071"/>
              <a:gd name="connsiteX157" fmla="*/ 1169239 w 3473628"/>
              <a:gd name="connsiteY157" fmla="*/ 1577836 h 2831071"/>
              <a:gd name="connsiteX158" fmla="*/ 1208511 w 3473628"/>
              <a:gd name="connsiteY158" fmla="*/ 1555683 h 2831071"/>
              <a:gd name="connsiteX159" fmla="*/ 1223039 w 3473628"/>
              <a:gd name="connsiteY159" fmla="*/ 1534814 h 2831071"/>
              <a:gd name="connsiteX160" fmla="*/ 1221173 w 3473628"/>
              <a:gd name="connsiteY160" fmla="*/ 1493822 h 2831071"/>
              <a:gd name="connsiteX161" fmla="*/ 1192263 w 3473628"/>
              <a:gd name="connsiteY161" fmla="*/ 1435837 h 2831071"/>
              <a:gd name="connsiteX162" fmla="*/ 1126527 w 3473628"/>
              <a:gd name="connsiteY162" fmla="*/ 1373105 h 2831071"/>
              <a:gd name="connsiteX163" fmla="*/ 1015178 w 3473628"/>
              <a:gd name="connsiteY163" fmla="*/ 1361604 h 2831071"/>
              <a:gd name="connsiteX164" fmla="*/ 929299 w 3473628"/>
              <a:gd name="connsiteY164" fmla="*/ 1399591 h 2831071"/>
              <a:gd name="connsiteX165" fmla="*/ 891312 w 3473628"/>
              <a:gd name="connsiteY165" fmla="*/ 1413683 h 2831071"/>
              <a:gd name="connsiteX166" fmla="*/ 880805 w 3473628"/>
              <a:gd name="connsiteY166" fmla="*/ 1385623 h 2831071"/>
              <a:gd name="connsiteX167" fmla="*/ 887271 w 3473628"/>
              <a:gd name="connsiteY167" fmla="*/ 1343035 h 2831071"/>
              <a:gd name="connsiteX168" fmla="*/ 919351 w 3473628"/>
              <a:gd name="connsiteY168" fmla="*/ 1314270 h 2831071"/>
              <a:gd name="connsiteX169" fmla="*/ 976031 w 3473628"/>
              <a:gd name="connsiteY169" fmla="*/ 1293402 h 2831071"/>
              <a:gd name="connsiteX170" fmla="*/ 1018183 w 3473628"/>
              <a:gd name="connsiteY170" fmla="*/ 1281900 h 2831071"/>
              <a:gd name="connsiteX171" fmla="*/ 1050844 w 3473628"/>
              <a:gd name="connsiteY171" fmla="*/ 1268947 h 2831071"/>
              <a:gd name="connsiteX172" fmla="*/ 1109244 w 3473628"/>
              <a:gd name="connsiteY172" fmla="*/ 1272118 h 2831071"/>
              <a:gd name="connsiteX173" fmla="*/ 1183622 w 3473628"/>
              <a:gd name="connsiteY173" fmla="*/ 1306209 h 2831071"/>
              <a:gd name="connsiteX174" fmla="*/ 1247202 w 3473628"/>
              <a:gd name="connsiteY174" fmla="*/ 1382017 h 2831071"/>
              <a:gd name="connsiteX175" fmla="*/ 1276983 w 3473628"/>
              <a:gd name="connsiteY175" fmla="*/ 1470777 h 2831071"/>
              <a:gd name="connsiteX176" fmla="*/ 1290785 w 3473628"/>
              <a:gd name="connsiteY176" fmla="*/ 1538959 h 2831071"/>
              <a:gd name="connsiteX177" fmla="*/ 1286184 w 3473628"/>
              <a:gd name="connsiteY177" fmla="*/ 1598664 h 2831071"/>
              <a:gd name="connsiteX178" fmla="*/ 1251223 w 3473628"/>
              <a:gd name="connsiteY178" fmla="*/ 1657789 h 2831071"/>
              <a:gd name="connsiteX179" fmla="*/ 1190792 w 3473628"/>
              <a:gd name="connsiteY179" fmla="*/ 1692460 h 2831071"/>
              <a:gd name="connsiteX180" fmla="*/ 1155396 w 3473628"/>
              <a:gd name="connsiteY180" fmla="*/ 1717349 h 2831071"/>
              <a:gd name="connsiteX181" fmla="*/ 1128786 w 3473628"/>
              <a:gd name="connsiteY181" fmla="*/ 1768848 h 2831071"/>
              <a:gd name="connsiteX182" fmla="*/ 1124766 w 3473628"/>
              <a:gd name="connsiteY182" fmla="*/ 1813156 h 2831071"/>
              <a:gd name="connsiteX183" fmla="*/ 1143459 w 3473628"/>
              <a:gd name="connsiteY183" fmla="*/ 1838045 h 2831071"/>
              <a:gd name="connsiteX184" fmla="*/ 1176700 w 3473628"/>
              <a:gd name="connsiteY184" fmla="*/ 1874581 h 2831071"/>
              <a:gd name="connsiteX185" fmla="*/ 1211951 w 3473628"/>
              <a:gd name="connsiteY185" fmla="*/ 1930971 h 2831071"/>
              <a:gd name="connsiteX186" fmla="*/ 1269791 w 3473628"/>
              <a:gd name="connsiteY186" fmla="*/ 1970678 h 2831071"/>
              <a:gd name="connsiteX187" fmla="*/ 1289790 w 3473628"/>
              <a:gd name="connsiteY187" fmla="*/ 2016996 h 2831071"/>
              <a:gd name="connsiteX188" fmla="*/ 1236696 w 3473628"/>
              <a:gd name="connsiteY188" fmla="*/ 2105031 h 2831071"/>
              <a:gd name="connsiteX189" fmla="*/ 1189362 w 3473628"/>
              <a:gd name="connsiteY189" fmla="*/ 2099269 h 2831071"/>
              <a:gd name="connsiteX190" fmla="*/ 1126921 w 3473628"/>
              <a:gd name="connsiteY190" fmla="*/ 1994386 h 2831071"/>
              <a:gd name="connsiteX191" fmla="*/ 1124621 w 3473628"/>
              <a:gd name="connsiteY191" fmla="*/ 1948773 h 2831071"/>
              <a:gd name="connsiteX192" fmla="*/ 1178855 w 3473628"/>
              <a:gd name="connsiteY192" fmla="*/ 1910226 h 2831071"/>
              <a:gd name="connsiteX193" fmla="*/ 1235245 w 3473628"/>
              <a:gd name="connsiteY193" fmla="*/ 1918288 h 2831071"/>
              <a:gd name="connsiteX194" fmla="*/ 1332792 w 3473628"/>
              <a:gd name="connsiteY194" fmla="*/ 1988065 h 2831071"/>
              <a:gd name="connsiteX195" fmla="*/ 1387316 w 3473628"/>
              <a:gd name="connsiteY195" fmla="*/ 2070650 h 2831071"/>
              <a:gd name="connsiteX196" fmla="*/ 1383710 w 3473628"/>
              <a:gd name="connsiteY196" fmla="*/ 2126190 h 2831071"/>
              <a:gd name="connsiteX197" fmla="*/ 1348459 w 3473628"/>
              <a:gd name="connsiteY197" fmla="*/ 2203448 h 2831071"/>
              <a:gd name="connsiteX198" fmla="*/ 1311923 w 3473628"/>
              <a:gd name="connsiteY198" fmla="*/ 2248771 h 2831071"/>
              <a:gd name="connsiteX199" fmla="*/ 1270786 w 3473628"/>
              <a:gd name="connsiteY199" fmla="*/ 2226907 h 2831071"/>
              <a:gd name="connsiteX200" fmla="*/ 1256694 w 3473628"/>
              <a:gd name="connsiteY200" fmla="*/ 2197417 h 2831071"/>
              <a:gd name="connsiteX201" fmla="*/ 1262745 w 3473628"/>
              <a:gd name="connsiteY201" fmla="*/ 2172093 h 2831071"/>
              <a:gd name="connsiteX202" fmla="*/ 1299427 w 3473628"/>
              <a:gd name="connsiteY202" fmla="*/ 2127640 h 2831071"/>
              <a:gd name="connsiteX203" fmla="*/ 1357826 w 3473628"/>
              <a:gd name="connsiteY203" fmla="*/ 2086068 h 2831071"/>
              <a:gd name="connsiteX204" fmla="*/ 1403999 w 3473628"/>
              <a:gd name="connsiteY204" fmla="*/ 2048372 h 2831071"/>
              <a:gd name="connsiteX205" fmla="*/ 1428453 w 3473628"/>
              <a:gd name="connsiteY205" fmla="*/ 2028228 h 2831071"/>
              <a:gd name="connsiteX206" fmla="*/ 1435644 w 3473628"/>
              <a:gd name="connsiteY206" fmla="*/ 2043481 h 2831071"/>
              <a:gd name="connsiteX207" fmla="*/ 1439375 w 3473628"/>
              <a:gd name="connsiteY207" fmla="*/ 2107062 h 2831071"/>
              <a:gd name="connsiteX208" fmla="*/ 1432039 w 3473628"/>
              <a:gd name="connsiteY208" fmla="*/ 2164902 h 2831071"/>
              <a:gd name="connsiteX209" fmla="*/ 1405864 w 3473628"/>
              <a:gd name="connsiteY209" fmla="*/ 2266469 h 2831071"/>
              <a:gd name="connsiteX210" fmla="*/ 1412765 w 3473628"/>
              <a:gd name="connsiteY210" fmla="*/ 2328330 h 2831071"/>
              <a:gd name="connsiteX211" fmla="*/ 1440245 w 3473628"/>
              <a:gd name="connsiteY211" fmla="*/ 2353074 h 2831071"/>
              <a:gd name="connsiteX212" fmla="*/ 1475932 w 3473628"/>
              <a:gd name="connsiteY212" fmla="*/ 2367457 h 2831071"/>
              <a:gd name="connsiteX213" fmla="*/ 1511038 w 3473628"/>
              <a:gd name="connsiteY213" fmla="*/ 2382710 h 2831071"/>
              <a:gd name="connsiteX214" fmla="*/ 1536217 w 3473628"/>
              <a:gd name="connsiteY214" fmla="*/ 2415225 h 2831071"/>
              <a:gd name="connsiteX215" fmla="*/ 1543408 w 3473628"/>
              <a:gd name="connsiteY215" fmla="*/ 2463843 h 2831071"/>
              <a:gd name="connsiteX216" fmla="*/ 1512758 w 3473628"/>
              <a:gd name="connsiteY216" fmla="*/ 2507156 h 2831071"/>
              <a:gd name="connsiteX217" fmla="*/ 1467083 w 3473628"/>
              <a:gd name="connsiteY217" fmla="*/ 2522844 h 2831071"/>
              <a:gd name="connsiteX218" fmla="*/ 1422195 w 3473628"/>
              <a:gd name="connsiteY218" fmla="*/ 2523860 h 2831071"/>
              <a:gd name="connsiteX219" fmla="*/ 1366738 w 3473628"/>
              <a:gd name="connsiteY219" fmla="*/ 2540832 h 2831071"/>
              <a:gd name="connsiteX220" fmla="*/ 1320420 w 3473628"/>
              <a:gd name="connsiteY220" fmla="*/ 2536667 h 2831071"/>
              <a:gd name="connsiteX221" fmla="*/ 1321788 w 3473628"/>
              <a:gd name="connsiteY221" fmla="*/ 2519549 h 2831071"/>
              <a:gd name="connsiteX222" fmla="*/ 1369846 w 3473628"/>
              <a:gd name="connsiteY222" fmla="*/ 2497893 h 2831071"/>
              <a:gd name="connsiteX223" fmla="*/ 1396891 w 3473628"/>
              <a:gd name="connsiteY223" fmla="*/ 2480277 h 2831071"/>
              <a:gd name="connsiteX224" fmla="*/ 1381286 w 3473628"/>
              <a:gd name="connsiteY224" fmla="*/ 2474102 h 2831071"/>
              <a:gd name="connsiteX225" fmla="*/ 1307986 w 3473628"/>
              <a:gd name="connsiteY225" fmla="*/ 2503094 h 2831071"/>
              <a:gd name="connsiteX226" fmla="*/ 1275760 w 3473628"/>
              <a:gd name="connsiteY226" fmla="*/ 2503820 h 2831071"/>
              <a:gd name="connsiteX227" fmla="*/ 1277190 w 3473628"/>
              <a:gd name="connsiteY227" fmla="*/ 2490515 h 2831071"/>
              <a:gd name="connsiteX228" fmla="*/ 1302287 w 3473628"/>
              <a:gd name="connsiteY228" fmla="*/ 2478495 h 2831071"/>
              <a:gd name="connsiteX229" fmla="*/ 1350407 w 3473628"/>
              <a:gd name="connsiteY229" fmla="*/ 2445109 h 2831071"/>
              <a:gd name="connsiteX230" fmla="*/ 1346946 w 3473628"/>
              <a:gd name="connsiteY230" fmla="*/ 2435120 h 2831071"/>
              <a:gd name="connsiteX231" fmla="*/ 1292774 w 3473628"/>
              <a:gd name="connsiteY231" fmla="*/ 2461812 h 2831071"/>
              <a:gd name="connsiteX232" fmla="*/ 1261834 w 3473628"/>
              <a:gd name="connsiteY232" fmla="*/ 2459719 h 2831071"/>
              <a:gd name="connsiteX233" fmla="*/ 1265149 w 3473628"/>
              <a:gd name="connsiteY233" fmla="*/ 2438933 h 2831071"/>
              <a:gd name="connsiteX234" fmla="*/ 1303053 w 3473628"/>
              <a:gd name="connsiteY234" fmla="*/ 2411308 h 2831071"/>
              <a:gd name="connsiteX235" fmla="*/ 1318513 w 3473628"/>
              <a:gd name="connsiteY235" fmla="*/ 2393175 h 2831071"/>
              <a:gd name="connsiteX236" fmla="*/ 1306783 w 3473628"/>
              <a:gd name="connsiteY236" fmla="*/ 2385984 h 2831071"/>
              <a:gd name="connsiteX237" fmla="*/ 1268590 w 3473628"/>
              <a:gd name="connsiteY237" fmla="*/ 2403392 h 2831071"/>
              <a:gd name="connsiteX238" fmla="*/ 1243410 w 3473628"/>
              <a:gd name="connsiteY238" fmla="*/ 2405257 h 2831071"/>
              <a:gd name="connsiteX239" fmla="*/ 1242685 w 3473628"/>
              <a:gd name="connsiteY239" fmla="*/ 2382461 h 2831071"/>
              <a:gd name="connsiteX240" fmla="*/ 1284402 w 3473628"/>
              <a:gd name="connsiteY240" fmla="*/ 2341469 h 2831071"/>
              <a:gd name="connsiteX241" fmla="*/ 1360935 w 3473628"/>
              <a:gd name="connsiteY241" fmla="*/ 2306218 h 2831071"/>
              <a:gd name="connsiteX242" fmla="*/ 1411004 w 3473628"/>
              <a:gd name="connsiteY242" fmla="*/ 2303047 h 2831071"/>
              <a:gd name="connsiteX243" fmla="*/ 1438484 w 3473628"/>
              <a:gd name="connsiteY243" fmla="*/ 2295131 h 2831071"/>
              <a:gd name="connsiteX244" fmla="*/ 1468409 w 3473628"/>
              <a:gd name="connsiteY244" fmla="*/ 2243777 h 2831071"/>
              <a:gd name="connsiteX245" fmla="*/ 1532570 w 3473628"/>
              <a:gd name="connsiteY245" fmla="*/ 2156301 h 2831071"/>
              <a:gd name="connsiteX246" fmla="*/ 1610761 w 3473628"/>
              <a:gd name="connsiteY246" fmla="*/ 2074152 h 2831071"/>
              <a:gd name="connsiteX247" fmla="*/ 1628957 w 3473628"/>
              <a:gd name="connsiteY247" fmla="*/ 2041864 h 2831071"/>
              <a:gd name="connsiteX248" fmla="*/ 1628604 w 3473628"/>
              <a:gd name="connsiteY248" fmla="*/ 2021078 h 2831071"/>
              <a:gd name="connsiteX249" fmla="*/ 1642841 w 3473628"/>
              <a:gd name="connsiteY249" fmla="*/ 2001308 h 2831071"/>
              <a:gd name="connsiteX250" fmla="*/ 1697863 w 3473628"/>
              <a:gd name="connsiteY250" fmla="*/ 1963611 h 2831071"/>
              <a:gd name="connsiteX251" fmla="*/ 1768718 w 3473628"/>
              <a:gd name="connsiteY251" fmla="*/ 1914703 h 2831071"/>
              <a:gd name="connsiteX252" fmla="*/ 1816549 w 3473628"/>
              <a:gd name="connsiteY252" fmla="*/ 1881109 h 2831071"/>
              <a:gd name="connsiteX253" fmla="*/ 1846039 w 3473628"/>
              <a:gd name="connsiteY253" fmla="*/ 1836221 h 2831071"/>
              <a:gd name="connsiteX254" fmla="*/ 1863882 w 3473628"/>
              <a:gd name="connsiteY254" fmla="*/ 1739400 h 2831071"/>
              <a:gd name="connsiteX255" fmla="*/ 1862162 w 3473628"/>
              <a:gd name="connsiteY255" fmla="*/ 1654225 h 2831071"/>
              <a:gd name="connsiteX256" fmla="*/ 1849355 w 3473628"/>
              <a:gd name="connsiteY256" fmla="*/ 1586312 h 2831071"/>
              <a:gd name="connsiteX257" fmla="*/ 1804322 w 3473628"/>
              <a:gd name="connsiteY257" fmla="*/ 1511499 h 2831071"/>
              <a:gd name="connsiteX258" fmla="*/ 1748512 w 3473628"/>
              <a:gd name="connsiteY258" fmla="*/ 1463296 h 2831071"/>
              <a:gd name="connsiteX259" fmla="*/ 1688662 w 3473628"/>
              <a:gd name="connsiteY259" fmla="*/ 1445017 h 2831071"/>
              <a:gd name="connsiteX260" fmla="*/ 1629682 w 3473628"/>
              <a:gd name="connsiteY260" fmla="*/ 1434655 h 2831071"/>
              <a:gd name="connsiteX261" fmla="*/ 1565521 w 3473628"/>
              <a:gd name="connsiteY261" fmla="*/ 1420708 h 2831071"/>
              <a:gd name="connsiteX262" fmla="*/ 1482377 w 3473628"/>
              <a:gd name="connsiteY262" fmla="*/ 1428044 h 2831071"/>
              <a:gd name="connsiteX263" fmla="*/ 1425117 w 3473628"/>
              <a:gd name="connsiteY263" fmla="*/ 1469036 h 2831071"/>
              <a:gd name="connsiteX264" fmla="*/ 1416910 w 3473628"/>
              <a:gd name="connsiteY264" fmla="*/ 1533923 h 2831071"/>
              <a:gd name="connsiteX265" fmla="*/ 1436618 w 3473628"/>
              <a:gd name="connsiteY265" fmla="*/ 1580240 h 2831071"/>
              <a:gd name="connsiteX266" fmla="*/ 1448265 w 3473628"/>
              <a:gd name="connsiteY266" fmla="*/ 1638081 h 2831071"/>
              <a:gd name="connsiteX267" fmla="*/ 1432577 w 3473628"/>
              <a:gd name="connsiteY267" fmla="*/ 1733037 h 2831071"/>
              <a:gd name="connsiteX268" fmla="*/ 1436598 w 3473628"/>
              <a:gd name="connsiteY268" fmla="*/ 1799063 h 2831071"/>
              <a:gd name="connsiteX269" fmla="*/ 1493568 w 3473628"/>
              <a:gd name="connsiteY269" fmla="*/ 1841216 h 2831071"/>
              <a:gd name="connsiteX270" fmla="*/ 1619299 w 3473628"/>
              <a:gd name="connsiteY270" fmla="*/ 1854168 h 2831071"/>
              <a:gd name="connsiteX271" fmla="*/ 1704039 w 3473628"/>
              <a:gd name="connsiteY271" fmla="*/ 1837050 h 2831071"/>
              <a:gd name="connsiteX272" fmla="*/ 1739290 w 3473628"/>
              <a:gd name="connsiteY272" fmla="*/ 1788577 h 2831071"/>
              <a:gd name="connsiteX273" fmla="*/ 1754108 w 3473628"/>
              <a:gd name="connsiteY273" fmla="*/ 1758507 h 2831071"/>
              <a:gd name="connsiteX274" fmla="*/ 1769071 w 3473628"/>
              <a:gd name="connsiteY274" fmla="*/ 1758507 h 2831071"/>
              <a:gd name="connsiteX275" fmla="*/ 1773526 w 3473628"/>
              <a:gd name="connsiteY275" fmla="*/ 1787562 h 2831071"/>
              <a:gd name="connsiteX276" fmla="*/ 1747621 w 3473628"/>
              <a:gd name="connsiteY276" fmla="*/ 1819497 h 2831071"/>
              <a:gd name="connsiteX277" fmla="*/ 1719271 w 3473628"/>
              <a:gd name="connsiteY277" fmla="*/ 1806110 h 2831071"/>
              <a:gd name="connsiteX278" fmla="*/ 1727478 w 3473628"/>
              <a:gd name="connsiteY278" fmla="*/ 1762092 h 2831071"/>
              <a:gd name="connsiteX279" fmla="*/ 1757258 w 3473628"/>
              <a:gd name="connsiteY279" fmla="*/ 1731297 h 2831071"/>
              <a:gd name="connsiteX280" fmla="*/ 1781857 w 3473628"/>
              <a:gd name="connsiteY280" fmla="*/ 1696626 h 2831071"/>
              <a:gd name="connsiteX281" fmla="*/ 1759123 w 3473628"/>
              <a:gd name="connsiteY281" fmla="*/ 1625563 h 2831071"/>
              <a:gd name="connsiteX282" fmla="*/ 1710650 w 3473628"/>
              <a:gd name="connsiteY282" fmla="*/ 1549175 h 2831071"/>
              <a:gd name="connsiteX283" fmla="*/ 1628065 w 3473628"/>
              <a:gd name="connsiteY283" fmla="*/ 1512349 h 2831071"/>
              <a:gd name="connsiteX284" fmla="*/ 1535989 w 3473628"/>
              <a:gd name="connsiteY284" fmla="*/ 1521260 h 2831071"/>
              <a:gd name="connsiteX285" fmla="*/ 1469528 w 3473628"/>
              <a:gd name="connsiteY285" fmla="*/ 1574624 h 2831071"/>
              <a:gd name="connsiteX286" fmla="*/ 1448100 w 3473628"/>
              <a:gd name="connsiteY286" fmla="*/ 1608280 h 2831071"/>
              <a:gd name="connsiteX287" fmla="*/ 1425946 w 3473628"/>
              <a:gd name="connsiteY287" fmla="*/ 1663384 h 2831071"/>
              <a:gd name="connsiteX288" fmla="*/ 1406527 w 3473628"/>
              <a:gd name="connsiteY288" fmla="*/ 1760351 h 2831071"/>
              <a:gd name="connsiteX289" fmla="*/ 1422215 w 3473628"/>
              <a:gd name="connsiteY289" fmla="*/ 1829693 h 2831071"/>
              <a:gd name="connsiteX290" fmla="*/ 1452866 w 3473628"/>
              <a:gd name="connsiteY290" fmla="*/ 1880115 h 2831071"/>
              <a:gd name="connsiteX291" fmla="*/ 1472139 w 3473628"/>
              <a:gd name="connsiteY291" fmla="*/ 1939737 h 2831071"/>
              <a:gd name="connsiteX292" fmla="*/ 1476885 w 3473628"/>
              <a:gd name="connsiteY292" fmla="*/ 1996769 h 2831071"/>
              <a:gd name="connsiteX293" fmla="*/ 1459332 w 3473628"/>
              <a:gd name="connsiteY293" fmla="*/ 2060205 h 2831071"/>
              <a:gd name="connsiteX294" fmla="*/ 1462212 w 3473628"/>
              <a:gd name="connsiteY294" fmla="*/ 2092430 h 2831071"/>
              <a:gd name="connsiteX295" fmla="*/ 1501339 w 3473628"/>
              <a:gd name="connsiteY295" fmla="*/ 2073157 h 2831071"/>
              <a:gd name="connsiteX296" fmla="*/ 1597083 w 3473628"/>
              <a:gd name="connsiteY296" fmla="*/ 2002592 h 2831071"/>
              <a:gd name="connsiteX297" fmla="*/ 1667586 w 3473628"/>
              <a:gd name="connsiteY297" fmla="*/ 1957705 h 2831071"/>
              <a:gd name="connsiteX298" fmla="*/ 1726856 w 3473628"/>
              <a:gd name="connsiteY298" fmla="*/ 1927987 h 2831071"/>
              <a:gd name="connsiteX299" fmla="*/ 1753258 w 3473628"/>
              <a:gd name="connsiteY299" fmla="*/ 1933520 h 2831071"/>
              <a:gd name="connsiteX300" fmla="*/ 1781816 w 3473628"/>
              <a:gd name="connsiteY300" fmla="*/ 1986034 h 2831071"/>
              <a:gd name="connsiteX301" fmla="*/ 1823616 w 3473628"/>
              <a:gd name="connsiteY301" fmla="*/ 2024809 h 2831071"/>
              <a:gd name="connsiteX302" fmla="*/ 1853044 w 3473628"/>
              <a:gd name="connsiteY302" fmla="*/ 2039129 h 2831071"/>
              <a:gd name="connsiteX303" fmla="*/ 1845417 w 3473628"/>
              <a:gd name="connsiteY303" fmla="*/ 2056392 h 2831071"/>
              <a:gd name="connsiteX304" fmla="*/ 1802685 w 3473628"/>
              <a:gd name="connsiteY304" fmla="*/ 2090420 h 2831071"/>
              <a:gd name="connsiteX305" fmla="*/ 1764283 w 3473628"/>
              <a:gd name="connsiteY305" fmla="*/ 2152281 h 2831071"/>
              <a:gd name="connsiteX306" fmla="*/ 1702132 w 3473628"/>
              <a:gd name="connsiteY306" fmla="*/ 2291753 h 2831071"/>
              <a:gd name="connsiteX307" fmla="*/ 1672207 w 3473628"/>
              <a:gd name="connsiteY307" fmla="*/ 2356639 h 2831071"/>
              <a:gd name="connsiteX308" fmla="*/ 1654654 w 3473628"/>
              <a:gd name="connsiteY308" fmla="*/ 2363043 h 2831071"/>
              <a:gd name="connsiteX309" fmla="*/ 1613082 w 3473628"/>
              <a:gd name="connsiteY309" fmla="*/ 2345054 h 2831071"/>
              <a:gd name="connsiteX310" fmla="*/ 1559925 w 3473628"/>
              <a:gd name="connsiteY310" fmla="*/ 2330174 h 2831071"/>
              <a:gd name="connsiteX311" fmla="*/ 1518498 w 3473628"/>
              <a:gd name="connsiteY311" fmla="*/ 2333345 h 2831071"/>
              <a:gd name="connsiteX312" fmla="*/ 1485112 w 3473628"/>
              <a:gd name="connsiteY312" fmla="*/ 2345075 h 2831071"/>
              <a:gd name="connsiteX313" fmla="*/ 1462813 w 3473628"/>
              <a:gd name="connsiteY313" fmla="*/ 2341759 h 2831071"/>
              <a:gd name="connsiteX314" fmla="*/ 1462523 w 3473628"/>
              <a:gd name="connsiteY314" fmla="*/ 2316435 h 2831071"/>
              <a:gd name="connsiteX315" fmla="*/ 1514022 w 3473628"/>
              <a:gd name="connsiteY315" fmla="*/ 2230907 h 2831071"/>
              <a:gd name="connsiteX316" fmla="*/ 1633868 w 3473628"/>
              <a:gd name="connsiteY316" fmla="*/ 2086462 h 2831071"/>
              <a:gd name="connsiteX317" fmla="*/ 1761050 w 3473628"/>
              <a:gd name="connsiteY317" fmla="*/ 2009494 h 2831071"/>
              <a:gd name="connsiteX318" fmla="*/ 1835718 w 3473628"/>
              <a:gd name="connsiteY318" fmla="*/ 2007773 h 2831071"/>
              <a:gd name="connsiteX319" fmla="*/ 1915422 w 3473628"/>
              <a:gd name="connsiteY319" fmla="*/ 2040579 h 2831071"/>
              <a:gd name="connsiteX320" fmla="*/ 1956414 w 3473628"/>
              <a:gd name="connsiteY320" fmla="*/ 2094378 h 2831071"/>
              <a:gd name="connsiteX321" fmla="*/ 1981593 w 3473628"/>
              <a:gd name="connsiteY321" fmla="*/ 2161420 h 2831071"/>
              <a:gd name="connsiteX322" fmla="*/ 1998421 w 3473628"/>
              <a:gd name="connsiteY322" fmla="*/ 2191781 h 2831071"/>
              <a:gd name="connsiteX323" fmla="*/ 2004473 w 3473628"/>
              <a:gd name="connsiteY323" fmla="*/ 2185874 h 2831071"/>
              <a:gd name="connsiteX324" fmla="*/ 1997717 w 3473628"/>
              <a:gd name="connsiteY324" fmla="*/ 2138106 h 2831071"/>
              <a:gd name="connsiteX325" fmla="*/ 1965781 w 3473628"/>
              <a:gd name="connsiteY325" fmla="*/ 2073364 h 2831071"/>
              <a:gd name="connsiteX326" fmla="*/ 1892688 w 3473628"/>
              <a:gd name="connsiteY326" fmla="*/ 2059127 h 2831071"/>
              <a:gd name="connsiteX327" fmla="*/ 1816155 w 3473628"/>
              <a:gd name="connsiteY327" fmla="*/ 2115517 h 2831071"/>
              <a:gd name="connsiteX328" fmla="*/ 1767682 w 3473628"/>
              <a:gd name="connsiteY328" fmla="*/ 2216504 h 2831071"/>
              <a:gd name="connsiteX329" fmla="*/ 1756740 w 3473628"/>
              <a:gd name="connsiteY329" fmla="*/ 2315771 h 2831071"/>
              <a:gd name="connsiteX330" fmla="*/ 1733280 w 3473628"/>
              <a:gd name="connsiteY330" fmla="*/ 2398211 h 2831071"/>
              <a:gd name="connsiteX331" fmla="*/ 1632148 w 3473628"/>
              <a:gd name="connsiteY331" fmla="*/ 2384554 h 2831071"/>
              <a:gd name="connsiteX332" fmla="*/ 1539637 w 3473628"/>
              <a:gd name="connsiteY332" fmla="*/ 2352183 h 2831071"/>
              <a:gd name="connsiteX333" fmla="*/ 1522519 w 3473628"/>
              <a:gd name="connsiteY333" fmla="*/ 2359229 h 2831071"/>
              <a:gd name="connsiteX334" fmla="*/ 1543947 w 3473628"/>
              <a:gd name="connsiteY334" fmla="*/ 2385549 h 2831071"/>
              <a:gd name="connsiteX335" fmla="*/ 1564381 w 3473628"/>
              <a:gd name="connsiteY335" fmla="*/ 2430727 h 2831071"/>
              <a:gd name="connsiteX336" fmla="*/ 1559200 w 3473628"/>
              <a:gd name="connsiteY336" fmla="*/ 2486412 h 2831071"/>
              <a:gd name="connsiteX337" fmla="*/ 1529710 w 3473628"/>
              <a:gd name="connsiteY337" fmla="*/ 2562364 h 2831071"/>
              <a:gd name="connsiteX338" fmla="*/ 1544963 w 3473628"/>
              <a:gd name="connsiteY338" fmla="*/ 2634587 h 2831071"/>
              <a:gd name="connsiteX339" fmla="*/ 1609124 w 3473628"/>
              <a:gd name="connsiteY339" fmla="*/ 2669984 h 2831071"/>
              <a:gd name="connsiteX340" fmla="*/ 1709821 w 3473628"/>
              <a:gd name="connsiteY340" fmla="*/ 2685526 h 2831071"/>
              <a:gd name="connsiteX341" fmla="*/ 1825481 w 3473628"/>
              <a:gd name="connsiteY341" fmla="*/ 2710706 h 2831071"/>
              <a:gd name="connsiteX342" fmla="*/ 1849666 w 3473628"/>
              <a:gd name="connsiteY342" fmla="*/ 2737274 h 2831071"/>
              <a:gd name="connsiteX343" fmla="*/ 1827284 w 3473628"/>
              <a:gd name="connsiteY343" fmla="*/ 2775385 h 2831071"/>
              <a:gd name="connsiteX344" fmla="*/ 1859468 w 3473628"/>
              <a:gd name="connsiteY344" fmla="*/ 2784130 h 2831071"/>
              <a:gd name="connsiteX345" fmla="*/ 2089565 w 3473628"/>
              <a:gd name="connsiteY345" fmla="*/ 2784130 h 2831071"/>
              <a:gd name="connsiteX346" fmla="*/ 2566897 w 3473628"/>
              <a:gd name="connsiteY346" fmla="*/ 2782162 h 2831071"/>
              <a:gd name="connsiteX347" fmla="*/ 2687966 w 3473628"/>
              <a:gd name="connsiteY347" fmla="*/ 2759884 h 2831071"/>
              <a:gd name="connsiteX348" fmla="*/ 2680464 w 3473628"/>
              <a:gd name="connsiteY348" fmla="*/ 2692303 h 2831071"/>
              <a:gd name="connsiteX349" fmla="*/ 2633566 w 3473628"/>
              <a:gd name="connsiteY349" fmla="*/ 2631872 h 2831071"/>
              <a:gd name="connsiteX350" fmla="*/ 2492291 w 3473628"/>
              <a:gd name="connsiteY350" fmla="*/ 2565701 h 2831071"/>
              <a:gd name="connsiteX351" fmla="*/ 2424110 w 3473628"/>
              <a:gd name="connsiteY351" fmla="*/ 2476651 h 2831071"/>
              <a:gd name="connsiteX352" fmla="*/ 2465247 w 3473628"/>
              <a:gd name="connsiteY352" fmla="*/ 2186330 h 2831071"/>
              <a:gd name="connsiteX353" fmla="*/ 2494592 w 3473628"/>
              <a:gd name="connsiteY353" fmla="*/ 1978159 h 2831071"/>
              <a:gd name="connsiteX354" fmla="*/ 2532289 w 3473628"/>
              <a:gd name="connsiteY354" fmla="*/ 1883202 h 2831071"/>
              <a:gd name="connsiteX355" fmla="*/ 2600200 w 3473628"/>
              <a:gd name="connsiteY355" fmla="*/ 1837175 h 2831071"/>
              <a:gd name="connsiteX356" fmla="*/ 2643928 w 3473628"/>
              <a:gd name="connsiteY356" fmla="*/ 1758051 h 2831071"/>
              <a:gd name="connsiteX357" fmla="*/ 2671553 w 3473628"/>
              <a:gd name="connsiteY357" fmla="*/ 1632029 h 2831071"/>
              <a:gd name="connsiteX358" fmla="*/ 2694577 w 3473628"/>
              <a:gd name="connsiteY358" fmla="*/ 1561817 h 2831071"/>
              <a:gd name="connsiteX359" fmla="*/ 2707239 w 3473628"/>
              <a:gd name="connsiteY359" fmla="*/ 1548305 h 2831071"/>
              <a:gd name="connsiteX360" fmla="*/ 2696877 w 3473628"/>
              <a:gd name="connsiteY360" fmla="*/ 1616217 h 2831071"/>
              <a:gd name="connsiteX361" fmla="*/ 2656300 w 3473628"/>
              <a:gd name="connsiteY361" fmla="*/ 1792308 h 2831071"/>
              <a:gd name="connsiteX362" fmla="*/ 2576306 w 3473628"/>
              <a:gd name="connsiteY362" fmla="*/ 1905377 h 2831071"/>
              <a:gd name="connsiteX363" fmla="*/ 2484810 w 3473628"/>
              <a:gd name="connsiteY363" fmla="*/ 1918329 h 2831071"/>
              <a:gd name="connsiteX364" fmla="*/ 2405251 w 3473628"/>
              <a:gd name="connsiteY364" fmla="*/ 1822813 h 2831071"/>
              <a:gd name="connsiteX365" fmla="*/ 2384113 w 3473628"/>
              <a:gd name="connsiteY365" fmla="*/ 1673912 h 2831071"/>
              <a:gd name="connsiteX366" fmla="*/ 2378642 w 3473628"/>
              <a:gd name="connsiteY366" fmla="*/ 1541984 h 2831071"/>
              <a:gd name="connsiteX367" fmla="*/ 2373751 w 3473628"/>
              <a:gd name="connsiteY367" fmla="*/ 1415527 h 2831071"/>
              <a:gd name="connsiteX368" fmla="*/ 2347141 w 3473628"/>
              <a:gd name="connsiteY368" fmla="*/ 1246918 h 2831071"/>
              <a:gd name="connsiteX369" fmla="*/ 2334769 w 3473628"/>
              <a:gd name="connsiteY369" fmla="*/ 1142615 h 2831071"/>
              <a:gd name="connsiteX370" fmla="*/ 2329153 w 3473628"/>
              <a:gd name="connsiteY370" fmla="*/ 1065211 h 2831071"/>
              <a:gd name="connsiteX371" fmla="*/ 2304554 w 3473628"/>
              <a:gd name="connsiteY371" fmla="*/ 939335 h 2831071"/>
              <a:gd name="connsiteX372" fmla="*/ 2256641 w 3473628"/>
              <a:gd name="connsiteY372" fmla="*/ 796630 h 2831071"/>
              <a:gd name="connsiteX373" fmla="*/ 2230736 w 3473628"/>
              <a:gd name="connsiteY373" fmla="*/ 692327 h 2831071"/>
              <a:gd name="connsiteX374" fmla="*/ 2239502 w 3473628"/>
              <a:gd name="connsiteY374" fmla="*/ 643564 h 2831071"/>
              <a:gd name="connsiteX375" fmla="*/ 2294026 w 3473628"/>
              <a:gd name="connsiteY375" fmla="*/ 635647 h 2831071"/>
              <a:gd name="connsiteX376" fmla="*/ 2342789 w 3473628"/>
              <a:gd name="connsiteY376" fmla="*/ 621700 h 2831071"/>
              <a:gd name="connsiteX377" fmla="*/ 2378621 w 3473628"/>
              <a:gd name="connsiteY377" fmla="*/ 587174 h 2831071"/>
              <a:gd name="connsiteX378" fmla="*/ 2391283 w 3473628"/>
              <a:gd name="connsiteY378" fmla="*/ 534080 h 2831071"/>
              <a:gd name="connsiteX379" fmla="*/ 2374601 w 3473628"/>
              <a:gd name="connsiteY379" fmla="*/ 480426 h 2831071"/>
              <a:gd name="connsiteX380" fmla="*/ 2310004 w 3473628"/>
              <a:gd name="connsiteY380" fmla="*/ 360020 h 2831071"/>
              <a:gd name="connsiteX381" fmla="*/ 2266567 w 3473628"/>
              <a:gd name="connsiteY381" fmla="*/ 280171 h 2831071"/>
              <a:gd name="connsiteX382" fmla="*/ 2203691 w 3473628"/>
              <a:gd name="connsiteY382" fmla="*/ 213564 h 2831071"/>
              <a:gd name="connsiteX383" fmla="*/ 2153622 w 3473628"/>
              <a:gd name="connsiteY383" fmla="*/ 194291 h 2831071"/>
              <a:gd name="connsiteX384" fmla="*/ 2109315 w 3473628"/>
              <a:gd name="connsiteY384" fmla="*/ 218310 h 2831071"/>
              <a:gd name="connsiteX385" fmla="*/ 2085731 w 3473628"/>
              <a:gd name="connsiteY385" fmla="*/ 264214 h 2831071"/>
              <a:gd name="connsiteX386" fmla="*/ 2085006 w 3473628"/>
              <a:gd name="connsiteY386" fmla="*/ 308666 h 2831071"/>
              <a:gd name="connsiteX387" fmla="*/ 2107595 w 3473628"/>
              <a:gd name="connsiteY387" fmla="*/ 327794 h 2831071"/>
              <a:gd name="connsiteX388" fmla="*/ 2138245 w 3473628"/>
              <a:gd name="connsiteY388" fmla="*/ 329660 h 2831071"/>
              <a:gd name="connsiteX389" fmla="*/ 2151343 w 3473628"/>
              <a:gd name="connsiteY389" fmla="*/ 299299 h 2831071"/>
              <a:gd name="connsiteX390" fmla="*/ 2155508 w 3473628"/>
              <a:gd name="connsiteY390" fmla="*/ 263053 h 2831071"/>
              <a:gd name="connsiteX391" fmla="*/ 2173641 w 3473628"/>
              <a:gd name="connsiteY391" fmla="*/ 251261 h 2831071"/>
              <a:gd name="connsiteX392" fmla="*/ 2215068 w 3473628"/>
              <a:gd name="connsiteY392" fmla="*/ 262058 h 2831071"/>
              <a:gd name="connsiteX393" fmla="*/ 2248019 w 3473628"/>
              <a:gd name="connsiteY393" fmla="*/ 269975 h 2831071"/>
              <a:gd name="connsiteX394" fmla="*/ 2262257 w 3473628"/>
              <a:gd name="connsiteY394" fmla="*/ 259903 h 2831071"/>
              <a:gd name="connsiteX395" fmla="*/ 2259749 w 3473628"/>
              <a:gd name="connsiteY395" fmla="*/ 230993 h 2831071"/>
              <a:gd name="connsiteX396" fmla="*/ 2231337 w 3473628"/>
              <a:gd name="connsiteY396" fmla="*/ 190851 h 2831071"/>
              <a:gd name="connsiteX397" fmla="*/ 2181351 w 3473628"/>
              <a:gd name="connsiteY397" fmla="*/ 163309 h 2831071"/>
              <a:gd name="connsiteX398" fmla="*/ 2141354 w 3473628"/>
              <a:gd name="connsiteY398" fmla="*/ 157548 h 2831071"/>
              <a:gd name="connsiteX399" fmla="*/ 2113377 w 3473628"/>
              <a:gd name="connsiteY399" fmla="*/ 169485 h 2831071"/>
              <a:gd name="connsiteX400" fmla="*/ 2082726 w 3473628"/>
              <a:gd name="connsiteY400" fmla="*/ 176469 h 2831071"/>
              <a:gd name="connsiteX401" fmla="*/ 2031870 w 3473628"/>
              <a:gd name="connsiteY401" fmla="*/ 162086 h 2831071"/>
              <a:gd name="connsiteX402" fmla="*/ 1991955 w 3473628"/>
              <a:gd name="connsiteY402" fmla="*/ 137280 h 2831071"/>
              <a:gd name="connsiteX403" fmla="*/ 1950528 w 3473628"/>
              <a:gd name="connsiteY403" fmla="*/ 77222 h 2831071"/>
              <a:gd name="connsiteX404" fmla="*/ 1938737 w 3473628"/>
              <a:gd name="connsiteY404" fmla="*/ 27008 h 2831071"/>
              <a:gd name="connsiteX405" fmla="*/ 1947669 w 3473628"/>
              <a:gd name="connsiteY405" fmla="*/ 1725 h 2831071"/>
              <a:gd name="connsiteX406" fmla="*/ 1970755 w 3473628"/>
              <a:gd name="connsiteY406" fmla="*/ 8461 h 2831071"/>
              <a:gd name="connsiteX407" fmla="*/ 2009260 w 3473628"/>
              <a:gd name="connsiteY407" fmla="*/ 49494 h 2831071"/>
              <a:gd name="connsiteX408" fmla="*/ 2058292 w 3473628"/>
              <a:gd name="connsiteY408" fmla="*/ 104412 h 2831071"/>
              <a:gd name="connsiteX409" fmla="*/ 2093544 w 3473628"/>
              <a:gd name="connsiteY409" fmla="*/ 149010 h 2831071"/>
              <a:gd name="connsiteX410" fmla="*/ 2084487 w 3473628"/>
              <a:gd name="connsiteY410" fmla="*/ 165837 h 2831071"/>
              <a:gd name="connsiteX411" fmla="*/ 2039599 w 3473628"/>
              <a:gd name="connsiteY411" fmla="*/ 172593 h 2831071"/>
              <a:gd name="connsiteX412" fmla="*/ 2028657 w 3473628"/>
              <a:gd name="connsiteY412" fmla="*/ 186976 h 2831071"/>
              <a:gd name="connsiteX413" fmla="*/ 2037424 w 3473628"/>
              <a:gd name="connsiteY413" fmla="*/ 210435 h 2831071"/>
              <a:gd name="connsiteX414" fmla="*/ 2052531 w 3473628"/>
              <a:gd name="connsiteY414" fmla="*/ 240360 h 2831071"/>
              <a:gd name="connsiteX415" fmla="*/ 2063183 w 3473628"/>
              <a:gd name="connsiteY415" fmla="*/ 276606 h 2831071"/>
              <a:gd name="connsiteX416" fmla="*/ 2061173 w 3473628"/>
              <a:gd name="connsiteY416" fmla="*/ 308832 h 2831071"/>
              <a:gd name="connsiteX417" fmla="*/ 2047226 w 3473628"/>
              <a:gd name="connsiteY417" fmla="*/ 318324 h 2831071"/>
              <a:gd name="connsiteX418" fmla="*/ 2037009 w 3473628"/>
              <a:gd name="connsiteY418" fmla="*/ 303216 h 2831071"/>
              <a:gd name="connsiteX419" fmla="*/ 2039890 w 3473628"/>
              <a:gd name="connsiteY419" fmla="*/ 281932 h 2831071"/>
              <a:gd name="connsiteX420" fmla="*/ 2037589 w 3473628"/>
              <a:gd name="connsiteY420" fmla="*/ 253168 h 2831071"/>
              <a:gd name="connsiteX421" fmla="*/ 2017301 w 3473628"/>
              <a:gd name="connsiteY421" fmla="*/ 238640 h 2831071"/>
              <a:gd name="connsiteX422" fmla="*/ 1980039 w 3473628"/>
              <a:gd name="connsiteY422" fmla="*/ 250142 h 2831071"/>
              <a:gd name="connsiteX423" fmla="*/ 1965367 w 3473628"/>
              <a:gd name="connsiteY423" fmla="*/ 281207 h 2831071"/>
              <a:gd name="connsiteX424" fmla="*/ 1979604 w 3473628"/>
              <a:gd name="connsiteY424" fmla="*/ 326820 h 2831071"/>
              <a:gd name="connsiteX425" fmla="*/ 2042625 w 3473628"/>
              <a:gd name="connsiteY425" fmla="*/ 396598 h 2831071"/>
              <a:gd name="connsiteX426" fmla="*/ 2145208 w 3473628"/>
              <a:gd name="connsiteY426" fmla="*/ 455288 h 2831071"/>
              <a:gd name="connsiteX427" fmla="*/ 2223752 w 3473628"/>
              <a:gd name="connsiteY427" fmla="*/ 542183 h 2831071"/>
              <a:gd name="connsiteX428" fmla="*/ 2264889 w 3473628"/>
              <a:gd name="connsiteY428" fmla="*/ 604624 h 2831071"/>
              <a:gd name="connsiteX429" fmla="*/ 2331640 w 3473628"/>
              <a:gd name="connsiteY429" fmla="*/ 595132 h 2831071"/>
              <a:gd name="connsiteX430" fmla="*/ 2408753 w 3473628"/>
              <a:gd name="connsiteY430" fmla="*/ 561746 h 2831071"/>
              <a:gd name="connsiteX431" fmla="*/ 2486157 w 3473628"/>
              <a:gd name="connsiteY431" fmla="*/ 631088 h 2831071"/>
              <a:gd name="connsiteX432" fmla="*/ 2597797 w 3473628"/>
              <a:gd name="connsiteY432" fmla="*/ 831052 h 2831071"/>
              <a:gd name="connsiteX433" fmla="*/ 2689292 w 3473628"/>
              <a:gd name="connsiteY433" fmla="*/ 1008013 h 2831071"/>
              <a:gd name="connsiteX434" fmla="*/ 2728999 w 3473628"/>
              <a:gd name="connsiteY434" fmla="*/ 1141081 h 2831071"/>
              <a:gd name="connsiteX435" fmla="*/ 2722098 w 3473628"/>
              <a:gd name="connsiteY435" fmla="*/ 1265963 h 2831071"/>
              <a:gd name="connsiteX436" fmla="*/ 2726409 w 3473628"/>
              <a:gd name="connsiteY436" fmla="*/ 1370556 h 2831071"/>
              <a:gd name="connsiteX437" fmla="*/ 2748998 w 3473628"/>
              <a:gd name="connsiteY437" fmla="*/ 1502194 h 2831071"/>
              <a:gd name="connsiteX438" fmla="*/ 2793596 w 3473628"/>
              <a:gd name="connsiteY438" fmla="*/ 1683756 h 2831071"/>
              <a:gd name="connsiteX439" fmla="*/ 2841924 w 3473628"/>
              <a:gd name="connsiteY439" fmla="*/ 1899699 h 2831071"/>
              <a:gd name="connsiteX440" fmla="*/ 2835872 w 3473628"/>
              <a:gd name="connsiteY440" fmla="*/ 2160094 h 2831071"/>
              <a:gd name="connsiteX441" fmla="*/ 2789119 w 3473628"/>
              <a:gd name="connsiteY441" fmla="*/ 2458476 h 2831071"/>
              <a:gd name="connsiteX442" fmla="*/ 2737620 w 3473628"/>
              <a:gd name="connsiteY442" fmla="*/ 2693547 h 2831071"/>
              <a:gd name="connsiteX443" fmla="*/ 2657626 w 3473628"/>
              <a:gd name="connsiteY443" fmla="*/ 2723762 h 2831071"/>
              <a:gd name="connsiteX444" fmla="*/ 2479816 w 3473628"/>
              <a:gd name="connsiteY444" fmla="*/ 2656720 h 2831071"/>
              <a:gd name="connsiteX445" fmla="*/ 2254237 w 3473628"/>
              <a:gd name="connsiteY445" fmla="*/ 2611832 h 2831071"/>
              <a:gd name="connsiteX446" fmla="*/ 2082166 w 3473628"/>
              <a:gd name="connsiteY446" fmla="*/ 2636287 h 2831071"/>
              <a:gd name="connsiteX447" fmla="*/ 1994401 w 3473628"/>
              <a:gd name="connsiteY447" fmla="*/ 2663621 h 2831071"/>
              <a:gd name="connsiteX448" fmla="*/ 1965346 w 3473628"/>
              <a:gd name="connsiteY448" fmla="*/ 2610382 h 2831071"/>
              <a:gd name="connsiteX449" fmla="*/ 1972537 w 3473628"/>
              <a:gd name="connsiteY449" fmla="*/ 2529538 h 2831071"/>
              <a:gd name="connsiteX450" fmla="*/ 2001302 w 3473628"/>
              <a:gd name="connsiteY450" fmla="*/ 2410127 h 2831071"/>
              <a:gd name="connsiteX451" fmla="*/ 2065173 w 3473628"/>
              <a:gd name="connsiteY451" fmla="*/ 2234762 h 2831071"/>
              <a:gd name="connsiteX452" fmla="*/ 2185164 w 3473628"/>
              <a:gd name="connsiteY452" fmla="*/ 1982428 h 2831071"/>
              <a:gd name="connsiteX453" fmla="*/ 2272639 w 3473628"/>
              <a:gd name="connsiteY453" fmla="*/ 1790940 h 2831071"/>
              <a:gd name="connsiteX454" fmla="*/ 2341691 w 3473628"/>
              <a:gd name="connsiteY454" fmla="*/ 1698284 h 2831071"/>
              <a:gd name="connsiteX455" fmla="*/ 2369026 w 3473628"/>
              <a:gd name="connsiteY455" fmla="*/ 1632962 h 2831071"/>
              <a:gd name="connsiteX456" fmla="*/ 2351473 w 3473628"/>
              <a:gd name="connsiteY456" fmla="*/ 1607927 h 2831071"/>
              <a:gd name="connsiteX457" fmla="*/ 2270774 w 3473628"/>
              <a:gd name="connsiteY457" fmla="*/ 1653541 h 2831071"/>
              <a:gd name="connsiteX458" fmla="*/ 2210343 w 3473628"/>
              <a:gd name="connsiteY458" fmla="*/ 1626206 h 2831071"/>
              <a:gd name="connsiteX459" fmla="*/ 2164585 w 3473628"/>
              <a:gd name="connsiteY459" fmla="*/ 1571972 h 2831071"/>
              <a:gd name="connsiteX460" fmla="*/ 2149623 w 3473628"/>
              <a:gd name="connsiteY460" fmla="*/ 1525364 h 2831071"/>
              <a:gd name="connsiteX461" fmla="*/ 2171776 w 3473628"/>
              <a:gd name="connsiteY461" fmla="*/ 1480476 h 2831071"/>
              <a:gd name="connsiteX462" fmla="*/ 2219690 w 3473628"/>
              <a:gd name="connsiteY462" fmla="*/ 1471710 h 2831071"/>
              <a:gd name="connsiteX463" fmla="*/ 2304575 w 3473628"/>
              <a:gd name="connsiteY463" fmla="*/ 1491128 h 2831071"/>
              <a:gd name="connsiteX464" fmla="*/ 2357939 w 3473628"/>
              <a:gd name="connsiteY464" fmla="*/ 1495148 h 2831071"/>
              <a:gd name="connsiteX465" fmla="*/ 2365130 w 3473628"/>
              <a:gd name="connsiteY465" fmla="*/ 1468539 h 2831071"/>
              <a:gd name="connsiteX466" fmla="*/ 2343411 w 3473628"/>
              <a:gd name="connsiteY466" fmla="*/ 1383509 h 2831071"/>
              <a:gd name="connsiteX467" fmla="*/ 2328594 w 3473628"/>
              <a:gd name="connsiteY467" fmla="*/ 1282957 h 2831071"/>
              <a:gd name="connsiteX468" fmla="*/ 2324428 w 3473628"/>
              <a:gd name="connsiteY468" fmla="*/ 1207999 h 2831071"/>
              <a:gd name="connsiteX469" fmla="*/ 2305735 w 3473628"/>
              <a:gd name="connsiteY469" fmla="*/ 1175628 h 2831071"/>
              <a:gd name="connsiteX470" fmla="*/ 2240559 w 3473628"/>
              <a:gd name="connsiteY470" fmla="*/ 1175918 h 2831071"/>
              <a:gd name="connsiteX471" fmla="*/ 2155964 w 3473628"/>
              <a:gd name="connsiteY471" fmla="*/ 1209574 h 2831071"/>
              <a:gd name="connsiteX472" fmla="*/ 2105750 w 3473628"/>
              <a:gd name="connsiteY472" fmla="*/ 1260223 h 2831071"/>
              <a:gd name="connsiteX473" fmla="*/ 2085171 w 3473628"/>
              <a:gd name="connsiteY473" fmla="*/ 1297774 h 2831071"/>
              <a:gd name="connsiteX474" fmla="*/ 2074664 w 3473628"/>
              <a:gd name="connsiteY474" fmla="*/ 1286977 h 2831071"/>
              <a:gd name="connsiteX475" fmla="*/ 2069918 w 3473628"/>
              <a:gd name="connsiteY475" fmla="*/ 1234028 h 2831071"/>
              <a:gd name="connsiteX476" fmla="*/ 2108050 w 3473628"/>
              <a:gd name="connsiteY476" fmla="*/ 1171587 h 2831071"/>
              <a:gd name="connsiteX477" fmla="*/ 2189910 w 3473628"/>
              <a:gd name="connsiteY477" fmla="*/ 1136045 h 2831071"/>
              <a:gd name="connsiteX478" fmla="*/ 2269759 w 3473628"/>
              <a:gd name="connsiteY478" fmla="*/ 1132294 h 2831071"/>
              <a:gd name="connsiteX479" fmla="*/ 2308450 w 3473628"/>
              <a:gd name="connsiteY479" fmla="*/ 1125683 h 2831071"/>
              <a:gd name="connsiteX480" fmla="*/ 2307290 w 3473628"/>
              <a:gd name="connsiteY480" fmla="*/ 1074765 h 2831071"/>
              <a:gd name="connsiteX481" fmla="*/ 2297653 w 3473628"/>
              <a:gd name="connsiteY481" fmla="*/ 1036778 h 2831071"/>
              <a:gd name="connsiteX482" fmla="*/ 2262982 w 3473628"/>
              <a:gd name="connsiteY482" fmla="*/ 1022831 h 2831071"/>
              <a:gd name="connsiteX483" fmla="*/ 2194655 w 3473628"/>
              <a:gd name="connsiteY483" fmla="*/ 1035493 h 2831071"/>
              <a:gd name="connsiteX484" fmla="*/ 2144296 w 3473628"/>
              <a:gd name="connsiteY484" fmla="*/ 1081811 h 2831071"/>
              <a:gd name="connsiteX485" fmla="*/ 2106310 w 3473628"/>
              <a:gd name="connsiteY485" fmla="*/ 1120088 h 2831071"/>
              <a:gd name="connsiteX486" fmla="*/ 2043434 w 3473628"/>
              <a:gd name="connsiteY486" fmla="*/ 1152894 h 2831071"/>
              <a:gd name="connsiteX487" fmla="*/ 1998401 w 3473628"/>
              <a:gd name="connsiteY487" fmla="*/ 1194756 h 2831071"/>
              <a:gd name="connsiteX488" fmla="*/ 1991645 w 3473628"/>
              <a:gd name="connsiteY488" fmla="*/ 1239354 h 2831071"/>
              <a:gd name="connsiteX489" fmla="*/ 2014669 w 3473628"/>
              <a:gd name="connsiteY489" fmla="*/ 1279351 h 2831071"/>
              <a:gd name="connsiteX490" fmla="*/ 2051350 w 3473628"/>
              <a:gd name="connsiteY490" fmla="*/ 1309566 h 2831071"/>
              <a:gd name="connsiteX491" fmla="*/ 2064157 w 3473628"/>
              <a:gd name="connsiteY491" fmla="*/ 1331865 h 2831071"/>
              <a:gd name="connsiteX492" fmla="*/ 2053505 w 3473628"/>
              <a:gd name="connsiteY492" fmla="*/ 1376173 h 2831071"/>
              <a:gd name="connsiteX493" fmla="*/ 2057671 w 3473628"/>
              <a:gd name="connsiteY493" fmla="*/ 1437598 h 2831071"/>
              <a:gd name="connsiteX494" fmla="*/ 2084715 w 3473628"/>
              <a:gd name="connsiteY494" fmla="*/ 1526939 h 2831071"/>
              <a:gd name="connsiteX495" fmla="*/ 2142556 w 3473628"/>
              <a:gd name="connsiteY495" fmla="*/ 1590374 h 2831071"/>
              <a:gd name="connsiteX496" fmla="*/ 2188583 w 3473628"/>
              <a:gd name="connsiteY496" fmla="*/ 1652525 h 2831071"/>
              <a:gd name="connsiteX497" fmla="*/ 2211753 w 3473628"/>
              <a:gd name="connsiteY497" fmla="*/ 1709350 h 2831071"/>
              <a:gd name="connsiteX498" fmla="*/ 2213038 w 3473628"/>
              <a:gd name="connsiteY498" fmla="*/ 1751502 h 2831071"/>
              <a:gd name="connsiteX499" fmla="*/ 2193619 w 3473628"/>
              <a:gd name="connsiteY499" fmla="*/ 1786463 h 2831071"/>
              <a:gd name="connsiteX500" fmla="*/ 2145416 w 3473628"/>
              <a:gd name="connsiteY500" fmla="*/ 1826170 h 2831071"/>
              <a:gd name="connsiteX501" fmla="*/ 2094062 w 3473628"/>
              <a:gd name="connsiteY501" fmla="*/ 1865877 h 2831071"/>
              <a:gd name="connsiteX502" fmla="*/ 2067452 w 3473628"/>
              <a:gd name="connsiteY502" fmla="*/ 1897668 h 2831071"/>
              <a:gd name="connsiteX503" fmla="*/ 2076654 w 3473628"/>
              <a:gd name="connsiteY503" fmla="*/ 1913791 h 2831071"/>
              <a:gd name="connsiteX504" fmla="*/ 2097668 w 3473628"/>
              <a:gd name="connsiteY504" fmla="*/ 1937955 h 2831071"/>
              <a:gd name="connsiteX505" fmla="*/ 2095077 w 3473628"/>
              <a:gd name="connsiteY505" fmla="*/ 2004416 h 2831071"/>
              <a:gd name="connsiteX506" fmla="*/ 2059391 w 3473628"/>
              <a:gd name="connsiteY506" fmla="*/ 2109155 h 2831071"/>
              <a:gd name="connsiteX507" fmla="*/ 1969325 w 3473628"/>
              <a:gd name="connsiteY507" fmla="*/ 2331853 h 2831071"/>
              <a:gd name="connsiteX508" fmla="*/ 1904584 w 3473628"/>
              <a:gd name="connsiteY508" fmla="*/ 2574405 h 2831071"/>
              <a:gd name="connsiteX509" fmla="*/ 1892502 w 3473628"/>
              <a:gd name="connsiteY509" fmla="*/ 2764443 h 2831071"/>
              <a:gd name="connsiteX510" fmla="*/ 2038812 w 3473628"/>
              <a:gd name="connsiteY510" fmla="*/ 2824874 h 2831071"/>
              <a:gd name="connsiteX511" fmla="*/ 2686909 w 3473628"/>
              <a:gd name="connsiteY511" fmla="*/ 2831070 h 2831071"/>
              <a:gd name="connsiteX512" fmla="*/ 3473628 w 3473628"/>
              <a:gd name="connsiteY512" fmla="*/ 2831070 h 2831071"/>
              <a:gd name="connsiteX0" fmla="*/ 1279760 w 3473628"/>
              <a:gd name="connsiteY0" fmla="*/ 2592559 h 2831069"/>
              <a:gd name="connsiteX1" fmla="*/ 1214873 w 3473628"/>
              <a:gd name="connsiteY1" fmla="*/ 2517746 h 2831069"/>
              <a:gd name="connsiteX2" fmla="*/ 1186254 w 3473628"/>
              <a:gd name="connsiteY2" fmla="*/ 2427970 h 2831069"/>
              <a:gd name="connsiteX3" fmla="*/ 1188409 w 3473628"/>
              <a:gd name="connsiteY3" fmla="*/ 2366980 h 2831069"/>
              <a:gd name="connsiteX4" fmla="*/ 1213734 w 3473628"/>
              <a:gd name="connsiteY4" fmla="*/ 2320662 h 2831069"/>
              <a:gd name="connsiteX5" fmla="*/ 1209568 w 3473628"/>
              <a:gd name="connsiteY5" fmla="*/ 2270448 h 2831069"/>
              <a:gd name="connsiteX6" fmla="*/ 1120808 w 3473628"/>
              <a:gd name="connsiteY6" fmla="*/ 2115662 h 2831069"/>
              <a:gd name="connsiteX7" fmla="*/ 1030182 w 3473628"/>
              <a:gd name="connsiteY7" fmla="*/ 1957124 h 2831069"/>
              <a:gd name="connsiteX8" fmla="*/ 963576 w 3473628"/>
              <a:gd name="connsiteY8" fmla="*/ 1924173 h 2831069"/>
              <a:gd name="connsiteX9" fmla="*/ 805764 w 3473628"/>
              <a:gd name="connsiteY9" fmla="*/ 1954244 h 2831069"/>
              <a:gd name="connsiteX10" fmla="*/ 604929 w 3473628"/>
              <a:gd name="connsiteY10" fmla="*/ 1989060 h 2831069"/>
              <a:gd name="connsiteX11" fmla="*/ 477332 w 3473628"/>
              <a:gd name="connsiteY11" fmla="*/ 1993661 h 2831069"/>
              <a:gd name="connsiteX12" fmla="*/ 361672 w 3473628"/>
              <a:gd name="connsiteY12" fmla="*/ 2000852 h 2831069"/>
              <a:gd name="connsiteX13" fmla="*/ 98687 w 3473628"/>
              <a:gd name="connsiteY13" fmla="*/ 2062567 h 2831069"/>
              <a:gd name="connsiteX14" fmla="*/ 3316 w 3473628"/>
              <a:gd name="connsiteY14" fmla="*/ 2090047 h 2831069"/>
              <a:gd name="connsiteX15" fmla="*/ 45468 w 3473628"/>
              <a:gd name="connsiteY15" fmla="*/ 2164135 h 2831069"/>
              <a:gd name="connsiteX16" fmla="*/ 243277 w 3473628"/>
              <a:gd name="connsiteY16" fmla="*/ 2417629 h 2831069"/>
              <a:gd name="connsiteX17" fmla="*/ 343270 w 3473628"/>
              <a:gd name="connsiteY17" fmla="*/ 2553723 h 2831069"/>
              <a:gd name="connsiteX18" fmla="*/ 396634 w 3473628"/>
              <a:gd name="connsiteY18" fmla="*/ 2608392 h 2831069"/>
              <a:gd name="connsiteX19" fmla="*/ 442102 w 3473628"/>
              <a:gd name="connsiteY19" fmla="*/ 2644348 h 2831069"/>
              <a:gd name="connsiteX20" fmla="*/ 450018 w 3473628"/>
              <a:gd name="connsiteY20" fmla="*/ 2670108 h 2831069"/>
              <a:gd name="connsiteX21" fmla="*/ 431180 w 3473628"/>
              <a:gd name="connsiteY21" fmla="*/ 2687516 h 2831069"/>
              <a:gd name="connsiteX22" fmla="*/ 385007 w 3473628"/>
              <a:gd name="connsiteY22" fmla="*/ 2665507 h 2831069"/>
              <a:gd name="connsiteX23" fmla="*/ 320266 w 3473628"/>
              <a:gd name="connsiteY23" fmla="*/ 2569991 h 2831069"/>
              <a:gd name="connsiteX24" fmla="*/ 307459 w 3473628"/>
              <a:gd name="connsiteY24" fmla="*/ 2513166 h 2831069"/>
              <a:gd name="connsiteX25" fmla="*/ 319396 w 3473628"/>
              <a:gd name="connsiteY25" fmla="*/ 2499923 h 2831069"/>
              <a:gd name="connsiteX26" fmla="*/ 348015 w 3473628"/>
              <a:gd name="connsiteY26" fmla="*/ 2524378 h 2831069"/>
              <a:gd name="connsiteX27" fmla="*/ 378086 w 3473628"/>
              <a:gd name="connsiteY27" fmla="*/ 2562364 h 2831069"/>
              <a:gd name="connsiteX28" fmla="*/ 409731 w 3473628"/>
              <a:gd name="connsiteY28" fmla="*/ 2581348 h 2831069"/>
              <a:gd name="connsiteX29" fmla="*/ 431740 w 3473628"/>
              <a:gd name="connsiteY29" fmla="*/ 2604372 h 2831069"/>
              <a:gd name="connsiteX30" fmla="*/ 455323 w 3473628"/>
              <a:gd name="connsiteY30" fmla="*/ 2623645 h 2831069"/>
              <a:gd name="connsiteX31" fmla="*/ 472006 w 3473628"/>
              <a:gd name="connsiteY31" fmla="*/ 2654005 h 2831069"/>
              <a:gd name="connsiteX32" fmla="*/ 483798 w 3473628"/>
              <a:gd name="connsiteY32" fmla="*/ 2705649 h 2831069"/>
              <a:gd name="connsiteX33" fmla="*/ 515029 w 3473628"/>
              <a:gd name="connsiteY33" fmla="*/ 2761707 h 2831069"/>
              <a:gd name="connsiteX34" fmla="*/ 593924 w 3473628"/>
              <a:gd name="connsiteY34" fmla="*/ 2781975 h 2831069"/>
              <a:gd name="connsiteX35" fmla="*/ 917921 w 3473628"/>
              <a:gd name="connsiteY35" fmla="*/ 2784234 h 2831069"/>
              <a:gd name="connsiteX36" fmla="*/ 1481859 w 3473628"/>
              <a:gd name="connsiteY36" fmla="*/ 2784234 h 2831069"/>
              <a:gd name="connsiteX37" fmla="*/ 1611175 w 3473628"/>
              <a:gd name="connsiteY37" fmla="*/ 2760402 h 2831069"/>
              <a:gd name="connsiteX38" fmla="*/ 1530415 w 3473628"/>
              <a:gd name="connsiteY38" fmla="*/ 2653819 h 2831069"/>
              <a:gd name="connsiteX39" fmla="*/ 1485506 w 3473628"/>
              <a:gd name="connsiteY39" fmla="*/ 2582508 h 2831069"/>
              <a:gd name="connsiteX40" fmla="*/ 1444639 w 3473628"/>
              <a:gd name="connsiteY40" fmla="*/ 2563380 h 2831069"/>
              <a:gd name="connsiteX41" fmla="*/ 1360914 w 3473628"/>
              <a:gd name="connsiteY41" fmla="*/ 2569701 h 2831069"/>
              <a:gd name="connsiteX42" fmla="*/ 1305374 w 3473628"/>
              <a:gd name="connsiteY42" fmla="*/ 2561204 h 2831069"/>
              <a:gd name="connsiteX43" fmla="*/ 1259906 w 3473628"/>
              <a:gd name="connsiteY43" fmla="*/ 2517187 h 2831069"/>
              <a:gd name="connsiteX44" fmla="*/ 1228551 w 3473628"/>
              <a:gd name="connsiteY44" fmla="*/ 2442519 h 2831069"/>
              <a:gd name="connsiteX45" fmla="*/ 1227121 w 3473628"/>
              <a:gd name="connsiteY45" fmla="*/ 2364680 h 2831069"/>
              <a:gd name="connsiteX46" fmla="*/ 1271139 w 3473628"/>
              <a:gd name="connsiteY46" fmla="*/ 2317491 h 2831069"/>
              <a:gd name="connsiteX47" fmla="*/ 1254021 w 3473628"/>
              <a:gd name="connsiteY47" fmla="*/ 2254201 h 2831069"/>
              <a:gd name="connsiteX48" fmla="*/ 1118217 w 3473628"/>
              <a:gd name="connsiteY48" fmla="*/ 2041429 h 2831069"/>
              <a:gd name="connsiteX49" fmla="*/ 1021105 w 3473628"/>
              <a:gd name="connsiteY49" fmla="*/ 1888363 h 2831069"/>
              <a:gd name="connsiteX50" fmla="*/ 969171 w 3473628"/>
              <a:gd name="connsiteY50" fmla="*/ 1865338 h 2831069"/>
              <a:gd name="connsiteX51" fmla="*/ 890048 w 3473628"/>
              <a:gd name="connsiteY51" fmla="*/ 1886477 h 2831069"/>
              <a:gd name="connsiteX52" fmla="*/ 773808 w 3473628"/>
              <a:gd name="connsiteY52" fmla="*/ 1916837 h 2831069"/>
              <a:gd name="connsiteX53" fmla="*/ 552974 w 3473628"/>
              <a:gd name="connsiteY53" fmla="*/ 1960565 h 2831069"/>
              <a:gd name="connsiteX54" fmla="*/ 460463 w 3473628"/>
              <a:gd name="connsiteY54" fmla="*/ 1968771 h 2831069"/>
              <a:gd name="connsiteX55" fmla="*/ 390251 w 3473628"/>
              <a:gd name="connsiteY55" fmla="*/ 1936110 h 2831069"/>
              <a:gd name="connsiteX56" fmla="*/ 237329 w 3473628"/>
              <a:gd name="connsiteY56" fmla="*/ 1817280 h 2831069"/>
              <a:gd name="connsiteX57" fmla="*/ 148859 w 3473628"/>
              <a:gd name="connsiteY57" fmla="*/ 1724478 h 2831069"/>
              <a:gd name="connsiteX58" fmla="*/ 135326 w 3473628"/>
              <a:gd name="connsiteY58" fmla="*/ 1660753 h 2831069"/>
              <a:gd name="connsiteX59" fmla="*/ 160361 w 3473628"/>
              <a:gd name="connsiteY59" fmla="*/ 1619326 h 2831069"/>
              <a:gd name="connsiteX60" fmla="*/ 206534 w 3473628"/>
              <a:gd name="connsiteY60" fmla="*/ 1610829 h 2831069"/>
              <a:gd name="connsiteX61" fmla="*/ 299894 w 3473628"/>
              <a:gd name="connsiteY61" fmla="*/ 1646370 h 2831069"/>
              <a:gd name="connsiteX62" fmla="*/ 372552 w 3473628"/>
              <a:gd name="connsiteY62" fmla="*/ 1668959 h 2831069"/>
              <a:gd name="connsiteX63" fmla="*/ 375723 w 3473628"/>
              <a:gd name="connsiteY63" fmla="*/ 1692688 h 2831069"/>
              <a:gd name="connsiteX64" fmla="*/ 313282 w 3473628"/>
              <a:gd name="connsiteY64" fmla="*/ 1712832 h 2831069"/>
              <a:gd name="connsiteX65" fmla="*/ 211134 w 3473628"/>
              <a:gd name="connsiteY65" fmla="*/ 1685787 h 2831069"/>
              <a:gd name="connsiteX66" fmla="*/ 161356 w 3473628"/>
              <a:gd name="connsiteY66" fmla="*/ 1648235 h 2831069"/>
              <a:gd name="connsiteX67" fmla="*/ 166391 w 3473628"/>
              <a:gd name="connsiteY67" fmla="*/ 1605586 h 2831069"/>
              <a:gd name="connsiteX68" fmla="*/ 200192 w 3473628"/>
              <a:gd name="connsiteY68" fmla="*/ 1577816 h 2831069"/>
              <a:gd name="connsiteX69" fmla="*/ 287232 w 3473628"/>
              <a:gd name="connsiteY69" fmla="*/ 1590830 h 2831069"/>
              <a:gd name="connsiteX70" fmla="*/ 369009 w 3473628"/>
              <a:gd name="connsiteY70" fmla="*/ 1618953 h 2831069"/>
              <a:gd name="connsiteX71" fmla="*/ 419927 w 3473628"/>
              <a:gd name="connsiteY71" fmla="*/ 1621046 h 2831069"/>
              <a:gd name="connsiteX72" fmla="*/ 508625 w 3473628"/>
              <a:gd name="connsiteY72" fmla="*/ 1559682 h 2831069"/>
              <a:gd name="connsiteX73" fmla="*/ 603872 w 3473628"/>
              <a:gd name="connsiteY73" fmla="*/ 1496164 h 2831069"/>
              <a:gd name="connsiteX74" fmla="*/ 672489 w 3473628"/>
              <a:gd name="connsiteY74" fmla="*/ 1469699 h 2831069"/>
              <a:gd name="connsiteX75" fmla="*/ 740318 w 3473628"/>
              <a:gd name="connsiteY75" fmla="*/ 1459835 h 2831069"/>
              <a:gd name="connsiteX76" fmla="*/ 810675 w 3473628"/>
              <a:gd name="connsiteY76" fmla="*/ 1421288 h 2831069"/>
              <a:gd name="connsiteX77" fmla="*/ 854631 w 3473628"/>
              <a:gd name="connsiteY77" fmla="*/ 1394969 h 2831069"/>
              <a:gd name="connsiteX78" fmla="*/ 862982 w 3473628"/>
              <a:gd name="connsiteY78" fmla="*/ 1380214 h 2831069"/>
              <a:gd name="connsiteX79" fmla="*/ 851688 w 3473628"/>
              <a:gd name="connsiteY79" fmla="*/ 1366412 h 2831069"/>
              <a:gd name="connsiteX80" fmla="*/ 827524 w 3473628"/>
              <a:gd name="connsiteY80" fmla="*/ 1363614 h 2831069"/>
              <a:gd name="connsiteX81" fmla="*/ 824291 w 3473628"/>
              <a:gd name="connsiteY81" fmla="*/ 1354910 h 2831069"/>
              <a:gd name="connsiteX82" fmla="*/ 846652 w 3473628"/>
              <a:gd name="connsiteY82" fmla="*/ 1340030 h 2831069"/>
              <a:gd name="connsiteX83" fmla="*/ 880308 w 3473628"/>
              <a:gd name="connsiteY83" fmla="*/ 1319161 h 2831069"/>
              <a:gd name="connsiteX84" fmla="*/ 897363 w 3473628"/>
              <a:gd name="connsiteY84" fmla="*/ 1302831 h 2831069"/>
              <a:gd name="connsiteX85" fmla="*/ 886794 w 3473628"/>
              <a:gd name="connsiteY85" fmla="*/ 1295930 h 2831069"/>
              <a:gd name="connsiteX86" fmla="*/ 844642 w 3473628"/>
              <a:gd name="connsiteY86" fmla="*/ 1306934 h 2831069"/>
              <a:gd name="connsiteX87" fmla="*/ 809536 w 3473628"/>
              <a:gd name="connsiteY87" fmla="*/ 1335347 h 2831069"/>
              <a:gd name="connsiteX88" fmla="*/ 787029 w 3473628"/>
              <a:gd name="connsiteY88" fmla="*/ 1349667 h 2831069"/>
              <a:gd name="connsiteX89" fmla="*/ 782139 w 3473628"/>
              <a:gd name="connsiteY89" fmla="*/ 1343346 h 2831069"/>
              <a:gd name="connsiteX90" fmla="*/ 804583 w 3473628"/>
              <a:gd name="connsiteY90" fmla="*/ 1325296 h 2831069"/>
              <a:gd name="connsiteX91" fmla="*/ 816810 w 3473628"/>
              <a:gd name="connsiteY91" fmla="*/ 1307743 h 2831069"/>
              <a:gd name="connsiteX92" fmla="*/ 811276 w 3473628"/>
              <a:gd name="connsiteY92" fmla="*/ 1290977 h 2831069"/>
              <a:gd name="connsiteX93" fmla="*/ 791713 w 3473628"/>
              <a:gd name="connsiteY93" fmla="*/ 1290832 h 2831069"/>
              <a:gd name="connsiteX94" fmla="*/ 761933 w 3473628"/>
              <a:gd name="connsiteY94" fmla="*/ 1313856 h 2831069"/>
              <a:gd name="connsiteX95" fmla="*/ 742515 w 3473628"/>
              <a:gd name="connsiteY95" fmla="*/ 1324218 h 2831069"/>
              <a:gd name="connsiteX96" fmla="*/ 739862 w 3473628"/>
              <a:gd name="connsiteY96" fmla="*/ 1318457 h 2831069"/>
              <a:gd name="connsiteX97" fmla="*/ 752296 w 3473628"/>
              <a:gd name="connsiteY97" fmla="*/ 1300406 h 2831069"/>
              <a:gd name="connsiteX98" fmla="*/ 772585 w 3473628"/>
              <a:gd name="connsiteY98" fmla="*/ 1280615 h 2831069"/>
              <a:gd name="connsiteX99" fmla="*/ 776108 w 3473628"/>
              <a:gd name="connsiteY99" fmla="*/ 1263994 h 2831069"/>
              <a:gd name="connsiteX100" fmla="*/ 761083 w 3473628"/>
              <a:gd name="connsiteY100" fmla="*/ 1258026 h 2831069"/>
              <a:gd name="connsiteX101" fmla="*/ 718869 w 3473628"/>
              <a:gd name="connsiteY101" fmla="*/ 1273051 h 2831069"/>
              <a:gd name="connsiteX102" fmla="*/ 639600 w 3473628"/>
              <a:gd name="connsiteY102" fmla="*/ 1331181 h 2831069"/>
              <a:gd name="connsiteX103" fmla="*/ 569678 w 3473628"/>
              <a:gd name="connsiteY103" fmla="*/ 1382100 h 2831069"/>
              <a:gd name="connsiteX104" fmla="*/ 456173 w 3473628"/>
              <a:gd name="connsiteY104" fmla="*/ 1442530 h 2831069"/>
              <a:gd name="connsiteX105" fmla="*/ 325406 w 3473628"/>
              <a:gd name="connsiteY105" fmla="*/ 1515188 h 2831069"/>
              <a:gd name="connsiteX106" fmla="*/ 239526 w 3473628"/>
              <a:gd name="connsiteY106" fmla="*/ 1551144 h 2831069"/>
              <a:gd name="connsiteX107" fmla="*/ 218388 w 3473628"/>
              <a:gd name="connsiteY107" fmla="*/ 1575453 h 2831069"/>
              <a:gd name="connsiteX108" fmla="*/ 272912 w 3473628"/>
              <a:gd name="connsiteY108" fmla="*/ 1602208 h 2831069"/>
              <a:gd name="connsiteX109" fmla="*/ 357797 w 3473628"/>
              <a:gd name="connsiteY109" fmla="*/ 1635863 h 2831069"/>
              <a:gd name="connsiteX110" fmla="*/ 403410 w 3473628"/>
              <a:gd name="connsiteY110" fmla="*/ 1653271 h 2831069"/>
              <a:gd name="connsiteX111" fmla="*/ 416073 w 3473628"/>
              <a:gd name="connsiteY111" fmla="*/ 1682036 h 2831069"/>
              <a:gd name="connsiteX112" fmla="*/ 440817 w 3473628"/>
              <a:gd name="connsiteY112" fmla="*/ 1705060 h 2831069"/>
              <a:gd name="connsiteX113" fmla="*/ 514469 w 3473628"/>
              <a:gd name="connsiteY113" fmla="*/ 1733680 h 2831069"/>
              <a:gd name="connsiteX114" fmla="*/ 651288 w 3473628"/>
              <a:gd name="connsiteY114" fmla="*/ 1765905 h 2831069"/>
              <a:gd name="connsiteX115" fmla="*/ 768109 w 3473628"/>
              <a:gd name="connsiteY115" fmla="*/ 1785179 h 2831069"/>
              <a:gd name="connsiteX116" fmla="*/ 837306 w 3473628"/>
              <a:gd name="connsiteY116" fmla="*/ 1824740 h 2831069"/>
              <a:gd name="connsiteX117" fmla="*/ 840621 w 3473628"/>
              <a:gd name="connsiteY117" fmla="*/ 1854666 h 2831069"/>
              <a:gd name="connsiteX118" fmla="*/ 790843 w 3473628"/>
              <a:gd name="connsiteY118" fmla="*/ 1883430 h 2831069"/>
              <a:gd name="connsiteX119" fmla="*/ 713874 w 3473628"/>
              <a:gd name="connsiteY119" fmla="*/ 1902413 h 2831069"/>
              <a:gd name="connsiteX120" fmla="*/ 703367 w 3473628"/>
              <a:gd name="connsiteY120" fmla="*/ 1887741 h 2831069"/>
              <a:gd name="connsiteX121" fmla="*/ 735158 w 3473628"/>
              <a:gd name="connsiteY121" fmla="*/ 1840843 h 2831069"/>
              <a:gd name="connsiteX122" fmla="*/ 785662 w 3473628"/>
              <a:gd name="connsiteY122" fmla="*/ 1808037 h 2831069"/>
              <a:gd name="connsiteX123" fmla="*/ 864640 w 3473628"/>
              <a:gd name="connsiteY123" fmla="*/ 1809757 h 2831069"/>
              <a:gd name="connsiteX124" fmla="*/ 904637 w 3473628"/>
              <a:gd name="connsiteY124" fmla="*/ 1789468 h 2831069"/>
              <a:gd name="connsiteX125" fmla="*/ 916284 w 3473628"/>
              <a:gd name="connsiteY125" fmla="*/ 1745161 h 2831069"/>
              <a:gd name="connsiteX126" fmla="*/ 912119 w 3473628"/>
              <a:gd name="connsiteY126" fmla="*/ 1675238 h 2831069"/>
              <a:gd name="connsiteX127" fmla="*/ 918025 w 3473628"/>
              <a:gd name="connsiteY127" fmla="*/ 1647904 h 2831069"/>
              <a:gd name="connsiteX128" fmla="*/ 946230 w 3473628"/>
              <a:gd name="connsiteY128" fmla="*/ 1644588 h 2831069"/>
              <a:gd name="connsiteX129" fmla="*/ 993128 w 3473628"/>
              <a:gd name="connsiteY129" fmla="*/ 1664587 h 2831069"/>
              <a:gd name="connsiteX130" fmla="*/ 1043632 w 3473628"/>
              <a:gd name="connsiteY130" fmla="*/ 1685455 h 2831069"/>
              <a:gd name="connsiteX131" fmla="*/ 1091110 w 3473628"/>
              <a:gd name="connsiteY131" fmla="*/ 1667032 h 2831069"/>
              <a:gd name="connsiteX132" fmla="*/ 1113844 w 3473628"/>
              <a:gd name="connsiteY132" fmla="*/ 1609046 h 2831069"/>
              <a:gd name="connsiteX133" fmla="*/ 1137573 w 3473628"/>
              <a:gd name="connsiteY133" fmla="*/ 1536244 h 2831069"/>
              <a:gd name="connsiteX134" fmla="*/ 1175270 w 3473628"/>
              <a:gd name="connsiteY134" fmla="*/ 1484165 h 2831069"/>
              <a:gd name="connsiteX135" fmla="*/ 1215847 w 3473628"/>
              <a:gd name="connsiteY135" fmla="*/ 1437702 h 2831069"/>
              <a:gd name="connsiteX136" fmla="*/ 1213837 w 3473628"/>
              <a:gd name="connsiteY136" fmla="*/ 1405911 h 2831069"/>
              <a:gd name="connsiteX137" fmla="*/ 1160743 w 3473628"/>
              <a:gd name="connsiteY137" fmla="*/ 1359449 h 2831069"/>
              <a:gd name="connsiteX138" fmla="*/ 1072273 w 3473628"/>
              <a:gd name="connsiteY138" fmla="*/ 1326207 h 2831069"/>
              <a:gd name="connsiteX139" fmla="*/ 969420 w 3473628"/>
              <a:gd name="connsiteY139" fmla="*/ 1337709 h 2831069"/>
              <a:gd name="connsiteX140" fmla="*/ 912160 w 3473628"/>
              <a:gd name="connsiteY140" fmla="*/ 1380152 h 2831069"/>
              <a:gd name="connsiteX141" fmla="*/ 896327 w 3473628"/>
              <a:gd name="connsiteY141" fmla="*/ 1448333 h 2831069"/>
              <a:gd name="connsiteX142" fmla="*/ 877489 w 3473628"/>
              <a:gd name="connsiteY142" fmla="*/ 1512784 h 2831069"/>
              <a:gd name="connsiteX143" fmla="*/ 860806 w 3473628"/>
              <a:gd name="connsiteY143" fmla="*/ 1564138 h 2831069"/>
              <a:gd name="connsiteX144" fmla="*/ 859936 w 3473628"/>
              <a:gd name="connsiteY144" fmla="*/ 1636216 h 2831069"/>
              <a:gd name="connsiteX145" fmla="*/ 882670 w 3473628"/>
              <a:gd name="connsiteY145" fmla="*/ 1693040 h 2831069"/>
              <a:gd name="connsiteX146" fmla="*/ 939930 w 3473628"/>
              <a:gd name="connsiteY146" fmla="*/ 1728001 h 2831069"/>
              <a:gd name="connsiteX147" fmla="*/ 1032856 w 3473628"/>
              <a:gd name="connsiteY147" fmla="*/ 1733618 h 2831069"/>
              <a:gd name="connsiteX148" fmla="*/ 1121326 w 3473628"/>
              <a:gd name="connsiteY148" fmla="*/ 1688440 h 2831069"/>
              <a:gd name="connsiteX149" fmla="*/ 1171830 w 3473628"/>
              <a:gd name="connsiteY149" fmla="*/ 1627304 h 2831069"/>
              <a:gd name="connsiteX150" fmla="*/ 1192263 w 3473628"/>
              <a:gd name="connsiteY150" fmla="*/ 1592343 h 2831069"/>
              <a:gd name="connsiteX151" fmla="*/ 1215433 w 3473628"/>
              <a:gd name="connsiteY151" fmla="*/ 1590478 h 2831069"/>
              <a:gd name="connsiteX152" fmla="*/ 1223059 w 3473628"/>
              <a:gd name="connsiteY152" fmla="*/ 1624569 h 2831069"/>
              <a:gd name="connsiteX153" fmla="*/ 1193569 w 3473628"/>
              <a:gd name="connsiteY153" fmla="*/ 1655219 h 2831069"/>
              <a:gd name="connsiteX154" fmla="*/ 1160328 w 3473628"/>
              <a:gd name="connsiteY154" fmla="*/ 1650909 h 2831069"/>
              <a:gd name="connsiteX155" fmla="*/ 1152121 w 3473628"/>
              <a:gd name="connsiteY155" fmla="*/ 1619844 h 2831069"/>
              <a:gd name="connsiteX156" fmla="*/ 1169239 w 3473628"/>
              <a:gd name="connsiteY156" fmla="*/ 1577836 h 2831069"/>
              <a:gd name="connsiteX157" fmla="*/ 1208511 w 3473628"/>
              <a:gd name="connsiteY157" fmla="*/ 1555683 h 2831069"/>
              <a:gd name="connsiteX158" fmla="*/ 1223039 w 3473628"/>
              <a:gd name="connsiteY158" fmla="*/ 1534814 h 2831069"/>
              <a:gd name="connsiteX159" fmla="*/ 1221173 w 3473628"/>
              <a:gd name="connsiteY159" fmla="*/ 1493822 h 2831069"/>
              <a:gd name="connsiteX160" fmla="*/ 1192263 w 3473628"/>
              <a:gd name="connsiteY160" fmla="*/ 1435837 h 2831069"/>
              <a:gd name="connsiteX161" fmla="*/ 1126527 w 3473628"/>
              <a:gd name="connsiteY161" fmla="*/ 1373105 h 2831069"/>
              <a:gd name="connsiteX162" fmla="*/ 1015178 w 3473628"/>
              <a:gd name="connsiteY162" fmla="*/ 1361604 h 2831069"/>
              <a:gd name="connsiteX163" fmla="*/ 929299 w 3473628"/>
              <a:gd name="connsiteY163" fmla="*/ 1399591 h 2831069"/>
              <a:gd name="connsiteX164" fmla="*/ 891312 w 3473628"/>
              <a:gd name="connsiteY164" fmla="*/ 1413683 h 2831069"/>
              <a:gd name="connsiteX165" fmla="*/ 880805 w 3473628"/>
              <a:gd name="connsiteY165" fmla="*/ 1385623 h 2831069"/>
              <a:gd name="connsiteX166" fmla="*/ 887271 w 3473628"/>
              <a:gd name="connsiteY166" fmla="*/ 1343035 h 2831069"/>
              <a:gd name="connsiteX167" fmla="*/ 919351 w 3473628"/>
              <a:gd name="connsiteY167" fmla="*/ 1314270 h 2831069"/>
              <a:gd name="connsiteX168" fmla="*/ 976031 w 3473628"/>
              <a:gd name="connsiteY168" fmla="*/ 1293402 h 2831069"/>
              <a:gd name="connsiteX169" fmla="*/ 1018183 w 3473628"/>
              <a:gd name="connsiteY169" fmla="*/ 1281900 h 2831069"/>
              <a:gd name="connsiteX170" fmla="*/ 1050844 w 3473628"/>
              <a:gd name="connsiteY170" fmla="*/ 1268947 h 2831069"/>
              <a:gd name="connsiteX171" fmla="*/ 1109244 w 3473628"/>
              <a:gd name="connsiteY171" fmla="*/ 1272118 h 2831069"/>
              <a:gd name="connsiteX172" fmla="*/ 1183622 w 3473628"/>
              <a:gd name="connsiteY172" fmla="*/ 1306209 h 2831069"/>
              <a:gd name="connsiteX173" fmla="*/ 1247202 w 3473628"/>
              <a:gd name="connsiteY173" fmla="*/ 1382017 h 2831069"/>
              <a:gd name="connsiteX174" fmla="*/ 1276983 w 3473628"/>
              <a:gd name="connsiteY174" fmla="*/ 1470777 h 2831069"/>
              <a:gd name="connsiteX175" fmla="*/ 1290785 w 3473628"/>
              <a:gd name="connsiteY175" fmla="*/ 1538959 h 2831069"/>
              <a:gd name="connsiteX176" fmla="*/ 1286184 w 3473628"/>
              <a:gd name="connsiteY176" fmla="*/ 1598664 h 2831069"/>
              <a:gd name="connsiteX177" fmla="*/ 1251223 w 3473628"/>
              <a:gd name="connsiteY177" fmla="*/ 1657789 h 2831069"/>
              <a:gd name="connsiteX178" fmla="*/ 1190792 w 3473628"/>
              <a:gd name="connsiteY178" fmla="*/ 1692460 h 2831069"/>
              <a:gd name="connsiteX179" fmla="*/ 1155396 w 3473628"/>
              <a:gd name="connsiteY179" fmla="*/ 1717349 h 2831069"/>
              <a:gd name="connsiteX180" fmla="*/ 1128786 w 3473628"/>
              <a:gd name="connsiteY180" fmla="*/ 1768848 h 2831069"/>
              <a:gd name="connsiteX181" fmla="*/ 1124766 w 3473628"/>
              <a:gd name="connsiteY181" fmla="*/ 1813156 h 2831069"/>
              <a:gd name="connsiteX182" fmla="*/ 1143459 w 3473628"/>
              <a:gd name="connsiteY182" fmla="*/ 1838045 h 2831069"/>
              <a:gd name="connsiteX183" fmla="*/ 1176700 w 3473628"/>
              <a:gd name="connsiteY183" fmla="*/ 1874581 h 2831069"/>
              <a:gd name="connsiteX184" fmla="*/ 1211951 w 3473628"/>
              <a:gd name="connsiteY184" fmla="*/ 1930971 h 2831069"/>
              <a:gd name="connsiteX185" fmla="*/ 1269791 w 3473628"/>
              <a:gd name="connsiteY185" fmla="*/ 1970678 h 2831069"/>
              <a:gd name="connsiteX186" fmla="*/ 1289790 w 3473628"/>
              <a:gd name="connsiteY186" fmla="*/ 2016996 h 2831069"/>
              <a:gd name="connsiteX187" fmla="*/ 1236696 w 3473628"/>
              <a:gd name="connsiteY187" fmla="*/ 2105031 h 2831069"/>
              <a:gd name="connsiteX188" fmla="*/ 1189362 w 3473628"/>
              <a:gd name="connsiteY188" fmla="*/ 2099269 h 2831069"/>
              <a:gd name="connsiteX189" fmla="*/ 1126921 w 3473628"/>
              <a:gd name="connsiteY189" fmla="*/ 1994386 h 2831069"/>
              <a:gd name="connsiteX190" fmla="*/ 1124621 w 3473628"/>
              <a:gd name="connsiteY190" fmla="*/ 1948773 h 2831069"/>
              <a:gd name="connsiteX191" fmla="*/ 1178855 w 3473628"/>
              <a:gd name="connsiteY191" fmla="*/ 1910226 h 2831069"/>
              <a:gd name="connsiteX192" fmla="*/ 1235245 w 3473628"/>
              <a:gd name="connsiteY192" fmla="*/ 1918288 h 2831069"/>
              <a:gd name="connsiteX193" fmla="*/ 1332792 w 3473628"/>
              <a:gd name="connsiteY193" fmla="*/ 1988065 h 2831069"/>
              <a:gd name="connsiteX194" fmla="*/ 1387316 w 3473628"/>
              <a:gd name="connsiteY194" fmla="*/ 2070650 h 2831069"/>
              <a:gd name="connsiteX195" fmla="*/ 1383710 w 3473628"/>
              <a:gd name="connsiteY195" fmla="*/ 2126190 h 2831069"/>
              <a:gd name="connsiteX196" fmla="*/ 1348459 w 3473628"/>
              <a:gd name="connsiteY196" fmla="*/ 2203448 h 2831069"/>
              <a:gd name="connsiteX197" fmla="*/ 1311923 w 3473628"/>
              <a:gd name="connsiteY197" fmla="*/ 2248771 h 2831069"/>
              <a:gd name="connsiteX198" fmla="*/ 1270786 w 3473628"/>
              <a:gd name="connsiteY198" fmla="*/ 2226907 h 2831069"/>
              <a:gd name="connsiteX199" fmla="*/ 1256694 w 3473628"/>
              <a:gd name="connsiteY199" fmla="*/ 2197417 h 2831069"/>
              <a:gd name="connsiteX200" fmla="*/ 1262745 w 3473628"/>
              <a:gd name="connsiteY200" fmla="*/ 2172093 h 2831069"/>
              <a:gd name="connsiteX201" fmla="*/ 1299427 w 3473628"/>
              <a:gd name="connsiteY201" fmla="*/ 2127640 h 2831069"/>
              <a:gd name="connsiteX202" fmla="*/ 1357826 w 3473628"/>
              <a:gd name="connsiteY202" fmla="*/ 2086068 h 2831069"/>
              <a:gd name="connsiteX203" fmla="*/ 1403999 w 3473628"/>
              <a:gd name="connsiteY203" fmla="*/ 2048372 h 2831069"/>
              <a:gd name="connsiteX204" fmla="*/ 1428453 w 3473628"/>
              <a:gd name="connsiteY204" fmla="*/ 2028228 h 2831069"/>
              <a:gd name="connsiteX205" fmla="*/ 1435644 w 3473628"/>
              <a:gd name="connsiteY205" fmla="*/ 2043481 h 2831069"/>
              <a:gd name="connsiteX206" fmla="*/ 1439375 w 3473628"/>
              <a:gd name="connsiteY206" fmla="*/ 2107062 h 2831069"/>
              <a:gd name="connsiteX207" fmla="*/ 1432039 w 3473628"/>
              <a:gd name="connsiteY207" fmla="*/ 2164902 h 2831069"/>
              <a:gd name="connsiteX208" fmla="*/ 1405864 w 3473628"/>
              <a:gd name="connsiteY208" fmla="*/ 2266469 h 2831069"/>
              <a:gd name="connsiteX209" fmla="*/ 1412765 w 3473628"/>
              <a:gd name="connsiteY209" fmla="*/ 2328330 h 2831069"/>
              <a:gd name="connsiteX210" fmla="*/ 1440245 w 3473628"/>
              <a:gd name="connsiteY210" fmla="*/ 2353074 h 2831069"/>
              <a:gd name="connsiteX211" fmla="*/ 1475932 w 3473628"/>
              <a:gd name="connsiteY211" fmla="*/ 2367457 h 2831069"/>
              <a:gd name="connsiteX212" fmla="*/ 1511038 w 3473628"/>
              <a:gd name="connsiteY212" fmla="*/ 2382710 h 2831069"/>
              <a:gd name="connsiteX213" fmla="*/ 1536217 w 3473628"/>
              <a:gd name="connsiteY213" fmla="*/ 2415225 h 2831069"/>
              <a:gd name="connsiteX214" fmla="*/ 1543408 w 3473628"/>
              <a:gd name="connsiteY214" fmla="*/ 2463843 h 2831069"/>
              <a:gd name="connsiteX215" fmla="*/ 1512758 w 3473628"/>
              <a:gd name="connsiteY215" fmla="*/ 2507156 h 2831069"/>
              <a:gd name="connsiteX216" fmla="*/ 1467083 w 3473628"/>
              <a:gd name="connsiteY216" fmla="*/ 2522844 h 2831069"/>
              <a:gd name="connsiteX217" fmla="*/ 1422195 w 3473628"/>
              <a:gd name="connsiteY217" fmla="*/ 2523860 h 2831069"/>
              <a:gd name="connsiteX218" fmla="*/ 1366738 w 3473628"/>
              <a:gd name="connsiteY218" fmla="*/ 2540832 h 2831069"/>
              <a:gd name="connsiteX219" fmla="*/ 1320420 w 3473628"/>
              <a:gd name="connsiteY219" fmla="*/ 2536667 h 2831069"/>
              <a:gd name="connsiteX220" fmla="*/ 1321788 w 3473628"/>
              <a:gd name="connsiteY220" fmla="*/ 2519549 h 2831069"/>
              <a:gd name="connsiteX221" fmla="*/ 1369846 w 3473628"/>
              <a:gd name="connsiteY221" fmla="*/ 2497893 h 2831069"/>
              <a:gd name="connsiteX222" fmla="*/ 1396891 w 3473628"/>
              <a:gd name="connsiteY222" fmla="*/ 2480277 h 2831069"/>
              <a:gd name="connsiteX223" fmla="*/ 1381286 w 3473628"/>
              <a:gd name="connsiteY223" fmla="*/ 2474102 h 2831069"/>
              <a:gd name="connsiteX224" fmla="*/ 1307986 w 3473628"/>
              <a:gd name="connsiteY224" fmla="*/ 2503094 h 2831069"/>
              <a:gd name="connsiteX225" fmla="*/ 1275760 w 3473628"/>
              <a:gd name="connsiteY225" fmla="*/ 2503820 h 2831069"/>
              <a:gd name="connsiteX226" fmla="*/ 1277190 w 3473628"/>
              <a:gd name="connsiteY226" fmla="*/ 2490515 h 2831069"/>
              <a:gd name="connsiteX227" fmla="*/ 1302287 w 3473628"/>
              <a:gd name="connsiteY227" fmla="*/ 2478495 h 2831069"/>
              <a:gd name="connsiteX228" fmla="*/ 1350407 w 3473628"/>
              <a:gd name="connsiteY228" fmla="*/ 2445109 h 2831069"/>
              <a:gd name="connsiteX229" fmla="*/ 1346946 w 3473628"/>
              <a:gd name="connsiteY229" fmla="*/ 2435120 h 2831069"/>
              <a:gd name="connsiteX230" fmla="*/ 1292774 w 3473628"/>
              <a:gd name="connsiteY230" fmla="*/ 2461812 h 2831069"/>
              <a:gd name="connsiteX231" fmla="*/ 1261834 w 3473628"/>
              <a:gd name="connsiteY231" fmla="*/ 2459719 h 2831069"/>
              <a:gd name="connsiteX232" fmla="*/ 1265149 w 3473628"/>
              <a:gd name="connsiteY232" fmla="*/ 2438933 h 2831069"/>
              <a:gd name="connsiteX233" fmla="*/ 1303053 w 3473628"/>
              <a:gd name="connsiteY233" fmla="*/ 2411308 h 2831069"/>
              <a:gd name="connsiteX234" fmla="*/ 1318513 w 3473628"/>
              <a:gd name="connsiteY234" fmla="*/ 2393175 h 2831069"/>
              <a:gd name="connsiteX235" fmla="*/ 1306783 w 3473628"/>
              <a:gd name="connsiteY235" fmla="*/ 2385984 h 2831069"/>
              <a:gd name="connsiteX236" fmla="*/ 1268590 w 3473628"/>
              <a:gd name="connsiteY236" fmla="*/ 2403392 h 2831069"/>
              <a:gd name="connsiteX237" fmla="*/ 1243410 w 3473628"/>
              <a:gd name="connsiteY237" fmla="*/ 2405257 h 2831069"/>
              <a:gd name="connsiteX238" fmla="*/ 1242685 w 3473628"/>
              <a:gd name="connsiteY238" fmla="*/ 2382461 h 2831069"/>
              <a:gd name="connsiteX239" fmla="*/ 1284402 w 3473628"/>
              <a:gd name="connsiteY239" fmla="*/ 2341469 h 2831069"/>
              <a:gd name="connsiteX240" fmla="*/ 1360935 w 3473628"/>
              <a:gd name="connsiteY240" fmla="*/ 2306218 h 2831069"/>
              <a:gd name="connsiteX241" fmla="*/ 1411004 w 3473628"/>
              <a:gd name="connsiteY241" fmla="*/ 2303047 h 2831069"/>
              <a:gd name="connsiteX242" fmla="*/ 1438484 w 3473628"/>
              <a:gd name="connsiteY242" fmla="*/ 2295131 h 2831069"/>
              <a:gd name="connsiteX243" fmla="*/ 1468409 w 3473628"/>
              <a:gd name="connsiteY243" fmla="*/ 2243777 h 2831069"/>
              <a:gd name="connsiteX244" fmla="*/ 1532570 w 3473628"/>
              <a:gd name="connsiteY244" fmla="*/ 2156301 h 2831069"/>
              <a:gd name="connsiteX245" fmla="*/ 1610761 w 3473628"/>
              <a:gd name="connsiteY245" fmla="*/ 2074152 h 2831069"/>
              <a:gd name="connsiteX246" fmla="*/ 1628957 w 3473628"/>
              <a:gd name="connsiteY246" fmla="*/ 2041864 h 2831069"/>
              <a:gd name="connsiteX247" fmla="*/ 1628604 w 3473628"/>
              <a:gd name="connsiteY247" fmla="*/ 2021078 h 2831069"/>
              <a:gd name="connsiteX248" fmla="*/ 1642841 w 3473628"/>
              <a:gd name="connsiteY248" fmla="*/ 2001308 h 2831069"/>
              <a:gd name="connsiteX249" fmla="*/ 1697863 w 3473628"/>
              <a:gd name="connsiteY249" fmla="*/ 1963611 h 2831069"/>
              <a:gd name="connsiteX250" fmla="*/ 1768718 w 3473628"/>
              <a:gd name="connsiteY250" fmla="*/ 1914703 h 2831069"/>
              <a:gd name="connsiteX251" fmla="*/ 1816549 w 3473628"/>
              <a:gd name="connsiteY251" fmla="*/ 1881109 h 2831069"/>
              <a:gd name="connsiteX252" fmla="*/ 1846039 w 3473628"/>
              <a:gd name="connsiteY252" fmla="*/ 1836221 h 2831069"/>
              <a:gd name="connsiteX253" fmla="*/ 1863882 w 3473628"/>
              <a:gd name="connsiteY253" fmla="*/ 1739400 h 2831069"/>
              <a:gd name="connsiteX254" fmla="*/ 1862162 w 3473628"/>
              <a:gd name="connsiteY254" fmla="*/ 1654225 h 2831069"/>
              <a:gd name="connsiteX255" fmla="*/ 1849355 w 3473628"/>
              <a:gd name="connsiteY255" fmla="*/ 1586312 h 2831069"/>
              <a:gd name="connsiteX256" fmla="*/ 1804322 w 3473628"/>
              <a:gd name="connsiteY256" fmla="*/ 1511499 h 2831069"/>
              <a:gd name="connsiteX257" fmla="*/ 1748512 w 3473628"/>
              <a:gd name="connsiteY257" fmla="*/ 1463296 h 2831069"/>
              <a:gd name="connsiteX258" fmla="*/ 1688662 w 3473628"/>
              <a:gd name="connsiteY258" fmla="*/ 1445017 h 2831069"/>
              <a:gd name="connsiteX259" fmla="*/ 1629682 w 3473628"/>
              <a:gd name="connsiteY259" fmla="*/ 1434655 h 2831069"/>
              <a:gd name="connsiteX260" fmla="*/ 1565521 w 3473628"/>
              <a:gd name="connsiteY260" fmla="*/ 1420708 h 2831069"/>
              <a:gd name="connsiteX261" fmla="*/ 1482377 w 3473628"/>
              <a:gd name="connsiteY261" fmla="*/ 1428044 h 2831069"/>
              <a:gd name="connsiteX262" fmla="*/ 1425117 w 3473628"/>
              <a:gd name="connsiteY262" fmla="*/ 1469036 h 2831069"/>
              <a:gd name="connsiteX263" fmla="*/ 1416910 w 3473628"/>
              <a:gd name="connsiteY263" fmla="*/ 1533923 h 2831069"/>
              <a:gd name="connsiteX264" fmla="*/ 1436618 w 3473628"/>
              <a:gd name="connsiteY264" fmla="*/ 1580240 h 2831069"/>
              <a:gd name="connsiteX265" fmla="*/ 1448265 w 3473628"/>
              <a:gd name="connsiteY265" fmla="*/ 1638081 h 2831069"/>
              <a:gd name="connsiteX266" fmla="*/ 1432577 w 3473628"/>
              <a:gd name="connsiteY266" fmla="*/ 1733037 h 2831069"/>
              <a:gd name="connsiteX267" fmla="*/ 1436598 w 3473628"/>
              <a:gd name="connsiteY267" fmla="*/ 1799063 h 2831069"/>
              <a:gd name="connsiteX268" fmla="*/ 1493568 w 3473628"/>
              <a:gd name="connsiteY268" fmla="*/ 1841216 h 2831069"/>
              <a:gd name="connsiteX269" fmla="*/ 1619299 w 3473628"/>
              <a:gd name="connsiteY269" fmla="*/ 1854168 h 2831069"/>
              <a:gd name="connsiteX270" fmla="*/ 1704039 w 3473628"/>
              <a:gd name="connsiteY270" fmla="*/ 1837050 h 2831069"/>
              <a:gd name="connsiteX271" fmla="*/ 1739290 w 3473628"/>
              <a:gd name="connsiteY271" fmla="*/ 1788577 h 2831069"/>
              <a:gd name="connsiteX272" fmla="*/ 1754108 w 3473628"/>
              <a:gd name="connsiteY272" fmla="*/ 1758507 h 2831069"/>
              <a:gd name="connsiteX273" fmla="*/ 1769071 w 3473628"/>
              <a:gd name="connsiteY273" fmla="*/ 1758507 h 2831069"/>
              <a:gd name="connsiteX274" fmla="*/ 1773526 w 3473628"/>
              <a:gd name="connsiteY274" fmla="*/ 1787562 h 2831069"/>
              <a:gd name="connsiteX275" fmla="*/ 1747621 w 3473628"/>
              <a:gd name="connsiteY275" fmla="*/ 1819497 h 2831069"/>
              <a:gd name="connsiteX276" fmla="*/ 1719271 w 3473628"/>
              <a:gd name="connsiteY276" fmla="*/ 1806110 h 2831069"/>
              <a:gd name="connsiteX277" fmla="*/ 1727478 w 3473628"/>
              <a:gd name="connsiteY277" fmla="*/ 1762092 h 2831069"/>
              <a:gd name="connsiteX278" fmla="*/ 1757258 w 3473628"/>
              <a:gd name="connsiteY278" fmla="*/ 1731297 h 2831069"/>
              <a:gd name="connsiteX279" fmla="*/ 1781857 w 3473628"/>
              <a:gd name="connsiteY279" fmla="*/ 1696626 h 2831069"/>
              <a:gd name="connsiteX280" fmla="*/ 1759123 w 3473628"/>
              <a:gd name="connsiteY280" fmla="*/ 1625563 h 2831069"/>
              <a:gd name="connsiteX281" fmla="*/ 1710650 w 3473628"/>
              <a:gd name="connsiteY281" fmla="*/ 1549175 h 2831069"/>
              <a:gd name="connsiteX282" fmla="*/ 1628065 w 3473628"/>
              <a:gd name="connsiteY282" fmla="*/ 1512349 h 2831069"/>
              <a:gd name="connsiteX283" fmla="*/ 1535989 w 3473628"/>
              <a:gd name="connsiteY283" fmla="*/ 1521260 h 2831069"/>
              <a:gd name="connsiteX284" fmla="*/ 1469528 w 3473628"/>
              <a:gd name="connsiteY284" fmla="*/ 1574624 h 2831069"/>
              <a:gd name="connsiteX285" fmla="*/ 1448100 w 3473628"/>
              <a:gd name="connsiteY285" fmla="*/ 1608280 h 2831069"/>
              <a:gd name="connsiteX286" fmla="*/ 1425946 w 3473628"/>
              <a:gd name="connsiteY286" fmla="*/ 1663384 h 2831069"/>
              <a:gd name="connsiteX287" fmla="*/ 1406527 w 3473628"/>
              <a:gd name="connsiteY287" fmla="*/ 1760351 h 2831069"/>
              <a:gd name="connsiteX288" fmla="*/ 1422215 w 3473628"/>
              <a:gd name="connsiteY288" fmla="*/ 1829693 h 2831069"/>
              <a:gd name="connsiteX289" fmla="*/ 1452866 w 3473628"/>
              <a:gd name="connsiteY289" fmla="*/ 1880115 h 2831069"/>
              <a:gd name="connsiteX290" fmla="*/ 1472139 w 3473628"/>
              <a:gd name="connsiteY290" fmla="*/ 1939737 h 2831069"/>
              <a:gd name="connsiteX291" fmla="*/ 1476885 w 3473628"/>
              <a:gd name="connsiteY291" fmla="*/ 1996769 h 2831069"/>
              <a:gd name="connsiteX292" fmla="*/ 1459332 w 3473628"/>
              <a:gd name="connsiteY292" fmla="*/ 2060205 h 2831069"/>
              <a:gd name="connsiteX293" fmla="*/ 1462212 w 3473628"/>
              <a:gd name="connsiteY293" fmla="*/ 2092430 h 2831069"/>
              <a:gd name="connsiteX294" fmla="*/ 1501339 w 3473628"/>
              <a:gd name="connsiteY294" fmla="*/ 2073157 h 2831069"/>
              <a:gd name="connsiteX295" fmla="*/ 1597083 w 3473628"/>
              <a:gd name="connsiteY295" fmla="*/ 2002592 h 2831069"/>
              <a:gd name="connsiteX296" fmla="*/ 1667586 w 3473628"/>
              <a:gd name="connsiteY296" fmla="*/ 1957705 h 2831069"/>
              <a:gd name="connsiteX297" fmla="*/ 1726856 w 3473628"/>
              <a:gd name="connsiteY297" fmla="*/ 1927987 h 2831069"/>
              <a:gd name="connsiteX298" fmla="*/ 1753258 w 3473628"/>
              <a:gd name="connsiteY298" fmla="*/ 1933520 h 2831069"/>
              <a:gd name="connsiteX299" fmla="*/ 1781816 w 3473628"/>
              <a:gd name="connsiteY299" fmla="*/ 1986034 h 2831069"/>
              <a:gd name="connsiteX300" fmla="*/ 1823616 w 3473628"/>
              <a:gd name="connsiteY300" fmla="*/ 2024809 h 2831069"/>
              <a:gd name="connsiteX301" fmla="*/ 1853044 w 3473628"/>
              <a:gd name="connsiteY301" fmla="*/ 2039129 h 2831069"/>
              <a:gd name="connsiteX302" fmla="*/ 1845417 w 3473628"/>
              <a:gd name="connsiteY302" fmla="*/ 2056392 h 2831069"/>
              <a:gd name="connsiteX303" fmla="*/ 1802685 w 3473628"/>
              <a:gd name="connsiteY303" fmla="*/ 2090420 h 2831069"/>
              <a:gd name="connsiteX304" fmla="*/ 1764283 w 3473628"/>
              <a:gd name="connsiteY304" fmla="*/ 2152281 h 2831069"/>
              <a:gd name="connsiteX305" fmla="*/ 1702132 w 3473628"/>
              <a:gd name="connsiteY305" fmla="*/ 2291753 h 2831069"/>
              <a:gd name="connsiteX306" fmla="*/ 1672207 w 3473628"/>
              <a:gd name="connsiteY306" fmla="*/ 2356639 h 2831069"/>
              <a:gd name="connsiteX307" fmla="*/ 1654654 w 3473628"/>
              <a:gd name="connsiteY307" fmla="*/ 2363043 h 2831069"/>
              <a:gd name="connsiteX308" fmla="*/ 1613082 w 3473628"/>
              <a:gd name="connsiteY308" fmla="*/ 2345054 h 2831069"/>
              <a:gd name="connsiteX309" fmla="*/ 1559925 w 3473628"/>
              <a:gd name="connsiteY309" fmla="*/ 2330174 h 2831069"/>
              <a:gd name="connsiteX310" fmla="*/ 1518498 w 3473628"/>
              <a:gd name="connsiteY310" fmla="*/ 2333345 h 2831069"/>
              <a:gd name="connsiteX311" fmla="*/ 1485112 w 3473628"/>
              <a:gd name="connsiteY311" fmla="*/ 2345075 h 2831069"/>
              <a:gd name="connsiteX312" fmla="*/ 1462813 w 3473628"/>
              <a:gd name="connsiteY312" fmla="*/ 2341759 h 2831069"/>
              <a:gd name="connsiteX313" fmla="*/ 1462523 w 3473628"/>
              <a:gd name="connsiteY313" fmla="*/ 2316435 h 2831069"/>
              <a:gd name="connsiteX314" fmla="*/ 1514022 w 3473628"/>
              <a:gd name="connsiteY314" fmla="*/ 2230907 h 2831069"/>
              <a:gd name="connsiteX315" fmla="*/ 1633868 w 3473628"/>
              <a:gd name="connsiteY315" fmla="*/ 2086462 h 2831069"/>
              <a:gd name="connsiteX316" fmla="*/ 1761050 w 3473628"/>
              <a:gd name="connsiteY316" fmla="*/ 2009494 h 2831069"/>
              <a:gd name="connsiteX317" fmla="*/ 1835718 w 3473628"/>
              <a:gd name="connsiteY317" fmla="*/ 2007773 h 2831069"/>
              <a:gd name="connsiteX318" fmla="*/ 1915422 w 3473628"/>
              <a:gd name="connsiteY318" fmla="*/ 2040579 h 2831069"/>
              <a:gd name="connsiteX319" fmla="*/ 1956414 w 3473628"/>
              <a:gd name="connsiteY319" fmla="*/ 2094378 h 2831069"/>
              <a:gd name="connsiteX320" fmla="*/ 1981593 w 3473628"/>
              <a:gd name="connsiteY320" fmla="*/ 2161420 h 2831069"/>
              <a:gd name="connsiteX321" fmla="*/ 1998421 w 3473628"/>
              <a:gd name="connsiteY321" fmla="*/ 2191781 h 2831069"/>
              <a:gd name="connsiteX322" fmla="*/ 2004473 w 3473628"/>
              <a:gd name="connsiteY322" fmla="*/ 2185874 h 2831069"/>
              <a:gd name="connsiteX323" fmla="*/ 1997717 w 3473628"/>
              <a:gd name="connsiteY323" fmla="*/ 2138106 h 2831069"/>
              <a:gd name="connsiteX324" fmla="*/ 1965781 w 3473628"/>
              <a:gd name="connsiteY324" fmla="*/ 2073364 h 2831069"/>
              <a:gd name="connsiteX325" fmla="*/ 1892688 w 3473628"/>
              <a:gd name="connsiteY325" fmla="*/ 2059127 h 2831069"/>
              <a:gd name="connsiteX326" fmla="*/ 1816155 w 3473628"/>
              <a:gd name="connsiteY326" fmla="*/ 2115517 h 2831069"/>
              <a:gd name="connsiteX327" fmla="*/ 1767682 w 3473628"/>
              <a:gd name="connsiteY327" fmla="*/ 2216504 h 2831069"/>
              <a:gd name="connsiteX328" fmla="*/ 1756740 w 3473628"/>
              <a:gd name="connsiteY328" fmla="*/ 2315771 h 2831069"/>
              <a:gd name="connsiteX329" fmla="*/ 1733280 w 3473628"/>
              <a:gd name="connsiteY329" fmla="*/ 2398211 h 2831069"/>
              <a:gd name="connsiteX330" fmla="*/ 1632148 w 3473628"/>
              <a:gd name="connsiteY330" fmla="*/ 2384554 h 2831069"/>
              <a:gd name="connsiteX331" fmla="*/ 1539637 w 3473628"/>
              <a:gd name="connsiteY331" fmla="*/ 2352183 h 2831069"/>
              <a:gd name="connsiteX332" fmla="*/ 1522519 w 3473628"/>
              <a:gd name="connsiteY332" fmla="*/ 2359229 h 2831069"/>
              <a:gd name="connsiteX333" fmla="*/ 1543947 w 3473628"/>
              <a:gd name="connsiteY333" fmla="*/ 2385549 h 2831069"/>
              <a:gd name="connsiteX334" fmla="*/ 1564381 w 3473628"/>
              <a:gd name="connsiteY334" fmla="*/ 2430727 h 2831069"/>
              <a:gd name="connsiteX335" fmla="*/ 1559200 w 3473628"/>
              <a:gd name="connsiteY335" fmla="*/ 2486412 h 2831069"/>
              <a:gd name="connsiteX336" fmla="*/ 1529710 w 3473628"/>
              <a:gd name="connsiteY336" fmla="*/ 2562364 h 2831069"/>
              <a:gd name="connsiteX337" fmla="*/ 1544963 w 3473628"/>
              <a:gd name="connsiteY337" fmla="*/ 2634587 h 2831069"/>
              <a:gd name="connsiteX338" fmla="*/ 1609124 w 3473628"/>
              <a:gd name="connsiteY338" fmla="*/ 2669984 h 2831069"/>
              <a:gd name="connsiteX339" fmla="*/ 1709821 w 3473628"/>
              <a:gd name="connsiteY339" fmla="*/ 2685526 h 2831069"/>
              <a:gd name="connsiteX340" fmla="*/ 1825481 w 3473628"/>
              <a:gd name="connsiteY340" fmla="*/ 2710706 h 2831069"/>
              <a:gd name="connsiteX341" fmla="*/ 1849666 w 3473628"/>
              <a:gd name="connsiteY341" fmla="*/ 2737274 h 2831069"/>
              <a:gd name="connsiteX342" fmla="*/ 1827284 w 3473628"/>
              <a:gd name="connsiteY342" fmla="*/ 2775385 h 2831069"/>
              <a:gd name="connsiteX343" fmla="*/ 1859468 w 3473628"/>
              <a:gd name="connsiteY343" fmla="*/ 2784130 h 2831069"/>
              <a:gd name="connsiteX344" fmla="*/ 2089565 w 3473628"/>
              <a:gd name="connsiteY344" fmla="*/ 2784130 h 2831069"/>
              <a:gd name="connsiteX345" fmla="*/ 2566897 w 3473628"/>
              <a:gd name="connsiteY345" fmla="*/ 2782162 h 2831069"/>
              <a:gd name="connsiteX346" fmla="*/ 2687966 w 3473628"/>
              <a:gd name="connsiteY346" fmla="*/ 2759884 h 2831069"/>
              <a:gd name="connsiteX347" fmla="*/ 2680464 w 3473628"/>
              <a:gd name="connsiteY347" fmla="*/ 2692303 h 2831069"/>
              <a:gd name="connsiteX348" fmla="*/ 2633566 w 3473628"/>
              <a:gd name="connsiteY348" fmla="*/ 2631872 h 2831069"/>
              <a:gd name="connsiteX349" fmla="*/ 2492291 w 3473628"/>
              <a:gd name="connsiteY349" fmla="*/ 2565701 h 2831069"/>
              <a:gd name="connsiteX350" fmla="*/ 2424110 w 3473628"/>
              <a:gd name="connsiteY350" fmla="*/ 2476651 h 2831069"/>
              <a:gd name="connsiteX351" fmla="*/ 2465247 w 3473628"/>
              <a:gd name="connsiteY351" fmla="*/ 2186330 h 2831069"/>
              <a:gd name="connsiteX352" fmla="*/ 2494592 w 3473628"/>
              <a:gd name="connsiteY352" fmla="*/ 1978159 h 2831069"/>
              <a:gd name="connsiteX353" fmla="*/ 2532289 w 3473628"/>
              <a:gd name="connsiteY353" fmla="*/ 1883202 h 2831069"/>
              <a:gd name="connsiteX354" fmla="*/ 2600200 w 3473628"/>
              <a:gd name="connsiteY354" fmla="*/ 1837175 h 2831069"/>
              <a:gd name="connsiteX355" fmla="*/ 2643928 w 3473628"/>
              <a:gd name="connsiteY355" fmla="*/ 1758051 h 2831069"/>
              <a:gd name="connsiteX356" fmla="*/ 2671553 w 3473628"/>
              <a:gd name="connsiteY356" fmla="*/ 1632029 h 2831069"/>
              <a:gd name="connsiteX357" fmla="*/ 2694577 w 3473628"/>
              <a:gd name="connsiteY357" fmla="*/ 1561817 h 2831069"/>
              <a:gd name="connsiteX358" fmla="*/ 2707239 w 3473628"/>
              <a:gd name="connsiteY358" fmla="*/ 1548305 h 2831069"/>
              <a:gd name="connsiteX359" fmla="*/ 2696877 w 3473628"/>
              <a:gd name="connsiteY359" fmla="*/ 1616217 h 2831069"/>
              <a:gd name="connsiteX360" fmla="*/ 2656300 w 3473628"/>
              <a:gd name="connsiteY360" fmla="*/ 1792308 h 2831069"/>
              <a:gd name="connsiteX361" fmla="*/ 2576306 w 3473628"/>
              <a:gd name="connsiteY361" fmla="*/ 1905377 h 2831069"/>
              <a:gd name="connsiteX362" fmla="*/ 2484810 w 3473628"/>
              <a:gd name="connsiteY362" fmla="*/ 1918329 h 2831069"/>
              <a:gd name="connsiteX363" fmla="*/ 2405251 w 3473628"/>
              <a:gd name="connsiteY363" fmla="*/ 1822813 h 2831069"/>
              <a:gd name="connsiteX364" fmla="*/ 2384113 w 3473628"/>
              <a:gd name="connsiteY364" fmla="*/ 1673912 h 2831069"/>
              <a:gd name="connsiteX365" fmla="*/ 2378642 w 3473628"/>
              <a:gd name="connsiteY365" fmla="*/ 1541984 h 2831069"/>
              <a:gd name="connsiteX366" fmla="*/ 2373751 w 3473628"/>
              <a:gd name="connsiteY366" fmla="*/ 1415527 h 2831069"/>
              <a:gd name="connsiteX367" fmla="*/ 2347141 w 3473628"/>
              <a:gd name="connsiteY367" fmla="*/ 1246918 h 2831069"/>
              <a:gd name="connsiteX368" fmla="*/ 2334769 w 3473628"/>
              <a:gd name="connsiteY368" fmla="*/ 1142615 h 2831069"/>
              <a:gd name="connsiteX369" fmla="*/ 2329153 w 3473628"/>
              <a:gd name="connsiteY369" fmla="*/ 1065211 h 2831069"/>
              <a:gd name="connsiteX370" fmla="*/ 2304554 w 3473628"/>
              <a:gd name="connsiteY370" fmla="*/ 939335 h 2831069"/>
              <a:gd name="connsiteX371" fmla="*/ 2256641 w 3473628"/>
              <a:gd name="connsiteY371" fmla="*/ 796630 h 2831069"/>
              <a:gd name="connsiteX372" fmla="*/ 2230736 w 3473628"/>
              <a:gd name="connsiteY372" fmla="*/ 692327 h 2831069"/>
              <a:gd name="connsiteX373" fmla="*/ 2239502 w 3473628"/>
              <a:gd name="connsiteY373" fmla="*/ 643564 h 2831069"/>
              <a:gd name="connsiteX374" fmla="*/ 2294026 w 3473628"/>
              <a:gd name="connsiteY374" fmla="*/ 635647 h 2831069"/>
              <a:gd name="connsiteX375" fmla="*/ 2342789 w 3473628"/>
              <a:gd name="connsiteY375" fmla="*/ 621700 h 2831069"/>
              <a:gd name="connsiteX376" fmla="*/ 2378621 w 3473628"/>
              <a:gd name="connsiteY376" fmla="*/ 587174 h 2831069"/>
              <a:gd name="connsiteX377" fmla="*/ 2391283 w 3473628"/>
              <a:gd name="connsiteY377" fmla="*/ 534080 h 2831069"/>
              <a:gd name="connsiteX378" fmla="*/ 2374601 w 3473628"/>
              <a:gd name="connsiteY378" fmla="*/ 480426 h 2831069"/>
              <a:gd name="connsiteX379" fmla="*/ 2310004 w 3473628"/>
              <a:gd name="connsiteY379" fmla="*/ 360020 h 2831069"/>
              <a:gd name="connsiteX380" fmla="*/ 2266567 w 3473628"/>
              <a:gd name="connsiteY380" fmla="*/ 280171 h 2831069"/>
              <a:gd name="connsiteX381" fmla="*/ 2203691 w 3473628"/>
              <a:gd name="connsiteY381" fmla="*/ 213564 h 2831069"/>
              <a:gd name="connsiteX382" fmla="*/ 2153622 w 3473628"/>
              <a:gd name="connsiteY382" fmla="*/ 194291 h 2831069"/>
              <a:gd name="connsiteX383" fmla="*/ 2109315 w 3473628"/>
              <a:gd name="connsiteY383" fmla="*/ 218310 h 2831069"/>
              <a:gd name="connsiteX384" fmla="*/ 2085731 w 3473628"/>
              <a:gd name="connsiteY384" fmla="*/ 264214 h 2831069"/>
              <a:gd name="connsiteX385" fmla="*/ 2085006 w 3473628"/>
              <a:gd name="connsiteY385" fmla="*/ 308666 h 2831069"/>
              <a:gd name="connsiteX386" fmla="*/ 2107595 w 3473628"/>
              <a:gd name="connsiteY386" fmla="*/ 327794 h 2831069"/>
              <a:gd name="connsiteX387" fmla="*/ 2138245 w 3473628"/>
              <a:gd name="connsiteY387" fmla="*/ 329660 h 2831069"/>
              <a:gd name="connsiteX388" fmla="*/ 2151343 w 3473628"/>
              <a:gd name="connsiteY388" fmla="*/ 299299 h 2831069"/>
              <a:gd name="connsiteX389" fmla="*/ 2155508 w 3473628"/>
              <a:gd name="connsiteY389" fmla="*/ 263053 h 2831069"/>
              <a:gd name="connsiteX390" fmla="*/ 2173641 w 3473628"/>
              <a:gd name="connsiteY390" fmla="*/ 251261 h 2831069"/>
              <a:gd name="connsiteX391" fmla="*/ 2215068 w 3473628"/>
              <a:gd name="connsiteY391" fmla="*/ 262058 h 2831069"/>
              <a:gd name="connsiteX392" fmla="*/ 2248019 w 3473628"/>
              <a:gd name="connsiteY392" fmla="*/ 269975 h 2831069"/>
              <a:gd name="connsiteX393" fmla="*/ 2262257 w 3473628"/>
              <a:gd name="connsiteY393" fmla="*/ 259903 h 2831069"/>
              <a:gd name="connsiteX394" fmla="*/ 2259749 w 3473628"/>
              <a:gd name="connsiteY394" fmla="*/ 230993 h 2831069"/>
              <a:gd name="connsiteX395" fmla="*/ 2231337 w 3473628"/>
              <a:gd name="connsiteY395" fmla="*/ 190851 h 2831069"/>
              <a:gd name="connsiteX396" fmla="*/ 2181351 w 3473628"/>
              <a:gd name="connsiteY396" fmla="*/ 163309 h 2831069"/>
              <a:gd name="connsiteX397" fmla="*/ 2141354 w 3473628"/>
              <a:gd name="connsiteY397" fmla="*/ 157548 h 2831069"/>
              <a:gd name="connsiteX398" fmla="*/ 2113377 w 3473628"/>
              <a:gd name="connsiteY398" fmla="*/ 169485 h 2831069"/>
              <a:gd name="connsiteX399" fmla="*/ 2082726 w 3473628"/>
              <a:gd name="connsiteY399" fmla="*/ 176469 h 2831069"/>
              <a:gd name="connsiteX400" fmla="*/ 2031870 w 3473628"/>
              <a:gd name="connsiteY400" fmla="*/ 162086 h 2831069"/>
              <a:gd name="connsiteX401" fmla="*/ 1991955 w 3473628"/>
              <a:gd name="connsiteY401" fmla="*/ 137280 h 2831069"/>
              <a:gd name="connsiteX402" fmla="*/ 1950528 w 3473628"/>
              <a:gd name="connsiteY402" fmla="*/ 77222 h 2831069"/>
              <a:gd name="connsiteX403" fmla="*/ 1938737 w 3473628"/>
              <a:gd name="connsiteY403" fmla="*/ 27008 h 2831069"/>
              <a:gd name="connsiteX404" fmla="*/ 1947669 w 3473628"/>
              <a:gd name="connsiteY404" fmla="*/ 1725 h 2831069"/>
              <a:gd name="connsiteX405" fmla="*/ 1970755 w 3473628"/>
              <a:gd name="connsiteY405" fmla="*/ 8461 h 2831069"/>
              <a:gd name="connsiteX406" fmla="*/ 2009260 w 3473628"/>
              <a:gd name="connsiteY406" fmla="*/ 49494 h 2831069"/>
              <a:gd name="connsiteX407" fmla="*/ 2058292 w 3473628"/>
              <a:gd name="connsiteY407" fmla="*/ 104412 h 2831069"/>
              <a:gd name="connsiteX408" fmla="*/ 2093544 w 3473628"/>
              <a:gd name="connsiteY408" fmla="*/ 149010 h 2831069"/>
              <a:gd name="connsiteX409" fmla="*/ 2084487 w 3473628"/>
              <a:gd name="connsiteY409" fmla="*/ 165837 h 2831069"/>
              <a:gd name="connsiteX410" fmla="*/ 2039599 w 3473628"/>
              <a:gd name="connsiteY410" fmla="*/ 172593 h 2831069"/>
              <a:gd name="connsiteX411" fmla="*/ 2028657 w 3473628"/>
              <a:gd name="connsiteY411" fmla="*/ 186976 h 2831069"/>
              <a:gd name="connsiteX412" fmla="*/ 2037424 w 3473628"/>
              <a:gd name="connsiteY412" fmla="*/ 210435 h 2831069"/>
              <a:gd name="connsiteX413" fmla="*/ 2052531 w 3473628"/>
              <a:gd name="connsiteY413" fmla="*/ 240360 h 2831069"/>
              <a:gd name="connsiteX414" fmla="*/ 2063183 w 3473628"/>
              <a:gd name="connsiteY414" fmla="*/ 276606 h 2831069"/>
              <a:gd name="connsiteX415" fmla="*/ 2061173 w 3473628"/>
              <a:gd name="connsiteY415" fmla="*/ 308832 h 2831069"/>
              <a:gd name="connsiteX416" fmla="*/ 2047226 w 3473628"/>
              <a:gd name="connsiteY416" fmla="*/ 318324 h 2831069"/>
              <a:gd name="connsiteX417" fmla="*/ 2037009 w 3473628"/>
              <a:gd name="connsiteY417" fmla="*/ 303216 h 2831069"/>
              <a:gd name="connsiteX418" fmla="*/ 2039890 w 3473628"/>
              <a:gd name="connsiteY418" fmla="*/ 281932 h 2831069"/>
              <a:gd name="connsiteX419" fmla="*/ 2037589 w 3473628"/>
              <a:gd name="connsiteY419" fmla="*/ 253168 h 2831069"/>
              <a:gd name="connsiteX420" fmla="*/ 2017301 w 3473628"/>
              <a:gd name="connsiteY420" fmla="*/ 238640 h 2831069"/>
              <a:gd name="connsiteX421" fmla="*/ 1980039 w 3473628"/>
              <a:gd name="connsiteY421" fmla="*/ 250142 h 2831069"/>
              <a:gd name="connsiteX422" fmla="*/ 1965367 w 3473628"/>
              <a:gd name="connsiteY422" fmla="*/ 281207 h 2831069"/>
              <a:gd name="connsiteX423" fmla="*/ 1979604 w 3473628"/>
              <a:gd name="connsiteY423" fmla="*/ 326820 h 2831069"/>
              <a:gd name="connsiteX424" fmla="*/ 2042625 w 3473628"/>
              <a:gd name="connsiteY424" fmla="*/ 396598 h 2831069"/>
              <a:gd name="connsiteX425" fmla="*/ 2145208 w 3473628"/>
              <a:gd name="connsiteY425" fmla="*/ 455288 h 2831069"/>
              <a:gd name="connsiteX426" fmla="*/ 2223752 w 3473628"/>
              <a:gd name="connsiteY426" fmla="*/ 542183 h 2831069"/>
              <a:gd name="connsiteX427" fmla="*/ 2264889 w 3473628"/>
              <a:gd name="connsiteY427" fmla="*/ 604624 h 2831069"/>
              <a:gd name="connsiteX428" fmla="*/ 2331640 w 3473628"/>
              <a:gd name="connsiteY428" fmla="*/ 595132 h 2831069"/>
              <a:gd name="connsiteX429" fmla="*/ 2408753 w 3473628"/>
              <a:gd name="connsiteY429" fmla="*/ 561746 h 2831069"/>
              <a:gd name="connsiteX430" fmla="*/ 2486157 w 3473628"/>
              <a:gd name="connsiteY430" fmla="*/ 631088 h 2831069"/>
              <a:gd name="connsiteX431" fmla="*/ 2597797 w 3473628"/>
              <a:gd name="connsiteY431" fmla="*/ 831052 h 2831069"/>
              <a:gd name="connsiteX432" fmla="*/ 2689292 w 3473628"/>
              <a:gd name="connsiteY432" fmla="*/ 1008013 h 2831069"/>
              <a:gd name="connsiteX433" fmla="*/ 2728999 w 3473628"/>
              <a:gd name="connsiteY433" fmla="*/ 1141081 h 2831069"/>
              <a:gd name="connsiteX434" fmla="*/ 2722098 w 3473628"/>
              <a:gd name="connsiteY434" fmla="*/ 1265963 h 2831069"/>
              <a:gd name="connsiteX435" fmla="*/ 2726409 w 3473628"/>
              <a:gd name="connsiteY435" fmla="*/ 1370556 h 2831069"/>
              <a:gd name="connsiteX436" fmla="*/ 2748998 w 3473628"/>
              <a:gd name="connsiteY436" fmla="*/ 1502194 h 2831069"/>
              <a:gd name="connsiteX437" fmla="*/ 2793596 w 3473628"/>
              <a:gd name="connsiteY437" fmla="*/ 1683756 h 2831069"/>
              <a:gd name="connsiteX438" fmla="*/ 2841924 w 3473628"/>
              <a:gd name="connsiteY438" fmla="*/ 1899699 h 2831069"/>
              <a:gd name="connsiteX439" fmla="*/ 2835872 w 3473628"/>
              <a:gd name="connsiteY439" fmla="*/ 2160094 h 2831069"/>
              <a:gd name="connsiteX440" fmla="*/ 2789119 w 3473628"/>
              <a:gd name="connsiteY440" fmla="*/ 2458476 h 2831069"/>
              <a:gd name="connsiteX441" fmla="*/ 2737620 w 3473628"/>
              <a:gd name="connsiteY441" fmla="*/ 2693547 h 2831069"/>
              <a:gd name="connsiteX442" fmla="*/ 2657626 w 3473628"/>
              <a:gd name="connsiteY442" fmla="*/ 2723762 h 2831069"/>
              <a:gd name="connsiteX443" fmla="*/ 2479816 w 3473628"/>
              <a:gd name="connsiteY443" fmla="*/ 2656720 h 2831069"/>
              <a:gd name="connsiteX444" fmla="*/ 2254237 w 3473628"/>
              <a:gd name="connsiteY444" fmla="*/ 2611832 h 2831069"/>
              <a:gd name="connsiteX445" fmla="*/ 2082166 w 3473628"/>
              <a:gd name="connsiteY445" fmla="*/ 2636287 h 2831069"/>
              <a:gd name="connsiteX446" fmla="*/ 1994401 w 3473628"/>
              <a:gd name="connsiteY446" fmla="*/ 2663621 h 2831069"/>
              <a:gd name="connsiteX447" fmla="*/ 1965346 w 3473628"/>
              <a:gd name="connsiteY447" fmla="*/ 2610382 h 2831069"/>
              <a:gd name="connsiteX448" fmla="*/ 1972537 w 3473628"/>
              <a:gd name="connsiteY448" fmla="*/ 2529538 h 2831069"/>
              <a:gd name="connsiteX449" fmla="*/ 2001302 w 3473628"/>
              <a:gd name="connsiteY449" fmla="*/ 2410127 h 2831069"/>
              <a:gd name="connsiteX450" fmla="*/ 2065173 w 3473628"/>
              <a:gd name="connsiteY450" fmla="*/ 2234762 h 2831069"/>
              <a:gd name="connsiteX451" fmla="*/ 2185164 w 3473628"/>
              <a:gd name="connsiteY451" fmla="*/ 1982428 h 2831069"/>
              <a:gd name="connsiteX452" fmla="*/ 2272639 w 3473628"/>
              <a:gd name="connsiteY452" fmla="*/ 1790940 h 2831069"/>
              <a:gd name="connsiteX453" fmla="*/ 2341691 w 3473628"/>
              <a:gd name="connsiteY453" fmla="*/ 1698284 h 2831069"/>
              <a:gd name="connsiteX454" fmla="*/ 2369026 w 3473628"/>
              <a:gd name="connsiteY454" fmla="*/ 1632962 h 2831069"/>
              <a:gd name="connsiteX455" fmla="*/ 2351473 w 3473628"/>
              <a:gd name="connsiteY455" fmla="*/ 1607927 h 2831069"/>
              <a:gd name="connsiteX456" fmla="*/ 2270774 w 3473628"/>
              <a:gd name="connsiteY456" fmla="*/ 1653541 h 2831069"/>
              <a:gd name="connsiteX457" fmla="*/ 2210343 w 3473628"/>
              <a:gd name="connsiteY457" fmla="*/ 1626206 h 2831069"/>
              <a:gd name="connsiteX458" fmla="*/ 2164585 w 3473628"/>
              <a:gd name="connsiteY458" fmla="*/ 1571972 h 2831069"/>
              <a:gd name="connsiteX459" fmla="*/ 2149623 w 3473628"/>
              <a:gd name="connsiteY459" fmla="*/ 1525364 h 2831069"/>
              <a:gd name="connsiteX460" fmla="*/ 2171776 w 3473628"/>
              <a:gd name="connsiteY460" fmla="*/ 1480476 h 2831069"/>
              <a:gd name="connsiteX461" fmla="*/ 2219690 w 3473628"/>
              <a:gd name="connsiteY461" fmla="*/ 1471710 h 2831069"/>
              <a:gd name="connsiteX462" fmla="*/ 2304575 w 3473628"/>
              <a:gd name="connsiteY462" fmla="*/ 1491128 h 2831069"/>
              <a:gd name="connsiteX463" fmla="*/ 2357939 w 3473628"/>
              <a:gd name="connsiteY463" fmla="*/ 1495148 h 2831069"/>
              <a:gd name="connsiteX464" fmla="*/ 2365130 w 3473628"/>
              <a:gd name="connsiteY464" fmla="*/ 1468539 h 2831069"/>
              <a:gd name="connsiteX465" fmla="*/ 2343411 w 3473628"/>
              <a:gd name="connsiteY465" fmla="*/ 1383509 h 2831069"/>
              <a:gd name="connsiteX466" fmla="*/ 2328594 w 3473628"/>
              <a:gd name="connsiteY466" fmla="*/ 1282957 h 2831069"/>
              <a:gd name="connsiteX467" fmla="*/ 2324428 w 3473628"/>
              <a:gd name="connsiteY467" fmla="*/ 1207999 h 2831069"/>
              <a:gd name="connsiteX468" fmla="*/ 2305735 w 3473628"/>
              <a:gd name="connsiteY468" fmla="*/ 1175628 h 2831069"/>
              <a:gd name="connsiteX469" fmla="*/ 2240559 w 3473628"/>
              <a:gd name="connsiteY469" fmla="*/ 1175918 h 2831069"/>
              <a:gd name="connsiteX470" fmla="*/ 2155964 w 3473628"/>
              <a:gd name="connsiteY470" fmla="*/ 1209574 h 2831069"/>
              <a:gd name="connsiteX471" fmla="*/ 2105750 w 3473628"/>
              <a:gd name="connsiteY471" fmla="*/ 1260223 h 2831069"/>
              <a:gd name="connsiteX472" fmla="*/ 2085171 w 3473628"/>
              <a:gd name="connsiteY472" fmla="*/ 1297774 h 2831069"/>
              <a:gd name="connsiteX473" fmla="*/ 2074664 w 3473628"/>
              <a:gd name="connsiteY473" fmla="*/ 1286977 h 2831069"/>
              <a:gd name="connsiteX474" fmla="*/ 2069918 w 3473628"/>
              <a:gd name="connsiteY474" fmla="*/ 1234028 h 2831069"/>
              <a:gd name="connsiteX475" fmla="*/ 2108050 w 3473628"/>
              <a:gd name="connsiteY475" fmla="*/ 1171587 h 2831069"/>
              <a:gd name="connsiteX476" fmla="*/ 2189910 w 3473628"/>
              <a:gd name="connsiteY476" fmla="*/ 1136045 h 2831069"/>
              <a:gd name="connsiteX477" fmla="*/ 2269759 w 3473628"/>
              <a:gd name="connsiteY477" fmla="*/ 1132294 h 2831069"/>
              <a:gd name="connsiteX478" fmla="*/ 2308450 w 3473628"/>
              <a:gd name="connsiteY478" fmla="*/ 1125683 h 2831069"/>
              <a:gd name="connsiteX479" fmla="*/ 2307290 w 3473628"/>
              <a:gd name="connsiteY479" fmla="*/ 1074765 h 2831069"/>
              <a:gd name="connsiteX480" fmla="*/ 2297653 w 3473628"/>
              <a:gd name="connsiteY480" fmla="*/ 1036778 h 2831069"/>
              <a:gd name="connsiteX481" fmla="*/ 2262982 w 3473628"/>
              <a:gd name="connsiteY481" fmla="*/ 1022831 h 2831069"/>
              <a:gd name="connsiteX482" fmla="*/ 2194655 w 3473628"/>
              <a:gd name="connsiteY482" fmla="*/ 1035493 h 2831069"/>
              <a:gd name="connsiteX483" fmla="*/ 2144296 w 3473628"/>
              <a:gd name="connsiteY483" fmla="*/ 1081811 h 2831069"/>
              <a:gd name="connsiteX484" fmla="*/ 2106310 w 3473628"/>
              <a:gd name="connsiteY484" fmla="*/ 1120088 h 2831069"/>
              <a:gd name="connsiteX485" fmla="*/ 2043434 w 3473628"/>
              <a:gd name="connsiteY485" fmla="*/ 1152894 h 2831069"/>
              <a:gd name="connsiteX486" fmla="*/ 1998401 w 3473628"/>
              <a:gd name="connsiteY486" fmla="*/ 1194756 h 2831069"/>
              <a:gd name="connsiteX487" fmla="*/ 1991645 w 3473628"/>
              <a:gd name="connsiteY487" fmla="*/ 1239354 h 2831069"/>
              <a:gd name="connsiteX488" fmla="*/ 2014669 w 3473628"/>
              <a:gd name="connsiteY488" fmla="*/ 1279351 h 2831069"/>
              <a:gd name="connsiteX489" fmla="*/ 2051350 w 3473628"/>
              <a:gd name="connsiteY489" fmla="*/ 1309566 h 2831069"/>
              <a:gd name="connsiteX490" fmla="*/ 2064157 w 3473628"/>
              <a:gd name="connsiteY490" fmla="*/ 1331865 h 2831069"/>
              <a:gd name="connsiteX491" fmla="*/ 2053505 w 3473628"/>
              <a:gd name="connsiteY491" fmla="*/ 1376173 h 2831069"/>
              <a:gd name="connsiteX492" fmla="*/ 2057671 w 3473628"/>
              <a:gd name="connsiteY492" fmla="*/ 1437598 h 2831069"/>
              <a:gd name="connsiteX493" fmla="*/ 2084715 w 3473628"/>
              <a:gd name="connsiteY493" fmla="*/ 1526939 h 2831069"/>
              <a:gd name="connsiteX494" fmla="*/ 2142556 w 3473628"/>
              <a:gd name="connsiteY494" fmla="*/ 1590374 h 2831069"/>
              <a:gd name="connsiteX495" fmla="*/ 2188583 w 3473628"/>
              <a:gd name="connsiteY495" fmla="*/ 1652525 h 2831069"/>
              <a:gd name="connsiteX496" fmla="*/ 2211753 w 3473628"/>
              <a:gd name="connsiteY496" fmla="*/ 1709350 h 2831069"/>
              <a:gd name="connsiteX497" fmla="*/ 2213038 w 3473628"/>
              <a:gd name="connsiteY497" fmla="*/ 1751502 h 2831069"/>
              <a:gd name="connsiteX498" fmla="*/ 2193619 w 3473628"/>
              <a:gd name="connsiteY498" fmla="*/ 1786463 h 2831069"/>
              <a:gd name="connsiteX499" fmla="*/ 2145416 w 3473628"/>
              <a:gd name="connsiteY499" fmla="*/ 1826170 h 2831069"/>
              <a:gd name="connsiteX500" fmla="*/ 2094062 w 3473628"/>
              <a:gd name="connsiteY500" fmla="*/ 1865877 h 2831069"/>
              <a:gd name="connsiteX501" fmla="*/ 2067452 w 3473628"/>
              <a:gd name="connsiteY501" fmla="*/ 1897668 h 2831069"/>
              <a:gd name="connsiteX502" fmla="*/ 2076654 w 3473628"/>
              <a:gd name="connsiteY502" fmla="*/ 1913791 h 2831069"/>
              <a:gd name="connsiteX503" fmla="*/ 2097668 w 3473628"/>
              <a:gd name="connsiteY503" fmla="*/ 1937955 h 2831069"/>
              <a:gd name="connsiteX504" fmla="*/ 2095077 w 3473628"/>
              <a:gd name="connsiteY504" fmla="*/ 2004416 h 2831069"/>
              <a:gd name="connsiteX505" fmla="*/ 2059391 w 3473628"/>
              <a:gd name="connsiteY505" fmla="*/ 2109155 h 2831069"/>
              <a:gd name="connsiteX506" fmla="*/ 1969325 w 3473628"/>
              <a:gd name="connsiteY506" fmla="*/ 2331853 h 2831069"/>
              <a:gd name="connsiteX507" fmla="*/ 1904584 w 3473628"/>
              <a:gd name="connsiteY507" fmla="*/ 2574405 h 2831069"/>
              <a:gd name="connsiteX508" fmla="*/ 1892502 w 3473628"/>
              <a:gd name="connsiteY508" fmla="*/ 2764443 h 2831069"/>
              <a:gd name="connsiteX509" fmla="*/ 2038812 w 3473628"/>
              <a:gd name="connsiteY509" fmla="*/ 2824874 h 2831069"/>
              <a:gd name="connsiteX510" fmla="*/ 2686909 w 3473628"/>
              <a:gd name="connsiteY510" fmla="*/ 2831070 h 2831069"/>
              <a:gd name="connsiteX511" fmla="*/ 3473628 w 3473628"/>
              <a:gd name="connsiteY511" fmla="*/ 2831070 h 2831069"/>
              <a:gd name="connsiteX0" fmla="*/ 1214873 w 3473628"/>
              <a:gd name="connsiteY0" fmla="*/ 2517746 h 2831071"/>
              <a:gd name="connsiteX1" fmla="*/ 1186254 w 3473628"/>
              <a:gd name="connsiteY1" fmla="*/ 2427970 h 2831071"/>
              <a:gd name="connsiteX2" fmla="*/ 1188409 w 3473628"/>
              <a:gd name="connsiteY2" fmla="*/ 2366980 h 2831071"/>
              <a:gd name="connsiteX3" fmla="*/ 1213734 w 3473628"/>
              <a:gd name="connsiteY3" fmla="*/ 2320662 h 2831071"/>
              <a:gd name="connsiteX4" fmla="*/ 1209568 w 3473628"/>
              <a:gd name="connsiteY4" fmla="*/ 2270448 h 2831071"/>
              <a:gd name="connsiteX5" fmla="*/ 1120808 w 3473628"/>
              <a:gd name="connsiteY5" fmla="*/ 2115662 h 2831071"/>
              <a:gd name="connsiteX6" fmla="*/ 1030182 w 3473628"/>
              <a:gd name="connsiteY6" fmla="*/ 1957124 h 2831071"/>
              <a:gd name="connsiteX7" fmla="*/ 963576 w 3473628"/>
              <a:gd name="connsiteY7" fmla="*/ 1924173 h 2831071"/>
              <a:gd name="connsiteX8" fmla="*/ 805764 w 3473628"/>
              <a:gd name="connsiteY8" fmla="*/ 1954244 h 2831071"/>
              <a:gd name="connsiteX9" fmla="*/ 604929 w 3473628"/>
              <a:gd name="connsiteY9" fmla="*/ 1989060 h 2831071"/>
              <a:gd name="connsiteX10" fmla="*/ 477332 w 3473628"/>
              <a:gd name="connsiteY10" fmla="*/ 1993661 h 2831071"/>
              <a:gd name="connsiteX11" fmla="*/ 361672 w 3473628"/>
              <a:gd name="connsiteY11" fmla="*/ 2000852 h 2831071"/>
              <a:gd name="connsiteX12" fmla="*/ 98687 w 3473628"/>
              <a:gd name="connsiteY12" fmla="*/ 2062567 h 2831071"/>
              <a:gd name="connsiteX13" fmla="*/ 3316 w 3473628"/>
              <a:gd name="connsiteY13" fmla="*/ 2090047 h 2831071"/>
              <a:gd name="connsiteX14" fmla="*/ 45468 w 3473628"/>
              <a:gd name="connsiteY14" fmla="*/ 2164135 h 2831071"/>
              <a:gd name="connsiteX15" fmla="*/ 243277 w 3473628"/>
              <a:gd name="connsiteY15" fmla="*/ 2417629 h 2831071"/>
              <a:gd name="connsiteX16" fmla="*/ 343270 w 3473628"/>
              <a:gd name="connsiteY16" fmla="*/ 2553723 h 2831071"/>
              <a:gd name="connsiteX17" fmla="*/ 396634 w 3473628"/>
              <a:gd name="connsiteY17" fmla="*/ 2608392 h 2831071"/>
              <a:gd name="connsiteX18" fmla="*/ 442102 w 3473628"/>
              <a:gd name="connsiteY18" fmla="*/ 2644348 h 2831071"/>
              <a:gd name="connsiteX19" fmla="*/ 450018 w 3473628"/>
              <a:gd name="connsiteY19" fmla="*/ 2670108 h 2831071"/>
              <a:gd name="connsiteX20" fmla="*/ 431180 w 3473628"/>
              <a:gd name="connsiteY20" fmla="*/ 2687516 h 2831071"/>
              <a:gd name="connsiteX21" fmla="*/ 385007 w 3473628"/>
              <a:gd name="connsiteY21" fmla="*/ 2665507 h 2831071"/>
              <a:gd name="connsiteX22" fmla="*/ 320266 w 3473628"/>
              <a:gd name="connsiteY22" fmla="*/ 2569991 h 2831071"/>
              <a:gd name="connsiteX23" fmla="*/ 307459 w 3473628"/>
              <a:gd name="connsiteY23" fmla="*/ 2513166 h 2831071"/>
              <a:gd name="connsiteX24" fmla="*/ 319396 w 3473628"/>
              <a:gd name="connsiteY24" fmla="*/ 2499923 h 2831071"/>
              <a:gd name="connsiteX25" fmla="*/ 348015 w 3473628"/>
              <a:gd name="connsiteY25" fmla="*/ 2524378 h 2831071"/>
              <a:gd name="connsiteX26" fmla="*/ 378086 w 3473628"/>
              <a:gd name="connsiteY26" fmla="*/ 2562364 h 2831071"/>
              <a:gd name="connsiteX27" fmla="*/ 409731 w 3473628"/>
              <a:gd name="connsiteY27" fmla="*/ 2581348 h 2831071"/>
              <a:gd name="connsiteX28" fmla="*/ 431740 w 3473628"/>
              <a:gd name="connsiteY28" fmla="*/ 2604372 h 2831071"/>
              <a:gd name="connsiteX29" fmla="*/ 455323 w 3473628"/>
              <a:gd name="connsiteY29" fmla="*/ 2623645 h 2831071"/>
              <a:gd name="connsiteX30" fmla="*/ 472006 w 3473628"/>
              <a:gd name="connsiteY30" fmla="*/ 2654005 h 2831071"/>
              <a:gd name="connsiteX31" fmla="*/ 483798 w 3473628"/>
              <a:gd name="connsiteY31" fmla="*/ 2705649 h 2831071"/>
              <a:gd name="connsiteX32" fmla="*/ 515029 w 3473628"/>
              <a:gd name="connsiteY32" fmla="*/ 2761707 h 2831071"/>
              <a:gd name="connsiteX33" fmla="*/ 593924 w 3473628"/>
              <a:gd name="connsiteY33" fmla="*/ 2781975 h 2831071"/>
              <a:gd name="connsiteX34" fmla="*/ 917921 w 3473628"/>
              <a:gd name="connsiteY34" fmla="*/ 2784234 h 2831071"/>
              <a:gd name="connsiteX35" fmla="*/ 1481859 w 3473628"/>
              <a:gd name="connsiteY35" fmla="*/ 2784234 h 2831071"/>
              <a:gd name="connsiteX36" fmla="*/ 1611175 w 3473628"/>
              <a:gd name="connsiteY36" fmla="*/ 2760402 h 2831071"/>
              <a:gd name="connsiteX37" fmla="*/ 1530415 w 3473628"/>
              <a:gd name="connsiteY37" fmla="*/ 2653819 h 2831071"/>
              <a:gd name="connsiteX38" fmla="*/ 1485506 w 3473628"/>
              <a:gd name="connsiteY38" fmla="*/ 2582508 h 2831071"/>
              <a:gd name="connsiteX39" fmla="*/ 1444639 w 3473628"/>
              <a:gd name="connsiteY39" fmla="*/ 2563380 h 2831071"/>
              <a:gd name="connsiteX40" fmla="*/ 1360914 w 3473628"/>
              <a:gd name="connsiteY40" fmla="*/ 2569701 h 2831071"/>
              <a:gd name="connsiteX41" fmla="*/ 1305374 w 3473628"/>
              <a:gd name="connsiteY41" fmla="*/ 2561204 h 2831071"/>
              <a:gd name="connsiteX42" fmla="*/ 1259906 w 3473628"/>
              <a:gd name="connsiteY42" fmla="*/ 2517187 h 2831071"/>
              <a:gd name="connsiteX43" fmla="*/ 1228551 w 3473628"/>
              <a:gd name="connsiteY43" fmla="*/ 2442519 h 2831071"/>
              <a:gd name="connsiteX44" fmla="*/ 1227121 w 3473628"/>
              <a:gd name="connsiteY44" fmla="*/ 2364680 h 2831071"/>
              <a:gd name="connsiteX45" fmla="*/ 1271139 w 3473628"/>
              <a:gd name="connsiteY45" fmla="*/ 2317491 h 2831071"/>
              <a:gd name="connsiteX46" fmla="*/ 1254021 w 3473628"/>
              <a:gd name="connsiteY46" fmla="*/ 2254201 h 2831071"/>
              <a:gd name="connsiteX47" fmla="*/ 1118217 w 3473628"/>
              <a:gd name="connsiteY47" fmla="*/ 2041429 h 2831071"/>
              <a:gd name="connsiteX48" fmla="*/ 1021105 w 3473628"/>
              <a:gd name="connsiteY48" fmla="*/ 1888363 h 2831071"/>
              <a:gd name="connsiteX49" fmla="*/ 969171 w 3473628"/>
              <a:gd name="connsiteY49" fmla="*/ 1865338 h 2831071"/>
              <a:gd name="connsiteX50" fmla="*/ 890048 w 3473628"/>
              <a:gd name="connsiteY50" fmla="*/ 1886477 h 2831071"/>
              <a:gd name="connsiteX51" fmla="*/ 773808 w 3473628"/>
              <a:gd name="connsiteY51" fmla="*/ 1916837 h 2831071"/>
              <a:gd name="connsiteX52" fmla="*/ 552974 w 3473628"/>
              <a:gd name="connsiteY52" fmla="*/ 1960565 h 2831071"/>
              <a:gd name="connsiteX53" fmla="*/ 460463 w 3473628"/>
              <a:gd name="connsiteY53" fmla="*/ 1968771 h 2831071"/>
              <a:gd name="connsiteX54" fmla="*/ 390251 w 3473628"/>
              <a:gd name="connsiteY54" fmla="*/ 1936110 h 2831071"/>
              <a:gd name="connsiteX55" fmla="*/ 237329 w 3473628"/>
              <a:gd name="connsiteY55" fmla="*/ 1817280 h 2831071"/>
              <a:gd name="connsiteX56" fmla="*/ 148859 w 3473628"/>
              <a:gd name="connsiteY56" fmla="*/ 1724478 h 2831071"/>
              <a:gd name="connsiteX57" fmla="*/ 135326 w 3473628"/>
              <a:gd name="connsiteY57" fmla="*/ 1660753 h 2831071"/>
              <a:gd name="connsiteX58" fmla="*/ 160361 w 3473628"/>
              <a:gd name="connsiteY58" fmla="*/ 1619326 h 2831071"/>
              <a:gd name="connsiteX59" fmla="*/ 206534 w 3473628"/>
              <a:gd name="connsiteY59" fmla="*/ 1610829 h 2831071"/>
              <a:gd name="connsiteX60" fmla="*/ 299894 w 3473628"/>
              <a:gd name="connsiteY60" fmla="*/ 1646370 h 2831071"/>
              <a:gd name="connsiteX61" fmla="*/ 372552 w 3473628"/>
              <a:gd name="connsiteY61" fmla="*/ 1668959 h 2831071"/>
              <a:gd name="connsiteX62" fmla="*/ 375723 w 3473628"/>
              <a:gd name="connsiteY62" fmla="*/ 1692688 h 2831071"/>
              <a:gd name="connsiteX63" fmla="*/ 313282 w 3473628"/>
              <a:gd name="connsiteY63" fmla="*/ 1712832 h 2831071"/>
              <a:gd name="connsiteX64" fmla="*/ 211134 w 3473628"/>
              <a:gd name="connsiteY64" fmla="*/ 1685787 h 2831071"/>
              <a:gd name="connsiteX65" fmla="*/ 161356 w 3473628"/>
              <a:gd name="connsiteY65" fmla="*/ 1648235 h 2831071"/>
              <a:gd name="connsiteX66" fmla="*/ 166391 w 3473628"/>
              <a:gd name="connsiteY66" fmla="*/ 1605586 h 2831071"/>
              <a:gd name="connsiteX67" fmla="*/ 200192 w 3473628"/>
              <a:gd name="connsiteY67" fmla="*/ 1577816 h 2831071"/>
              <a:gd name="connsiteX68" fmla="*/ 287232 w 3473628"/>
              <a:gd name="connsiteY68" fmla="*/ 1590830 h 2831071"/>
              <a:gd name="connsiteX69" fmla="*/ 369009 w 3473628"/>
              <a:gd name="connsiteY69" fmla="*/ 1618953 h 2831071"/>
              <a:gd name="connsiteX70" fmla="*/ 419927 w 3473628"/>
              <a:gd name="connsiteY70" fmla="*/ 1621046 h 2831071"/>
              <a:gd name="connsiteX71" fmla="*/ 508625 w 3473628"/>
              <a:gd name="connsiteY71" fmla="*/ 1559682 h 2831071"/>
              <a:gd name="connsiteX72" fmla="*/ 603872 w 3473628"/>
              <a:gd name="connsiteY72" fmla="*/ 1496164 h 2831071"/>
              <a:gd name="connsiteX73" fmla="*/ 672489 w 3473628"/>
              <a:gd name="connsiteY73" fmla="*/ 1469699 h 2831071"/>
              <a:gd name="connsiteX74" fmla="*/ 740318 w 3473628"/>
              <a:gd name="connsiteY74" fmla="*/ 1459835 h 2831071"/>
              <a:gd name="connsiteX75" fmla="*/ 810675 w 3473628"/>
              <a:gd name="connsiteY75" fmla="*/ 1421288 h 2831071"/>
              <a:gd name="connsiteX76" fmla="*/ 854631 w 3473628"/>
              <a:gd name="connsiteY76" fmla="*/ 1394969 h 2831071"/>
              <a:gd name="connsiteX77" fmla="*/ 862982 w 3473628"/>
              <a:gd name="connsiteY77" fmla="*/ 1380214 h 2831071"/>
              <a:gd name="connsiteX78" fmla="*/ 851688 w 3473628"/>
              <a:gd name="connsiteY78" fmla="*/ 1366412 h 2831071"/>
              <a:gd name="connsiteX79" fmla="*/ 827524 w 3473628"/>
              <a:gd name="connsiteY79" fmla="*/ 1363614 h 2831071"/>
              <a:gd name="connsiteX80" fmla="*/ 824291 w 3473628"/>
              <a:gd name="connsiteY80" fmla="*/ 1354910 h 2831071"/>
              <a:gd name="connsiteX81" fmla="*/ 846652 w 3473628"/>
              <a:gd name="connsiteY81" fmla="*/ 1340030 h 2831071"/>
              <a:gd name="connsiteX82" fmla="*/ 880308 w 3473628"/>
              <a:gd name="connsiteY82" fmla="*/ 1319161 h 2831071"/>
              <a:gd name="connsiteX83" fmla="*/ 897363 w 3473628"/>
              <a:gd name="connsiteY83" fmla="*/ 1302831 h 2831071"/>
              <a:gd name="connsiteX84" fmla="*/ 886794 w 3473628"/>
              <a:gd name="connsiteY84" fmla="*/ 1295930 h 2831071"/>
              <a:gd name="connsiteX85" fmla="*/ 844642 w 3473628"/>
              <a:gd name="connsiteY85" fmla="*/ 1306934 h 2831071"/>
              <a:gd name="connsiteX86" fmla="*/ 809536 w 3473628"/>
              <a:gd name="connsiteY86" fmla="*/ 1335347 h 2831071"/>
              <a:gd name="connsiteX87" fmla="*/ 787029 w 3473628"/>
              <a:gd name="connsiteY87" fmla="*/ 1349667 h 2831071"/>
              <a:gd name="connsiteX88" fmla="*/ 782139 w 3473628"/>
              <a:gd name="connsiteY88" fmla="*/ 1343346 h 2831071"/>
              <a:gd name="connsiteX89" fmla="*/ 804583 w 3473628"/>
              <a:gd name="connsiteY89" fmla="*/ 1325296 h 2831071"/>
              <a:gd name="connsiteX90" fmla="*/ 816810 w 3473628"/>
              <a:gd name="connsiteY90" fmla="*/ 1307743 h 2831071"/>
              <a:gd name="connsiteX91" fmla="*/ 811276 w 3473628"/>
              <a:gd name="connsiteY91" fmla="*/ 1290977 h 2831071"/>
              <a:gd name="connsiteX92" fmla="*/ 791713 w 3473628"/>
              <a:gd name="connsiteY92" fmla="*/ 1290832 h 2831071"/>
              <a:gd name="connsiteX93" fmla="*/ 761933 w 3473628"/>
              <a:gd name="connsiteY93" fmla="*/ 1313856 h 2831071"/>
              <a:gd name="connsiteX94" fmla="*/ 742515 w 3473628"/>
              <a:gd name="connsiteY94" fmla="*/ 1324218 h 2831071"/>
              <a:gd name="connsiteX95" fmla="*/ 739862 w 3473628"/>
              <a:gd name="connsiteY95" fmla="*/ 1318457 h 2831071"/>
              <a:gd name="connsiteX96" fmla="*/ 752296 w 3473628"/>
              <a:gd name="connsiteY96" fmla="*/ 1300406 h 2831071"/>
              <a:gd name="connsiteX97" fmla="*/ 772585 w 3473628"/>
              <a:gd name="connsiteY97" fmla="*/ 1280615 h 2831071"/>
              <a:gd name="connsiteX98" fmla="*/ 776108 w 3473628"/>
              <a:gd name="connsiteY98" fmla="*/ 1263994 h 2831071"/>
              <a:gd name="connsiteX99" fmla="*/ 761083 w 3473628"/>
              <a:gd name="connsiteY99" fmla="*/ 1258026 h 2831071"/>
              <a:gd name="connsiteX100" fmla="*/ 718869 w 3473628"/>
              <a:gd name="connsiteY100" fmla="*/ 1273051 h 2831071"/>
              <a:gd name="connsiteX101" fmla="*/ 639600 w 3473628"/>
              <a:gd name="connsiteY101" fmla="*/ 1331181 h 2831071"/>
              <a:gd name="connsiteX102" fmla="*/ 569678 w 3473628"/>
              <a:gd name="connsiteY102" fmla="*/ 1382100 h 2831071"/>
              <a:gd name="connsiteX103" fmla="*/ 456173 w 3473628"/>
              <a:gd name="connsiteY103" fmla="*/ 1442530 h 2831071"/>
              <a:gd name="connsiteX104" fmla="*/ 325406 w 3473628"/>
              <a:gd name="connsiteY104" fmla="*/ 1515188 h 2831071"/>
              <a:gd name="connsiteX105" fmla="*/ 239526 w 3473628"/>
              <a:gd name="connsiteY105" fmla="*/ 1551144 h 2831071"/>
              <a:gd name="connsiteX106" fmla="*/ 218388 w 3473628"/>
              <a:gd name="connsiteY106" fmla="*/ 1575453 h 2831071"/>
              <a:gd name="connsiteX107" fmla="*/ 272912 w 3473628"/>
              <a:gd name="connsiteY107" fmla="*/ 1602208 h 2831071"/>
              <a:gd name="connsiteX108" fmla="*/ 357797 w 3473628"/>
              <a:gd name="connsiteY108" fmla="*/ 1635863 h 2831071"/>
              <a:gd name="connsiteX109" fmla="*/ 403410 w 3473628"/>
              <a:gd name="connsiteY109" fmla="*/ 1653271 h 2831071"/>
              <a:gd name="connsiteX110" fmla="*/ 416073 w 3473628"/>
              <a:gd name="connsiteY110" fmla="*/ 1682036 h 2831071"/>
              <a:gd name="connsiteX111" fmla="*/ 440817 w 3473628"/>
              <a:gd name="connsiteY111" fmla="*/ 1705060 h 2831071"/>
              <a:gd name="connsiteX112" fmla="*/ 514469 w 3473628"/>
              <a:gd name="connsiteY112" fmla="*/ 1733680 h 2831071"/>
              <a:gd name="connsiteX113" fmla="*/ 651288 w 3473628"/>
              <a:gd name="connsiteY113" fmla="*/ 1765905 h 2831071"/>
              <a:gd name="connsiteX114" fmla="*/ 768109 w 3473628"/>
              <a:gd name="connsiteY114" fmla="*/ 1785179 h 2831071"/>
              <a:gd name="connsiteX115" fmla="*/ 837306 w 3473628"/>
              <a:gd name="connsiteY115" fmla="*/ 1824740 h 2831071"/>
              <a:gd name="connsiteX116" fmla="*/ 840621 w 3473628"/>
              <a:gd name="connsiteY116" fmla="*/ 1854666 h 2831071"/>
              <a:gd name="connsiteX117" fmla="*/ 790843 w 3473628"/>
              <a:gd name="connsiteY117" fmla="*/ 1883430 h 2831071"/>
              <a:gd name="connsiteX118" fmla="*/ 713874 w 3473628"/>
              <a:gd name="connsiteY118" fmla="*/ 1902413 h 2831071"/>
              <a:gd name="connsiteX119" fmla="*/ 703367 w 3473628"/>
              <a:gd name="connsiteY119" fmla="*/ 1887741 h 2831071"/>
              <a:gd name="connsiteX120" fmla="*/ 735158 w 3473628"/>
              <a:gd name="connsiteY120" fmla="*/ 1840843 h 2831071"/>
              <a:gd name="connsiteX121" fmla="*/ 785662 w 3473628"/>
              <a:gd name="connsiteY121" fmla="*/ 1808037 h 2831071"/>
              <a:gd name="connsiteX122" fmla="*/ 864640 w 3473628"/>
              <a:gd name="connsiteY122" fmla="*/ 1809757 h 2831071"/>
              <a:gd name="connsiteX123" fmla="*/ 904637 w 3473628"/>
              <a:gd name="connsiteY123" fmla="*/ 1789468 h 2831071"/>
              <a:gd name="connsiteX124" fmla="*/ 916284 w 3473628"/>
              <a:gd name="connsiteY124" fmla="*/ 1745161 h 2831071"/>
              <a:gd name="connsiteX125" fmla="*/ 912119 w 3473628"/>
              <a:gd name="connsiteY125" fmla="*/ 1675238 h 2831071"/>
              <a:gd name="connsiteX126" fmla="*/ 918025 w 3473628"/>
              <a:gd name="connsiteY126" fmla="*/ 1647904 h 2831071"/>
              <a:gd name="connsiteX127" fmla="*/ 946230 w 3473628"/>
              <a:gd name="connsiteY127" fmla="*/ 1644588 h 2831071"/>
              <a:gd name="connsiteX128" fmla="*/ 993128 w 3473628"/>
              <a:gd name="connsiteY128" fmla="*/ 1664587 h 2831071"/>
              <a:gd name="connsiteX129" fmla="*/ 1043632 w 3473628"/>
              <a:gd name="connsiteY129" fmla="*/ 1685455 h 2831071"/>
              <a:gd name="connsiteX130" fmla="*/ 1091110 w 3473628"/>
              <a:gd name="connsiteY130" fmla="*/ 1667032 h 2831071"/>
              <a:gd name="connsiteX131" fmla="*/ 1113844 w 3473628"/>
              <a:gd name="connsiteY131" fmla="*/ 1609046 h 2831071"/>
              <a:gd name="connsiteX132" fmla="*/ 1137573 w 3473628"/>
              <a:gd name="connsiteY132" fmla="*/ 1536244 h 2831071"/>
              <a:gd name="connsiteX133" fmla="*/ 1175270 w 3473628"/>
              <a:gd name="connsiteY133" fmla="*/ 1484165 h 2831071"/>
              <a:gd name="connsiteX134" fmla="*/ 1215847 w 3473628"/>
              <a:gd name="connsiteY134" fmla="*/ 1437702 h 2831071"/>
              <a:gd name="connsiteX135" fmla="*/ 1213837 w 3473628"/>
              <a:gd name="connsiteY135" fmla="*/ 1405911 h 2831071"/>
              <a:gd name="connsiteX136" fmla="*/ 1160743 w 3473628"/>
              <a:gd name="connsiteY136" fmla="*/ 1359449 h 2831071"/>
              <a:gd name="connsiteX137" fmla="*/ 1072273 w 3473628"/>
              <a:gd name="connsiteY137" fmla="*/ 1326207 h 2831071"/>
              <a:gd name="connsiteX138" fmla="*/ 969420 w 3473628"/>
              <a:gd name="connsiteY138" fmla="*/ 1337709 h 2831071"/>
              <a:gd name="connsiteX139" fmla="*/ 912160 w 3473628"/>
              <a:gd name="connsiteY139" fmla="*/ 1380152 h 2831071"/>
              <a:gd name="connsiteX140" fmla="*/ 896327 w 3473628"/>
              <a:gd name="connsiteY140" fmla="*/ 1448333 h 2831071"/>
              <a:gd name="connsiteX141" fmla="*/ 877489 w 3473628"/>
              <a:gd name="connsiteY141" fmla="*/ 1512784 h 2831071"/>
              <a:gd name="connsiteX142" fmla="*/ 860806 w 3473628"/>
              <a:gd name="connsiteY142" fmla="*/ 1564138 h 2831071"/>
              <a:gd name="connsiteX143" fmla="*/ 859936 w 3473628"/>
              <a:gd name="connsiteY143" fmla="*/ 1636216 h 2831071"/>
              <a:gd name="connsiteX144" fmla="*/ 882670 w 3473628"/>
              <a:gd name="connsiteY144" fmla="*/ 1693040 h 2831071"/>
              <a:gd name="connsiteX145" fmla="*/ 939930 w 3473628"/>
              <a:gd name="connsiteY145" fmla="*/ 1728001 h 2831071"/>
              <a:gd name="connsiteX146" fmla="*/ 1032856 w 3473628"/>
              <a:gd name="connsiteY146" fmla="*/ 1733618 h 2831071"/>
              <a:gd name="connsiteX147" fmla="*/ 1121326 w 3473628"/>
              <a:gd name="connsiteY147" fmla="*/ 1688440 h 2831071"/>
              <a:gd name="connsiteX148" fmla="*/ 1171830 w 3473628"/>
              <a:gd name="connsiteY148" fmla="*/ 1627304 h 2831071"/>
              <a:gd name="connsiteX149" fmla="*/ 1192263 w 3473628"/>
              <a:gd name="connsiteY149" fmla="*/ 1592343 h 2831071"/>
              <a:gd name="connsiteX150" fmla="*/ 1215433 w 3473628"/>
              <a:gd name="connsiteY150" fmla="*/ 1590478 h 2831071"/>
              <a:gd name="connsiteX151" fmla="*/ 1223059 w 3473628"/>
              <a:gd name="connsiteY151" fmla="*/ 1624569 h 2831071"/>
              <a:gd name="connsiteX152" fmla="*/ 1193569 w 3473628"/>
              <a:gd name="connsiteY152" fmla="*/ 1655219 h 2831071"/>
              <a:gd name="connsiteX153" fmla="*/ 1160328 w 3473628"/>
              <a:gd name="connsiteY153" fmla="*/ 1650909 h 2831071"/>
              <a:gd name="connsiteX154" fmla="*/ 1152121 w 3473628"/>
              <a:gd name="connsiteY154" fmla="*/ 1619844 h 2831071"/>
              <a:gd name="connsiteX155" fmla="*/ 1169239 w 3473628"/>
              <a:gd name="connsiteY155" fmla="*/ 1577836 h 2831071"/>
              <a:gd name="connsiteX156" fmla="*/ 1208511 w 3473628"/>
              <a:gd name="connsiteY156" fmla="*/ 1555683 h 2831071"/>
              <a:gd name="connsiteX157" fmla="*/ 1223039 w 3473628"/>
              <a:gd name="connsiteY157" fmla="*/ 1534814 h 2831071"/>
              <a:gd name="connsiteX158" fmla="*/ 1221173 w 3473628"/>
              <a:gd name="connsiteY158" fmla="*/ 1493822 h 2831071"/>
              <a:gd name="connsiteX159" fmla="*/ 1192263 w 3473628"/>
              <a:gd name="connsiteY159" fmla="*/ 1435837 h 2831071"/>
              <a:gd name="connsiteX160" fmla="*/ 1126527 w 3473628"/>
              <a:gd name="connsiteY160" fmla="*/ 1373105 h 2831071"/>
              <a:gd name="connsiteX161" fmla="*/ 1015178 w 3473628"/>
              <a:gd name="connsiteY161" fmla="*/ 1361604 h 2831071"/>
              <a:gd name="connsiteX162" fmla="*/ 929299 w 3473628"/>
              <a:gd name="connsiteY162" fmla="*/ 1399591 h 2831071"/>
              <a:gd name="connsiteX163" fmla="*/ 891312 w 3473628"/>
              <a:gd name="connsiteY163" fmla="*/ 1413683 h 2831071"/>
              <a:gd name="connsiteX164" fmla="*/ 880805 w 3473628"/>
              <a:gd name="connsiteY164" fmla="*/ 1385623 h 2831071"/>
              <a:gd name="connsiteX165" fmla="*/ 887271 w 3473628"/>
              <a:gd name="connsiteY165" fmla="*/ 1343035 h 2831071"/>
              <a:gd name="connsiteX166" fmla="*/ 919351 w 3473628"/>
              <a:gd name="connsiteY166" fmla="*/ 1314270 h 2831071"/>
              <a:gd name="connsiteX167" fmla="*/ 976031 w 3473628"/>
              <a:gd name="connsiteY167" fmla="*/ 1293402 h 2831071"/>
              <a:gd name="connsiteX168" fmla="*/ 1018183 w 3473628"/>
              <a:gd name="connsiteY168" fmla="*/ 1281900 h 2831071"/>
              <a:gd name="connsiteX169" fmla="*/ 1050844 w 3473628"/>
              <a:gd name="connsiteY169" fmla="*/ 1268947 h 2831071"/>
              <a:gd name="connsiteX170" fmla="*/ 1109244 w 3473628"/>
              <a:gd name="connsiteY170" fmla="*/ 1272118 h 2831071"/>
              <a:gd name="connsiteX171" fmla="*/ 1183622 w 3473628"/>
              <a:gd name="connsiteY171" fmla="*/ 1306209 h 2831071"/>
              <a:gd name="connsiteX172" fmla="*/ 1247202 w 3473628"/>
              <a:gd name="connsiteY172" fmla="*/ 1382017 h 2831071"/>
              <a:gd name="connsiteX173" fmla="*/ 1276983 w 3473628"/>
              <a:gd name="connsiteY173" fmla="*/ 1470777 h 2831071"/>
              <a:gd name="connsiteX174" fmla="*/ 1290785 w 3473628"/>
              <a:gd name="connsiteY174" fmla="*/ 1538959 h 2831071"/>
              <a:gd name="connsiteX175" fmla="*/ 1286184 w 3473628"/>
              <a:gd name="connsiteY175" fmla="*/ 1598664 h 2831071"/>
              <a:gd name="connsiteX176" fmla="*/ 1251223 w 3473628"/>
              <a:gd name="connsiteY176" fmla="*/ 1657789 h 2831071"/>
              <a:gd name="connsiteX177" fmla="*/ 1190792 w 3473628"/>
              <a:gd name="connsiteY177" fmla="*/ 1692460 h 2831071"/>
              <a:gd name="connsiteX178" fmla="*/ 1155396 w 3473628"/>
              <a:gd name="connsiteY178" fmla="*/ 1717349 h 2831071"/>
              <a:gd name="connsiteX179" fmla="*/ 1128786 w 3473628"/>
              <a:gd name="connsiteY179" fmla="*/ 1768848 h 2831071"/>
              <a:gd name="connsiteX180" fmla="*/ 1124766 w 3473628"/>
              <a:gd name="connsiteY180" fmla="*/ 1813156 h 2831071"/>
              <a:gd name="connsiteX181" fmla="*/ 1143459 w 3473628"/>
              <a:gd name="connsiteY181" fmla="*/ 1838045 h 2831071"/>
              <a:gd name="connsiteX182" fmla="*/ 1176700 w 3473628"/>
              <a:gd name="connsiteY182" fmla="*/ 1874581 h 2831071"/>
              <a:gd name="connsiteX183" fmla="*/ 1211951 w 3473628"/>
              <a:gd name="connsiteY183" fmla="*/ 1930971 h 2831071"/>
              <a:gd name="connsiteX184" fmla="*/ 1269791 w 3473628"/>
              <a:gd name="connsiteY184" fmla="*/ 1970678 h 2831071"/>
              <a:gd name="connsiteX185" fmla="*/ 1289790 w 3473628"/>
              <a:gd name="connsiteY185" fmla="*/ 2016996 h 2831071"/>
              <a:gd name="connsiteX186" fmla="*/ 1236696 w 3473628"/>
              <a:gd name="connsiteY186" fmla="*/ 2105031 h 2831071"/>
              <a:gd name="connsiteX187" fmla="*/ 1189362 w 3473628"/>
              <a:gd name="connsiteY187" fmla="*/ 2099269 h 2831071"/>
              <a:gd name="connsiteX188" fmla="*/ 1126921 w 3473628"/>
              <a:gd name="connsiteY188" fmla="*/ 1994386 h 2831071"/>
              <a:gd name="connsiteX189" fmla="*/ 1124621 w 3473628"/>
              <a:gd name="connsiteY189" fmla="*/ 1948773 h 2831071"/>
              <a:gd name="connsiteX190" fmla="*/ 1178855 w 3473628"/>
              <a:gd name="connsiteY190" fmla="*/ 1910226 h 2831071"/>
              <a:gd name="connsiteX191" fmla="*/ 1235245 w 3473628"/>
              <a:gd name="connsiteY191" fmla="*/ 1918288 h 2831071"/>
              <a:gd name="connsiteX192" fmla="*/ 1332792 w 3473628"/>
              <a:gd name="connsiteY192" fmla="*/ 1988065 h 2831071"/>
              <a:gd name="connsiteX193" fmla="*/ 1387316 w 3473628"/>
              <a:gd name="connsiteY193" fmla="*/ 2070650 h 2831071"/>
              <a:gd name="connsiteX194" fmla="*/ 1383710 w 3473628"/>
              <a:gd name="connsiteY194" fmla="*/ 2126190 h 2831071"/>
              <a:gd name="connsiteX195" fmla="*/ 1348459 w 3473628"/>
              <a:gd name="connsiteY195" fmla="*/ 2203448 h 2831071"/>
              <a:gd name="connsiteX196" fmla="*/ 1311923 w 3473628"/>
              <a:gd name="connsiteY196" fmla="*/ 2248771 h 2831071"/>
              <a:gd name="connsiteX197" fmla="*/ 1270786 w 3473628"/>
              <a:gd name="connsiteY197" fmla="*/ 2226907 h 2831071"/>
              <a:gd name="connsiteX198" fmla="*/ 1256694 w 3473628"/>
              <a:gd name="connsiteY198" fmla="*/ 2197417 h 2831071"/>
              <a:gd name="connsiteX199" fmla="*/ 1262745 w 3473628"/>
              <a:gd name="connsiteY199" fmla="*/ 2172093 h 2831071"/>
              <a:gd name="connsiteX200" fmla="*/ 1299427 w 3473628"/>
              <a:gd name="connsiteY200" fmla="*/ 2127640 h 2831071"/>
              <a:gd name="connsiteX201" fmla="*/ 1357826 w 3473628"/>
              <a:gd name="connsiteY201" fmla="*/ 2086068 h 2831071"/>
              <a:gd name="connsiteX202" fmla="*/ 1403999 w 3473628"/>
              <a:gd name="connsiteY202" fmla="*/ 2048372 h 2831071"/>
              <a:gd name="connsiteX203" fmla="*/ 1428453 w 3473628"/>
              <a:gd name="connsiteY203" fmla="*/ 2028228 h 2831071"/>
              <a:gd name="connsiteX204" fmla="*/ 1435644 w 3473628"/>
              <a:gd name="connsiteY204" fmla="*/ 2043481 h 2831071"/>
              <a:gd name="connsiteX205" fmla="*/ 1439375 w 3473628"/>
              <a:gd name="connsiteY205" fmla="*/ 2107062 h 2831071"/>
              <a:gd name="connsiteX206" fmla="*/ 1432039 w 3473628"/>
              <a:gd name="connsiteY206" fmla="*/ 2164902 h 2831071"/>
              <a:gd name="connsiteX207" fmla="*/ 1405864 w 3473628"/>
              <a:gd name="connsiteY207" fmla="*/ 2266469 h 2831071"/>
              <a:gd name="connsiteX208" fmla="*/ 1412765 w 3473628"/>
              <a:gd name="connsiteY208" fmla="*/ 2328330 h 2831071"/>
              <a:gd name="connsiteX209" fmla="*/ 1440245 w 3473628"/>
              <a:gd name="connsiteY209" fmla="*/ 2353074 h 2831071"/>
              <a:gd name="connsiteX210" fmla="*/ 1475932 w 3473628"/>
              <a:gd name="connsiteY210" fmla="*/ 2367457 h 2831071"/>
              <a:gd name="connsiteX211" fmla="*/ 1511038 w 3473628"/>
              <a:gd name="connsiteY211" fmla="*/ 2382710 h 2831071"/>
              <a:gd name="connsiteX212" fmla="*/ 1536217 w 3473628"/>
              <a:gd name="connsiteY212" fmla="*/ 2415225 h 2831071"/>
              <a:gd name="connsiteX213" fmla="*/ 1543408 w 3473628"/>
              <a:gd name="connsiteY213" fmla="*/ 2463843 h 2831071"/>
              <a:gd name="connsiteX214" fmla="*/ 1512758 w 3473628"/>
              <a:gd name="connsiteY214" fmla="*/ 2507156 h 2831071"/>
              <a:gd name="connsiteX215" fmla="*/ 1467083 w 3473628"/>
              <a:gd name="connsiteY215" fmla="*/ 2522844 h 2831071"/>
              <a:gd name="connsiteX216" fmla="*/ 1422195 w 3473628"/>
              <a:gd name="connsiteY216" fmla="*/ 2523860 h 2831071"/>
              <a:gd name="connsiteX217" fmla="*/ 1366738 w 3473628"/>
              <a:gd name="connsiteY217" fmla="*/ 2540832 h 2831071"/>
              <a:gd name="connsiteX218" fmla="*/ 1320420 w 3473628"/>
              <a:gd name="connsiteY218" fmla="*/ 2536667 h 2831071"/>
              <a:gd name="connsiteX219" fmla="*/ 1321788 w 3473628"/>
              <a:gd name="connsiteY219" fmla="*/ 2519549 h 2831071"/>
              <a:gd name="connsiteX220" fmla="*/ 1369846 w 3473628"/>
              <a:gd name="connsiteY220" fmla="*/ 2497893 h 2831071"/>
              <a:gd name="connsiteX221" fmla="*/ 1396891 w 3473628"/>
              <a:gd name="connsiteY221" fmla="*/ 2480277 h 2831071"/>
              <a:gd name="connsiteX222" fmla="*/ 1381286 w 3473628"/>
              <a:gd name="connsiteY222" fmla="*/ 2474102 h 2831071"/>
              <a:gd name="connsiteX223" fmla="*/ 1307986 w 3473628"/>
              <a:gd name="connsiteY223" fmla="*/ 2503094 h 2831071"/>
              <a:gd name="connsiteX224" fmla="*/ 1275760 w 3473628"/>
              <a:gd name="connsiteY224" fmla="*/ 2503820 h 2831071"/>
              <a:gd name="connsiteX225" fmla="*/ 1277190 w 3473628"/>
              <a:gd name="connsiteY225" fmla="*/ 2490515 h 2831071"/>
              <a:gd name="connsiteX226" fmla="*/ 1302287 w 3473628"/>
              <a:gd name="connsiteY226" fmla="*/ 2478495 h 2831071"/>
              <a:gd name="connsiteX227" fmla="*/ 1350407 w 3473628"/>
              <a:gd name="connsiteY227" fmla="*/ 2445109 h 2831071"/>
              <a:gd name="connsiteX228" fmla="*/ 1346946 w 3473628"/>
              <a:gd name="connsiteY228" fmla="*/ 2435120 h 2831071"/>
              <a:gd name="connsiteX229" fmla="*/ 1292774 w 3473628"/>
              <a:gd name="connsiteY229" fmla="*/ 2461812 h 2831071"/>
              <a:gd name="connsiteX230" fmla="*/ 1261834 w 3473628"/>
              <a:gd name="connsiteY230" fmla="*/ 2459719 h 2831071"/>
              <a:gd name="connsiteX231" fmla="*/ 1265149 w 3473628"/>
              <a:gd name="connsiteY231" fmla="*/ 2438933 h 2831071"/>
              <a:gd name="connsiteX232" fmla="*/ 1303053 w 3473628"/>
              <a:gd name="connsiteY232" fmla="*/ 2411308 h 2831071"/>
              <a:gd name="connsiteX233" fmla="*/ 1318513 w 3473628"/>
              <a:gd name="connsiteY233" fmla="*/ 2393175 h 2831071"/>
              <a:gd name="connsiteX234" fmla="*/ 1306783 w 3473628"/>
              <a:gd name="connsiteY234" fmla="*/ 2385984 h 2831071"/>
              <a:gd name="connsiteX235" fmla="*/ 1268590 w 3473628"/>
              <a:gd name="connsiteY235" fmla="*/ 2403392 h 2831071"/>
              <a:gd name="connsiteX236" fmla="*/ 1243410 w 3473628"/>
              <a:gd name="connsiteY236" fmla="*/ 2405257 h 2831071"/>
              <a:gd name="connsiteX237" fmla="*/ 1242685 w 3473628"/>
              <a:gd name="connsiteY237" fmla="*/ 2382461 h 2831071"/>
              <a:gd name="connsiteX238" fmla="*/ 1284402 w 3473628"/>
              <a:gd name="connsiteY238" fmla="*/ 2341469 h 2831071"/>
              <a:gd name="connsiteX239" fmla="*/ 1360935 w 3473628"/>
              <a:gd name="connsiteY239" fmla="*/ 2306218 h 2831071"/>
              <a:gd name="connsiteX240" fmla="*/ 1411004 w 3473628"/>
              <a:gd name="connsiteY240" fmla="*/ 2303047 h 2831071"/>
              <a:gd name="connsiteX241" fmla="*/ 1438484 w 3473628"/>
              <a:gd name="connsiteY241" fmla="*/ 2295131 h 2831071"/>
              <a:gd name="connsiteX242" fmla="*/ 1468409 w 3473628"/>
              <a:gd name="connsiteY242" fmla="*/ 2243777 h 2831071"/>
              <a:gd name="connsiteX243" fmla="*/ 1532570 w 3473628"/>
              <a:gd name="connsiteY243" fmla="*/ 2156301 h 2831071"/>
              <a:gd name="connsiteX244" fmla="*/ 1610761 w 3473628"/>
              <a:gd name="connsiteY244" fmla="*/ 2074152 h 2831071"/>
              <a:gd name="connsiteX245" fmla="*/ 1628957 w 3473628"/>
              <a:gd name="connsiteY245" fmla="*/ 2041864 h 2831071"/>
              <a:gd name="connsiteX246" fmla="*/ 1628604 w 3473628"/>
              <a:gd name="connsiteY246" fmla="*/ 2021078 h 2831071"/>
              <a:gd name="connsiteX247" fmla="*/ 1642841 w 3473628"/>
              <a:gd name="connsiteY247" fmla="*/ 2001308 h 2831071"/>
              <a:gd name="connsiteX248" fmla="*/ 1697863 w 3473628"/>
              <a:gd name="connsiteY248" fmla="*/ 1963611 h 2831071"/>
              <a:gd name="connsiteX249" fmla="*/ 1768718 w 3473628"/>
              <a:gd name="connsiteY249" fmla="*/ 1914703 h 2831071"/>
              <a:gd name="connsiteX250" fmla="*/ 1816549 w 3473628"/>
              <a:gd name="connsiteY250" fmla="*/ 1881109 h 2831071"/>
              <a:gd name="connsiteX251" fmla="*/ 1846039 w 3473628"/>
              <a:gd name="connsiteY251" fmla="*/ 1836221 h 2831071"/>
              <a:gd name="connsiteX252" fmla="*/ 1863882 w 3473628"/>
              <a:gd name="connsiteY252" fmla="*/ 1739400 h 2831071"/>
              <a:gd name="connsiteX253" fmla="*/ 1862162 w 3473628"/>
              <a:gd name="connsiteY253" fmla="*/ 1654225 h 2831071"/>
              <a:gd name="connsiteX254" fmla="*/ 1849355 w 3473628"/>
              <a:gd name="connsiteY254" fmla="*/ 1586312 h 2831071"/>
              <a:gd name="connsiteX255" fmla="*/ 1804322 w 3473628"/>
              <a:gd name="connsiteY255" fmla="*/ 1511499 h 2831071"/>
              <a:gd name="connsiteX256" fmla="*/ 1748512 w 3473628"/>
              <a:gd name="connsiteY256" fmla="*/ 1463296 h 2831071"/>
              <a:gd name="connsiteX257" fmla="*/ 1688662 w 3473628"/>
              <a:gd name="connsiteY257" fmla="*/ 1445017 h 2831071"/>
              <a:gd name="connsiteX258" fmla="*/ 1629682 w 3473628"/>
              <a:gd name="connsiteY258" fmla="*/ 1434655 h 2831071"/>
              <a:gd name="connsiteX259" fmla="*/ 1565521 w 3473628"/>
              <a:gd name="connsiteY259" fmla="*/ 1420708 h 2831071"/>
              <a:gd name="connsiteX260" fmla="*/ 1482377 w 3473628"/>
              <a:gd name="connsiteY260" fmla="*/ 1428044 h 2831071"/>
              <a:gd name="connsiteX261" fmla="*/ 1425117 w 3473628"/>
              <a:gd name="connsiteY261" fmla="*/ 1469036 h 2831071"/>
              <a:gd name="connsiteX262" fmla="*/ 1416910 w 3473628"/>
              <a:gd name="connsiteY262" fmla="*/ 1533923 h 2831071"/>
              <a:gd name="connsiteX263" fmla="*/ 1436618 w 3473628"/>
              <a:gd name="connsiteY263" fmla="*/ 1580240 h 2831071"/>
              <a:gd name="connsiteX264" fmla="*/ 1448265 w 3473628"/>
              <a:gd name="connsiteY264" fmla="*/ 1638081 h 2831071"/>
              <a:gd name="connsiteX265" fmla="*/ 1432577 w 3473628"/>
              <a:gd name="connsiteY265" fmla="*/ 1733037 h 2831071"/>
              <a:gd name="connsiteX266" fmla="*/ 1436598 w 3473628"/>
              <a:gd name="connsiteY266" fmla="*/ 1799063 h 2831071"/>
              <a:gd name="connsiteX267" fmla="*/ 1493568 w 3473628"/>
              <a:gd name="connsiteY267" fmla="*/ 1841216 h 2831071"/>
              <a:gd name="connsiteX268" fmla="*/ 1619299 w 3473628"/>
              <a:gd name="connsiteY268" fmla="*/ 1854168 h 2831071"/>
              <a:gd name="connsiteX269" fmla="*/ 1704039 w 3473628"/>
              <a:gd name="connsiteY269" fmla="*/ 1837050 h 2831071"/>
              <a:gd name="connsiteX270" fmla="*/ 1739290 w 3473628"/>
              <a:gd name="connsiteY270" fmla="*/ 1788577 h 2831071"/>
              <a:gd name="connsiteX271" fmla="*/ 1754108 w 3473628"/>
              <a:gd name="connsiteY271" fmla="*/ 1758507 h 2831071"/>
              <a:gd name="connsiteX272" fmla="*/ 1769071 w 3473628"/>
              <a:gd name="connsiteY272" fmla="*/ 1758507 h 2831071"/>
              <a:gd name="connsiteX273" fmla="*/ 1773526 w 3473628"/>
              <a:gd name="connsiteY273" fmla="*/ 1787562 h 2831071"/>
              <a:gd name="connsiteX274" fmla="*/ 1747621 w 3473628"/>
              <a:gd name="connsiteY274" fmla="*/ 1819497 h 2831071"/>
              <a:gd name="connsiteX275" fmla="*/ 1719271 w 3473628"/>
              <a:gd name="connsiteY275" fmla="*/ 1806110 h 2831071"/>
              <a:gd name="connsiteX276" fmla="*/ 1727478 w 3473628"/>
              <a:gd name="connsiteY276" fmla="*/ 1762092 h 2831071"/>
              <a:gd name="connsiteX277" fmla="*/ 1757258 w 3473628"/>
              <a:gd name="connsiteY277" fmla="*/ 1731297 h 2831071"/>
              <a:gd name="connsiteX278" fmla="*/ 1781857 w 3473628"/>
              <a:gd name="connsiteY278" fmla="*/ 1696626 h 2831071"/>
              <a:gd name="connsiteX279" fmla="*/ 1759123 w 3473628"/>
              <a:gd name="connsiteY279" fmla="*/ 1625563 h 2831071"/>
              <a:gd name="connsiteX280" fmla="*/ 1710650 w 3473628"/>
              <a:gd name="connsiteY280" fmla="*/ 1549175 h 2831071"/>
              <a:gd name="connsiteX281" fmla="*/ 1628065 w 3473628"/>
              <a:gd name="connsiteY281" fmla="*/ 1512349 h 2831071"/>
              <a:gd name="connsiteX282" fmla="*/ 1535989 w 3473628"/>
              <a:gd name="connsiteY282" fmla="*/ 1521260 h 2831071"/>
              <a:gd name="connsiteX283" fmla="*/ 1469528 w 3473628"/>
              <a:gd name="connsiteY283" fmla="*/ 1574624 h 2831071"/>
              <a:gd name="connsiteX284" fmla="*/ 1448100 w 3473628"/>
              <a:gd name="connsiteY284" fmla="*/ 1608280 h 2831071"/>
              <a:gd name="connsiteX285" fmla="*/ 1425946 w 3473628"/>
              <a:gd name="connsiteY285" fmla="*/ 1663384 h 2831071"/>
              <a:gd name="connsiteX286" fmla="*/ 1406527 w 3473628"/>
              <a:gd name="connsiteY286" fmla="*/ 1760351 h 2831071"/>
              <a:gd name="connsiteX287" fmla="*/ 1422215 w 3473628"/>
              <a:gd name="connsiteY287" fmla="*/ 1829693 h 2831071"/>
              <a:gd name="connsiteX288" fmla="*/ 1452866 w 3473628"/>
              <a:gd name="connsiteY288" fmla="*/ 1880115 h 2831071"/>
              <a:gd name="connsiteX289" fmla="*/ 1472139 w 3473628"/>
              <a:gd name="connsiteY289" fmla="*/ 1939737 h 2831071"/>
              <a:gd name="connsiteX290" fmla="*/ 1476885 w 3473628"/>
              <a:gd name="connsiteY290" fmla="*/ 1996769 h 2831071"/>
              <a:gd name="connsiteX291" fmla="*/ 1459332 w 3473628"/>
              <a:gd name="connsiteY291" fmla="*/ 2060205 h 2831071"/>
              <a:gd name="connsiteX292" fmla="*/ 1462212 w 3473628"/>
              <a:gd name="connsiteY292" fmla="*/ 2092430 h 2831071"/>
              <a:gd name="connsiteX293" fmla="*/ 1501339 w 3473628"/>
              <a:gd name="connsiteY293" fmla="*/ 2073157 h 2831071"/>
              <a:gd name="connsiteX294" fmla="*/ 1597083 w 3473628"/>
              <a:gd name="connsiteY294" fmla="*/ 2002592 h 2831071"/>
              <a:gd name="connsiteX295" fmla="*/ 1667586 w 3473628"/>
              <a:gd name="connsiteY295" fmla="*/ 1957705 h 2831071"/>
              <a:gd name="connsiteX296" fmla="*/ 1726856 w 3473628"/>
              <a:gd name="connsiteY296" fmla="*/ 1927987 h 2831071"/>
              <a:gd name="connsiteX297" fmla="*/ 1753258 w 3473628"/>
              <a:gd name="connsiteY297" fmla="*/ 1933520 h 2831071"/>
              <a:gd name="connsiteX298" fmla="*/ 1781816 w 3473628"/>
              <a:gd name="connsiteY298" fmla="*/ 1986034 h 2831071"/>
              <a:gd name="connsiteX299" fmla="*/ 1823616 w 3473628"/>
              <a:gd name="connsiteY299" fmla="*/ 2024809 h 2831071"/>
              <a:gd name="connsiteX300" fmla="*/ 1853044 w 3473628"/>
              <a:gd name="connsiteY300" fmla="*/ 2039129 h 2831071"/>
              <a:gd name="connsiteX301" fmla="*/ 1845417 w 3473628"/>
              <a:gd name="connsiteY301" fmla="*/ 2056392 h 2831071"/>
              <a:gd name="connsiteX302" fmla="*/ 1802685 w 3473628"/>
              <a:gd name="connsiteY302" fmla="*/ 2090420 h 2831071"/>
              <a:gd name="connsiteX303" fmla="*/ 1764283 w 3473628"/>
              <a:gd name="connsiteY303" fmla="*/ 2152281 h 2831071"/>
              <a:gd name="connsiteX304" fmla="*/ 1702132 w 3473628"/>
              <a:gd name="connsiteY304" fmla="*/ 2291753 h 2831071"/>
              <a:gd name="connsiteX305" fmla="*/ 1672207 w 3473628"/>
              <a:gd name="connsiteY305" fmla="*/ 2356639 h 2831071"/>
              <a:gd name="connsiteX306" fmla="*/ 1654654 w 3473628"/>
              <a:gd name="connsiteY306" fmla="*/ 2363043 h 2831071"/>
              <a:gd name="connsiteX307" fmla="*/ 1613082 w 3473628"/>
              <a:gd name="connsiteY307" fmla="*/ 2345054 h 2831071"/>
              <a:gd name="connsiteX308" fmla="*/ 1559925 w 3473628"/>
              <a:gd name="connsiteY308" fmla="*/ 2330174 h 2831071"/>
              <a:gd name="connsiteX309" fmla="*/ 1518498 w 3473628"/>
              <a:gd name="connsiteY309" fmla="*/ 2333345 h 2831071"/>
              <a:gd name="connsiteX310" fmla="*/ 1485112 w 3473628"/>
              <a:gd name="connsiteY310" fmla="*/ 2345075 h 2831071"/>
              <a:gd name="connsiteX311" fmla="*/ 1462813 w 3473628"/>
              <a:gd name="connsiteY311" fmla="*/ 2341759 h 2831071"/>
              <a:gd name="connsiteX312" fmla="*/ 1462523 w 3473628"/>
              <a:gd name="connsiteY312" fmla="*/ 2316435 h 2831071"/>
              <a:gd name="connsiteX313" fmla="*/ 1514022 w 3473628"/>
              <a:gd name="connsiteY313" fmla="*/ 2230907 h 2831071"/>
              <a:gd name="connsiteX314" fmla="*/ 1633868 w 3473628"/>
              <a:gd name="connsiteY314" fmla="*/ 2086462 h 2831071"/>
              <a:gd name="connsiteX315" fmla="*/ 1761050 w 3473628"/>
              <a:gd name="connsiteY315" fmla="*/ 2009494 h 2831071"/>
              <a:gd name="connsiteX316" fmla="*/ 1835718 w 3473628"/>
              <a:gd name="connsiteY316" fmla="*/ 2007773 h 2831071"/>
              <a:gd name="connsiteX317" fmla="*/ 1915422 w 3473628"/>
              <a:gd name="connsiteY317" fmla="*/ 2040579 h 2831071"/>
              <a:gd name="connsiteX318" fmla="*/ 1956414 w 3473628"/>
              <a:gd name="connsiteY318" fmla="*/ 2094378 h 2831071"/>
              <a:gd name="connsiteX319" fmla="*/ 1981593 w 3473628"/>
              <a:gd name="connsiteY319" fmla="*/ 2161420 h 2831071"/>
              <a:gd name="connsiteX320" fmla="*/ 1998421 w 3473628"/>
              <a:gd name="connsiteY320" fmla="*/ 2191781 h 2831071"/>
              <a:gd name="connsiteX321" fmla="*/ 2004473 w 3473628"/>
              <a:gd name="connsiteY321" fmla="*/ 2185874 h 2831071"/>
              <a:gd name="connsiteX322" fmla="*/ 1997717 w 3473628"/>
              <a:gd name="connsiteY322" fmla="*/ 2138106 h 2831071"/>
              <a:gd name="connsiteX323" fmla="*/ 1965781 w 3473628"/>
              <a:gd name="connsiteY323" fmla="*/ 2073364 h 2831071"/>
              <a:gd name="connsiteX324" fmla="*/ 1892688 w 3473628"/>
              <a:gd name="connsiteY324" fmla="*/ 2059127 h 2831071"/>
              <a:gd name="connsiteX325" fmla="*/ 1816155 w 3473628"/>
              <a:gd name="connsiteY325" fmla="*/ 2115517 h 2831071"/>
              <a:gd name="connsiteX326" fmla="*/ 1767682 w 3473628"/>
              <a:gd name="connsiteY326" fmla="*/ 2216504 h 2831071"/>
              <a:gd name="connsiteX327" fmla="*/ 1756740 w 3473628"/>
              <a:gd name="connsiteY327" fmla="*/ 2315771 h 2831071"/>
              <a:gd name="connsiteX328" fmla="*/ 1733280 w 3473628"/>
              <a:gd name="connsiteY328" fmla="*/ 2398211 h 2831071"/>
              <a:gd name="connsiteX329" fmla="*/ 1632148 w 3473628"/>
              <a:gd name="connsiteY329" fmla="*/ 2384554 h 2831071"/>
              <a:gd name="connsiteX330" fmla="*/ 1539637 w 3473628"/>
              <a:gd name="connsiteY330" fmla="*/ 2352183 h 2831071"/>
              <a:gd name="connsiteX331" fmla="*/ 1522519 w 3473628"/>
              <a:gd name="connsiteY331" fmla="*/ 2359229 h 2831071"/>
              <a:gd name="connsiteX332" fmla="*/ 1543947 w 3473628"/>
              <a:gd name="connsiteY332" fmla="*/ 2385549 h 2831071"/>
              <a:gd name="connsiteX333" fmla="*/ 1564381 w 3473628"/>
              <a:gd name="connsiteY333" fmla="*/ 2430727 h 2831071"/>
              <a:gd name="connsiteX334" fmla="*/ 1559200 w 3473628"/>
              <a:gd name="connsiteY334" fmla="*/ 2486412 h 2831071"/>
              <a:gd name="connsiteX335" fmla="*/ 1529710 w 3473628"/>
              <a:gd name="connsiteY335" fmla="*/ 2562364 h 2831071"/>
              <a:gd name="connsiteX336" fmla="*/ 1544963 w 3473628"/>
              <a:gd name="connsiteY336" fmla="*/ 2634587 h 2831071"/>
              <a:gd name="connsiteX337" fmla="*/ 1609124 w 3473628"/>
              <a:gd name="connsiteY337" fmla="*/ 2669984 h 2831071"/>
              <a:gd name="connsiteX338" fmla="*/ 1709821 w 3473628"/>
              <a:gd name="connsiteY338" fmla="*/ 2685526 h 2831071"/>
              <a:gd name="connsiteX339" fmla="*/ 1825481 w 3473628"/>
              <a:gd name="connsiteY339" fmla="*/ 2710706 h 2831071"/>
              <a:gd name="connsiteX340" fmla="*/ 1849666 w 3473628"/>
              <a:gd name="connsiteY340" fmla="*/ 2737274 h 2831071"/>
              <a:gd name="connsiteX341" fmla="*/ 1827284 w 3473628"/>
              <a:gd name="connsiteY341" fmla="*/ 2775385 h 2831071"/>
              <a:gd name="connsiteX342" fmla="*/ 1859468 w 3473628"/>
              <a:gd name="connsiteY342" fmla="*/ 2784130 h 2831071"/>
              <a:gd name="connsiteX343" fmla="*/ 2089565 w 3473628"/>
              <a:gd name="connsiteY343" fmla="*/ 2784130 h 2831071"/>
              <a:gd name="connsiteX344" fmla="*/ 2566897 w 3473628"/>
              <a:gd name="connsiteY344" fmla="*/ 2782162 h 2831071"/>
              <a:gd name="connsiteX345" fmla="*/ 2687966 w 3473628"/>
              <a:gd name="connsiteY345" fmla="*/ 2759884 h 2831071"/>
              <a:gd name="connsiteX346" fmla="*/ 2680464 w 3473628"/>
              <a:gd name="connsiteY346" fmla="*/ 2692303 h 2831071"/>
              <a:gd name="connsiteX347" fmla="*/ 2633566 w 3473628"/>
              <a:gd name="connsiteY347" fmla="*/ 2631872 h 2831071"/>
              <a:gd name="connsiteX348" fmla="*/ 2492291 w 3473628"/>
              <a:gd name="connsiteY348" fmla="*/ 2565701 h 2831071"/>
              <a:gd name="connsiteX349" fmla="*/ 2424110 w 3473628"/>
              <a:gd name="connsiteY349" fmla="*/ 2476651 h 2831071"/>
              <a:gd name="connsiteX350" fmla="*/ 2465247 w 3473628"/>
              <a:gd name="connsiteY350" fmla="*/ 2186330 h 2831071"/>
              <a:gd name="connsiteX351" fmla="*/ 2494592 w 3473628"/>
              <a:gd name="connsiteY351" fmla="*/ 1978159 h 2831071"/>
              <a:gd name="connsiteX352" fmla="*/ 2532289 w 3473628"/>
              <a:gd name="connsiteY352" fmla="*/ 1883202 h 2831071"/>
              <a:gd name="connsiteX353" fmla="*/ 2600200 w 3473628"/>
              <a:gd name="connsiteY353" fmla="*/ 1837175 h 2831071"/>
              <a:gd name="connsiteX354" fmla="*/ 2643928 w 3473628"/>
              <a:gd name="connsiteY354" fmla="*/ 1758051 h 2831071"/>
              <a:gd name="connsiteX355" fmla="*/ 2671553 w 3473628"/>
              <a:gd name="connsiteY355" fmla="*/ 1632029 h 2831071"/>
              <a:gd name="connsiteX356" fmla="*/ 2694577 w 3473628"/>
              <a:gd name="connsiteY356" fmla="*/ 1561817 h 2831071"/>
              <a:gd name="connsiteX357" fmla="*/ 2707239 w 3473628"/>
              <a:gd name="connsiteY357" fmla="*/ 1548305 h 2831071"/>
              <a:gd name="connsiteX358" fmla="*/ 2696877 w 3473628"/>
              <a:gd name="connsiteY358" fmla="*/ 1616217 h 2831071"/>
              <a:gd name="connsiteX359" fmla="*/ 2656300 w 3473628"/>
              <a:gd name="connsiteY359" fmla="*/ 1792308 h 2831071"/>
              <a:gd name="connsiteX360" fmla="*/ 2576306 w 3473628"/>
              <a:gd name="connsiteY360" fmla="*/ 1905377 h 2831071"/>
              <a:gd name="connsiteX361" fmla="*/ 2484810 w 3473628"/>
              <a:gd name="connsiteY361" fmla="*/ 1918329 h 2831071"/>
              <a:gd name="connsiteX362" fmla="*/ 2405251 w 3473628"/>
              <a:gd name="connsiteY362" fmla="*/ 1822813 h 2831071"/>
              <a:gd name="connsiteX363" fmla="*/ 2384113 w 3473628"/>
              <a:gd name="connsiteY363" fmla="*/ 1673912 h 2831071"/>
              <a:gd name="connsiteX364" fmla="*/ 2378642 w 3473628"/>
              <a:gd name="connsiteY364" fmla="*/ 1541984 h 2831071"/>
              <a:gd name="connsiteX365" fmla="*/ 2373751 w 3473628"/>
              <a:gd name="connsiteY365" fmla="*/ 1415527 h 2831071"/>
              <a:gd name="connsiteX366" fmla="*/ 2347141 w 3473628"/>
              <a:gd name="connsiteY366" fmla="*/ 1246918 h 2831071"/>
              <a:gd name="connsiteX367" fmla="*/ 2334769 w 3473628"/>
              <a:gd name="connsiteY367" fmla="*/ 1142615 h 2831071"/>
              <a:gd name="connsiteX368" fmla="*/ 2329153 w 3473628"/>
              <a:gd name="connsiteY368" fmla="*/ 1065211 h 2831071"/>
              <a:gd name="connsiteX369" fmla="*/ 2304554 w 3473628"/>
              <a:gd name="connsiteY369" fmla="*/ 939335 h 2831071"/>
              <a:gd name="connsiteX370" fmla="*/ 2256641 w 3473628"/>
              <a:gd name="connsiteY370" fmla="*/ 796630 h 2831071"/>
              <a:gd name="connsiteX371" fmla="*/ 2230736 w 3473628"/>
              <a:gd name="connsiteY371" fmla="*/ 692327 h 2831071"/>
              <a:gd name="connsiteX372" fmla="*/ 2239502 w 3473628"/>
              <a:gd name="connsiteY372" fmla="*/ 643564 h 2831071"/>
              <a:gd name="connsiteX373" fmla="*/ 2294026 w 3473628"/>
              <a:gd name="connsiteY373" fmla="*/ 635647 h 2831071"/>
              <a:gd name="connsiteX374" fmla="*/ 2342789 w 3473628"/>
              <a:gd name="connsiteY374" fmla="*/ 621700 h 2831071"/>
              <a:gd name="connsiteX375" fmla="*/ 2378621 w 3473628"/>
              <a:gd name="connsiteY375" fmla="*/ 587174 h 2831071"/>
              <a:gd name="connsiteX376" fmla="*/ 2391283 w 3473628"/>
              <a:gd name="connsiteY376" fmla="*/ 534080 h 2831071"/>
              <a:gd name="connsiteX377" fmla="*/ 2374601 w 3473628"/>
              <a:gd name="connsiteY377" fmla="*/ 480426 h 2831071"/>
              <a:gd name="connsiteX378" fmla="*/ 2310004 w 3473628"/>
              <a:gd name="connsiteY378" fmla="*/ 360020 h 2831071"/>
              <a:gd name="connsiteX379" fmla="*/ 2266567 w 3473628"/>
              <a:gd name="connsiteY379" fmla="*/ 280171 h 2831071"/>
              <a:gd name="connsiteX380" fmla="*/ 2203691 w 3473628"/>
              <a:gd name="connsiteY380" fmla="*/ 213564 h 2831071"/>
              <a:gd name="connsiteX381" fmla="*/ 2153622 w 3473628"/>
              <a:gd name="connsiteY381" fmla="*/ 194291 h 2831071"/>
              <a:gd name="connsiteX382" fmla="*/ 2109315 w 3473628"/>
              <a:gd name="connsiteY382" fmla="*/ 218310 h 2831071"/>
              <a:gd name="connsiteX383" fmla="*/ 2085731 w 3473628"/>
              <a:gd name="connsiteY383" fmla="*/ 264214 h 2831071"/>
              <a:gd name="connsiteX384" fmla="*/ 2085006 w 3473628"/>
              <a:gd name="connsiteY384" fmla="*/ 308666 h 2831071"/>
              <a:gd name="connsiteX385" fmla="*/ 2107595 w 3473628"/>
              <a:gd name="connsiteY385" fmla="*/ 327794 h 2831071"/>
              <a:gd name="connsiteX386" fmla="*/ 2138245 w 3473628"/>
              <a:gd name="connsiteY386" fmla="*/ 329660 h 2831071"/>
              <a:gd name="connsiteX387" fmla="*/ 2151343 w 3473628"/>
              <a:gd name="connsiteY387" fmla="*/ 299299 h 2831071"/>
              <a:gd name="connsiteX388" fmla="*/ 2155508 w 3473628"/>
              <a:gd name="connsiteY388" fmla="*/ 263053 h 2831071"/>
              <a:gd name="connsiteX389" fmla="*/ 2173641 w 3473628"/>
              <a:gd name="connsiteY389" fmla="*/ 251261 h 2831071"/>
              <a:gd name="connsiteX390" fmla="*/ 2215068 w 3473628"/>
              <a:gd name="connsiteY390" fmla="*/ 262058 h 2831071"/>
              <a:gd name="connsiteX391" fmla="*/ 2248019 w 3473628"/>
              <a:gd name="connsiteY391" fmla="*/ 269975 h 2831071"/>
              <a:gd name="connsiteX392" fmla="*/ 2262257 w 3473628"/>
              <a:gd name="connsiteY392" fmla="*/ 259903 h 2831071"/>
              <a:gd name="connsiteX393" fmla="*/ 2259749 w 3473628"/>
              <a:gd name="connsiteY393" fmla="*/ 230993 h 2831071"/>
              <a:gd name="connsiteX394" fmla="*/ 2231337 w 3473628"/>
              <a:gd name="connsiteY394" fmla="*/ 190851 h 2831071"/>
              <a:gd name="connsiteX395" fmla="*/ 2181351 w 3473628"/>
              <a:gd name="connsiteY395" fmla="*/ 163309 h 2831071"/>
              <a:gd name="connsiteX396" fmla="*/ 2141354 w 3473628"/>
              <a:gd name="connsiteY396" fmla="*/ 157548 h 2831071"/>
              <a:gd name="connsiteX397" fmla="*/ 2113377 w 3473628"/>
              <a:gd name="connsiteY397" fmla="*/ 169485 h 2831071"/>
              <a:gd name="connsiteX398" fmla="*/ 2082726 w 3473628"/>
              <a:gd name="connsiteY398" fmla="*/ 176469 h 2831071"/>
              <a:gd name="connsiteX399" fmla="*/ 2031870 w 3473628"/>
              <a:gd name="connsiteY399" fmla="*/ 162086 h 2831071"/>
              <a:gd name="connsiteX400" fmla="*/ 1991955 w 3473628"/>
              <a:gd name="connsiteY400" fmla="*/ 137280 h 2831071"/>
              <a:gd name="connsiteX401" fmla="*/ 1950528 w 3473628"/>
              <a:gd name="connsiteY401" fmla="*/ 77222 h 2831071"/>
              <a:gd name="connsiteX402" fmla="*/ 1938737 w 3473628"/>
              <a:gd name="connsiteY402" fmla="*/ 27008 h 2831071"/>
              <a:gd name="connsiteX403" fmla="*/ 1947669 w 3473628"/>
              <a:gd name="connsiteY403" fmla="*/ 1725 h 2831071"/>
              <a:gd name="connsiteX404" fmla="*/ 1970755 w 3473628"/>
              <a:gd name="connsiteY404" fmla="*/ 8461 h 2831071"/>
              <a:gd name="connsiteX405" fmla="*/ 2009260 w 3473628"/>
              <a:gd name="connsiteY405" fmla="*/ 49494 h 2831071"/>
              <a:gd name="connsiteX406" fmla="*/ 2058292 w 3473628"/>
              <a:gd name="connsiteY406" fmla="*/ 104412 h 2831071"/>
              <a:gd name="connsiteX407" fmla="*/ 2093544 w 3473628"/>
              <a:gd name="connsiteY407" fmla="*/ 149010 h 2831071"/>
              <a:gd name="connsiteX408" fmla="*/ 2084487 w 3473628"/>
              <a:gd name="connsiteY408" fmla="*/ 165837 h 2831071"/>
              <a:gd name="connsiteX409" fmla="*/ 2039599 w 3473628"/>
              <a:gd name="connsiteY409" fmla="*/ 172593 h 2831071"/>
              <a:gd name="connsiteX410" fmla="*/ 2028657 w 3473628"/>
              <a:gd name="connsiteY410" fmla="*/ 186976 h 2831071"/>
              <a:gd name="connsiteX411" fmla="*/ 2037424 w 3473628"/>
              <a:gd name="connsiteY411" fmla="*/ 210435 h 2831071"/>
              <a:gd name="connsiteX412" fmla="*/ 2052531 w 3473628"/>
              <a:gd name="connsiteY412" fmla="*/ 240360 h 2831071"/>
              <a:gd name="connsiteX413" fmla="*/ 2063183 w 3473628"/>
              <a:gd name="connsiteY413" fmla="*/ 276606 h 2831071"/>
              <a:gd name="connsiteX414" fmla="*/ 2061173 w 3473628"/>
              <a:gd name="connsiteY414" fmla="*/ 308832 h 2831071"/>
              <a:gd name="connsiteX415" fmla="*/ 2047226 w 3473628"/>
              <a:gd name="connsiteY415" fmla="*/ 318324 h 2831071"/>
              <a:gd name="connsiteX416" fmla="*/ 2037009 w 3473628"/>
              <a:gd name="connsiteY416" fmla="*/ 303216 h 2831071"/>
              <a:gd name="connsiteX417" fmla="*/ 2039890 w 3473628"/>
              <a:gd name="connsiteY417" fmla="*/ 281932 h 2831071"/>
              <a:gd name="connsiteX418" fmla="*/ 2037589 w 3473628"/>
              <a:gd name="connsiteY418" fmla="*/ 253168 h 2831071"/>
              <a:gd name="connsiteX419" fmla="*/ 2017301 w 3473628"/>
              <a:gd name="connsiteY419" fmla="*/ 238640 h 2831071"/>
              <a:gd name="connsiteX420" fmla="*/ 1980039 w 3473628"/>
              <a:gd name="connsiteY420" fmla="*/ 250142 h 2831071"/>
              <a:gd name="connsiteX421" fmla="*/ 1965367 w 3473628"/>
              <a:gd name="connsiteY421" fmla="*/ 281207 h 2831071"/>
              <a:gd name="connsiteX422" fmla="*/ 1979604 w 3473628"/>
              <a:gd name="connsiteY422" fmla="*/ 326820 h 2831071"/>
              <a:gd name="connsiteX423" fmla="*/ 2042625 w 3473628"/>
              <a:gd name="connsiteY423" fmla="*/ 396598 h 2831071"/>
              <a:gd name="connsiteX424" fmla="*/ 2145208 w 3473628"/>
              <a:gd name="connsiteY424" fmla="*/ 455288 h 2831071"/>
              <a:gd name="connsiteX425" fmla="*/ 2223752 w 3473628"/>
              <a:gd name="connsiteY425" fmla="*/ 542183 h 2831071"/>
              <a:gd name="connsiteX426" fmla="*/ 2264889 w 3473628"/>
              <a:gd name="connsiteY426" fmla="*/ 604624 h 2831071"/>
              <a:gd name="connsiteX427" fmla="*/ 2331640 w 3473628"/>
              <a:gd name="connsiteY427" fmla="*/ 595132 h 2831071"/>
              <a:gd name="connsiteX428" fmla="*/ 2408753 w 3473628"/>
              <a:gd name="connsiteY428" fmla="*/ 561746 h 2831071"/>
              <a:gd name="connsiteX429" fmla="*/ 2486157 w 3473628"/>
              <a:gd name="connsiteY429" fmla="*/ 631088 h 2831071"/>
              <a:gd name="connsiteX430" fmla="*/ 2597797 w 3473628"/>
              <a:gd name="connsiteY430" fmla="*/ 831052 h 2831071"/>
              <a:gd name="connsiteX431" fmla="*/ 2689292 w 3473628"/>
              <a:gd name="connsiteY431" fmla="*/ 1008013 h 2831071"/>
              <a:gd name="connsiteX432" fmla="*/ 2728999 w 3473628"/>
              <a:gd name="connsiteY432" fmla="*/ 1141081 h 2831071"/>
              <a:gd name="connsiteX433" fmla="*/ 2722098 w 3473628"/>
              <a:gd name="connsiteY433" fmla="*/ 1265963 h 2831071"/>
              <a:gd name="connsiteX434" fmla="*/ 2726409 w 3473628"/>
              <a:gd name="connsiteY434" fmla="*/ 1370556 h 2831071"/>
              <a:gd name="connsiteX435" fmla="*/ 2748998 w 3473628"/>
              <a:gd name="connsiteY435" fmla="*/ 1502194 h 2831071"/>
              <a:gd name="connsiteX436" fmla="*/ 2793596 w 3473628"/>
              <a:gd name="connsiteY436" fmla="*/ 1683756 h 2831071"/>
              <a:gd name="connsiteX437" fmla="*/ 2841924 w 3473628"/>
              <a:gd name="connsiteY437" fmla="*/ 1899699 h 2831071"/>
              <a:gd name="connsiteX438" fmla="*/ 2835872 w 3473628"/>
              <a:gd name="connsiteY438" fmla="*/ 2160094 h 2831071"/>
              <a:gd name="connsiteX439" fmla="*/ 2789119 w 3473628"/>
              <a:gd name="connsiteY439" fmla="*/ 2458476 h 2831071"/>
              <a:gd name="connsiteX440" fmla="*/ 2737620 w 3473628"/>
              <a:gd name="connsiteY440" fmla="*/ 2693547 h 2831071"/>
              <a:gd name="connsiteX441" fmla="*/ 2657626 w 3473628"/>
              <a:gd name="connsiteY441" fmla="*/ 2723762 h 2831071"/>
              <a:gd name="connsiteX442" fmla="*/ 2479816 w 3473628"/>
              <a:gd name="connsiteY442" fmla="*/ 2656720 h 2831071"/>
              <a:gd name="connsiteX443" fmla="*/ 2254237 w 3473628"/>
              <a:gd name="connsiteY443" fmla="*/ 2611832 h 2831071"/>
              <a:gd name="connsiteX444" fmla="*/ 2082166 w 3473628"/>
              <a:gd name="connsiteY444" fmla="*/ 2636287 h 2831071"/>
              <a:gd name="connsiteX445" fmla="*/ 1994401 w 3473628"/>
              <a:gd name="connsiteY445" fmla="*/ 2663621 h 2831071"/>
              <a:gd name="connsiteX446" fmla="*/ 1965346 w 3473628"/>
              <a:gd name="connsiteY446" fmla="*/ 2610382 h 2831071"/>
              <a:gd name="connsiteX447" fmla="*/ 1972537 w 3473628"/>
              <a:gd name="connsiteY447" fmla="*/ 2529538 h 2831071"/>
              <a:gd name="connsiteX448" fmla="*/ 2001302 w 3473628"/>
              <a:gd name="connsiteY448" fmla="*/ 2410127 h 2831071"/>
              <a:gd name="connsiteX449" fmla="*/ 2065173 w 3473628"/>
              <a:gd name="connsiteY449" fmla="*/ 2234762 h 2831071"/>
              <a:gd name="connsiteX450" fmla="*/ 2185164 w 3473628"/>
              <a:gd name="connsiteY450" fmla="*/ 1982428 h 2831071"/>
              <a:gd name="connsiteX451" fmla="*/ 2272639 w 3473628"/>
              <a:gd name="connsiteY451" fmla="*/ 1790940 h 2831071"/>
              <a:gd name="connsiteX452" fmla="*/ 2341691 w 3473628"/>
              <a:gd name="connsiteY452" fmla="*/ 1698284 h 2831071"/>
              <a:gd name="connsiteX453" fmla="*/ 2369026 w 3473628"/>
              <a:gd name="connsiteY453" fmla="*/ 1632962 h 2831071"/>
              <a:gd name="connsiteX454" fmla="*/ 2351473 w 3473628"/>
              <a:gd name="connsiteY454" fmla="*/ 1607927 h 2831071"/>
              <a:gd name="connsiteX455" fmla="*/ 2270774 w 3473628"/>
              <a:gd name="connsiteY455" fmla="*/ 1653541 h 2831071"/>
              <a:gd name="connsiteX456" fmla="*/ 2210343 w 3473628"/>
              <a:gd name="connsiteY456" fmla="*/ 1626206 h 2831071"/>
              <a:gd name="connsiteX457" fmla="*/ 2164585 w 3473628"/>
              <a:gd name="connsiteY457" fmla="*/ 1571972 h 2831071"/>
              <a:gd name="connsiteX458" fmla="*/ 2149623 w 3473628"/>
              <a:gd name="connsiteY458" fmla="*/ 1525364 h 2831071"/>
              <a:gd name="connsiteX459" fmla="*/ 2171776 w 3473628"/>
              <a:gd name="connsiteY459" fmla="*/ 1480476 h 2831071"/>
              <a:gd name="connsiteX460" fmla="*/ 2219690 w 3473628"/>
              <a:gd name="connsiteY460" fmla="*/ 1471710 h 2831071"/>
              <a:gd name="connsiteX461" fmla="*/ 2304575 w 3473628"/>
              <a:gd name="connsiteY461" fmla="*/ 1491128 h 2831071"/>
              <a:gd name="connsiteX462" fmla="*/ 2357939 w 3473628"/>
              <a:gd name="connsiteY462" fmla="*/ 1495148 h 2831071"/>
              <a:gd name="connsiteX463" fmla="*/ 2365130 w 3473628"/>
              <a:gd name="connsiteY463" fmla="*/ 1468539 h 2831071"/>
              <a:gd name="connsiteX464" fmla="*/ 2343411 w 3473628"/>
              <a:gd name="connsiteY464" fmla="*/ 1383509 h 2831071"/>
              <a:gd name="connsiteX465" fmla="*/ 2328594 w 3473628"/>
              <a:gd name="connsiteY465" fmla="*/ 1282957 h 2831071"/>
              <a:gd name="connsiteX466" fmla="*/ 2324428 w 3473628"/>
              <a:gd name="connsiteY466" fmla="*/ 1207999 h 2831071"/>
              <a:gd name="connsiteX467" fmla="*/ 2305735 w 3473628"/>
              <a:gd name="connsiteY467" fmla="*/ 1175628 h 2831071"/>
              <a:gd name="connsiteX468" fmla="*/ 2240559 w 3473628"/>
              <a:gd name="connsiteY468" fmla="*/ 1175918 h 2831071"/>
              <a:gd name="connsiteX469" fmla="*/ 2155964 w 3473628"/>
              <a:gd name="connsiteY469" fmla="*/ 1209574 h 2831071"/>
              <a:gd name="connsiteX470" fmla="*/ 2105750 w 3473628"/>
              <a:gd name="connsiteY470" fmla="*/ 1260223 h 2831071"/>
              <a:gd name="connsiteX471" fmla="*/ 2085171 w 3473628"/>
              <a:gd name="connsiteY471" fmla="*/ 1297774 h 2831071"/>
              <a:gd name="connsiteX472" fmla="*/ 2074664 w 3473628"/>
              <a:gd name="connsiteY472" fmla="*/ 1286977 h 2831071"/>
              <a:gd name="connsiteX473" fmla="*/ 2069918 w 3473628"/>
              <a:gd name="connsiteY473" fmla="*/ 1234028 h 2831071"/>
              <a:gd name="connsiteX474" fmla="*/ 2108050 w 3473628"/>
              <a:gd name="connsiteY474" fmla="*/ 1171587 h 2831071"/>
              <a:gd name="connsiteX475" fmla="*/ 2189910 w 3473628"/>
              <a:gd name="connsiteY475" fmla="*/ 1136045 h 2831071"/>
              <a:gd name="connsiteX476" fmla="*/ 2269759 w 3473628"/>
              <a:gd name="connsiteY476" fmla="*/ 1132294 h 2831071"/>
              <a:gd name="connsiteX477" fmla="*/ 2308450 w 3473628"/>
              <a:gd name="connsiteY477" fmla="*/ 1125683 h 2831071"/>
              <a:gd name="connsiteX478" fmla="*/ 2307290 w 3473628"/>
              <a:gd name="connsiteY478" fmla="*/ 1074765 h 2831071"/>
              <a:gd name="connsiteX479" fmla="*/ 2297653 w 3473628"/>
              <a:gd name="connsiteY479" fmla="*/ 1036778 h 2831071"/>
              <a:gd name="connsiteX480" fmla="*/ 2262982 w 3473628"/>
              <a:gd name="connsiteY480" fmla="*/ 1022831 h 2831071"/>
              <a:gd name="connsiteX481" fmla="*/ 2194655 w 3473628"/>
              <a:gd name="connsiteY481" fmla="*/ 1035493 h 2831071"/>
              <a:gd name="connsiteX482" fmla="*/ 2144296 w 3473628"/>
              <a:gd name="connsiteY482" fmla="*/ 1081811 h 2831071"/>
              <a:gd name="connsiteX483" fmla="*/ 2106310 w 3473628"/>
              <a:gd name="connsiteY483" fmla="*/ 1120088 h 2831071"/>
              <a:gd name="connsiteX484" fmla="*/ 2043434 w 3473628"/>
              <a:gd name="connsiteY484" fmla="*/ 1152894 h 2831071"/>
              <a:gd name="connsiteX485" fmla="*/ 1998401 w 3473628"/>
              <a:gd name="connsiteY485" fmla="*/ 1194756 h 2831071"/>
              <a:gd name="connsiteX486" fmla="*/ 1991645 w 3473628"/>
              <a:gd name="connsiteY486" fmla="*/ 1239354 h 2831071"/>
              <a:gd name="connsiteX487" fmla="*/ 2014669 w 3473628"/>
              <a:gd name="connsiteY487" fmla="*/ 1279351 h 2831071"/>
              <a:gd name="connsiteX488" fmla="*/ 2051350 w 3473628"/>
              <a:gd name="connsiteY488" fmla="*/ 1309566 h 2831071"/>
              <a:gd name="connsiteX489" fmla="*/ 2064157 w 3473628"/>
              <a:gd name="connsiteY489" fmla="*/ 1331865 h 2831071"/>
              <a:gd name="connsiteX490" fmla="*/ 2053505 w 3473628"/>
              <a:gd name="connsiteY490" fmla="*/ 1376173 h 2831071"/>
              <a:gd name="connsiteX491" fmla="*/ 2057671 w 3473628"/>
              <a:gd name="connsiteY491" fmla="*/ 1437598 h 2831071"/>
              <a:gd name="connsiteX492" fmla="*/ 2084715 w 3473628"/>
              <a:gd name="connsiteY492" fmla="*/ 1526939 h 2831071"/>
              <a:gd name="connsiteX493" fmla="*/ 2142556 w 3473628"/>
              <a:gd name="connsiteY493" fmla="*/ 1590374 h 2831071"/>
              <a:gd name="connsiteX494" fmla="*/ 2188583 w 3473628"/>
              <a:gd name="connsiteY494" fmla="*/ 1652525 h 2831071"/>
              <a:gd name="connsiteX495" fmla="*/ 2211753 w 3473628"/>
              <a:gd name="connsiteY495" fmla="*/ 1709350 h 2831071"/>
              <a:gd name="connsiteX496" fmla="*/ 2213038 w 3473628"/>
              <a:gd name="connsiteY496" fmla="*/ 1751502 h 2831071"/>
              <a:gd name="connsiteX497" fmla="*/ 2193619 w 3473628"/>
              <a:gd name="connsiteY497" fmla="*/ 1786463 h 2831071"/>
              <a:gd name="connsiteX498" fmla="*/ 2145416 w 3473628"/>
              <a:gd name="connsiteY498" fmla="*/ 1826170 h 2831071"/>
              <a:gd name="connsiteX499" fmla="*/ 2094062 w 3473628"/>
              <a:gd name="connsiteY499" fmla="*/ 1865877 h 2831071"/>
              <a:gd name="connsiteX500" fmla="*/ 2067452 w 3473628"/>
              <a:gd name="connsiteY500" fmla="*/ 1897668 h 2831071"/>
              <a:gd name="connsiteX501" fmla="*/ 2076654 w 3473628"/>
              <a:gd name="connsiteY501" fmla="*/ 1913791 h 2831071"/>
              <a:gd name="connsiteX502" fmla="*/ 2097668 w 3473628"/>
              <a:gd name="connsiteY502" fmla="*/ 1937955 h 2831071"/>
              <a:gd name="connsiteX503" fmla="*/ 2095077 w 3473628"/>
              <a:gd name="connsiteY503" fmla="*/ 2004416 h 2831071"/>
              <a:gd name="connsiteX504" fmla="*/ 2059391 w 3473628"/>
              <a:gd name="connsiteY504" fmla="*/ 2109155 h 2831071"/>
              <a:gd name="connsiteX505" fmla="*/ 1969325 w 3473628"/>
              <a:gd name="connsiteY505" fmla="*/ 2331853 h 2831071"/>
              <a:gd name="connsiteX506" fmla="*/ 1904584 w 3473628"/>
              <a:gd name="connsiteY506" fmla="*/ 2574405 h 2831071"/>
              <a:gd name="connsiteX507" fmla="*/ 1892502 w 3473628"/>
              <a:gd name="connsiteY507" fmla="*/ 2764443 h 2831071"/>
              <a:gd name="connsiteX508" fmla="*/ 2038812 w 3473628"/>
              <a:gd name="connsiteY508" fmla="*/ 2824874 h 2831071"/>
              <a:gd name="connsiteX509" fmla="*/ 2686909 w 3473628"/>
              <a:gd name="connsiteY509" fmla="*/ 2831070 h 2831071"/>
              <a:gd name="connsiteX510" fmla="*/ 3473628 w 3473628"/>
              <a:gd name="connsiteY510" fmla="*/ 2831070 h 2831071"/>
              <a:gd name="connsiteX0" fmla="*/ 1186254 w 3473628"/>
              <a:gd name="connsiteY0" fmla="*/ 2427970 h 2831069"/>
              <a:gd name="connsiteX1" fmla="*/ 1188409 w 3473628"/>
              <a:gd name="connsiteY1" fmla="*/ 2366980 h 2831069"/>
              <a:gd name="connsiteX2" fmla="*/ 1213734 w 3473628"/>
              <a:gd name="connsiteY2" fmla="*/ 2320662 h 2831069"/>
              <a:gd name="connsiteX3" fmla="*/ 1209568 w 3473628"/>
              <a:gd name="connsiteY3" fmla="*/ 2270448 h 2831069"/>
              <a:gd name="connsiteX4" fmla="*/ 1120808 w 3473628"/>
              <a:gd name="connsiteY4" fmla="*/ 2115662 h 2831069"/>
              <a:gd name="connsiteX5" fmla="*/ 1030182 w 3473628"/>
              <a:gd name="connsiteY5" fmla="*/ 1957124 h 2831069"/>
              <a:gd name="connsiteX6" fmla="*/ 963576 w 3473628"/>
              <a:gd name="connsiteY6" fmla="*/ 1924173 h 2831069"/>
              <a:gd name="connsiteX7" fmla="*/ 805764 w 3473628"/>
              <a:gd name="connsiteY7" fmla="*/ 1954244 h 2831069"/>
              <a:gd name="connsiteX8" fmla="*/ 604929 w 3473628"/>
              <a:gd name="connsiteY8" fmla="*/ 1989060 h 2831069"/>
              <a:gd name="connsiteX9" fmla="*/ 477332 w 3473628"/>
              <a:gd name="connsiteY9" fmla="*/ 1993661 h 2831069"/>
              <a:gd name="connsiteX10" fmla="*/ 361672 w 3473628"/>
              <a:gd name="connsiteY10" fmla="*/ 2000852 h 2831069"/>
              <a:gd name="connsiteX11" fmla="*/ 98687 w 3473628"/>
              <a:gd name="connsiteY11" fmla="*/ 2062567 h 2831069"/>
              <a:gd name="connsiteX12" fmla="*/ 3316 w 3473628"/>
              <a:gd name="connsiteY12" fmla="*/ 2090047 h 2831069"/>
              <a:gd name="connsiteX13" fmla="*/ 45468 w 3473628"/>
              <a:gd name="connsiteY13" fmla="*/ 2164135 h 2831069"/>
              <a:gd name="connsiteX14" fmla="*/ 243277 w 3473628"/>
              <a:gd name="connsiteY14" fmla="*/ 2417629 h 2831069"/>
              <a:gd name="connsiteX15" fmla="*/ 343270 w 3473628"/>
              <a:gd name="connsiteY15" fmla="*/ 2553723 h 2831069"/>
              <a:gd name="connsiteX16" fmla="*/ 396634 w 3473628"/>
              <a:gd name="connsiteY16" fmla="*/ 2608392 h 2831069"/>
              <a:gd name="connsiteX17" fmla="*/ 442102 w 3473628"/>
              <a:gd name="connsiteY17" fmla="*/ 2644348 h 2831069"/>
              <a:gd name="connsiteX18" fmla="*/ 450018 w 3473628"/>
              <a:gd name="connsiteY18" fmla="*/ 2670108 h 2831069"/>
              <a:gd name="connsiteX19" fmla="*/ 431180 w 3473628"/>
              <a:gd name="connsiteY19" fmla="*/ 2687516 h 2831069"/>
              <a:gd name="connsiteX20" fmla="*/ 385007 w 3473628"/>
              <a:gd name="connsiteY20" fmla="*/ 2665507 h 2831069"/>
              <a:gd name="connsiteX21" fmla="*/ 320266 w 3473628"/>
              <a:gd name="connsiteY21" fmla="*/ 2569991 h 2831069"/>
              <a:gd name="connsiteX22" fmla="*/ 307459 w 3473628"/>
              <a:gd name="connsiteY22" fmla="*/ 2513166 h 2831069"/>
              <a:gd name="connsiteX23" fmla="*/ 319396 w 3473628"/>
              <a:gd name="connsiteY23" fmla="*/ 2499923 h 2831069"/>
              <a:gd name="connsiteX24" fmla="*/ 348015 w 3473628"/>
              <a:gd name="connsiteY24" fmla="*/ 2524378 h 2831069"/>
              <a:gd name="connsiteX25" fmla="*/ 378086 w 3473628"/>
              <a:gd name="connsiteY25" fmla="*/ 2562364 h 2831069"/>
              <a:gd name="connsiteX26" fmla="*/ 409731 w 3473628"/>
              <a:gd name="connsiteY26" fmla="*/ 2581348 h 2831069"/>
              <a:gd name="connsiteX27" fmla="*/ 431740 w 3473628"/>
              <a:gd name="connsiteY27" fmla="*/ 2604372 h 2831069"/>
              <a:gd name="connsiteX28" fmla="*/ 455323 w 3473628"/>
              <a:gd name="connsiteY28" fmla="*/ 2623645 h 2831069"/>
              <a:gd name="connsiteX29" fmla="*/ 472006 w 3473628"/>
              <a:gd name="connsiteY29" fmla="*/ 2654005 h 2831069"/>
              <a:gd name="connsiteX30" fmla="*/ 483798 w 3473628"/>
              <a:gd name="connsiteY30" fmla="*/ 2705649 h 2831069"/>
              <a:gd name="connsiteX31" fmla="*/ 515029 w 3473628"/>
              <a:gd name="connsiteY31" fmla="*/ 2761707 h 2831069"/>
              <a:gd name="connsiteX32" fmla="*/ 593924 w 3473628"/>
              <a:gd name="connsiteY32" fmla="*/ 2781975 h 2831069"/>
              <a:gd name="connsiteX33" fmla="*/ 917921 w 3473628"/>
              <a:gd name="connsiteY33" fmla="*/ 2784234 h 2831069"/>
              <a:gd name="connsiteX34" fmla="*/ 1481859 w 3473628"/>
              <a:gd name="connsiteY34" fmla="*/ 2784234 h 2831069"/>
              <a:gd name="connsiteX35" fmla="*/ 1611175 w 3473628"/>
              <a:gd name="connsiteY35" fmla="*/ 2760402 h 2831069"/>
              <a:gd name="connsiteX36" fmla="*/ 1530415 w 3473628"/>
              <a:gd name="connsiteY36" fmla="*/ 2653819 h 2831069"/>
              <a:gd name="connsiteX37" fmla="*/ 1485506 w 3473628"/>
              <a:gd name="connsiteY37" fmla="*/ 2582508 h 2831069"/>
              <a:gd name="connsiteX38" fmla="*/ 1444639 w 3473628"/>
              <a:gd name="connsiteY38" fmla="*/ 2563380 h 2831069"/>
              <a:gd name="connsiteX39" fmla="*/ 1360914 w 3473628"/>
              <a:gd name="connsiteY39" fmla="*/ 2569701 h 2831069"/>
              <a:gd name="connsiteX40" fmla="*/ 1305374 w 3473628"/>
              <a:gd name="connsiteY40" fmla="*/ 2561204 h 2831069"/>
              <a:gd name="connsiteX41" fmla="*/ 1259906 w 3473628"/>
              <a:gd name="connsiteY41" fmla="*/ 2517187 h 2831069"/>
              <a:gd name="connsiteX42" fmla="*/ 1228551 w 3473628"/>
              <a:gd name="connsiteY42" fmla="*/ 2442519 h 2831069"/>
              <a:gd name="connsiteX43" fmla="*/ 1227121 w 3473628"/>
              <a:gd name="connsiteY43" fmla="*/ 2364680 h 2831069"/>
              <a:gd name="connsiteX44" fmla="*/ 1271139 w 3473628"/>
              <a:gd name="connsiteY44" fmla="*/ 2317491 h 2831069"/>
              <a:gd name="connsiteX45" fmla="*/ 1254021 w 3473628"/>
              <a:gd name="connsiteY45" fmla="*/ 2254201 h 2831069"/>
              <a:gd name="connsiteX46" fmla="*/ 1118217 w 3473628"/>
              <a:gd name="connsiteY46" fmla="*/ 2041429 h 2831069"/>
              <a:gd name="connsiteX47" fmla="*/ 1021105 w 3473628"/>
              <a:gd name="connsiteY47" fmla="*/ 1888363 h 2831069"/>
              <a:gd name="connsiteX48" fmla="*/ 969171 w 3473628"/>
              <a:gd name="connsiteY48" fmla="*/ 1865338 h 2831069"/>
              <a:gd name="connsiteX49" fmla="*/ 890048 w 3473628"/>
              <a:gd name="connsiteY49" fmla="*/ 1886477 h 2831069"/>
              <a:gd name="connsiteX50" fmla="*/ 773808 w 3473628"/>
              <a:gd name="connsiteY50" fmla="*/ 1916837 h 2831069"/>
              <a:gd name="connsiteX51" fmla="*/ 552974 w 3473628"/>
              <a:gd name="connsiteY51" fmla="*/ 1960565 h 2831069"/>
              <a:gd name="connsiteX52" fmla="*/ 460463 w 3473628"/>
              <a:gd name="connsiteY52" fmla="*/ 1968771 h 2831069"/>
              <a:gd name="connsiteX53" fmla="*/ 390251 w 3473628"/>
              <a:gd name="connsiteY53" fmla="*/ 1936110 h 2831069"/>
              <a:gd name="connsiteX54" fmla="*/ 237329 w 3473628"/>
              <a:gd name="connsiteY54" fmla="*/ 1817280 h 2831069"/>
              <a:gd name="connsiteX55" fmla="*/ 148859 w 3473628"/>
              <a:gd name="connsiteY55" fmla="*/ 1724478 h 2831069"/>
              <a:gd name="connsiteX56" fmla="*/ 135326 w 3473628"/>
              <a:gd name="connsiteY56" fmla="*/ 1660753 h 2831069"/>
              <a:gd name="connsiteX57" fmla="*/ 160361 w 3473628"/>
              <a:gd name="connsiteY57" fmla="*/ 1619326 h 2831069"/>
              <a:gd name="connsiteX58" fmla="*/ 206534 w 3473628"/>
              <a:gd name="connsiteY58" fmla="*/ 1610829 h 2831069"/>
              <a:gd name="connsiteX59" fmla="*/ 299894 w 3473628"/>
              <a:gd name="connsiteY59" fmla="*/ 1646370 h 2831069"/>
              <a:gd name="connsiteX60" fmla="*/ 372552 w 3473628"/>
              <a:gd name="connsiteY60" fmla="*/ 1668959 h 2831069"/>
              <a:gd name="connsiteX61" fmla="*/ 375723 w 3473628"/>
              <a:gd name="connsiteY61" fmla="*/ 1692688 h 2831069"/>
              <a:gd name="connsiteX62" fmla="*/ 313282 w 3473628"/>
              <a:gd name="connsiteY62" fmla="*/ 1712832 h 2831069"/>
              <a:gd name="connsiteX63" fmla="*/ 211134 w 3473628"/>
              <a:gd name="connsiteY63" fmla="*/ 1685787 h 2831069"/>
              <a:gd name="connsiteX64" fmla="*/ 161356 w 3473628"/>
              <a:gd name="connsiteY64" fmla="*/ 1648235 h 2831069"/>
              <a:gd name="connsiteX65" fmla="*/ 166391 w 3473628"/>
              <a:gd name="connsiteY65" fmla="*/ 1605586 h 2831069"/>
              <a:gd name="connsiteX66" fmla="*/ 200192 w 3473628"/>
              <a:gd name="connsiteY66" fmla="*/ 1577816 h 2831069"/>
              <a:gd name="connsiteX67" fmla="*/ 287232 w 3473628"/>
              <a:gd name="connsiteY67" fmla="*/ 1590830 h 2831069"/>
              <a:gd name="connsiteX68" fmla="*/ 369009 w 3473628"/>
              <a:gd name="connsiteY68" fmla="*/ 1618953 h 2831069"/>
              <a:gd name="connsiteX69" fmla="*/ 419927 w 3473628"/>
              <a:gd name="connsiteY69" fmla="*/ 1621046 h 2831069"/>
              <a:gd name="connsiteX70" fmla="*/ 508625 w 3473628"/>
              <a:gd name="connsiteY70" fmla="*/ 1559682 h 2831069"/>
              <a:gd name="connsiteX71" fmla="*/ 603872 w 3473628"/>
              <a:gd name="connsiteY71" fmla="*/ 1496164 h 2831069"/>
              <a:gd name="connsiteX72" fmla="*/ 672489 w 3473628"/>
              <a:gd name="connsiteY72" fmla="*/ 1469699 h 2831069"/>
              <a:gd name="connsiteX73" fmla="*/ 740318 w 3473628"/>
              <a:gd name="connsiteY73" fmla="*/ 1459835 h 2831069"/>
              <a:gd name="connsiteX74" fmla="*/ 810675 w 3473628"/>
              <a:gd name="connsiteY74" fmla="*/ 1421288 h 2831069"/>
              <a:gd name="connsiteX75" fmla="*/ 854631 w 3473628"/>
              <a:gd name="connsiteY75" fmla="*/ 1394969 h 2831069"/>
              <a:gd name="connsiteX76" fmla="*/ 862982 w 3473628"/>
              <a:gd name="connsiteY76" fmla="*/ 1380214 h 2831069"/>
              <a:gd name="connsiteX77" fmla="*/ 851688 w 3473628"/>
              <a:gd name="connsiteY77" fmla="*/ 1366412 h 2831069"/>
              <a:gd name="connsiteX78" fmla="*/ 827524 w 3473628"/>
              <a:gd name="connsiteY78" fmla="*/ 1363614 h 2831069"/>
              <a:gd name="connsiteX79" fmla="*/ 824291 w 3473628"/>
              <a:gd name="connsiteY79" fmla="*/ 1354910 h 2831069"/>
              <a:gd name="connsiteX80" fmla="*/ 846652 w 3473628"/>
              <a:gd name="connsiteY80" fmla="*/ 1340030 h 2831069"/>
              <a:gd name="connsiteX81" fmla="*/ 880308 w 3473628"/>
              <a:gd name="connsiteY81" fmla="*/ 1319161 h 2831069"/>
              <a:gd name="connsiteX82" fmla="*/ 897363 w 3473628"/>
              <a:gd name="connsiteY82" fmla="*/ 1302831 h 2831069"/>
              <a:gd name="connsiteX83" fmla="*/ 886794 w 3473628"/>
              <a:gd name="connsiteY83" fmla="*/ 1295930 h 2831069"/>
              <a:gd name="connsiteX84" fmla="*/ 844642 w 3473628"/>
              <a:gd name="connsiteY84" fmla="*/ 1306934 h 2831069"/>
              <a:gd name="connsiteX85" fmla="*/ 809536 w 3473628"/>
              <a:gd name="connsiteY85" fmla="*/ 1335347 h 2831069"/>
              <a:gd name="connsiteX86" fmla="*/ 787029 w 3473628"/>
              <a:gd name="connsiteY86" fmla="*/ 1349667 h 2831069"/>
              <a:gd name="connsiteX87" fmla="*/ 782139 w 3473628"/>
              <a:gd name="connsiteY87" fmla="*/ 1343346 h 2831069"/>
              <a:gd name="connsiteX88" fmla="*/ 804583 w 3473628"/>
              <a:gd name="connsiteY88" fmla="*/ 1325296 h 2831069"/>
              <a:gd name="connsiteX89" fmla="*/ 816810 w 3473628"/>
              <a:gd name="connsiteY89" fmla="*/ 1307743 h 2831069"/>
              <a:gd name="connsiteX90" fmla="*/ 811276 w 3473628"/>
              <a:gd name="connsiteY90" fmla="*/ 1290977 h 2831069"/>
              <a:gd name="connsiteX91" fmla="*/ 791713 w 3473628"/>
              <a:gd name="connsiteY91" fmla="*/ 1290832 h 2831069"/>
              <a:gd name="connsiteX92" fmla="*/ 761933 w 3473628"/>
              <a:gd name="connsiteY92" fmla="*/ 1313856 h 2831069"/>
              <a:gd name="connsiteX93" fmla="*/ 742515 w 3473628"/>
              <a:gd name="connsiteY93" fmla="*/ 1324218 h 2831069"/>
              <a:gd name="connsiteX94" fmla="*/ 739862 w 3473628"/>
              <a:gd name="connsiteY94" fmla="*/ 1318457 h 2831069"/>
              <a:gd name="connsiteX95" fmla="*/ 752296 w 3473628"/>
              <a:gd name="connsiteY95" fmla="*/ 1300406 h 2831069"/>
              <a:gd name="connsiteX96" fmla="*/ 772585 w 3473628"/>
              <a:gd name="connsiteY96" fmla="*/ 1280615 h 2831069"/>
              <a:gd name="connsiteX97" fmla="*/ 776108 w 3473628"/>
              <a:gd name="connsiteY97" fmla="*/ 1263994 h 2831069"/>
              <a:gd name="connsiteX98" fmla="*/ 761083 w 3473628"/>
              <a:gd name="connsiteY98" fmla="*/ 1258026 h 2831069"/>
              <a:gd name="connsiteX99" fmla="*/ 718869 w 3473628"/>
              <a:gd name="connsiteY99" fmla="*/ 1273051 h 2831069"/>
              <a:gd name="connsiteX100" fmla="*/ 639600 w 3473628"/>
              <a:gd name="connsiteY100" fmla="*/ 1331181 h 2831069"/>
              <a:gd name="connsiteX101" fmla="*/ 569678 w 3473628"/>
              <a:gd name="connsiteY101" fmla="*/ 1382100 h 2831069"/>
              <a:gd name="connsiteX102" fmla="*/ 456173 w 3473628"/>
              <a:gd name="connsiteY102" fmla="*/ 1442530 h 2831069"/>
              <a:gd name="connsiteX103" fmla="*/ 325406 w 3473628"/>
              <a:gd name="connsiteY103" fmla="*/ 1515188 h 2831069"/>
              <a:gd name="connsiteX104" fmla="*/ 239526 w 3473628"/>
              <a:gd name="connsiteY104" fmla="*/ 1551144 h 2831069"/>
              <a:gd name="connsiteX105" fmla="*/ 218388 w 3473628"/>
              <a:gd name="connsiteY105" fmla="*/ 1575453 h 2831069"/>
              <a:gd name="connsiteX106" fmla="*/ 272912 w 3473628"/>
              <a:gd name="connsiteY106" fmla="*/ 1602208 h 2831069"/>
              <a:gd name="connsiteX107" fmla="*/ 357797 w 3473628"/>
              <a:gd name="connsiteY107" fmla="*/ 1635863 h 2831069"/>
              <a:gd name="connsiteX108" fmla="*/ 403410 w 3473628"/>
              <a:gd name="connsiteY108" fmla="*/ 1653271 h 2831069"/>
              <a:gd name="connsiteX109" fmla="*/ 416073 w 3473628"/>
              <a:gd name="connsiteY109" fmla="*/ 1682036 h 2831069"/>
              <a:gd name="connsiteX110" fmla="*/ 440817 w 3473628"/>
              <a:gd name="connsiteY110" fmla="*/ 1705060 h 2831069"/>
              <a:gd name="connsiteX111" fmla="*/ 514469 w 3473628"/>
              <a:gd name="connsiteY111" fmla="*/ 1733680 h 2831069"/>
              <a:gd name="connsiteX112" fmla="*/ 651288 w 3473628"/>
              <a:gd name="connsiteY112" fmla="*/ 1765905 h 2831069"/>
              <a:gd name="connsiteX113" fmla="*/ 768109 w 3473628"/>
              <a:gd name="connsiteY113" fmla="*/ 1785179 h 2831069"/>
              <a:gd name="connsiteX114" fmla="*/ 837306 w 3473628"/>
              <a:gd name="connsiteY114" fmla="*/ 1824740 h 2831069"/>
              <a:gd name="connsiteX115" fmla="*/ 840621 w 3473628"/>
              <a:gd name="connsiteY115" fmla="*/ 1854666 h 2831069"/>
              <a:gd name="connsiteX116" fmla="*/ 790843 w 3473628"/>
              <a:gd name="connsiteY116" fmla="*/ 1883430 h 2831069"/>
              <a:gd name="connsiteX117" fmla="*/ 713874 w 3473628"/>
              <a:gd name="connsiteY117" fmla="*/ 1902413 h 2831069"/>
              <a:gd name="connsiteX118" fmla="*/ 703367 w 3473628"/>
              <a:gd name="connsiteY118" fmla="*/ 1887741 h 2831069"/>
              <a:gd name="connsiteX119" fmla="*/ 735158 w 3473628"/>
              <a:gd name="connsiteY119" fmla="*/ 1840843 h 2831069"/>
              <a:gd name="connsiteX120" fmla="*/ 785662 w 3473628"/>
              <a:gd name="connsiteY120" fmla="*/ 1808037 h 2831069"/>
              <a:gd name="connsiteX121" fmla="*/ 864640 w 3473628"/>
              <a:gd name="connsiteY121" fmla="*/ 1809757 h 2831069"/>
              <a:gd name="connsiteX122" fmla="*/ 904637 w 3473628"/>
              <a:gd name="connsiteY122" fmla="*/ 1789468 h 2831069"/>
              <a:gd name="connsiteX123" fmla="*/ 916284 w 3473628"/>
              <a:gd name="connsiteY123" fmla="*/ 1745161 h 2831069"/>
              <a:gd name="connsiteX124" fmla="*/ 912119 w 3473628"/>
              <a:gd name="connsiteY124" fmla="*/ 1675238 h 2831069"/>
              <a:gd name="connsiteX125" fmla="*/ 918025 w 3473628"/>
              <a:gd name="connsiteY125" fmla="*/ 1647904 h 2831069"/>
              <a:gd name="connsiteX126" fmla="*/ 946230 w 3473628"/>
              <a:gd name="connsiteY126" fmla="*/ 1644588 h 2831069"/>
              <a:gd name="connsiteX127" fmla="*/ 993128 w 3473628"/>
              <a:gd name="connsiteY127" fmla="*/ 1664587 h 2831069"/>
              <a:gd name="connsiteX128" fmla="*/ 1043632 w 3473628"/>
              <a:gd name="connsiteY128" fmla="*/ 1685455 h 2831069"/>
              <a:gd name="connsiteX129" fmla="*/ 1091110 w 3473628"/>
              <a:gd name="connsiteY129" fmla="*/ 1667032 h 2831069"/>
              <a:gd name="connsiteX130" fmla="*/ 1113844 w 3473628"/>
              <a:gd name="connsiteY130" fmla="*/ 1609046 h 2831069"/>
              <a:gd name="connsiteX131" fmla="*/ 1137573 w 3473628"/>
              <a:gd name="connsiteY131" fmla="*/ 1536244 h 2831069"/>
              <a:gd name="connsiteX132" fmla="*/ 1175270 w 3473628"/>
              <a:gd name="connsiteY132" fmla="*/ 1484165 h 2831069"/>
              <a:gd name="connsiteX133" fmla="*/ 1215847 w 3473628"/>
              <a:gd name="connsiteY133" fmla="*/ 1437702 h 2831069"/>
              <a:gd name="connsiteX134" fmla="*/ 1213837 w 3473628"/>
              <a:gd name="connsiteY134" fmla="*/ 1405911 h 2831069"/>
              <a:gd name="connsiteX135" fmla="*/ 1160743 w 3473628"/>
              <a:gd name="connsiteY135" fmla="*/ 1359449 h 2831069"/>
              <a:gd name="connsiteX136" fmla="*/ 1072273 w 3473628"/>
              <a:gd name="connsiteY136" fmla="*/ 1326207 h 2831069"/>
              <a:gd name="connsiteX137" fmla="*/ 969420 w 3473628"/>
              <a:gd name="connsiteY137" fmla="*/ 1337709 h 2831069"/>
              <a:gd name="connsiteX138" fmla="*/ 912160 w 3473628"/>
              <a:gd name="connsiteY138" fmla="*/ 1380152 h 2831069"/>
              <a:gd name="connsiteX139" fmla="*/ 896327 w 3473628"/>
              <a:gd name="connsiteY139" fmla="*/ 1448333 h 2831069"/>
              <a:gd name="connsiteX140" fmla="*/ 877489 w 3473628"/>
              <a:gd name="connsiteY140" fmla="*/ 1512784 h 2831069"/>
              <a:gd name="connsiteX141" fmla="*/ 860806 w 3473628"/>
              <a:gd name="connsiteY141" fmla="*/ 1564138 h 2831069"/>
              <a:gd name="connsiteX142" fmla="*/ 859936 w 3473628"/>
              <a:gd name="connsiteY142" fmla="*/ 1636216 h 2831069"/>
              <a:gd name="connsiteX143" fmla="*/ 882670 w 3473628"/>
              <a:gd name="connsiteY143" fmla="*/ 1693040 h 2831069"/>
              <a:gd name="connsiteX144" fmla="*/ 939930 w 3473628"/>
              <a:gd name="connsiteY144" fmla="*/ 1728001 h 2831069"/>
              <a:gd name="connsiteX145" fmla="*/ 1032856 w 3473628"/>
              <a:gd name="connsiteY145" fmla="*/ 1733618 h 2831069"/>
              <a:gd name="connsiteX146" fmla="*/ 1121326 w 3473628"/>
              <a:gd name="connsiteY146" fmla="*/ 1688440 h 2831069"/>
              <a:gd name="connsiteX147" fmla="*/ 1171830 w 3473628"/>
              <a:gd name="connsiteY147" fmla="*/ 1627304 h 2831069"/>
              <a:gd name="connsiteX148" fmla="*/ 1192263 w 3473628"/>
              <a:gd name="connsiteY148" fmla="*/ 1592343 h 2831069"/>
              <a:gd name="connsiteX149" fmla="*/ 1215433 w 3473628"/>
              <a:gd name="connsiteY149" fmla="*/ 1590478 h 2831069"/>
              <a:gd name="connsiteX150" fmla="*/ 1223059 w 3473628"/>
              <a:gd name="connsiteY150" fmla="*/ 1624569 h 2831069"/>
              <a:gd name="connsiteX151" fmla="*/ 1193569 w 3473628"/>
              <a:gd name="connsiteY151" fmla="*/ 1655219 h 2831069"/>
              <a:gd name="connsiteX152" fmla="*/ 1160328 w 3473628"/>
              <a:gd name="connsiteY152" fmla="*/ 1650909 h 2831069"/>
              <a:gd name="connsiteX153" fmla="*/ 1152121 w 3473628"/>
              <a:gd name="connsiteY153" fmla="*/ 1619844 h 2831069"/>
              <a:gd name="connsiteX154" fmla="*/ 1169239 w 3473628"/>
              <a:gd name="connsiteY154" fmla="*/ 1577836 h 2831069"/>
              <a:gd name="connsiteX155" fmla="*/ 1208511 w 3473628"/>
              <a:gd name="connsiteY155" fmla="*/ 1555683 h 2831069"/>
              <a:gd name="connsiteX156" fmla="*/ 1223039 w 3473628"/>
              <a:gd name="connsiteY156" fmla="*/ 1534814 h 2831069"/>
              <a:gd name="connsiteX157" fmla="*/ 1221173 w 3473628"/>
              <a:gd name="connsiteY157" fmla="*/ 1493822 h 2831069"/>
              <a:gd name="connsiteX158" fmla="*/ 1192263 w 3473628"/>
              <a:gd name="connsiteY158" fmla="*/ 1435837 h 2831069"/>
              <a:gd name="connsiteX159" fmla="*/ 1126527 w 3473628"/>
              <a:gd name="connsiteY159" fmla="*/ 1373105 h 2831069"/>
              <a:gd name="connsiteX160" fmla="*/ 1015178 w 3473628"/>
              <a:gd name="connsiteY160" fmla="*/ 1361604 h 2831069"/>
              <a:gd name="connsiteX161" fmla="*/ 929299 w 3473628"/>
              <a:gd name="connsiteY161" fmla="*/ 1399591 h 2831069"/>
              <a:gd name="connsiteX162" fmla="*/ 891312 w 3473628"/>
              <a:gd name="connsiteY162" fmla="*/ 1413683 h 2831069"/>
              <a:gd name="connsiteX163" fmla="*/ 880805 w 3473628"/>
              <a:gd name="connsiteY163" fmla="*/ 1385623 h 2831069"/>
              <a:gd name="connsiteX164" fmla="*/ 887271 w 3473628"/>
              <a:gd name="connsiteY164" fmla="*/ 1343035 h 2831069"/>
              <a:gd name="connsiteX165" fmla="*/ 919351 w 3473628"/>
              <a:gd name="connsiteY165" fmla="*/ 1314270 h 2831069"/>
              <a:gd name="connsiteX166" fmla="*/ 976031 w 3473628"/>
              <a:gd name="connsiteY166" fmla="*/ 1293402 h 2831069"/>
              <a:gd name="connsiteX167" fmla="*/ 1018183 w 3473628"/>
              <a:gd name="connsiteY167" fmla="*/ 1281900 h 2831069"/>
              <a:gd name="connsiteX168" fmla="*/ 1050844 w 3473628"/>
              <a:gd name="connsiteY168" fmla="*/ 1268947 h 2831069"/>
              <a:gd name="connsiteX169" fmla="*/ 1109244 w 3473628"/>
              <a:gd name="connsiteY169" fmla="*/ 1272118 h 2831069"/>
              <a:gd name="connsiteX170" fmla="*/ 1183622 w 3473628"/>
              <a:gd name="connsiteY170" fmla="*/ 1306209 h 2831069"/>
              <a:gd name="connsiteX171" fmla="*/ 1247202 w 3473628"/>
              <a:gd name="connsiteY171" fmla="*/ 1382017 h 2831069"/>
              <a:gd name="connsiteX172" fmla="*/ 1276983 w 3473628"/>
              <a:gd name="connsiteY172" fmla="*/ 1470777 h 2831069"/>
              <a:gd name="connsiteX173" fmla="*/ 1290785 w 3473628"/>
              <a:gd name="connsiteY173" fmla="*/ 1538959 h 2831069"/>
              <a:gd name="connsiteX174" fmla="*/ 1286184 w 3473628"/>
              <a:gd name="connsiteY174" fmla="*/ 1598664 h 2831069"/>
              <a:gd name="connsiteX175" fmla="*/ 1251223 w 3473628"/>
              <a:gd name="connsiteY175" fmla="*/ 1657789 h 2831069"/>
              <a:gd name="connsiteX176" fmla="*/ 1190792 w 3473628"/>
              <a:gd name="connsiteY176" fmla="*/ 1692460 h 2831069"/>
              <a:gd name="connsiteX177" fmla="*/ 1155396 w 3473628"/>
              <a:gd name="connsiteY177" fmla="*/ 1717349 h 2831069"/>
              <a:gd name="connsiteX178" fmla="*/ 1128786 w 3473628"/>
              <a:gd name="connsiteY178" fmla="*/ 1768848 h 2831069"/>
              <a:gd name="connsiteX179" fmla="*/ 1124766 w 3473628"/>
              <a:gd name="connsiteY179" fmla="*/ 1813156 h 2831069"/>
              <a:gd name="connsiteX180" fmla="*/ 1143459 w 3473628"/>
              <a:gd name="connsiteY180" fmla="*/ 1838045 h 2831069"/>
              <a:gd name="connsiteX181" fmla="*/ 1176700 w 3473628"/>
              <a:gd name="connsiteY181" fmla="*/ 1874581 h 2831069"/>
              <a:gd name="connsiteX182" fmla="*/ 1211951 w 3473628"/>
              <a:gd name="connsiteY182" fmla="*/ 1930971 h 2831069"/>
              <a:gd name="connsiteX183" fmla="*/ 1269791 w 3473628"/>
              <a:gd name="connsiteY183" fmla="*/ 1970678 h 2831069"/>
              <a:gd name="connsiteX184" fmla="*/ 1289790 w 3473628"/>
              <a:gd name="connsiteY184" fmla="*/ 2016996 h 2831069"/>
              <a:gd name="connsiteX185" fmla="*/ 1236696 w 3473628"/>
              <a:gd name="connsiteY185" fmla="*/ 2105031 h 2831069"/>
              <a:gd name="connsiteX186" fmla="*/ 1189362 w 3473628"/>
              <a:gd name="connsiteY186" fmla="*/ 2099269 h 2831069"/>
              <a:gd name="connsiteX187" fmla="*/ 1126921 w 3473628"/>
              <a:gd name="connsiteY187" fmla="*/ 1994386 h 2831069"/>
              <a:gd name="connsiteX188" fmla="*/ 1124621 w 3473628"/>
              <a:gd name="connsiteY188" fmla="*/ 1948773 h 2831069"/>
              <a:gd name="connsiteX189" fmla="*/ 1178855 w 3473628"/>
              <a:gd name="connsiteY189" fmla="*/ 1910226 h 2831069"/>
              <a:gd name="connsiteX190" fmla="*/ 1235245 w 3473628"/>
              <a:gd name="connsiteY190" fmla="*/ 1918288 h 2831069"/>
              <a:gd name="connsiteX191" fmla="*/ 1332792 w 3473628"/>
              <a:gd name="connsiteY191" fmla="*/ 1988065 h 2831069"/>
              <a:gd name="connsiteX192" fmla="*/ 1387316 w 3473628"/>
              <a:gd name="connsiteY192" fmla="*/ 2070650 h 2831069"/>
              <a:gd name="connsiteX193" fmla="*/ 1383710 w 3473628"/>
              <a:gd name="connsiteY193" fmla="*/ 2126190 h 2831069"/>
              <a:gd name="connsiteX194" fmla="*/ 1348459 w 3473628"/>
              <a:gd name="connsiteY194" fmla="*/ 2203448 h 2831069"/>
              <a:gd name="connsiteX195" fmla="*/ 1311923 w 3473628"/>
              <a:gd name="connsiteY195" fmla="*/ 2248771 h 2831069"/>
              <a:gd name="connsiteX196" fmla="*/ 1270786 w 3473628"/>
              <a:gd name="connsiteY196" fmla="*/ 2226907 h 2831069"/>
              <a:gd name="connsiteX197" fmla="*/ 1256694 w 3473628"/>
              <a:gd name="connsiteY197" fmla="*/ 2197417 h 2831069"/>
              <a:gd name="connsiteX198" fmla="*/ 1262745 w 3473628"/>
              <a:gd name="connsiteY198" fmla="*/ 2172093 h 2831069"/>
              <a:gd name="connsiteX199" fmla="*/ 1299427 w 3473628"/>
              <a:gd name="connsiteY199" fmla="*/ 2127640 h 2831069"/>
              <a:gd name="connsiteX200" fmla="*/ 1357826 w 3473628"/>
              <a:gd name="connsiteY200" fmla="*/ 2086068 h 2831069"/>
              <a:gd name="connsiteX201" fmla="*/ 1403999 w 3473628"/>
              <a:gd name="connsiteY201" fmla="*/ 2048372 h 2831069"/>
              <a:gd name="connsiteX202" fmla="*/ 1428453 w 3473628"/>
              <a:gd name="connsiteY202" fmla="*/ 2028228 h 2831069"/>
              <a:gd name="connsiteX203" fmla="*/ 1435644 w 3473628"/>
              <a:gd name="connsiteY203" fmla="*/ 2043481 h 2831069"/>
              <a:gd name="connsiteX204" fmla="*/ 1439375 w 3473628"/>
              <a:gd name="connsiteY204" fmla="*/ 2107062 h 2831069"/>
              <a:gd name="connsiteX205" fmla="*/ 1432039 w 3473628"/>
              <a:gd name="connsiteY205" fmla="*/ 2164902 h 2831069"/>
              <a:gd name="connsiteX206" fmla="*/ 1405864 w 3473628"/>
              <a:gd name="connsiteY206" fmla="*/ 2266469 h 2831069"/>
              <a:gd name="connsiteX207" fmla="*/ 1412765 w 3473628"/>
              <a:gd name="connsiteY207" fmla="*/ 2328330 h 2831069"/>
              <a:gd name="connsiteX208" fmla="*/ 1440245 w 3473628"/>
              <a:gd name="connsiteY208" fmla="*/ 2353074 h 2831069"/>
              <a:gd name="connsiteX209" fmla="*/ 1475932 w 3473628"/>
              <a:gd name="connsiteY209" fmla="*/ 2367457 h 2831069"/>
              <a:gd name="connsiteX210" fmla="*/ 1511038 w 3473628"/>
              <a:gd name="connsiteY210" fmla="*/ 2382710 h 2831069"/>
              <a:gd name="connsiteX211" fmla="*/ 1536217 w 3473628"/>
              <a:gd name="connsiteY211" fmla="*/ 2415225 h 2831069"/>
              <a:gd name="connsiteX212" fmla="*/ 1543408 w 3473628"/>
              <a:gd name="connsiteY212" fmla="*/ 2463843 h 2831069"/>
              <a:gd name="connsiteX213" fmla="*/ 1512758 w 3473628"/>
              <a:gd name="connsiteY213" fmla="*/ 2507156 h 2831069"/>
              <a:gd name="connsiteX214" fmla="*/ 1467083 w 3473628"/>
              <a:gd name="connsiteY214" fmla="*/ 2522844 h 2831069"/>
              <a:gd name="connsiteX215" fmla="*/ 1422195 w 3473628"/>
              <a:gd name="connsiteY215" fmla="*/ 2523860 h 2831069"/>
              <a:gd name="connsiteX216" fmla="*/ 1366738 w 3473628"/>
              <a:gd name="connsiteY216" fmla="*/ 2540832 h 2831069"/>
              <a:gd name="connsiteX217" fmla="*/ 1320420 w 3473628"/>
              <a:gd name="connsiteY217" fmla="*/ 2536667 h 2831069"/>
              <a:gd name="connsiteX218" fmla="*/ 1321788 w 3473628"/>
              <a:gd name="connsiteY218" fmla="*/ 2519549 h 2831069"/>
              <a:gd name="connsiteX219" fmla="*/ 1369846 w 3473628"/>
              <a:gd name="connsiteY219" fmla="*/ 2497893 h 2831069"/>
              <a:gd name="connsiteX220" fmla="*/ 1396891 w 3473628"/>
              <a:gd name="connsiteY220" fmla="*/ 2480277 h 2831069"/>
              <a:gd name="connsiteX221" fmla="*/ 1381286 w 3473628"/>
              <a:gd name="connsiteY221" fmla="*/ 2474102 h 2831069"/>
              <a:gd name="connsiteX222" fmla="*/ 1307986 w 3473628"/>
              <a:gd name="connsiteY222" fmla="*/ 2503094 h 2831069"/>
              <a:gd name="connsiteX223" fmla="*/ 1275760 w 3473628"/>
              <a:gd name="connsiteY223" fmla="*/ 2503820 h 2831069"/>
              <a:gd name="connsiteX224" fmla="*/ 1277190 w 3473628"/>
              <a:gd name="connsiteY224" fmla="*/ 2490515 h 2831069"/>
              <a:gd name="connsiteX225" fmla="*/ 1302287 w 3473628"/>
              <a:gd name="connsiteY225" fmla="*/ 2478495 h 2831069"/>
              <a:gd name="connsiteX226" fmla="*/ 1350407 w 3473628"/>
              <a:gd name="connsiteY226" fmla="*/ 2445109 h 2831069"/>
              <a:gd name="connsiteX227" fmla="*/ 1346946 w 3473628"/>
              <a:gd name="connsiteY227" fmla="*/ 2435120 h 2831069"/>
              <a:gd name="connsiteX228" fmla="*/ 1292774 w 3473628"/>
              <a:gd name="connsiteY228" fmla="*/ 2461812 h 2831069"/>
              <a:gd name="connsiteX229" fmla="*/ 1261834 w 3473628"/>
              <a:gd name="connsiteY229" fmla="*/ 2459719 h 2831069"/>
              <a:gd name="connsiteX230" fmla="*/ 1265149 w 3473628"/>
              <a:gd name="connsiteY230" fmla="*/ 2438933 h 2831069"/>
              <a:gd name="connsiteX231" fmla="*/ 1303053 w 3473628"/>
              <a:gd name="connsiteY231" fmla="*/ 2411308 h 2831069"/>
              <a:gd name="connsiteX232" fmla="*/ 1318513 w 3473628"/>
              <a:gd name="connsiteY232" fmla="*/ 2393175 h 2831069"/>
              <a:gd name="connsiteX233" fmla="*/ 1306783 w 3473628"/>
              <a:gd name="connsiteY233" fmla="*/ 2385984 h 2831069"/>
              <a:gd name="connsiteX234" fmla="*/ 1268590 w 3473628"/>
              <a:gd name="connsiteY234" fmla="*/ 2403392 h 2831069"/>
              <a:gd name="connsiteX235" fmla="*/ 1243410 w 3473628"/>
              <a:gd name="connsiteY235" fmla="*/ 2405257 h 2831069"/>
              <a:gd name="connsiteX236" fmla="*/ 1242685 w 3473628"/>
              <a:gd name="connsiteY236" fmla="*/ 2382461 h 2831069"/>
              <a:gd name="connsiteX237" fmla="*/ 1284402 w 3473628"/>
              <a:gd name="connsiteY237" fmla="*/ 2341469 h 2831069"/>
              <a:gd name="connsiteX238" fmla="*/ 1360935 w 3473628"/>
              <a:gd name="connsiteY238" fmla="*/ 2306218 h 2831069"/>
              <a:gd name="connsiteX239" fmla="*/ 1411004 w 3473628"/>
              <a:gd name="connsiteY239" fmla="*/ 2303047 h 2831069"/>
              <a:gd name="connsiteX240" fmla="*/ 1438484 w 3473628"/>
              <a:gd name="connsiteY240" fmla="*/ 2295131 h 2831069"/>
              <a:gd name="connsiteX241" fmla="*/ 1468409 w 3473628"/>
              <a:gd name="connsiteY241" fmla="*/ 2243777 h 2831069"/>
              <a:gd name="connsiteX242" fmla="*/ 1532570 w 3473628"/>
              <a:gd name="connsiteY242" fmla="*/ 2156301 h 2831069"/>
              <a:gd name="connsiteX243" fmla="*/ 1610761 w 3473628"/>
              <a:gd name="connsiteY243" fmla="*/ 2074152 h 2831069"/>
              <a:gd name="connsiteX244" fmla="*/ 1628957 w 3473628"/>
              <a:gd name="connsiteY244" fmla="*/ 2041864 h 2831069"/>
              <a:gd name="connsiteX245" fmla="*/ 1628604 w 3473628"/>
              <a:gd name="connsiteY245" fmla="*/ 2021078 h 2831069"/>
              <a:gd name="connsiteX246" fmla="*/ 1642841 w 3473628"/>
              <a:gd name="connsiteY246" fmla="*/ 2001308 h 2831069"/>
              <a:gd name="connsiteX247" fmla="*/ 1697863 w 3473628"/>
              <a:gd name="connsiteY247" fmla="*/ 1963611 h 2831069"/>
              <a:gd name="connsiteX248" fmla="*/ 1768718 w 3473628"/>
              <a:gd name="connsiteY248" fmla="*/ 1914703 h 2831069"/>
              <a:gd name="connsiteX249" fmla="*/ 1816549 w 3473628"/>
              <a:gd name="connsiteY249" fmla="*/ 1881109 h 2831069"/>
              <a:gd name="connsiteX250" fmla="*/ 1846039 w 3473628"/>
              <a:gd name="connsiteY250" fmla="*/ 1836221 h 2831069"/>
              <a:gd name="connsiteX251" fmla="*/ 1863882 w 3473628"/>
              <a:gd name="connsiteY251" fmla="*/ 1739400 h 2831069"/>
              <a:gd name="connsiteX252" fmla="*/ 1862162 w 3473628"/>
              <a:gd name="connsiteY252" fmla="*/ 1654225 h 2831069"/>
              <a:gd name="connsiteX253" fmla="*/ 1849355 w 3473628"/>
              <a:gd name="connsiteY253" fmla="*/ 1586312 h 2831069"/>
              <a:gd name="connsiteX254" fmla="*/ 1804322 w 3473628"/>
              <a:gd name="connsiteY254" fmla="*/ 1511499 h 2831069"/>
              <a:gd name="connsiteX255" fmla="*/ 1748512 w 3473628"/>
              <a:gd name="connsiteY255" fmla="*/ 1463296 h 2831069"/>
              <a:gd name="connsiteX256" fmla="*/ 1688662 w 3473628"/>
              <a:gd name="connsiteY256" fmla="*/ 1445017 h 2831069"/>
              <a:gd name="connsiteX257" fmla="*/ 1629682 w 3473628"/>
              <a:gd name="connsiteY257" fmla="*/ 1434655 h 2831069"/>
              <a:gd name="connsiteX258" fmla="*/ 1565521 w 3473628"/>
              <a:gd name="connsiteY258" fmla="*/ 1420708 h 2831069"/>
              <a:gd name="connsiteX259" fmla="*/ 1482377 w 3473628"/>
              <a:gd name="connsiteY259" fmla="*/ 1428044 h 2831069"/>
              <a:gd name="connsiteX260" fmla="*/ 1425117 w 3473628"/>
              <a:gd name="connsiteY260" fmla="*/ 1469036 h 2831069"/>
              <a:gd name="connsiteX261" fmla="*/ 1416910 w 3473628"/>
              <a:gd name="connsiteY261" fmla="*/ 1533923 h 2831069"/>
              <a:gd name="connsiteX262" fmla="*/ 1436618 w 3473628"/>
              <a:gd name="connsiteY262" fmla="*/ 1580240 h 2831069"/>
              <a:gd name="connsiteX263" fmla="*/ 1448265 w 3473628"/>
              <a:gd name="connsiteY263" fmla="*/ 1638081 h 2831069"/>
              <a:gd name="connsiteX264" fmla="*/ 1432577 w 3473628"/>
              <a:gd name="connsiteY264" fmla="*/ 1733037 h 2831069"/>
              <a:gd name="connsiteX265" fmla="*/ 1436598 w 3473628"/>
              <a:gd name="connsiteY265" fmla="*/ 1799063 h 2831069"/>
              <a:gd name="connsiteX266" fmla="*/ 1493568 w 3473628"/>
              <a:gd name="connsiteY266" fmla="*/ 1841216 h 2831069"/>
              <a:gd name="connsiteX267" fmla="*/ 1619299 w 3473628"/>
              <a:gd name="connsiteY267" fmla="*/ 1854168 h 2831069"/>
              <a:gd name="connsiteX268" fmla="*/ 1704039 w 3473628"/>
              <a:gd name="connsiteY268" fmla="*/ 1837050 h 2831069"/>
              <a:gd name="connsiteX269" fmla="*/ 1739290 w 3473628"/>
              <a:gd name="connsiteY269" fmla="*/ 1788577 h 2831069"/>
              <a:gd name="connsiteX270" fmla="*/ 1754108 w 3473628"/>
              <a:gd name="connsiteY270" fmla="*/ 1758507 h 2831069"/>
              <a:gd name="connsiteX271" fmla="*/ 1769071 w 3473628"/>
              <a:gd name="connsiteY271" fmla="*/ 1758507 h 2831069"/>
              <a:gd name="connsiteX272" fmla="*/ 1773526 w 3473628"/>
              <a:gd name="connsiteY272" fmla="*/ 1787562 h 2831069"/>
              <a:gd name="connsiteX273" fmla="*/ 1747621 w 3473628"/>
              <a:gd name="connsiteY273" fmla="*/ 1819497 h 2831069"/>
              <a:gd name="connsiteX274" fmla="*/ 1719271 w 3473628"/>
              <a:gd name="connsiteY274" fmla="*/ 1806110 h 2831069"/>
              <a:gd name="connsiteX275" fmla="*/ 1727478 w 3473628"/>
              <a:gd name="connsiteY275" fmla="*/ 1762092 h 2831069"/>
              <a:gd name="connsiteX276" fmla="*/ 1757258 w 3473628"/>
              <a:gd name="connsiteY276" fmla="*/ 1731297 h 2831069"/>
              <a:gd name="connsiteX277" fmla="*/ 1781857 w 3473628"/>
              <a:gd name="connsiteY277" fmla="*/ 1696626 h 2831069"/>
              <a:gd name="connsiteX278" fmla="*/ 1759123 w 3473628"/>
              <a:gd name="connsiteY278" fmla="*/ 1625563 h 2831069"/>
              <a:gd name="connsiteX279" fmla="*/ 1710650 w 3473628"/>
              <a:gd name="connsiteY279" fmla="*/ 1549175 h 2831069"/>
              <a:gd name="connsiteX280" fmla="*/ 1628065 w 3473628"/>
              <a:gd name="connsiteY280" fmla="*/ 1512349 h 2831069"/>
              <a:gd name="connsiteX281" fmla="*/ 1535989 w 3473628"/>
              <a:gd name="connsiteY281" fmla="*/ 1521260 h 2831069"/>
              <a:gd name="connsiteX282" fmla="*/ 1469528 w 3473628"/>
              <a:gd name="connsiteY282" fmla="*/ 1574624 h 2831069"/>
              <a:gd name="connsiteX283" fmla="*/ 1448100 w 3473628"/>
              <a:gd name="connsiteY283" fmla="*/ 1608280 h 2831069"/>
              <a:gd name="connsiteX284" fmla="*/ 1425946 w 3473628"/>
              <a:gd name="connsiteY284" fmla="*/ 1663384 h 2831069"/>
              <a:gd name="connsiteX285" fmla="*/ 1406527 w 3473628"/>
              <a:gd name="connsiteY285" fmla="*/ 1760351 h 2831069"/>
              <a:gd name="connsiteX286" fmla="*/ 1422215 w 3473628"/>
              <a:gd name="connsiteY286" fmla="*/ 1829693 h 2831069"/>
              <a:gd name="connsiteX287" fmla="*/ 1452866 w 3473628"/>
              <a:gd name="connsiteY287" fmla="*/ 1880115 h 2831069"/>
              <a:gd name="connsiteX288" fmla="*/ 1472139 w 3473628"/>
              <a:gd name="connsiteY288" fmla="*/ 1939737 h 2831069"/>
              <a:gd name="connsiteX289" fmla="*/ 1476885 w 3473628"/>
              <a:gd name="connsiteY289" fmla="*/ 1996769 h 2831069"/>
              <a:gd name="connsiteX290" fmla="*/ 1459332 w 3473628"/>
              <a:gd name="connsiteY290" fmla="*/ 2060205 h 2831069"/>
              <a:gd name="connsiteX291" fmla="*/ 1462212 w 3473628"/>
              <a:gd name="connsiteY291" fmla="*/ 2092430 h 2831069"/>
              <a:gd name="connsiteX292" fmla="*/ 1501339 w 3473628"/>
              <a:gd name="connsiteY292" fmla="*/ 2073157 h 2831069"/>
              <a:gd name="connsiteX293" fmla="*/ 1597083 w 3473628"/>
              <a:gd name="connsiteY293" fmla="*/ 2002592 h 2831069"/>
              <a:gd name="connsiteX294" fmla="*/ 1667586 w 3473628"/>
              <a:gd name="connsiteY294" fmla="*/ 1957705 h 2831069"/>
              <a:gd name="connsiteX295" fmla="*/ 1726856 w 3473628"/>
              <a:gd name="connsiteY295" fmla="*/ 1927987 h 2831069"/>
              <a:gd name="connsiteX296" fmla="*/ 1753258 w 3473628"/>
              <a:gd name="connsiteY296" fmla="*/ 1933520 h 2831069"/>
              <a:gd name="connsiteX297" fmla="*/ 1781816 w 3473628"/>
              <a:gd name="connsiteY297" fmla="*/ 1986034 h 2831069"/>
              <a:gd name="connsiteX298" fmla="*/ 1823616 w 3473628"/>
              <a:gd name="connsiteY298" fmla="*/ 2024809 h 2831069"/>
              <a:gd name="connsiteX299" fmla="*/ 1853044 w 3473628"/>
              <a:gd name="connsiteY299" fmla="*/ 2039129 h 2831069"/>
              <a:gd name="connsiteX300" fmla="*/ 1845417 w 3473628"/>
              <a:gd name="connsiteY300" fmla="*/ 2056392 h 2831069"/>
              <a:gd name="connsiteX301" fmla="*/ 1802685 w 3473628"/>
              <a:gd name="connsiteY301" fmla="*/ 2090420 h 2831069"/>
              <a:gd name="connsiteX302" fmla="*/ 1764283 w 3473628"/>
              <a:gd name="connsiteY302" fmla="*/ 2152281 h 2831069"/>
              <a:gd name="connsiteX303" fmla="*/ 1702132 w 3473628"/>
              <a:gd name="connsiteY303" fmla="*/ 2291753 h 2831069"/>
              <a:gd name="connsiteX304" fmla="*/ 1672207 w 3473628"/>
              <a:gd name="connsiteY304" fmla="*/ 2356639 h 2831069"/>
              <a:gd name="connsiteX305" fmla="*/ 1654654 w 3473628"/>
              <a:gd name="connsiteY305" fmla="*/ 2363043 h 2831069"/>
              <a:gd name="connsiteX306" fmla="*/ 1613082 w 3473628"/>
              <a:gd name="connsiteY306" fmla="*/ 2345054 h 2831069"/>
              <a:gd name="connsiteX307" fmla="*/ 1559925 w 3473628"/>
              <a:gd name="connsiteY307" fmla="*/ 2330174 h 2831069"/>
              <a:gd name="connsiteX308" fmla="*/ 1518498 w 3473628"/>
              <a:gd name="connsiteY308" fmla="*/ 2333345 h 2831069"/>
              <a:gd name="connsiteX309" fmla="*/ 1485112 w 3473628"/>
              <a:gd name="connsiteY309" fmla="*/ 2345075 h 2831069"/>
              <a:gd name="connsiteX310" fmla="*/ 1462813 w 3473628"/>
              <a:gd name="connsiteY310" fmla="*/ 2341759 h 2831069"/>
              <a:gd name="connsiteX311" fmla="*/ 1462523 w 3473628"/>
              <a:gd name="connsiteY311" fmla="*/ 2316435 h 2831069"/>
              <a:gd name="connsiteX312" fmla="*/ 1514022 w 3473628"/>
              <a:gd name="connsiteY312" fmla="*/ 2230907 h 2831069"/>
              <a:gd name="connsiteX313" fmla="*/ 1633868 w 3473628"/>
              <a:gd name="connsiteY313" fmla="*/ 2086462 h 2831069"/>
              <a:gd name="connsiteX314" fmla="*/ 1761050 w 3473628"/>
              <a:gd name="connsiteY314" fmla="*/ 2009494 h 2831069"/>
              <a:gd name="connsiteX315" fmla="*/ 1835718 w 3473628"/>
              <a:gd name="connsiteY315" fmla="*/ 2007773 h 2831069"/>
              <a:gd name="connsiteX316" fmla="*/ 1915422 w 3473628"/>
              <a:gd name="connsiteY316" fmla="*/ 2040579 h 2831069"/>
              <a:gd name="connsiteX317" fmla="*/ 1956414 w 3473628"/>
              <a:gd name="connsiteY317" fmla="*/ 2094378 h 2831069"/>
              <a:gd name="connsiteX318" fmla="*/ 1981593 w 3473628"/>
              <a:gd name="connsiteY318" fmla="*/ 2161420 h 2831069"/>
              <a:gd name="connsiteX319" fmla="*/ 1998421 w 3473628"/>
              <a:gd name="connsiteY319" fmla="*/ 2191781 h 2831069"/>
              <a:gd name="connsiteX320" fmla="*/ 2004473 w 3473628"/>
              <a:gd name="connsiteY320" fmla="*/ 2185874 h 2831069"/>
              <a:gd name="connsiteX321" fmla="*/ 1997717 w 3473628"/>
              <a:gd name="connsiteY321" fmla="*/ 2138106 h 2831069"/>
              <a:gd name="connsiteX322" fmla="*/ 1965781 w 3473628"/>
              <a:gd name="connsiteY322" fmla="*/ 2073364 h 2831069"/>
              <a:gd name="connsiteX323" fmla="*/ 1892688 w 3473628"/>
              <a:gd name="connsiteY323" fmla="*/ 2059127 h 2831069"/>
              <a:gd name="connsiteX324" fmla="*/ 1816155 w 3473628"/>
              <a:gd name="connsiteY324" fmla="*/ 2115517 h 2831069"/>
              <a:gd name="connsiteX325" fmla="*/ 1767682 w 3473628"/>
              <a:gd name="connsiteY325" fmla="*/ 2216504 h 2831069"/>
              <a:gd name="connsiteX326" fmla="*/ 1756740 w 3473628"/>
              <a:gd name="connsiteY326" fmla="*/ 2315771 h 2831069"/>
              <a:gd name="connsiteX327" fmla="*/ 1733280 w 3473628"/>
              <a:gd name="connsiteY327" fmla="*/ 2398211 h 2831069"/>
              <a:gd name="connsiteX328" fmla="*/ 1632148 w 3473628"/>
              <a:gd name="connsiteY328" fmla="*/ 2384554 h 2831069"/>
              <a:gd name="connsiteX329" fmla="*/ 1539637 w 3473628"/>
              <a:gd name="connsiteY329" fmla="*/ 2352183 h 2831069"/>
              <a:gd name="connsiteX330" fmla="*/ 1522519 w 3473628"/>
              <a:gd name="connsiteY330" fmla="*/ 2359229 h 2831069"/>
              <a:gd name="connsiteX331" fmla="*/ 1543947 w 3473628"/>
              <a:gd name="connsiteY331" fmla="*/ 2385549 h 2831069"/>
              <a:gd name="connsiteX332" fmla="*/ 1564381 w 3473628"/>
              <a:gd name="connsiteY332" fmla="*/ 2430727 h 2831069"/>
              <a:gd name="connsiteX333" fmla="*/ 1559200 w 3473628"/>
              <a:gd name="connsiteY333" fmla="*/ 2486412 h 2831069"/>
              <a:gd name="connsiteX334" fmla="*/ 1529710 w 3473628"/>
              <a:gd name="connsiteY334" fmla="*/ 2562364 h 2831069"/>
              <a:gd name="connsiteX335" fmla="*/ 1544963 w 3473628"/>
              <a:gd name="connsiteY335" fmla="*/ 2634587 h 2831069"/>
              <a:gd name="connsiteX336" fmla="*/ 1609124 w 3473628"/>
              <a:gd name="connsiteY336" fmla="*/ 2669984 h 2831069"/>
              <a:gd name="connsiteX337" fmla="*/ 1709821 w 3473628"/>
              <a:gd name="connsiteY337" fmla="*/ 2685526 h 2831069"/>
              <a:gd name="connsiteX338" fmla="*/ 1825481 w 3473628"/>
              <a:gd name="connsiteY338" fmla="*/ 2710706 h 2831069"/>
              <a:gd name="connsiteX339" fmla="*/ 1849666 w 3473628"/>
              <a:gd name="connsiteY339" fmla="*/ 2737274 h 2831069"/>
              <a:gd name="connsiteX340" fmla="*/ 1827284 w 3473628"/>
              <a:gd name="connsiteY340" fmla="*/ 2775385 h 2831069"/>
              <a:gd name="connsiteX341" fmla="*/ 1859468 w 3473628"/>
              <a:gd name="connsiteY341" fmla="*/ 2784130 h 2831069"/>
              <a:gd name="connsiteX342" fmla="*/ 2089565 w 3473628"/>
              <a:gd name="connsiteY342" fmla="*/ 2784130 h 2831069"/>
              <a:gd name="connsiteX343" fmla="*/ 2566897 w 3473628"/>
              <a:gd name="connsiteY343" fmla="*/ 2782162 h 2831069"/>
              <a:gd name="connsiteX344" fmla="*/ 2687966 w 3473628"/>
              <a:gd name="connsiteY344" fmla="*/ 2759884 h 2831069"/>
              <a:gd name="connsiteX345" fmla="*/ 2680464 w 3473628"/>
              <a:gd name="connsiteY345" fmla="*/ 2692303 h 2831069"/>
              <a:gd name="connsiteX346" fmla="*/ 2633566 w 3473628"/>
              <a:gd name="connsiteY346" fmla="*/ 2631872 h 2831069"/>
              <a:gd name="connsiteX347" fmla="*/ 2492291 w 3473628"/>
              <a:gd name="connsiteY347" fmla="*/ 2565701 h 2831069"/>
              <a:gd name="connsiteX348" fmla="*/ 2424110 w 3473628"/>
              <a:gd name="connsiteY348" fmla="*/ 2476651 h 2831069"/>
              <a:gd name="connsiteX349" fmla="*/ 2465247 w 3473628"/>
              <a:gd name="connsiteY349" fmla="*/ 2186330 h 2831069"/>
              <a:gd name="connsiteX350" fmla="*/ 2494592 w 3473628"/>
              <a:gd name="connsiteY350" fmla="*/ 1978159 h 2831069"/>
              <a:gd name="connsiteX351" fmla="*/ 2532289 w 3473628"/>
              <a:gd name="connsiteY351" fmla="*/ 1883202 h 2831069"/>
              <a:gd name="connsiteX352" fmla="*/ 2600200 w 3473628"/>
              <a:gd name="connsiteY352" fmla="*/ 1837175 h 2831069"/>
              <a:gd name="connsiteX353" fmla="*/ 2643928 w 3473628"/>
              <a:gd name="connsiteY353" fmla="*/ 1758051 h 2831069"/>
              <a:gd name="connsiteX354" fmla="*/ 2671553 w 3473628"/>
              <a:gd name="connsiteY354" fmla="*/ 1632029 h 2831069"/>
              <a:gd name="connsiteX355" fmla="*/ 2694577 w 3473628"/>
              <a:gd name="connsiteY355" fmla="*/ 1561817 h 2831069"/>
              <a:gd name="connsiteX356" fmla="*/ 2707239 w 3473628"/>
              <a:gd name="connsiteY356" fmla="*/ 1548305 h 2831069"/>
              <a:gd name="connsiteX357" fmla="*/ 2696877 w 3473628"/>
              <a:gd name="connsiteY357" fmla="*/ 1616217 h 2831069"/>
              <a:gd name="connsiteX358" fmla="*/ 2656300 w 3473628"/>
              <a:gd name="connsiteY358" fmla="*/ 1792308 h 2831069"/>
              <a:gd name="connsiteX359" fmla="*/ 2576306 w 3473628"/>
              <a:gd name="connsiteY359" fmla="*/ 1905377 h 2831069"/>
              <a:gd name="connsiteX360" fmla="*/ 2484810 w 3473628"/>
              <a:gd name="connsiteY360" fmla="*/ 1918329 h 2831069"/>
              <a:gd name="connsiteX361" fmla="*/ 2405251 w 3473628"/>
              <a:gd name="connsiteY361" fmla="*/ 1822813 h 2831069"/>
              <a:gd name="connsiteX362" fmla="*/ 2384113 w 3473628"/>
              <a:gd name="connsiteY362" fmla="*/ 1673912 h 2831069"/>
              <a:gd name="connsiteX363" fmla="*/ 2378642 w 3473628"/>
              <a:gd name="connsiteY363" fmla="*/ 1541984 h 2831069"/>
              <a:gd name="connsiteX364" fmla="*/ 2373751 w 3473628"/>
              <a:gd name="connsiteY364" fmla="*/ 1415527 h 2831069"/>
              <a:gd name="connsiteX365" fmla="*/ 2347141 w 3473628"/>
              <a:gd name="connsiteY365" fmla="*/ 1246918 h 2831069"/>
              <a:gd name="connsiteX366" fmla="*/ 2334769 w 3473628"/>
              <a:gd name="connsiteY366" fmla="*/ 1142615 h 2831069"/>
              <a:gd name="connsiteX367" fmla="*/ 2329153 w 3473628"/>
              <a:gd name="connsiteY367" fmla="*/ 1065211 h 2831069"/>
              <a:gd name="connsiteX368" fmla="*/ 2304554 w 3473628"/>
              <a:gd name="connsiteY368" fmla="*/ 939335 h 2831069"/>
              <a:gd name="connsiteX369" fmla="*/ 2256641 w 3473628"/>
              <a:gd name="connsiteY369" fmla="*/ 796630 h 2831069"/>
              <a:gd name="connsiteX370" fmla="*/ 2230736 w 3473628"/>
              <a:gd name="connsiteY370" fmla="*/ 692327 h 2831069"/>
              <a:gd name="connsiteX371" fmla="*/ 2239502 w 3473628"/>
              <a:gd name="connsiteY371" fmla="*/ 643564 h 2831069"/>
              <a:gd name="connsiteX372" fmla="*/ 2294026 w 3473628"/>
              <a:gd name="connsiteY372" fmla="*/ 635647 h 2831069"/>
              <a:gd name="connsiteX373" fmla="*/ 2342789 w 3473628"/>
              <a:gd name="connsiteY373" fmla="*/ 621700 h 2831069"/>
              <a:gd name="connsiteX374" fmla="*/ 2378621 w 3473628"/>
              <a:gd name="connsiteY374" fmla="*/ 587174 h 2831069"/>
              <a:gd name="connsiteX375" fmla="*/ 2391283 w 3473628"/>
              <a:gd name="connsiteY375" fmla="*/ 534080 h 2831069"/>
              <a:gd name="connsiteX376" fmla="*/ 2374601 w 3473628"/>
              <a:gd name="connsiteY376" fmla="*/ 480426 h 2831069"/>
              <a:gd name="connsiteX377" fmla="*/ 2310004 w 3473628"/>
              <a:gd name="connsiteY377" fmla="*/ 360020 h 2831069"/>
              <a:gd name="connsiteX378" fmla="*/ 2266567 w 3473628"/>
              <a:gd name="connsiteY378" fmla="*/ 280171 h 2831069"/>
              <a:gd name="connsiteX379" fmla="*/ 2203691 w 3473628"/>
              <a:gd name="connsiteY379" fmla="*/ 213564 h 2831069"/>
              <a:gd name="connsiteX380" fmla="*/ 2153622 w 3473628"/>
              <a:gd name="connsiteY380" fmla="*/ 194291 h 2831069"/>
              <a:gd name="connsiteX381" fmla="*/ 2109315 w 3473628"/>
              <a:gd name="connsiteY381" fmla="*/ 218310 h 2831069"/>
              <a:gd name="connsiteX382" fmla="*/ 2085731 w 3473628"/>
              <a:gd name="connsiteY382" fmla="*/ 264214 h 2831069"/>
              <a:gd name="connsiteX383" fmla="*/ 2085006 w 3473628"/>
              <a:gd name="connsiteY383" fmla="*/ 308666 h 2831069"/>
              <a:gd name="connsiteX384" fmla="*/ 2107595 w 3473628"/>
              <a:gd name="connsiteY384" fmla="*/ 327794 h 2831069"/>
              <a:gd name="connsiteX385" fmla="*/ 2138245 w 3473628"/>
              <a:gd name="connsiteY385" fmla="*/ 329660 h 2831069"/>
              <a:gd name="connsiteX386" fmla="*/ 2151343 w 3473628"/>
              <a:gd name="connsiteY386" fmla="*/ 299299 h 2831069"/>
              <a:gd name="connsiteX387" fmla="*/ 2155508 w 3473628"/>
              <a:gd name="connsiteY387" fmla="*/ 263053 h 2831069"/>
              <a:gd name="connsiteX388" fmla="*/ 2173641 w 3473628"/>
              <a:gd name="connsiteY388" fmla="*/ 251261 h 2831069"/>
              <a:gd name="connsiteX389" fmla="*/ 2215068 w 3473628"/>
              <a:gd name="connsiteY389" fmla="*/ 262058 h 2831069"/>
              <a:gd name="connsiteX390" fmla="*/ 2248019 w 3473628"/>
              <a:gd name="connsiteY390" fmla="*/ 269975 h 2831069"/>
              <a:gd name="connsiteX391" fmla="*/ 2262257 w 3473628"/>
              <a:gd name="connsiteY391" fmla="*/ 259903 h 2831069"/>
              <a:gd name="connsiteX392" fmla="*/ 2259749 w 3473628"/>
              <a:gd name="connsiteY392" fmla="*/ 230993 h 2831069"/>
              <a:gd name="connsiteX393" fmla="*/ 2231337 w 3473628"/>
              <a:gd name="connsiteY393" fmla="*/ 190851 h 2831069"/>
              <a:gd name="connsiteX394" fmla="*/ 2181351 w 3473628"/>
              <a:gd name="connsiteY394" fmla="*/ 163309 h 2831069"/>
              <a:gd name="connsiteX395" fmla="*/ 2141354 w 3473628"/>
              <a:gd name="connsiteY395" fmla="*/ 157548 h 2831069"/>
              <a:gd name="connsiteX396" fmla="*/ 2113377 w 3473628"/>
              <a:gd name="connsiteY396" fmla="*/ 169485 h 2831069"/>
              <a:gd name="connsiteX397" fmla="*/ 2082726 w 3473628"/>
              <a:gd name="connsiteY397" fmla="*/ 176469 h 2831069"/>
              <a:gd name="connsiteX398" fmla="*/ 2031870 w 3473628"/>
              <a:gd name="connsiteY398" fmla="*/ 162086 h 2831069"/>
              <a:gd name="connsiteX399" fmla="*/ 1991955 w 3473628"/>
              <a:gd name="connsiteY399" fmla="*/ 137280 h 2831069"/>
              <a:gd name="connsiteX400" fmla="*/ 1950528 w 3473628"/>
              <a:gd name="connsiteY400" fmla="*/ 77222 h 2831069"/>
              <a:gd name="connsiteX401" fmla="*/ 1938737 w 3473628"/>
              <a:gd name="connsiteY401" fmla="*/ 27008 h 2831069"/>
              <a:gd name="connsiteX402" fmla="*/ 1947669 w 3473628"/>
              <a:gd name="connsiteY402" fmla="*/ 1725 h 2831069"/>
              <a:gd name="connsiteX403" fmla="*/ 1970755 w 3473628"/>
              <a:gd name="connsiteY403" fmla="*/ 8461 h 2831069"/>
              <a:gd name="connsiteX404" fmla="*/ 2009260 w 3473628"/>
              <a:gd name="connsiteY404" fmla="*/ 49494 h 2831069"/>
              <a:gd name="connsiteX405" fmla="*/ 2058292 w 3473628"/>
              <a:gd name="connsiteY405" fmla="*/ 104412 h 2831069"/>
              <a:gd name="connsiteX406" fmla="*/ 2093544 w 3473628"/>
              <a:gd name="connsiteY406" fmla="*/ 149010 h 2831069"/>
              <a:gd name="connsiteX407" fmla="*/ 2084487 w 3473628"/>
              <a:gd name="connsiteY407" fmla="*/ 165837 h 2831069"/>
              <a:gd name="connsiteX408" fmla="*/ 2039599 w 3473628"/>
              <a:gd name="connsiteY408" fmla="*/ 172593 h 2831069"/>
              <a:gd name="connsiteX409" fmla="*/ 2028657 w 3473628"/>
              <a:gd name="connsiteY409" fmla="*/ 186976 h 2831069"/>
              <a:gd name="connsiteX410" fmla="*/ 2037424 w 3473628"/>
              <a:gd name="connsiteY410" fmla="*/ 210435 h 2831069"/>
              <a:gd name="connsiteX411" fmla="*/ 2052531 w 3473628"/>
              <a:gd name="connsiteY411" fmla="*/ 240360 h 2831069"/>
              <a:gd name="connsiteX412" fmla="*/ 2063183 w 3473628"/>
              <a:gd name="connsiteY412" fmla="*/ 276606 h 2831069"/>
              <a:gd name="connsiteX413" fmla="*/ 2061173 w 3473628"/>
              <a:gd name="connsiteY413" fmla="*/ 308832 h 2831069"/>
              <a:gd name="connsiteX414" fmla="*/ 2047226 w 3473628"/>
              <a:gd name="connsiteY414" fmla="*/ 318324 h 2831069"/>
              <a:gd name="connsiteX415" fmla="*/ 2037009 w 3473628"/>
              <a:gd name="connsiteY415" fmla="*/ 303216 h 2831069"/>
              <a:gd name="connsiteX416" fmla="*/ 2039890 w 3473628"/>
              <a:gd name="connsiteY416" fmla="*/ 281932 h 2831069"/>
              <a:gd name="connsiteX417" fmla="*/ 2037589 w 3473628"/>
              <a:gd name="connsiteY417" fmla="*/ 253168 h 2831069"/>
              <a:gd name="connsiteX418" fmla="*/ 2017301 w 3473628"/>
              <a:gd name="connsiteY418" fmla="*/ 238640 h 2831069"/>
              <a:gd name="connsiteX419" fmla="*/ 1980039 w 3473628"/>
              <a:gd name="connsiteY419" fmla="*/ 250142 h 2831069"/>
              <a:gd name="connsiteX420" fmla="*/ 1965367 w 3473628"/>
              <a:gd name="connsiteY420" fmla="*/ 281207 h 2831069"/>
              <a:gd name="connsiteX421" fmla="*/ 1979604 w 3473628"/>
              <a:gd name="connsiteY421" fmla="*/ 326820 h 2831069"/>
              <a:gd name="connsiteX422" fmla="*/ 2042625 w 3473628"/>
              <a:gd name="connsiteY422" fmla="*/ 396598 h 2831069"/>
              <a:gd name="connsiteX423" fmla="*/ 2145208 w 3473628"/>
              <a:gd name="connsiteY423" fmla="*/ 455288 h 2831069"/>
              <a:gd name="connsiteX424" fmla="*/ 2223752 w 3473628"/>
              <a:gd name="connsiteY424" fmla="*/ 542183 h 2831069"/>
              <a:gd name="connsiteX425" fmla="*/ 2264889 w 3473628"/>
              <a:gd name="connsiteY425" fmla="*/ 604624 h 2831069"/>
              <a:gd name="connsiteX426" fmla="*/ 2331640 w 3473628"/>
              <a:gd name="connsiteY426" fmla="*/ 595132 h 2831069"/>
              <a:gd name="connsiteX427" fmla="*/ 2408753 w 3473628"/>
              <a:gd name="connsiteY427" fmla="*/ 561746 h 2831069"/>
              <a:gd name="connsiteX428" fmla="*/ 2486157 w 3473628"/>
              <a:gd name="connsiteY428" fmla="*/ 631088 h 2831069"/>
              <a:gd name="connsiteX429" fmla="*/ 2597797 w 3473628"/>
              <a:gd name="connsiteY429" fmla="*/ 831052 h 2831069"/>
              <a:gd name="connsiteX430" fmla="*/ 2689292 w 3473628"/>
              <a:gd name="connsiteY430" fmla="*/ 1008013 h 2831069"/>
              <a:gd name="connsiteX431" fmla="*/ 2728999 w 3473628"/>
              <a:gd name="connsiteY431" fmla="*/ 1141081 h 2831069"/>
              <a:gd name="connsiteX432" fmla="*/ 2722098 w 3473628"/>
              <a:gd name="connsiteY432" fmla="*/ 1265963 h 2831069"/>
              <a:gd name="connsiteX433" fmla="*/ 2726409 w 3473628"/>
              <a:gd name="connsiteY433" fmla="*/ 1370556 h 2831069"/>
              <a:gd name="connsiteX434" fmla="*/ 2748998 w 3473628"/>
              <a:gd name="connsiteY434" fmla="*/ 1502194 h 2831069"/>
              <a:gd name="connsiteX435" fmla="*/ 2793596 w 3473628"/>
              <a:gd name="connsiteY435" fmla="*/ 1683756 h 2831069"/>
              <a:gd name="connsiteX436" fmla="*/ 2841924 w 3473628"/>
              <a:gd name="connsiteY436" fmla="*/ 1899699 h 2831069"/>
              <a:gd name="connsiteX437" fmla="*/ 2835872 w 3473628"/>
              <a:gd name="connsiteY437" fmla="*/ 2160094 h 2831069"/>
              <a:gd name="connsiteX438" fmla="*/ 2789119 w 3473628"/>
              <a:gd name="connsiteY438" fmla="*/ 2458476 h 2831069"/>
              <a:gd name="connsiteX439" fmla="*/ 2737620 w 3473628"/>
              <a:gd name="connsiteY439" fmla="*/ 2693547 h 2831069"/>
              <a:gd name="connsiteX440" fmla="*/ 2657626 w 3473628"/>
              <a:gd name="connsiteY440" fmla="*/ 2723762 h 2831069"/>
              <a:gd name="connsiteX441" fmla="*/ 2479816 w 3473628"/>
              <a:gd name="connsiteY441" fmla="*/ 2656720 h 2831069"/>
              <a:gd name="connsiteX442" fmla="*/ 2254237 w 3473628"/>
              <a:gd name="connsiteY442" fmla="*/ 2611832 h 2831069"/>
              <a:gd name="connsiteX443" fmla="*/ 2082166 w 3473628"/>
              <a:gd name="connsiteY443" fmla="*/ 2636287 h 2831069"/>
              <a:gd name="connsiteX444" fmla="*/ 1994401 w 3473628"/>
              <a:gd name="connsiteY444" fmla="*/ 2663621 h 2831069"/>
              <a:gd name="connsiteX445" fmla="*/ 1965346 w 3473628"/>
              <a:gd name="connsiteY445" fmla="*/ 2610382 h 2831069"/>
              <a:gd name="connsiteX446" fmla="*/ 1972537 w 3473628"/>
              <a:gd name="connsiteY446" fmla="*/ 2529538 h 2831069"/>
              <a:gd name="connsiteX447" fmla="*/ 2001302 w 3473628"/>
              <a:gd name="connsiteY447" fmla="*/ 2410127 h 2831069"/>
              <a:gd name="connsiteX448" fmla="*/ 2065173 w 3473628"/>
              <a:gd name="connsiteY448" fmla="*/ 2234762 h 2831069"/>
              <a:gd name="connsiteX449" fmla="*/ 2185164 w 3473628"/>
              <a:gd name="connsiteY449" fmla="*/ 1982428 h 2831069"/>
              <a:gd name="connsiteX450" fmla="*/ 2272639 w 3473628"/>
              <a:gd name="connsiteY450" fmla="*/ 1790940 h 2831069"/>
              <a:gd name="connsiteX451" fmla="*/ 2341691 w 3473628"/>
              <a:gd name="connsiteY451" fmla="*/ 1698284 h 2831069"/>
              <a:gd name="connsiteX452" fmla="*/ 2369026 w 3473628"/>
              <a:gd name="connsiteY452" fmla="*/ 1632962 h 2831069"/>
              <a:gd name="connsiteX453" fmla="*/ 2351473 w 3473628"/>
              <a:gd name="connsiteY453" fmla="*/ 1607927 h 2831069"/>
              <a:gd name="connsiteX454" fmla="*/ 2270774 w 3473628"/>
              <a:gd name="connsiteY454" fmla="*/ 1653541 h 2831069"/>
              <a:gd name="connsiteX455" fmla="*/ 2210343 w 3473628"/>
              <a:gd name="connsiteY455" fmla="*/ 1626206 h 2831069"/>
              <a:gd name="connsiteX456" fmla="*/ 2164585 w 3473628"/>
              <a:gd name="connsiteY456" fmla="*/ 1571972 h 2831069"/>
              <a:gd name="connsiteX457" fmla="*/ 2149623 w 3473628"/>
              <a:gd name="connsiteY457" fmla="*/ 1525364 h 2831069"/>
              <a:gd name="connsiteX458" fmla="*/ 2171776 w 3473628"/>
              <a:gd name="connsiteY458" fmla="*/ 1480476 h 2831069"/>
              <a:gd name="connsiteX459" fmla="*/ 2219690 w 3473628"/>
              <a:gd name="connsiteY459" fmla="*/ 1471710 h 2831069"/>
              <a:gd name="connsiteX460" fmla="*/ 2304575 w 3473628"/>
              <a:gd name="connsiteY460" fmla="*/ 1491128 h 2831069"/>
              <a:gd name="connsiteX461" fmla="*/ 2357939 w 3473628"/>
              <a:gd name="connsiteY461" fmla="*/ 1495148 h 2831069"/>
              <a:gd name="connsiteX462" fmla="*/ 2365130 w 3473628"/>
              <a:gd name="connsiteY462" fmla="*/ 1468539 h 2831069"/>
              <a:gd name="connsiteX463" fmla="*/ 2343411 w 3473628"/>
              <a:gd name="connsiteY463" fmla="*/ 1383509 h 2831069"/>
              <a:gd name="connsiteX464" fmla="*/ 2328594 w 3473628"/>
              <a:gd name="connsiteY464" fmla="*/ 1282957 h 2831069"/>
              <a:gd name="connsiteX465" fmla="*/ 2324428 w 3473628"/>
              <a:gd name="connsiteY465" fmla="*/ 1207999 h 2831069"/>
              <a:gd name="connsiteX466" fmla="*/ 2305735 w 3473628"/>
              <a:gd name="connsiteY466" fmla="*/ 1175628 h 2831069"/>
              <a:gd name="connsiteX467" fmla="*/ 2240559 w 3473628"/>
              <a:gd name="connsiteY467" fmla="*/ 1175918 h 2831069"/>
              <a:gd name="connsiteX468" fmla="*/ 2155964 w 3473628"/>
              <a:gd name="connsiteY468" fmla="*/ 1209574 h 2831069"/>
              <a:gd name="connsiteX469" fmla="*/ 2105750 w 3473628"/>
              <a:gd name="connsiteY469" fmla="*/ 1260223 h 2831069"/>
              <a:gd name="connsiteX470" fmla="*/ 2085171 w 3473628"/>
              <a:gd name="connsiteY470" fmla="*/ 1297774 h 2831069"/>
              <a:gd name="connsiteX471" fmla="*/ 2074664 w 3473628"/>
              <a:gd name="connsiteY471" fmla="*/ 1286977 h 2831069"/>
              <a:gd name="connsiteX472" fmla="*/ 2069918 w 3473628"/>
              <a:gd name="connsiteY472" fmla="*/ 1234028 h 2831069"/>
              <a:gd name="connsiteX473" fmla="*/ 2108050 w 3473628"/>
              <a:gd name="connsiteY473" fmla="*/ 1171587 h 2831069"/>
              <a:gd name="connsiteX474" fmla="*/ 2189910 w 3473628"/>
              <a:gd name="connsiteY474" fmla="*/ 1136045 h 2831069"/>
              <a:gd name="connsiteX475" fmla="*/ 2269759 w 3473628"/>
              <a:gd name="connsiteY475" fmla="*/ 1132294 h 2831069"/>
              <a:gd name="connsiteX476" fmla="*/ 2308450 w 3473628"/>
              <a:gd name="connsiteY476" fmla="*/ 1125683 h 2831069"/>
              <a:gd name="connsiteX477" fmla="*/ 2307290 w 3473628"/>
              <a:gd name="connsiteY477" fmla="*/ 1074765 h 2831069"/>
              <a:gd name="connsiteX478" fmla="*/ 2297653 w 3473628"/>
              <a:gd name="connsiteY478" fmla="*/ 1036778 h 2831069"/>
              <a:gd name="connsiteX479" fmla="*/ 2262982 w 3473628"/>
              <a:gd name="connsiteY479" fmla="*/ 1022831 h 2831069"/>
              <a:gd name="connsiteX480" fmla="*/ 2194655 w 3473628"/>
              <a:gd name="connsiteY480" fmla="*/ 1035493 h 2831069"/>
              <a:gd name="connsiteX481" fmla="*/ 2144296 w 3473628"/>
              <a:gd name="connsiteY481" fmla="*/ 1081811 h 2831069"/>
              <a:gd name="connsiteX482" fmla="*/ 2106310 w 3473628"/>
              <a:gd name="connsiteY482" fmla="*/ 1120088 h 2831069"/>
              <a:gd name="connsiteX483" fmla="*/ 2043434 w 3473628"/>
              <a:gd name="connsiteY483" fmla="*/ 1152894 h 2831069"/>
              <a:gd name="connsiteX484" fmla="*/ 1998401 w 3473628"/>
              <a:gd name="connsiteY484" fmla="*/ 1194756 h 2831069"/>
              <a:gd name="connsiteX485" fmla="*/ 1991645 w 3473628"/>
              <a:gd name="connsiteY485" fmla="*/ 1239354 h 2831069"/>
              <a:gd name="connsiteX486" fmla="*/ 2014669 w 3473628"/>
              <a:gd name="connsiteY486" fmla="*/ 1279351 h 2831069"/>
              <a:gd name="connsiteX487" fmla="*/ 2051350 w 3473628"/>
              <a:gd name="connsiteY487" fmla="*/ 1309566 h 2831069"/>
              <a:gd name="connsiteX488" fmla="*/ 2064157 w 3473628"/>
              <a:gd name="connsiteY488" fmla="*/ 1331865 h 2831069"/>
              <a:gd name="connsiteX489" fmla="*/ 2053505 w 3473628"/>
              <a:gd name="connsiteY489" fmla="*/ 1376173 h 2831069"/>
              <a:gd name="connsiteX490" fmla="*/ 2057671 w 3473628"/>
              <a:gd name="connsiteY490" fmla="*/ 1437598 h 2831069"/>
              <a:gd name="connsiteX491" fmla="*/ 2084715 w 3473628"/>
              <a:gd name="connsiteY491" fmla="*/ 1526939 h 2831069"/>
              <a:gd name="connsiteX492" fmla="*/ 2142556 w 3473628"/>
              <a:gd name="connsiteY492" fmla="*/ 1590374 h 2831069"/>
              <a:gd name="connsiteX493" fmla="*/ 2188583 w 3473628"/>
              <a:gd name="connsiteY493" fmla="*/ 1652525 h 2831069"/>
              <a:gd name="connsiteX494" fmla="*/ 2211753 w 3473628"/>
              <a:gd name="connsiteY494" fmla="*/ 1709350 h 2831069"/>
              <a:gd name="connsiteX495" fmla="*/ 2213038 w 3473628"/>
              <a:gd name="connsiteY495" fmla="*/ 1751502 h 2831069"/>
              <a:gd name="connsiteX496" fmla="*/ 2193619 w 3473628"/>
              <a:gd name="connsiteY496" fmla="*/ 1786463 h 2831069"/>
              <a:gd name="connsiteX497" fmla="*/ 2145416 w 3473628"/>
              <a:gd name="connsiteY497" fmla="*/ 1826170 h 2831069"/>
              <a:gd name="connsiteX498" fmla="*/ 2094062 w 3473628"/>
              <a:gd name="connsiteY498" fmla="*/ 1865877 h 2831069"/>
              <a:gd name="connsiteX499" fmla="*/ 2067452 w 3473628"/>
              <a:gd name="connsiteY499" fmla="*/ 1897668 h 2831069"/>
              <a:gd name="connsiteX500" fmla="*/ 2076654 w 3473628"/>
              <a:gd name="connsiteY500" fmla="*/ 1913791 h 2831069"/>
              <a:gd name="connsiteX501" fmla="*/ 2097668 w 3473628"/>
              <a:gd name="connsiteY501" fmla="*/ 1937955 h 2831069"/>
              <a:gd name="connsiteX502" fmla="*/ 2095077 w 3473628"/>
              <a:gd name="connsiteY502" fmla="*/ 2004416 h 2831069"/>
              <a:gd name="connsiteX503" fmla="*/ 2059391 w 3473628"/>
              <a:gd name="connsiteY503" fmla="*/ 2109155 h 2831069"/>
              <a:gd name="connsiteX504" fmla="*/ 1969325 w 3473628"/>
              <a:gd name="connsiteY504" fmla="*/ 2331853 h 2831069"/>
              <a:gd name="connsiteX505" fmla="*/ 1904584 w 3473628"/>
              <a:gd name="connsiteY505" fmla="*/ 2574405 h 2831069"/>
              <a:gd name="connsiteX506" fmla="*/ 1892502 w 3473628"/>
              <a:gd name="connsiteY506" fmla="*/ 2764443 h 2831069"/>
              <a:gd name="connsiteX507" fmla="*/ 2038812 w 3473628"/>
              <a:gd name="connsiteY507" fmla="*/ 2824874 h 2831069"/>
              <a:gd name="connsiteX508" fmla="*/ 2686909 w 3473628"/>
              <a:gd name="connsiteY508" fmla="*/ 2831070 h 2831069"/>
              <a:gd name="connsiteX509" fmla="*/ 3473628 w 3473628"/>
              <a:gd name="connsiteY509" fmla="*/ 2831070 h 2831069"/>
              <a:gd name="connsiteX0" fmla="*/ 1188409 w 3473628"/>
              <a:gd name="connsiteY0" fmla="*/ 2366980 h 2831071"/>
              <a:gd name="connsiteX1" fmla="*/ 1213734 w 3473628"/>
              <a:gd name="connsiteY1" fmla="*/ 2320662 h 2831071"/>
              <a:gd name="connsiteX2" fmla="*/ 1209568 w 3473628"/>
              <a:gd name="connsiteY2" fmla="*/ 2270448 h 2831071"/>
              <a:gd name="connsiteX3" fmla="*/ 1120808 w 3473628"/>
              <a:gd name="connsiteY3" fmla="*/ 2115662 h 2831071"/>
              <a:gd name="connsiteX4" fmla="*/ 1030182 w 3473628"/>
              <a:gd name="connsiteY4" fmla="*/ 1957124 h 2831071"/>
              <a:gd name="connsiteX5" fmla="*/ 963576 w 3473628"/>
              <a:gd name="connsiteY5" fmla="*/ 1924173 h 2831071"/>
              <a:gd name="connsiteX6" fmla="*/ 805764 w 3473628"/>
              <a:gd name="connsiteY6" fmla="*/ 1954244 h 2831071"/>
              <a:gd name="connsiteX7" fmla="*/ 604929 w 3473628"/>
              <a:gd name="connsiteY7" fmla="*/ 1989060 h 2831071"/>
              <a:gd name="connsiteX8" fmla="*/ 477332 w 3473628"/>
              <a:gd name="connsiteY8" fmla="*/ 1993661 h 2831071"/>
              <a:gd name="connsiteX9" fmla="*/ 361672 w 3473628"/>
              <a:gd name="connsiteY9" fmla="*/ 2000852 h 2831071"/>
              <a:gd name="connsiteX10" fmla="*/ 98687 w 3473628"/>
              <a:gd name="connsiteY10" fmla="*/ 2062567 h 2831071"/>
              <a:gd name="connsiteX11" fmla="*/ 3316 w 3473628"/>
              <a:gd name="connsiteY11" fmla="*/ 2090047 h 2831071"/>
              <a:gd name="connsiteX12" fmla="*/ 45468 w 3473628"/>
              <a:gd name="connsiteY12" fmla="*/ 2164135 h 2831071"/>
              <a:gd name="connsiteX13" fmla="*/ 243277 w 3473628"/>
              <a:gd name="connsiteY13" fmla="*/ 2417629 h 2831071"/>
              <a:gd name="connsiteX14" fmla="*/ 343270 w 3473628"/>
              <a:gd name="connsiteY14" fmla="*/ 2553723 h 2831071"/>
              <a:gd name="connsiteX15" fmla="*/ 396634 w 3473628"/>
              <a:gd name="connsiteY15" fmla="*/ 2608392 h 2831071"/>
              <a:gd name="connsiteX16" fmla="*/ 442102 w 3473628"/>
              <a:gd name="connsiteY16" fmla="*/ 2644348 h 2831071"/>
              <a:gd name="connsiteX17" fmla="*/ 450018 w 3473628"/>
              <a:gd name="connsiteY17" fmla="*/ 2670108 h 2831071"/>
              <a:gd name="connsiteX18" fmla="*/ 431180 w 3473628"/>
              <a:gd name="connsiteY18" fmla="*/ 2687516 h 2831071"/>
              <a:gd name="connsiteX19" fmla="*/ 385007 w 3473628"/>
              <a:gd name="connsiteY19" fmla="*/ 2665507 h 2831071"/>
              <a:gd name="connsiteX20" fmla="*/ 320266 w 3473628"/>
              <a:gd name="connsiteY20" fmla="*/ 2569991 h 2831071"/>
              <a:gd name="connsiteX21" fmla="*/ 307459 w 3473628"/>
              <a:gd name="connsiteY21" fmla="*/ 2513166 h 2831071"/>
              <a:gd name="connsiteX22" fmla="*/ 319396 w 3473628"/>
              <a:gd name="connsiteY22" fmla="*/ 2499923 h 2831071"/>
              <a:gd name="connsiteX23" fmla="*/ 348015 w 3473628"/>
              <a:gd name="connsiteY23" fmla="*/ 2524378 h 2831071"/>
              <a:gd name="connsiteX24" fmla="*/ 378086 w 3473628"/>
              <a:gd name="connsiteY24" fmla="*/ 2562364 h 2831071"/>
              <a:gd name="connsiteX25" fmla="*/ 409731 w 3473628"/>
              <a:gd name="connsiteY25" fmla="*/ 2581348 h 2831071"/>
              <a:gd name="connsiteX26" fmla="*/ 431740 w 3473628"/>
              <a:gd name="connsiteY26" fmla="*/ 2604372 h 2831071"/>
              <a:gd name="connsiteX27" fmla="*/ 455323 w 3473628"/>
              <a:gd name="connsiteY27" fmla="*/ 2623645 h 2831071"/>
              <a:gd name="connsiteX28" fmla="*/ 472006 w 3473628"/>
              <a:gd name="connsiteY28" fmla="*/ 2654005 h 2831071"/>
              <a:gd name="connsiteX29" fmla="*/ 483798 w 3473628"/>
              <a:gd name="connsiteY29" fmla="*/ 2705649 h 2831071"/>
              <a:gd name="connsiteX30" fmla="*/ 515029 w 3473628"/>
              <a:gd name="connsiteY30" fmla="*/ 2761707 h 2831071"/>
              <a:gd name="connsiteX31" fmla="*/ 593924 w 3473628"/>
              <a:gd name="connsiteY31" fmla="*/ 2781975 h 2831071"/>
              <a:gd name="connsiteX32" fmla="*/ 917921 w 3473628"/>
              <a:gd name="connsiteY32" fmla="*/ 2784234 h 2831071"/>
              <a:gd name="connsiteX33" fmla="*/ 1481859 w 3473628"/>
              <a:gd name="connsiteY33" fmla="*/ 2784234 h 2831071"/>
              <a:gd name="connsiteX34" fmla="*/ 1611175 w 3473628"/>
              <a:gd name="connsiteY34" fmla="*/ 2760402 h 2831071"/>
              <a:gd name="connsiteX35" fmla="*/ 1530415 w 3473628"/>
              <a:gd name="connsiteY35" fmla="*/ 2653819 h 2831071"/>
              <a:gd name="connsiteX36" fmla="*/ 1485506 w 3473628"/>
              <a:gd name="connsiteY36" fmla="*/ 2582508 h 2831071"/>
              <a:gd name="connsiteX37" fmla="*/ 1444639 w 3473628"/>
              <a:gd name="connsiteY37" fmla="*/ 2563380 h 2831071"/>
              <a:gd name="connsiteX38" fmla="*/ 1360914 w 3473628"/>
              <a:gd name="connsiteY38" fmla="*/ 2569701 h 2831071"/>
              <a:gd name="connsiteX39" fmla="*/ 1305374 w 3473628"/>
              <a:gd name="connsiteY39" fmla="*/ 2561204 h 2831071"/>
              <a:gd name="connsiteX40" fmla="*/ 1259906 w 3473628"/>
              <a:gd name="connsiteY40" fmla="*/ 2517187 h 2831071"/>
              <a:gd name="connsiteX41" fmla="*/ 1228551 w 3473628"/>
              <a:gd name="connsiteY41" fmla="*/ 2442519 h 2831071"/>
              <a:gd name="connsiteX42" fmla="*/ 1227121 w 3473628"/>
              <a:gd name="connsiteY42" fmla="*/ 2364680 h 2831071"/>
              <a:gd name="connsiteX43" fmla="*/ 1271139 w 3473628"/>
              <a:gd name="connsiteY43" fmla="*/ 2317491 h 2831071"/>
              <a:gd name="connsiteX44" fmla="*/ 1254021 w 3473628"/>
              <a:gd name="connsiteY44" fmla="*/ 2254201 h 2831071"/>
              <a:gd name="connsiteX45" fmla="*/ 1118217 w 3473628"/>
              <a:gd name="connsiteY45" fmla="*/ 2041429 h 2831071"/>
              <a:gd name="connsiteX46" fmla="*/ 1021105 w 3473628"/>
              <a:gd name="connsiteY46" fmla="*/ 1888363 h 2831071"/>
              <a:gd name="connsiteX47" fmla="*/ 969171 w 3473628"/>
              <a:gd name="connsiteY47" fmla="*/ 1865338 h 2831071"/>
              <a:gd name="connsiteX48" fmla="*/ 890048 w 3473628"/>
              <a:gd name="connsiteY48" fmla="*/ 1886477 h 2831071"/>
              <a:gd name="connsiteX49" fmla="*/ 773808 w 3473628"/>
              <a:gd name="connsiteY49" fmla="*/ 1916837 h 2831071"/>
              <a:gd name="connsiteX50" fmla="*/ 552974 w 3473628"/>
              <a:gd name="connsiteY50" fmla="*/ 1960565 h 2831071"/>
              <a:gd name="connsiteX51" fmla="*/ 460463 w 3473628"/>
              <a:gd name="connsiteY51" fmla="*/ 1968771 h 2831071"/>
              <a:gd name="connsiteX52" fmla="*/ 390251 w 3473628"/>
              <a:gd name="connsiteY52" fmla="*/ 1936110 h 2831071"/>
              <a:gd name="connsiteX53" fmla="*/ 237329 w 3473628"/>
              <a:gd name="connsiteY53" fmla="*/ 1817280 h 2831071"/>
              <a:gd name="connsiteX54" fmla="*/ 148859 w 3473628"/>
              <a:gd name="connsiteY54" fmla="*/ 1724478 h 2831071"/>
              <a:gd name="connsiteX55" fmla="*/ 135326 w 3473628"/>
              <a:gd name="connsiteY55" fmla="*/ 1660753 h 2831071"/>
              <a:gd name="connsiteX56" fmla="*/ 160361 w 3473628"/>
              <a:gd name="connsiteY56" fmla="*/ 1619326 h 2831071"/>
              <a:gd name="connsiteX57" fmla="*/ 206534 w 3473628"/>
              <a:gd name="connsiteY57" fmla="*/ 1610829 h 2831071"/>
              <a:gd name="connsiteX58" fmla="*/ 299894 w 3473628"/>
              <a:gd name="connsiteY58" fmla="*/ 1646370 h 2831071"/>
              <a:gd name="connsiteX59" fmla="*/ 372552 w 3473628"/>
              <a:gd name="connsiteY59" fmla="*/ 1668959 h 2831071"/>
              <a:gd name="connsiteX60" fmla="*/ 375723 w 3473628"/>
              <a:gd name="connsiteY60" fmla="*/ 1692688 h 2831071"/>
              <a:gd name="connsiteX61" fmla="*/ 313282 w 3473628"/>
              <a:gd name="connsiteY61" fmla="*/ 1712832 h 2831071"/>
              <a:gd name="connsiteX62" fmla="*/ 211134 w 3473628"/>
              <a:gd name="connsiteY62" fmla="*/ 1685787 h 2831071"/>
              <a:gd name="connsiteX63" fmla="*/ 161356 w 3473628"/>
              <a:gd name="connsiteY63" fmla="*/ 1648235 h 2831071"/>
              <a:gd name="connsiteX64" fmla="*/ 166391 w 3473628"/>
              <a:gd name="connsiteY64" fmla="*/ 1605586 h 2831071"/>
              <a:gd name="connsiteX65" fmla="*/ 200192 w 3473628"/>
              <a:gd name="connsiteY65" fmla="*/ 1577816 h 2831071"/>
              <a:gd name="connsiteX66" fmla="*/ 287232 w 3473628"/>
              <a:gd name="connsiteY66" fmla="*/ 1590830 h 2831071"/>
              <a:gd name="connsiteX67" fmla="*/ 369009 w 3473628"/>
              <a:gd name="connsiteY67" fmla="*/ 1618953 h 2831071"/>
              <a:gd name="connsiteX68" fmla="*/ 419927 w 3473628"/>
              <a:gd name="connsiteY68" fmla="*/ 1621046 h 2831071"/>
              <a:gd name="connsiteX69" fmla="*/ 508625 w 3473628"/>
              <a:gd name="connsiteY69" fmla="*/ 1559682 h 2831071"/>
              <a:gd name="connsiteX70" fmla="*/ 603872 w 3473628"/>
              <a:gd name="connsiteY70" fmla="*/ 1496164 h 2831071"/>
              <a:gd name="connsiteX71" fmla="*/ 672489 w 3473628"/>
              <a:gd name="connsiteY71" fmla="*/ 1469699 h 2831071"/>
              <a:gd name="connsiteX72" fmla="*/ 740318 w 3473628"/>
              <a:gd name="connsiteY72" fmla="*/ 1459835 h 2831071"/>
              <a:gd name="connsiteX73" fmla="*/ 810675 w 3473628"/>
              <a:gd name="connsiteY73" fmla="*/ 1421288 h 2831071"/>
              <a:gd name="connsiteX74" fmla="*/ 854631 w 3473628"/>
              <a:gd name="connsiteY74" fmla="*/ 1394969 h 2831071"/>
              <a:gd name="connsiteX75" fmla="*/ 862982 w 3473628"/>
              <a:gd name="connsiteY75" fmla="*/ 1380214 h 2831071"/>
              <a:gd name="connsiteX76" fmla="*/ 851688 w 3473628"/>
              <a:gd name="connsiteY76" fmla="*/ 1366412 h 2831071"/>
              <a:gd name="connsiteX77" fmla="*/ 827524 w 3473628"/>
              <a:gd name="connsiteY77" fmla="*/ 1363614 h 2831071"/>
              <a:gd name="connsiteX78" fmla="*/ 824291 w 3473628"/>
              <a:gd name="connsiteY78" fmla="*/ 1354910 h 2831071"/>
              <a:gd name="connsiteX79" fmla="*/ 846652 w 3473628"/>
              <a:gd name="connsiteY79" fmla="*/ 1340030 h 2831071"/>
              <a:gd name="connsiteX80" fmla="*/ 880308 w 3473628"/>
              <a:gd name="connsiteY80" fmla="*/ 1319161 h 2831071"/>
              <a:gd name="connsiteX81" fmla="*/ 897363 w 3473628"/>
              <a:gd name="connsiteY81" fmla="*/ 1302831 h 2831071"/>
              <a:gd name="connsiteX82" fmla="*/ 886794 w 3473628"/>
              <a:gd name="connsiteY82" fmla="*/ 1295930 h 2831071"/>
              <a:gd name="connsiteX83" fmla="*/ 844642 w 3473628"/>
              <a:gd name="connsiteY83" fmla="*/ 1306934 h 2831071"/>
              <a:gd name="connsiteX84" fmla="*/ 809536 w 3473628"/>
              <a:gd name="connsiteY84" fmla="*/ 1335347 h 2831071"/>
              <a:gd name="connsiteX85" fmla="*/ 787029 w 3473628"/>
              <a:gd name="connsiteY85" fmla="*/ 1349667 h 2831071"/>
              <a:gd name="connsiteX86" fmla="*/ 782139 w 3473628"/>
              <a:gd name="connsiteY86" fmla="*/ 1343346 h 2831071"/>
              <a:gd name="connsiteX87" fmla="*/ 804583 w 3473628"/>
              <a:gd name="connsiteY87" fmla="*/ 1325296 h 2831071"/>
              <a:gd name="connsiteX88" fmla="*/ 816810 w 3473628"/>
              <a:gd name="connsiteY88" fmla="*/ 1307743 h 2831071"/>
              <a:gd name="connsiteX89" fmla="*/ 811276 w 3473628"/>
              <a:gd name="connsiteY89" fmla="*/ 1290977 h 2831071"/>
              <a:gd name="connsiteX90" fmla="*/ 791713 w 3473628"/>
              <a:gd name="connsiteY90" fmla="*/ 1290832 h 2831071"/>
              <a:gd name="connsiteX91" fmla="*/ 761933 w 3473628"/>
              <a:gd name="connsiteY91" fmla="*/ 1313856 h 2831071"/>
              <a:gd name="connsiteX92" fmla="*/ 742515 w 3473628"/>
              <a:gd name="connsiteY92" fmla="*/ 1324218 h 2831071"/>
              <a:gd name="connsiteX93" fmla="*/ 739862 w 3473628"/>
              <a:gd name="connsiteY93" fmla="*/ 1318457 h 2831071"/>
              <a:gd name="connsiteX94" fmla="*/ 752296 w 3473628"/>
              <a:gd name="connsiteY94" fmla="*/ 1300406 h 2831071"/>
              <a:gd name="connsiteX95" fmla="*/ 772585 w 3473628"/>
              <a:gd name="connsiteY95" fmla="*/ 1280615 h 2831071"/>
              <a:gd name="connsiteX96" fmla="*/ 776108 w 3473628"/>
              <a:gd name="connsiteY96" fmla="*/ 1263994 h 2831071"/>
              <a:gd name="connsiteX97" fmla="*/ 761083 w 3473628"/>
              <a:gd name="connsiteY97" fmla="*/ 1258026 h 2831071"/>
              <a:gd name="connsiteX98" fmla="*/ 718869 w 3473628"/>
              <a:gd name="connsiteY98" fmla="*/ 1273051 h 2831071"/>
              <a:gd name="connsiteX99" fmla="*/ 639600 w 3473628"/>
              <a:gd name="connsiteY99" fmla="*/ 1331181 h 2831071"/>
              <a:gd name="connsiteX100" fmla="*/ 569678 w 3473628"/>
              <a:gd name="connsiteY100" fmla="*/ 1382100 h 2831071"/>
              <a:gd name="connsiteX101" fmla="*/ 456173 w 3473628"/>
              <a:gd name="connsiteY101" fmla="*/ 1442530 h 2831071"/>
              <a:gd name="connsiteX102" fmla="*/ 325406 w 3473628"/>
              <a:gd name="connsiteY102" fmla="*/ 1515188 h 2831071"/>
              <a:gd name="connsiteX103" fmla="*/ 239526 w 3473628"/>
              <a:gd name="connsiteY103" fmla="*/ 1551144 h 2831071"/>
              <a:gd name="connsiteX104" fmla="*/ 218388 w 3473628"/>
              <a:gd name="connsiteY104" fmla="*/ 1575453 h 2831071"/>
              <a:gd name="connsiteX105" fmla="*/ 272912 w 3473628"/>
              <a:gd name="connsiteY105" fmla="*/ 1602208 h 2831071"/>
              <a:gd name="connsiteX106" fmla="*/ 357797 w 3473628"/>
              <a:gd name="connsiteY106" fmla="*/ 1635863 h 2831071"/>
              <a:gd name="connsiteX107" fmla="*/ 403410 w 3473628"/>
              <a:gd name="connsiteY107" fmla="*/ 1653271 h 2831071"/>
              <a:gd name="connsiteX108" fmla="*/ 416073 w 3473628"/>
              <a:gd name="connsiteY108" fmla="*/ 1682036 h 2831071"/>
              <a:gd name="connsiteX109" fmla="*/ 440817 w 3473628"/>
              <a:gd name="connsiteY109" fmla="*/ 1705060 h 2831071"/>
              <a:gd name="connsiteX110" fmla="*/ 514469 w 3473628"/>
              <a:gd name="connsiteY110" fmla="*/ 1733680 h 2831071"/>
              <a:gd name="connsiteX111" fmla="*/ 651288 w 3473628"/>
              <a:gd name="connsiteY111" fmla="*/ 1765905 h 2831071"/>
              <a:gd name="connsiteX112" fmla="*/ 768109 w 3473628"/>
              <a:gd name="connsiteY112" fmla="*/ 1785179 h 2831071"/>
              <a:gd name="connsiteX113" fmla="*/ 837306 w 3473628"/>
              <a:gd name="connsiteY113" fmla="*/ 1824740 h 2831071"/>
              <a:gd name="connsiteX114" fmla="*/ 840621 w 3473628"/>
              <a:gd name="connsiteY114" fmla="*/ 1854666 h 2831071"/>
              <a:gd name="connsiteX115" fmla="*/ 790843 w 3473628"/>
              <a:gd name="connsiteY115" fmla="*/ 1883430 h 2831071"/>
              <a:gd name="connsiteX116" fmla="*/ 713874 w 3473628"/>
              <a:gd name="connsiteY116" fmla="*/ 1902413 h 2831071"/>
              <a:gd name="connsiteX117" fmla="*/ 703367 w 3473628"/>
              <a:gd name="connsiteY117" fmla="*/ 1887741 h 2831071"/>
              <a:gd name="connsiteX118" fmla="*/ 735158 w 3473628"/>
              <a:gd name="connsiteY118" fmla="*/ 1840843 h 2831071"/>
              <a:gd name="connsiteX119" fmla="*/ 785662 w 3473628"/>
              <a:gd name="connsiteY119" fmla="*/ 1808037 h 2831071"/>
              <a:gd name="connsiteX120" fmla="*/ 864640 w 3473628"/>
              <a:gd name="connsiteY120" fmla="*/ 1809757 h 2831071"/>
              <a:gd name="connsiteX121" fmla="*/ 904637 w 3473628"/>
              <a:gd name="connsiteY121" fmla="*/ 1789468 h 2831071"/>
              <a:gd name="connsiteX122" fmla="*/ 916284 w 3473628"/>
              <a:gd name="connsiteY122" fmla="*/ 1745161 h 2831071"/>
              <a:gd name="connsiteX123" fmla="*/ 912119 w 3473628"/>
              <a:gd name="connsiteY123" fmla="*/ 1675238 h 2831071"/>
              <a:gd name="connsiteX124" fmla="*/ 918025 w 3473628"/>
              <a:gd name="connsiteY124" fmla="*/ 1647904 h 2831071"/>
              <a:gd name="connsiteX125" fmla="*/ 946230 w 3473628"/>
              <a:gd name="connsiteY125" fmla="*/ 1644588 h 2831071"/>
              <a:gd name="connsiteX126" fmla="*/ 993128 w 3473628"/>
              <a:gd name="connsiteY126" fmla="*/ 1664587 h 2831071"/>
              <a:gd name="connsiteX127" fmla="*/ 1043632 w 3473628"/>
              <a:gd name="connsiteY127" fmla="*/ 1685455 h 2831071"/>
              <a:gd name="connsiteX128" fmla="*/ 1091110 w 3473628"/>
              <a:gd name="connsiteY128" fmla="*/ 1667032 h 2831071"/>
              <a:gd name="connsiteX129" fmla="*/ 1113844 w 3473628"/>
              <a:gd name="connsiteY129" fmla="*/ 1609046 h 2831071"/>
              <a:gd name="connsiteX130" fmla="*/ 1137573 w 3473628"/>
              <a:gd name="connsiteY130" fmla="*/ 1536244 h 2831071"/>
              <a:gd name="connsiteX131" fmla="*/ 1175270 w 3473628"/>
              <a:gd name="connsiteY131" fmla="*/ 1484165 h 2831071"/>
              <a:gd name="connsiteX132" fmla="*/ 1215847 w 3473628"/>
              <a:gd name="connsiteY132" fmla="*/ 1437702 h 2831071"/>
              <a:gd name="connsiteX133" fmla="*/ 1213837 w 3473628"/>
              <a:gd name="connsiteY133" fmla="*/ 1405911 h 2831071"/>
              <a:gd name="connsiteX134" fmla="*/ 1160743 w 3473628"/>
              <a:gd name="connsiteY134" fmla="*/ 1359449 h 2831071"/>
              <a:gd name="connsiteX135" fmla="*/ 1072273 w 3473628"/>
              <a:gd name="connsiteY135" fmla="*/ 1326207 h 2831071"/>
              <a:gd name="connsiteX136" fmla="*/ 969420 w 3473628"/>
              <a:gd name="connsiteY136" fmla="*/ 1337709 h 2831071"/>
              <a:gd name="connsiteX137" fmla="*/ 912160 w 3473628"/>
              <a:gd name="connsiteY137" fmla="*/ 1380152 h 2831071"/>
              <a:gd name="connsiteX138" fmla="*/ 896327 w 3473628"/>
              <a:gd name="connsiteY138" fmla="*/ 1448333 h 2831071"/>
              <a:gd name="connsiteX139" fmla="*/ 877489 w 3473628"/>
              <a:gd name="connsiteY139" fmla="*/ 1512784 h 2831071"/>
              <a:gd name="connsiteX140" fmla="*/ 860806 w 3473628"/>
              <a:gd name="connsiteY140" fmla="*/ 1564138 h 2831071"/>
              <a:gd name="connsiteX141" fmla="*/ 859936 w 3473628"/>
              <a:gd name="connsiteY141" fmla="*/ 1636216 h 2831071"/>
              <a:gd name="connsiteX142" fmla="*/ 882670 w 3473628"/>
              <a:gd name="connsiteY142" fmla="*/ 1693040 h 2831071"/>
              <a:gd name="connsiteX143" fmla="*/ 939930 w 3473628"/>
              <a:gd name="connsiteY143" fmla="*/ 1728001 h 2831071"/>
              <a:gd name="connsiteX144" fmla="*/ 1032856 w 3473628"/>
              <a:gd name="connsiteY144" fmla="*/ 1733618 h 2831071"/>
              <a:gd name="connsiteX145" fmla="*/ 1121326 w 3473628"/>
              <a:gd name="connsiteY145" fmla="*/ 1688440 h 2831071"/>
              <a:gd name="connsiteX146" fmla="*/ 1171830 w 3473628"/>
              <a:gd name="connsiteY146" fmla="*/ 1627304 h 2831071"/>
              <a:gd name="connsiteX147" fmla="*/ 1192263 w 3473628"/>
              <a:gd name="connsiteY147" fmla="*/ 1592343 h 2831071"/>
              <a:gd name="connsiteX148" fmla="*/ 1215433 w 3473628"/>
              <a:gd name="connsiteY148" fmla="*/ 1590478 h 2831071"/>
              <a:gd name="connsiteX149" fmla="*/ 1223059 w 3473628"/>
              <a:gd name="connsiteY149" fmla="*/ 1624569 h 2831071"/>
              <a:gd name="connsiteX150" fmla="*/ 1193569 w 3473628"/>
              <a:gd name="connsiteY150" fmla="*/ 1655219 h 2831071"/>
              <a:gd name="connsiteX151" fmla="*/ 1160328 w 3473628"/>
              <a:gd name="connsiteY151" fmla="*/ 1650909 h 2831071"/>
              <a:gd name="connsiteX152" fmla="*/ 1152121 w 3473628"/>
              <a:gd name="connsiteY152" fmla="*/ 1619844 h 2831071"/>
              <a:gd name="connsiteX153" fmla="*/ 1169239 w 3473628"/>
              <a:gd name="connsiteY153" fmla="*/ 1577836 h 2831071"/>
              <a:gd name="connsiteX154" fmla="*/ 1208511 w 3473628"/>
              <a:gd name="connsiteY154" fmla="*/ 1555683 h 2831071"/>
              <a:gd name="connsiteX155" fmla="*/ 1223039 w 3473628"/>
              <a:gd name="connsiteY155" fmla="*/ 1534814 h 2831071"/>
              <a:gd name="connsiteX156" fmla="*/ 1221173 w 3473628"/>
              <a:gd name="connsiteY156" fmla="*/ 1493822 h 2831071"/>
              <a:gd name="connsiteX157" fmla="*/ 1192263 w 3473628"/>
              <a:gd name="connsiteY157" fmla="*/ 1435837 h 2831071"/>
              <a:gd name="connsiteX158" fmla="*/ 1126527 w 3473628"/>
              <a:gd name="connsiteY158" fmla="*/ 1373105 h 2831071"/>
              <a:gd name="connsiteX159" fmla="*/ 1015178 w 3473628"/>
              <a:gd name="connsiteY159" fmla="*/ 1361604 h 2831071"/>
              <a:gd name="connsiteX160" fmla="*/ 929299 w 3473628"/>
              <a:gd name="connsiteY160" fmla="*/ 1399591 h 2831071"/>
              <a:gd name="connsiteX161" fmla="*/ 891312 w 3473628"/>
              <a:gd name="connsiteY161" fmla="*/ 1413683 h 2831071"/>
              <a:gd name="connsiteX162" fmla="*/ 880805 w 3473628"/>
              <a:gd name="connsiteY162" fmla="*/ 1385623 h 2831071"/>
              <a:gd name="connsiteX163" fmla="*/ 887271 w 3473628"/>
              <a:gd name="connsiteY163" fmla="*/ 1343035 h 2831071"/>
              <a:gd name="connsiteX164" fmla="*/ 919351 w 3473628"/>
              <a:gd name="connsiteY164" fmla="*/ 1314270 h 2831071"/>
              <a:gd name="connsiteX165" fmla="*/ 976031 w 3473628"/>
              <a:gd name="connsiteY165" fmla="*/ 1293402 h 2831071"/>
              <a:gd name="connsiteX166" fmla="*/ 1018183 w 3473628"/>
              <a:gd name="connsiteY166" fmla="*/ 1281900 h 2831071"/>
              <a:gd name="connsiteX167" fmla="*/ 1050844 w 3473628"/>
              <a:gd name="connsiteY167" fmla="*/ 1268947 h 2831071"/>
              <a:gd name="connsiteX168" fmla="*/ 1109244 w 3473628"/>
              <a:gd name="connsiteY168" fmla="*/ 1272118 h 2831071"/>
              <a:gd name="connsiteX169" fmla="*/ 1183622 w 3473628"/>
              <a:gd name="connsiteY169" fmla="*/ 1306209 h 2831071"/>
              <a:gd name="connsiteX170" fmla="*/ 1247202 w 3473628"/>
              <a:gd name="connsiteY170" fmla="*/ 1382017 h 2831071"/>
              <a:gd name="connsiteX171" fmla="*/ 1276983 w 3473628"/>
              <a:gd name="connsiteY171" fmla="*/ 1470777 h 2831071"/>
              <a:gd name="connsiteX172" fmla="*/ 1290785 w 3473628"/>
              <a:gd name="connsiteY172" fmla="*/ 1538959 h 2831071"/>
              <a:gd name="connsiteX173" fmla="*/ 1286184 w 3473628"/>
              <a:gd name="connsiteY173" fmla="*/ 1598664 h 2831071"/>
              <a:gd name="connsiteX174" fmla="*/ 1251223 w 3473628"/>
              <a:gd name="connsiteY174" fmla="*/ 1657789 h 2831071"/>
              <a:gd name="connsiteX175" fmla="*/ 1190792 w 3473628"/>
              <a:gd name="connsiteY175" fmla="*/ 1692460 h 2831071"/>
              <a:gd name="connsiteX176" fmla="*/ 1155396 w 3473628"/>
              <a:gd name="connsiteY176" fmla="*/ 1717349 h 2831071"/>
              <a:gd name="connsiteX177" fmla="*/ 1128786 w 3473628"/>
              <a:gd name="connsiteY177" fmla="*/ 1768848 h 2831071"/>
              <a:gd name="connsiteX178" fmla="*/ 1124766 w 3473628"/>
              <a:gd name="connsiteY178" fmla="*/ 1813156 h 2831071"/>
              <a:gd name="connsiteX179" fmla="*/ 1143459 w 3473628"/>
              <a:gd name="connsiteY179" fmla="*/ 1838045 h 2831071"/>
              <a:gd name="connsiteX180" fmla="*/ 1176700 w 3473628"/>
              <a:gd name="connsiteY180" fmla="*/ 1874581 h 2831071"/>
              <a:gd name="connsiteX181" fmla="*/ 1211951 w 3473628"/>
              <a:gd name="connsiteY181" fmla="*/ 1930971 h 2831071"/>
              <a:gd name="connsiteX182" fmla="*/ 1269791 w 3473628"/>
              <a:gd name="connsiteY182" fmla="*/ 1970678 h 2831071"/>
              <a:gd name="connsiteX183" fmla="*/ 1289790 w 3473628"/>
              <a:gd name="connsiteY183" fmla="*/ 2016996 h 2831071"/>
              <a:gd name="connsiteX184" fmla="*/ 1236696 w 3473628"/>
              <a:gd name="connsiteY184" fmla="*/ 2105031 h 2831071"/>
              <a:gd name="connsiteX185" fmla="*/ 1189362 w 3473628"/>
              <a:gd name="connsiteY185" fmla="*/ 2099269 h 2831071"/>
              <a:gd name="connsiteX186" fmla="*/ 1126921 w 3473628"/>
              <a:gd name="connsiteY186" fmla="*/ 1994386 h 2831071"/>
              <a:gd name="connsiteX187" fmla="*/ 1124621 w 3473628"/>
              <a:gd name="connsiteY187" fmla="*/ 1948773 h 2831071"/>
              <a:gd name="connsiteX188" fmla="*/ 1178855 w 3473628"/>
              <a:gd name="connsiteY188" fmla="*/ 1910226 h 2831071"/>
              <a:gd name="connsiteX189" fmla="*/ 1235245 w 3473628"/>
              <a:gd name="connsiteY189" fmla="*/ 1918288 h 2831071"/>
              <a:gd name="connsiteX190" fmla="*/ 1332792 w 3473628"/>
              <a:gd name="connsiteY190" fmla="*/ 1988065 h 2831071"/>
              <a:gd name="connsiteX191" fmla="*/ 1387316 w 3473628"/>
              <a:gd name="connsiteY191" fmla="*/ 2070650 h 2831071"/>
              <a:gd name="connsiteX192" fmla="*/ 1383710 w 3473628"/>
              <a:gd name="connsiteY192" fmla="*/ 2126190 h 2831071"/>
              <a:gd name="connsiteX193" fmla="*/ 1348459 w 3473628"/>
              <a:gd name="connsiteY193" fmla="*/ 2203448 h 2831071"/>
              <a:gd name="connsiteX194" fmla="*/ 1311923 w 3473628"/>
              <a:gd name="connsiteY194" fmla="*/ 2248771 h 2831071"/>
              <a:gd name="connsiteX195" fmla="*/ 1270786 w 3473628"/>
              <a:gd name="connsiteY195" fmla="*/ 2226907 h 2831071"/>
              <a:gd name="connsiteX196" fmla="*/ 1256694 w 3473628"/>
              <a:gd name="connsiteY196" fmla="*/ 2197417 h 2831071"/>
              <a:gd name="connsiteX197" fmla="*/ 1262745 w 3473628"/>
              <a:gd name="connsiteY197" fmla="*/ 2172093 h 2831071"/>
              <a:gd name="connsiteX198" fmla="*/ 1299427 w 3473628"/>
              <a:gd name="connsiteY198" fmla="*/ 2127640 h 2831071"/>
              <a:gd name="connsiteX199" fmla="*/ 1357826 w 3473628"/>
              <a:gd name="connsiteY199" fmla="*/ 2086068 h 2831071"/>
              <a:gd name="connsiteX200" fmla="*/ 1403999 w 3473628"/>
              <a:gd name="connsiteY200" fmla="*/ 2048372 h 2831071"/>
              <a:gd name="connsiteX201" fmla="*/ 1428453 w 3473628"/>
              <a:gd name="connsiteY201" fmla="*/ 2028228 h 2831071"/>
              <a:gd name="connsiteX202" fmla="*/ 1435644 w 3473628"/>
              <a:gd name="connsiteY202" fmla="*/ 2043481 h 2831071"/>
              <a:gd name="connsiteX203" fmla="*/ 1439375 w 3473628"/>
              <a:gd name="connsiteY203" fmla="*/ 2107062 h 2831071"/>
              <a:gd name="connsiteX204" fmla="*/ 1432039 w 3473628"/>
              <a:gd name="connsiteY204" fmla="*/ 2164902 h 2831071"/>
              <a:gd name="connsiteX205" fmla="*/ 1405864 w 3473628"/>
              <a:gd name="connsiteY205" fmla="*/ 2266469 h 2831071"/>
              <a:gd name="connsiteX206" fmla="*/ 1412765 w 3473628"/>
              <a:gd name="connsiteY206" fmla="*/ 2328330 h 2831071"/>
              <a:gd name="connsiteX207" fmla="*/ 1440245 w 3473628"/>
              <a:gd name="connsiteY207" fmla="*/ 2353074 h 2831071"/>
              <a:gd name="connsiteX208" fmla="*/ 1475932 w 3473628"/>
              <a:gd name="connsiteY208" fmla="*/ 2367457 h 2831071"/>
              <a:gd name="connsiteX209" fmla="*/ 1511038 w 3473628"/>
              <a:gd name="connsiteY209" fmla="*/ 2382710 h 2831071"/>
              <a:gd name="connsiteX210" fmla="*/ 1536217 w 3473628"/>
              <a:gd name="connsiteY210" fmla="*/ 2415225 h 2831071"/>
              <a:gd name="connsiteX211" fmla="*/ 1543408 w 3473628"/>
              <a:gd name="connsiteY211" fmla="*/ 2463843 h 2831071"/>
              <a:gd name="connsiteX212" fmla="*/ 1512758 w 3473628"/>
              <a:gd name="connsiteY212" fmla="*/ 2507156 h 2831071"/>
              <a:gd name="connsiteX213" fmla="*/ 1467083 w 3473628"/>
              <a:gd name="connsiteY213" fmla="*/ 2522844 h 2831071"/>
              <a:gd name="connsiteX214" fmla="*/ 1422195 w 3473628"/>
              <a:gd name="connsiteY214" fmla="*/ 2523860 h 2831071"/>
              <a:gd name="connsiteX215" fmla="*/ 1366738 w 3473628"/>
              <a:gd name="connsiteY215" fmla="*/ 2540832 h 2831071"/>
              <a:gd name="connsiteX216" fmla="*/ 1320420 w 3473628"/>
              <a:gd name="connsiteY216" fmla="*/ 2536667 h 2831071"/>
              <a:gd name="connsiteX217" fmla="*/ 1321788 w 3473628"/>
              <a:gd name="connsiteY217" fmla="*/ 2519549 h 2831071"/>
              <a:gd name="connsiteX218" fmla="*/ 1369846 w 3473628"/>
              <a:gd name="connsiteY218" fmla="*/ 2497893 h 2831071"/>
              <a:gd name="connsiteX219" fmla="*/ 1396891 w 3473628"/>
              <a:gd name="connsiteY219" fmla="*/ 2480277 h 2831071"/>
              <a:gd name="connsiteX220" fmla="*/ 1381286 w 3473628"/>
              <a:gd name="connsiteY220" fmla="*/ 2474102 h 2831071"/>
              <a:gd name="connsiteX221" fmla="*/ 1307986 w 3473628"/>
              <a:gd name="connsiteY221" fmla="*/ 2503094 h 2831071"/>
              <a:gd name="connsiteX222" fmla="*/ 1275760 w 3473628"/>
              <a:gd name="connsiteY222" fmla="*/ 2503820 h 2831071"/>
              <a:gd name="connsiteX223" fmla="*/ 1277190 w 3473628"/>
              <a:gd name="connsiteY223" fmla="*/ 2490515 h 2831071"/>
              <a:gd name="connsiteX224" fmla="*/ 1302287 w 3473628"/>
              <a:gd name="connsiteY224" fmla="*/ 2478495 h 2831071"/>
              <a:gd name="connsiteX225" fmla="*/ 1350407 w 3473628"/>
              <a:gd name="connsiteY225" fmla="*/ 2445109 h 2831071"/>
              <a:gd name="connsiteX226" fmla="*/ 1346946 w 3473628"/>
              <a:gd name="connsiteY226" fmla="*/ 2435120 h 2831071"/>
              <a:gd name="connsiteX227" fmla="*/ 1292774 w 3473628"/>
              <a:gd name="connsiteY227" fmla="*/ 2461812 h 2831071"/>
              <a:gd name="connsiteX228" fmla="*/ 1261834 w 3473628"/>
              <a:gd name="connsiteY228" fmla="*/ 2459719 h 2831071"/>
              <a:gd name="connsiteX229" fmla="*/ 1265149 w 3473628"/>
              <a:gd name="connsiteY229" fmla="*/ 2438933 h 2831071"/>
              <a:gd name="connsiteX230" fmla="*/ 1303053 w 3473628"/>
              <a:gd name="connsiteY230" fmla="*/ 2411308 h 2831071"/>
              <a:gd name="connsiteX231" fmla="*/ 1318513 w 3473628"/>
              <a:gd name="connsiteY231" fmla="*/ 2393175 h 2831071"/>
              <a:gd name="connsiteX232" fmla="*/ 1306783 w 3473628"/>
              <a:gd name="connsiteY232" fmla="*/ 2385984 h 2831071"/>
              <a:gd name="connsiteX233" fmla="*/ 1268590 w 3473628"/>
              <a:gd name="connsiteY233" fmla="*/ 2403392 h 2831071"/>
              <a:gd name="connsiteX234" fmla="*/ 1243410 w 3473628"/>
              <a:gd name="connsiteY234" fmla="*/ 2405257 h 2831071"/>
              <a:gd name="connsiteX235" fmla="*/ 1242685 w 3473628"/>
              <a:gd name="connsiteY235" fmla="*/ 2382461 h 2831071"/>
              <a:gd name="connsiteX236" fmla="*/ 1284402 w 3473628"/>
              <a:gd name="connsiteY236" fmla="*/ 2341469 h 2831071"/>
              <a:gd name="connsiteX237" fmla="*/ 1360935 w 3473628"/>
              <a:gd name="connsiteY237" fmla="*/ 2306218 h 2831071"/>
              <a:gd name="connsiteX238" fmla="*/ 1411004 w 3473628"/>
              <a:gd name="connsiteY238" fmla="*/ 2303047 h 2831071"/>
              <a:gd name="connsiteX239" fmla="*/ 1438484 w 3473628"/>
              <a:gd name="connsiteY239" fmla="*/ 2295131 h 2831071"/>
              <a:gd name="connsiteX240" fmla="*/ 1468409 w 3473628"/>
              <a:gd name="connsiteY240" fmla="*/ 2243777 h 2831071"/>
              <a:gd name="connsiteX241" fmla="*/ 1532570 w 3473628"/>
              <a:gd name="connsiteY241" fmla="*/ 2156301 h 2831071"/>
              <a:gd name="connsiteX242" fmla="*/ 1610761 w 3473628"/>
              <a:gd name="connsiteY242" fmla="*/ 2074152 h 2831071"/>
              <a:gd name="connsiteX243" fmla="*/ 1628957 w 3473628"/>
              <a:gd name="connsiteY243" fmla="*/ 2041864 h 2831071"/>
              <a:gd name="connsiteX244" fmla="*/ 1628604 w 3473628"/>
              <a:gd name="connsiteY244" fmla="*/ 2021078 h 2831071"/>
              <a:gd name="connsiteX245" fmla="*/ 1642841 w 3473628"/>
              <a:gd name="connsiteY245" fmla="*/ 2001308 h 2831071"/>
              <a:gd name="connsiteX246" fmla="*/ 1697863 w 3473628"/>
              <a:gd name="connsiteY246" fmla="*/ 1963611 h 2831071"/>
              <a:gd name="connsiteX247" fmla="*/ 1768718 w 3473628"/>
              <a:gd name="connsiteY247" fmla="*/ 1914703 h 2831071"/>
              <a:gd name="connsiteX248" fmla="*/ 1816549 w 3473628"/>
              <a:gd name="connsiteY248" fmla="*/ 1881109 h 2831071"/>
              <a:gd name="connsiteX249" fmla="*/ 1846039 w 3473628"/>
              <a:gd name="connsiteY249" fmla="*/ 1836221 h 2831071"/>
              <a:gd name="connsiteX250" fmla="*/ 1863882 w 3473628"/>
              <a:gd name="connsiteY250" fmla="*/ 1739400 h 2831071"/>
              <a:gd name="connsiteX251" fmla="*/ 1862162 w 3473628"/>
              <a:gd name="connsiteY251" fmla="*/ 1654225 h 2831071"/>
              <a:gd name="connsiteX252" fmla="*/ 1849355 w 3473628"/>
              <a:gd name="connsiteY252" fmla="*/ 1586312 h 2831071"/>
              <a:gd name="connsiteX253" fmla="*/ 1804322 w 3473628"/>
              <a:gd name="connsiteY253" fmla="*/ 1511499 h 2831071"/>
              <a:gd name="connsiteX254" fmla="*/ 1748512 w 3473628"/>
              <a:gd name="connsiteY254" fmla="*/ 1463296 h 2831071"/>
              <a:gd name="connsiteX255" fmla="*/ 1688662 w 3473628"/>
              <a:gd name="connsiteY255" fmla="*/ 1445017 h 2831071"/>
              <a:gd name="connsiteX256" fmla="*/ 1629682 w 3473628"/>
              <a:gd name="connsiteY256" fmla="*/ 1434655 h 2831071"/>
              <a:gd name="connsiteX257" fmla="*/ 1565521 w 3473628"/>
              <a:gd name="connsiteY257" fmla="*/ 1420708 h 2831071"/>
              <a:gd name="connsiteX258" fmla="*/ 1482377 w 3473628"/>
              <a:gd name="connsiteY258" fmla="*/ 1428044 h 2831071"/>
              <a:gd name="connsiteX259" fmla="*/ 1425117 w 3473628"/>
              <a:gd name="connsiteY259" fmla="*/ 1469036 h 2831071"/>
              <a:gd name="connsiteX260" fmla="*/ 1416910 w 3473628"/>
              <a:gd name="connsiteY260" fmla="*/ 1533923 h 2831071"/>
              <a:gd name="connsiteX261" fmla="*/ 1436618 w 3473628"/>
              <a:gd name="connsiteY261" fmla="*/ 1580240 h 2831071"/>
              <a:gd name="connsiteX262" fmla="*/ 1448265 w 3473628"/>
              <a:gd name="connsiteY262" fmla="*/ 1638081 h 2831071"/>
              <a:gd name="connsiteX263" fmla="*/ 1432577 w 3473628"/>
              <a:gd name="connsiteY263" fmla="*/ 1733037 h 2831071"/>
              <a:gd name="connsiteX264" fmla="*/ 1436598 w 3473628"/>
              <a:gd name="connsiteY264" fmla="*/ 1799063 h 2831071"/>
              <a:gd name="connsiteX265" fmla="*/ 1493568 w 3473628"/>
              <a:gd name="connsiteY265" fmla="*/ 1841216 h 2831071"/>
              <a:gd name="connsiteX266" fmla="*/ 1619299 w 3473628"/>
              <a:gd name="connsiteY266" fmla="*/ 1854168 h 2831071"/>
              <a:gd name="connsiteX267" fmla="*/ 1704039 w 3473628"/>
              <a:gd name="connsiteY267" fmla="*/ 1837050 h 2831071"/>
              <a:gd name="connsiteX268" fmla="*/ 1739290 w 3473628"/>
              <a:gd name="connsiteY268" fmla="*/ 1788577 h 2831071"/>
              <a:gd name="connsiteX269" fmla="*/ 1754108 w 3473628"/>
              <a:gd name="connsiteY269" fmla="*/ 1758507 h 2831071"/>
              <a:gd name="connsiteX270" fmla="*/ 1769071 w 3473628"/>
              <a:gd name="connsiteY270" fmla="*/ 1758507 h 2831071"/>
              <a:gd name="connsiteX271" fmla="*/ 1773526 w 3473628"/>
              <a:gd name="connsiteY271" fmla="*/ 1787562 h 2831071"/>
              <a:gd name="connsiteX272" fmla="*/ 1747621 w 3473628"/>
              <a:gd name="connsiteY272" fmla="*/ 1819497 h 2831071"/>
              <a:gd name="connsiteX273" fmla="*/ 1719271 w 3473628"/>
              <a:gd name="connsiteY273" fmla="*/ 1806110 h 2831071"/>
              <a:gd name="connsiteX274" fmla="*/ 1727478 w 3473628"/>
              <a:gd name="connsiteY274" fmla="*/ 1762092 h 2831071"/>
              <a:gd name="connsiteX275" fmla="*/ 1757258 w 3473628"/>
              <a:gd name="connsiteY275" fmla="*/ 1731297 h 2831071"/>
              <a:gd name="connsiteX276" fmla="*/ 1781857 w 3473628"/>
              <a:gd name="connsiteY276" fmla="*/ 1696626 h 2831071"/>
              <a:gd name="connsiteX277" fmla="*/ 1759123 w 3473628"/>
              <a:gd name="connsiteY277" fmla="*/ 1625563 h 2831071"/>
              <a:gd name="connsiteX278" fmla="*/ 1710650 w 3473628"/>
              <a:gd name="connsiteY278" fmla="*/ 1549175 h 2831071"/>
              <a:gd name="connsiteX279" fmla="*/ 1628065 w 3473628"/>
              <a:gd name="connsiteY279" fmla="*/ 1512349 h 2831071"/>
              <a:gd name="connsiteX280" fmla="*/ 1535989 w 3473628"/>
              <a:gd name="connsiteY280" fmla="*/ 1521260 h 2831071"/>
              <a:gd name="connsiteX281" fmla="*/ 1469528 w 3473628"/>
              <a:gd name="connsiteY281" fmla="*/ 1574624 h 2831071"/>
              <a:gd name="connsiteX282" fmla="*/ 1448100 w 3473628"/>
              <a:gd name="connsiteY282" fmla="*/ 1608280 h 2831071"/>
              <a:gd name="connsiteX283" fmla="*/ 1425946 w 3473628"/>
              <a:gd name="connsiteY283" fmla="*/ 1663384 h 2831071"/>
              <a:gd name="connsiteX284" fmla="*/ 1406527 w 3473628"/>
              <a:gd name="connsiteY284" fmla="*/ 1760351 h 2831071"/>
              <a:gd name="connsiteX285" fmla="*/ 1422215 w 3473628"/>
              <a:gd name="connsiteY285" fmla="*/ 1829693 h 2831071"/>
              <a:gd name="connsiteX286" fmla="*/ 1452866 w 3473628"/>
              <a:gd name="connsiteY286" fmla="*/ 1880115 h 2831071"/>
              <a:gd name="connsiteX287" fmla="*/ 1472139 w 3473628"/>
              <a:gd name="connsiteY287" fmla="*/ 1939737 h 2831071"/>
              <a:gd name="connsiteX288" fmla="*/ 1476885 w 3473628"/>
              <a:gd name="connsiteY288" fmla="*/ 1996769 h 2831071"/>
              <a:gd name="connsiteX289" fmla="*/ 1459332 w 3473628"/>
              <a:gd name="connsiteY289" fmla="*/ 2060205 h 2831071"/>
              <a:gd name="connsiteX290" fmla="*/ 1462212 w 3473628"/>
              <a:gd name="connsiteY290" fmla="*/ 2092430 h 2831071"/>
              <a:gd name="connsiteX291" fmla="*/ 1501339 w 3473628"/>
              <a:gd name="connsiteY291" fmla="*/ 2073157 h 2831071"/>
              <a:gd name="connsiteX292" fmla="*/ 1597083 w 3473628"/>
              <a:gd name="connsiteY292" fmla="*/ 2002592 h 2831071"/>
              <a:gd name="connsiteX293" fmla="*/ 1667586 w 3473628"/>
              <a:gd name="connsiteY293" fmla="*/ 1957705 h 2831071"/>
              <a:gd name="connsiteX294" fmla="*/ 1726856 w 3473628"/>
              <a:gd name="connsiteY294" fmla="*/ 1927987 h 2831071"/>
              <a:gd name="connsiteX295" fmla="*/ 1753258 w 3473628"/>
              <a:gd name="connsiteY295" fmla="*/ 1933520 h 2831071"/>
              <a:gd name="connsiteX296" fmla="*/ 1781816 w 3473628"/>
              <a:gd name="connsiteY296" fmla="*/ 1986034 h 2831071"/>
              <a:gd name="connsiteX297" fmla="*/ 1823616 w 3473628"/>
              <a:gd name="connsiteY297" fmla="*/ 2024809 h 2831071"/>
              <a:gd name="connsiteX298" fmla="*/ 1853044 w 3473628"/>
              <a:gd name="connsiteY298" fmla="*/ 2039129 h 2831071"/>
              <a:gd name="connsiteX299" fmla="*/ 1845417 w 3473628"/>
              <a:gd name="connsiteY299" fmla="*/ 2056392 h 2831071"/>
              <a:gd name="connsiteX300" fmla="*/ 1802685 w 3473628"/>
              <a:gd name="connsiteY300" fmla="*/ 2090420 h 2831071"/>
              <a:gd name="connsiteX301" fmla="*/ 1764283 w 3473628"/>
              <a:gd name="connsiteY301" fmla="*/ 2152281 h 2831071"/>
              <a:gd name="connsiteX302" fmla="*/ 1702132 w 3473628"/>
              <a:gd name="connsiteY302" fmla="*/ 2291753 h 2831071"/>
              <a:gd name="connsiteX303" fmla="*/ 1672207 w 3473628"/>
              <a:gd name="connsiteY303" fmla="*/ 2356639 h 2831071"/>
              <a:gd name="connsiteX304" fmla="*/ 1654654 w 3473628"/>
              <a:gd name="connsiteY304" fmla="*/ 2363043 h 2831071"/>
              <a:gd name="connsiteX305" fmla="*/ 1613082 w 3473628"/>
              <a:gd name="connsiteY305" fmla="*/ 2345054 h 2831071"/>
              <a:gd name="connsiteX306" fmla="*/ 1559925 w 3473628"/>
              <a:gd name="connsiteY306" fmla="*/ 2330174 h 2831071"/>
              <a:gd name="connsiteX307" fmla="*/ 1518498 w 3473628"/>
              <a:gd name="connsiteY307" fmla="*/ 2333345 h 2831071"/>
              <a:gd name="connsiteX308" fmla="*/ 1485112 w 3473628"/>
              <a:gd name="connsiteY308" fmla="*/ 2345075 h 2831071"/>
              <a:gd name="connsiteX309" fmla="*/ 1462813 w 3473628"/>
              <a:gd name="connsiteY309" fmla="*/ 2341759 h 2831071"/>
              <a:gd name="connsiteX310" fmla="*/ 1462523 w 3473628"/>
              <a:gd name="connsiteY310" fmla="*/ 2316435 h 2831071"/>
              <a:gd name="connsiteX311" fmla="*/ 1514022 w 3473628"/>
              <a:gd name="connsiteY311" fmla="*/ 2230907 h 2831071"/>
              <a:gd name="connsiteX312" fmla="*/ 1633868 w 3473628"/>
              <a:gd name="connsiteY312" fmla="*/ 2086462 h 2831071"/>
              <a:gd name="connsiteX313" fmla="*/ 1761050 w 3473628"/>
              <a:gd name="connsiteY313" fmla="*/ 2009494 h 2831071"/>
              <a:gd name="connsiteX314" fmla="*/ 1835718 w 3473628"/>
              <a:gd name="connsiteY314" fmla="*/ 2007773 h 2831071"/>
              <a:gd name="connsiteX315" fmla="*/ 1915422 w 3473628"/>
              <a:gd name="connsiteY315" fmla="*/ 2040579 h 2831071"/>
              <a:gd name="connsiteX316" fmla="*/ 1956414 w 3473628"/>
              <a:gd name="connsiteY316" fmla="*/ 2094378 h 2831071"/>
              <a:gd name="connsiteX317" fmla="*/ 1981593 w 3473628"/>
              <a:gd name="connsiteY317" fmla="*/ 2161420 h 2831071"/>
              <a:gd name="connsiteX318" fmla="*/ 1998421 w 3473628"/>
              <a:gd name="connsiteY318" fmla="*/ 2191781 h 2831071"/>
              <a:gd name="connsiteX319" fmla="*/ 2004473 w 3473628"/>
              <a:gd name="connsiteY319" fmla="*/ 2185874 h 2831071"/>
              <a:gd name="connsiteX320" fmla="*/ 1997717 w 3473628"/>
              <a:gd name="connsiteY320" fmla="*/ 2138106 h 2831071"/>
              <a:gd name="connsiteX321" fmla="*/ 1965781 w 3473628"/>
              <a:gd name="connsiteY321" fmla="*/ 2073364 h 2831071"/>
              <a:gd name="connsiteX322" fmla="*/ 1892688 w 3473628"/>
              <a:gd name="connsiteY322" fmla="*/ 2059127 h 2831071"/>
              <a:gd name="connsiteX323" fmla="*/ 1816155 w 3473628"/>
              <a:gd name="connsiteY323" fmla="*/ 2115517 h 2831071"/>
              <a:gd name="connsiteX324" fmla="*/ 1767682 w 3473628"/>
              <a:gd name="connsiteY324" fmla="*/ 2216504 h 2831071"/>
              <a:gd name="connsiteX325" fmla="*/ 1756740 w 3473628"/>
              <a:gd name="connsiteY325" fmla="*/ 2315771 h 2831071"/>
              <a:gd name="connsiteX326" fmla="*/ 1733280 w 3473628"/>
              <a:gd name="connsiteY326" fmla="*/ 2398211 h 2831071"/>
              <a:gd name="connsiteX327" fmla="*/ 1632148 w 3473628"/>
              <a:gd name="connsiteY327" fmla="*/ 2384554 h 2831071"/>
              <a:gd name="connsiteX328" fmla="*/ 1539637 w 3473628"/>
              <a:gd name="connsiteY328" fmla="*/ 2352183 h 2831071"/>
              <a:gd name="connsiteX329" fmla="*/ 1522519 w 3473628"/>
              <a:gd name="connsiteY329" fmla="*/ 2359229 h 2831071"/>
              <a:gd name="connsiteX330" fmla="*/ 1543947 w 3473628"/>
              <a:gd name="connsiteY330" fmla="*/ 2385549 h 2831071"/>
              <a:gd name="connsiteX331" fmla="*/ 1564381 w 3473628"/>
              <a:gd name="connsiteY331" fmla="*/ 2430727 h 2831071"/>
              <a:gd name="connsiteX332" fmla="*/ 1559200 w 3473628"/>
              <a:gd name="connsiteY332" fmla="*/ 2486412 h 2831071"/>
              <a:gd name="connsiteX333" fmla="*/ 1529710 w 3473628"/>
              <a:gd name="connsiteY333" fmla="*/ 2562364 h 2831071"/>
              <a:gd name="connsiteX334" fmla="*/ 1544963 w 3473628"/>
              <a:gd name="connsiteY334" fmla="*/ 2634587 h 2831071"/>
              <a:gd name="connsiteX335" fmla="*/ 1609124 w 3473628"/>
              <a:gd name="connsiteY335" fmla="*/ 2669984 h 2831071"/>
              <a:gd name="connsiteX336" fmla="*/ 1709821 w 3473628"/>
              <a:gd name="connsiteY336" fmla="*/ 2685526 h 2831071"/>
              <a:gd name="connsiteX337" fmla="*/ 1825481 w 3473628"/>
              <a:gd name="connsiteY337" fmla="*/ 2710706 h 2831071"/>
              <a:gd name="connsiteX338" fmla="*/ 1849666 w 3473628"/>
              <a:gd name="connsiteY338" fmla="*/ 2737274 h 2831071"/>
              <a:gd name="connsiteX339" fmla="*/ 1827284 w 3473628"/>
              <a:gd name="connsiteY339" fmla="*/ 2775385 h 2831071"/>
              <a:gd name="connsiteX340" fmla="*/ 1859468 w 3473628"/>
              <a:gd name="connsiteY340" fmla="*/ 2784130 h 2831071"/>
              <a:gd name="connsiteX341" fmla="*/ 2089565 w 3473628"/>
              <a:gd name="connsiteY341" fmla="*/ 2784130 h 2831071"/>
              <a:gd name="connsiteX342" fmla="*/ 2566897 w 3473628"/>
              <a:gd name="connsiteY342" fmla="*/ 2782162 h 2831071"/>
              <a:gd name="connsiteX343" fmla="*/ 2687966 w 3473628"/>
              <a:gd name="connsiteY343" fmla="*/ 2759884 h 2831071"/>
              <a:gd name="connsiteX344" fmla="*/ 2680464 w 3473628"/>
              <a:gd name="connsiteY344" fmla="*/ 2692303 h 2831071"/>
              <a:gd name="connsiteX345" fmla="*/ 2633566 w 3473628"/>
              <a:gd name="connsiteY345" fmla="*/ 2631872 h 2831071"/>
              <a:gd name="connsiteX346" fmla="*/ 2492291 w 3473628"/>
              <a:gd name="connsiteY346" fmla="*/ 2565701 h 2831071"/>
              <a:gd name="connsiteX347" fmla="*/ 2424110 w 3473628"/>
              <a:gd name="connsiteY347" fmla="*/ 2476651 h 2831071"/>
              <a:gd name="connsiteX348" fmla="*/ 2465247 w 3473628"/>
              <a:gd name="connsiteY348" fmla="*/ 2186330 h 2831071"/>
              <a:gd name="connsiteX349" fmla="*/ 2494592 w 3473628"/>
              <a:gd name="connsiteY349" fmla="*/ 1978159 h 2831071"/>
              <a:gd name="connsiteX350" fmla="*/ 2532289 w 3473628"/>
              <a:gd name="connsiteY350" fmla="*/ 1883202 h 2831071"/>
              <a:gd name="connsiteX351" fmla="*/ 2600200 w 3473628"/>
              <a:gd name="connsiteY351" fmla="*/ 1837175 h 2831071"/>
              <a:gd name="connsiteX352" fmla="*/ 2643928 w 3473628"/>
              <a:gd name="connsiteY352" fmla="*/ 1758051 h 2831071"/>
              <a:gd name="connsiteX353" fmla="*/ 2671553 w 3473628"/>
              <a:gd name="connsiteY353" fmla="*/ 1632029 h 2831071"/>
              <a:gd name="connsiteX354" fmla="*/ 2694577 w 3473628"/>
              <a:gd name="connsiteY354" fmla="*/ 1561817 h 2831071"/>
              <a:gd name="connsiteX355" fmla="*/ 2707239 w 3473628"/>
              <a:gd name="connsiteY355" fmla="*/ 1548305 h 2831071"/>
              <a:gd name="connsiteX356" fmla="*/ 2696877 w 3473628"/>
              <a:gd name="connsiteY356" fmla="*/ 1616217 h 2831071"/>
              <a:gd name="connsiteX357" fmla="*/ 2656300 w 3473628"/>
              <a:gd name="connsiteY357" fmla="*/ 1792308 h 2831071"/>
              <a:gd name="connsiteX358" fmla="*/ 2576306 w 3473628"/>
              <a:gd name="connsiteY358" fmla="*/ 1905377 h 2831071"/>
              <a:gd name="connsiteX359" fmla="*/ 2484810 w 3473628"/>
              <a:gd name="connsiteY359" fmla="*/ 1918329 h 2831071"/>
              <a:gd name="connsiteX360" fmla="*/ 2405251 w 3473628"/>
              <a:gd name="connsiteY360" fmla="*/ 1822813 h 2831071"/>
              <a:gd name="connsiteX361" fmla="*/ 2384113 w 3473628"/>
              <a:gd name="connsiteY361" fmla="*/ 1673912 h 2831071"/>
              <a:gd name="connsiteX362" fmla="*/ 2378642 w 3473628"/>
              <a:gd name="connsiteY362" fmla="*/ 1541984 h 2831071"/>
              <a:gd name="connsiteX363" fmla="*/ 2373751 w 3473628"/>
              <a:gd name="connsiteY363" fmla="*/ 1415527 h 2831071"/>
              <a:gd name="connsiteX364" fmla="*/ 2347141 w 3473628"/>
              <a:gd name="connsiteY364" fmla="*/ 1246918 h 2831071"/>
              <a:gd name="connsiteX365" fmla="*/ 2334769 w 3473628"/>
              <a:gd name="connsiteY365" fmla="*/ 1142615 h 2831071"/>
              <a:gd name="connsiteX366" fmla="*/ 2329153 w 3473628"/>
              <a:gd name="connsiteY366" fmla="*/ 1065211 h 2831071"/>
              <a:gd name="connsiteX367" fmla="*/ 2304554 w 3473628"/>
              <a:gd name="connsiteY367" fmla="*/ 939335 h 2831071"/>
              <a:gd name="connsiteX368" fmla="*/ 2256641 w 3473628"/>
              <a:gd name="connsiteY368" fmla="*/ 796630 h 2831071"/>
              <a:gd name="connsiteX369" fmla="*/ 2230736 w 3473628"/>
              <a:gd name="connsiteY369" fmla="*/ 692327 h 2831071"/>
              <a:gd name="connsiteX370" fmla="*/ 2239502 w 3473628"/>
              <a:gd name="connsiteY370" fmla="*/ 643564 h 2831071"/>
              <a:gd name="connsiteX371" fmla="*/ 2294026 w 3473628"/>
              <a:gd name="connsiteY371" fmla="*/ 635647 h 2831071"/>
              <a:gd name="connsiteX372" fmla="*/ 2342789 w 3473628"/>
              <a:gd name="connsiteY372" fmla="*/ 621700 h 2831071"/>
              <a:gd name="connsiteX373" fmla="*/ 2378621 w 3473628"/>
              <a:gd name="connsiteY373" fmla="*/ 587174 h 2831071"/>
              <a:gd name="connsiteX374" fmla="*/ 2391283 w 3473628"/>
              <a:gd name="connsiteY374" fmla="*/ 534080 h 2831071"/>
              <a:gd name="connsiteX375" fmla="*/ 2374601 w 3473628"/>
              <a:gd name="connsiteY375" fmla="*/ 480426 h 2831071"/>
              <a:gd name="connsiteX376" fmla="*/ 2310004 w 3473628"/>
              <a:gd name="connsiteY376" fmla="*/ 360020 h 2831071"/>
              <a:gd name="connsiteX377" fmla="*/ 2266567 w 3473628"/>
              <a:gd name="connsiteY377" fmla="*/ 280171 h 2831071"/>
              <a:gd name="connsiteX378" fmla="*/ 2203691 w 3473628"/>
              <a:gd name="connsiteY378" fmla="*/ 213564 h 2831071"/>
              <a:gd name="connsiteX379" fmla="*/ 2153622 w 3473628"/>
              <a:gd name="connsiteY379" fmla="*/ 194291 h 2831071"/>
              <a:gd name="connsiteX380" fmla="*/ 2109315 w 3473628"/>
              <a:gd name="connsiteY380" fmla="*/ 218310 h 2831071"/>
              <a:gd name="connsiteX381" fmla="*/ 2085731 w 3473628"/>
              <a:gd name="connsiteY381" fmla="*/ 264214 h 2831071"/>
              <a:gd name="connsiteX382" fmla="*/ 2085006 w 3473628"/>
              <a:gd name="connsiteY382" fmla="*/ 308666 h 2831071"/>
              <a:gd name="connsiteX383" fmla="*/ 2107595 w 3473628"/>
              <a:gd name="connsiteY383" fmla="*/ 327794 h 2831071"/>
              <a:gd name="connsiteX384" fmla="*/ 2138245 w 3473628"/>
              <a:gd name="connsiteY384" fmla="*/ 329660 h 2831071"/>
              <a:gd name="connsiteX385" fmla="*/ 2151343 w 3473628"/>
              <a:gd name="connsiteY385" fmla="*/ 299299 h 2831071"/>
              <a:gd name="connsiteX386" fmla="*/ 2155508 w 3473628"/>
              <a:gd name="connsiteY386" fmla="*/ 263053 h 2831071"/>
              <a:gd name="connsiteX387" fmla="*/ 2173641 w 3473628"/>
              <a:gd name="connsiteY387" fmla="*/ 251261 h 2831071"/>
              <a:gd name="connsiteX388" fmla="*/ 2215068 w 3473628"/>
              <a:gd name="connsiteY388" fmla="*/ 262058 h 2831071"/>
              <a:gd name="connsiteX389" fmla="*/ 2248019 w 3473628"/>
              <a:gd name="connsiteY389" fmla="*/ 269975 h 2831071"/>
              <a:gd name="connsiteX390" fmla="*/ 2262257 w 3473628"/>
              <a:gd name="connsiteY390" fmla="*/ 259903 h 2831071"/>
              <a:gd name="connsiteX391" fmla="*/ 2259749 w 3473628"/>
              <a:gd name="connsiteY391" fmla="*/ 230993 h 2831071"/>
              <a:gd name="connsiteX392" fmla="*/ 2231337 w 3473628"/>
              <a:gd name="connsiteY392" fmla="*/ 190851 h 2831071"/>
              <a:gd name="connsiteX393" fmla="*/ 2181351 w 3473628"/>
              <a:gd name="connsiteY393" fmla="*/ 163309 h 2831071"/>
              <a:gd name="connsiteX394" fmla="*/ 2141354 w 3473628"/>
              <a:gd name="connsiteY394" fmla="*/ 157548 h 2831071"/>
              <a:gd name="connsiteX395" fmla="*/ 2113377 w 3473628"/>
              <a:gd name="connsiteY395" fmla="*/ 169485 h 2831071"/>
              <a:gd name="connsiteX396" fmla="*/ 2082726 w 3473628"/>
              <a:gd name="connsiteY396" fmla="*/ 176469 h 2831071"/>
              <a:gd name="connsiteX397" fmla="*/ 2031870 w 3473628"/>
              <a:gd name="connsiteY397" fmla="*/ 162086 h 2831071"/>
              <a:gd name="connsiteX398" fmla="*/ 1991955 w 3473628"/>
              <a:gd name="connsiteY398" fmla="*/ 137280 h 2831071"/>
              <a:gd name="connsiteX399" fmla="*/ 1950528 w 3473628"/>
              <a:gd name="connsiteY399" fmla="*/ 77222 h 2831071"/>
              <a:gd name="connsiteX400" fmla="*/ 1938737 w 3473628"/>
              <a:gd name="connsiteY400" fmla="*/ 27008 h 2831071"/>
              <a:gd name="connsiteX401" fmla="*/ 1947669 w 3473628"/>
              <a:gd name="connsiteY401" fmla="*/ 1725 h 2831071"/>
              <a:gd name="connsiteX402" fmla="*/ 1970755 w 3473628"/>
              <a:gd name="connsiteY402" fmla="*/ 8461 h 2831071"/>
              <a:gd name="connsiteX403" fmla="*/ 2009260 w 3473628"/>
              <a:gd name="connsiteY403" fmla="*/ 49494 h 2831071"/>
              <a:gd name="connsiteX404" fmla="*/ 2058292 w 3473628"/>
              <a:gd name="connsiteY404" fmla="*/ 104412 h 2831071"/>
              <a:gd name="connsiteX405" fmla="*/ 2093544 w 3473628"/>
              <a:gd name="connsiteY405" fmla="*/ 149010 h 2831071"/>
              <a:gd name="connsiteX406" fmla="*/ 2084487 w 3473628"/>
              <a:gd name="connsiteY406" fmla="*/ 165837 h 2831071"/>
              <a:gd name="connsiteX407" fmla="*/ 2039599 w 3473628"/>
              <a:gd name="connsiteY407" fmla="*/ 172593 h 2831071"/>
              <a:gd name="connsiteX408" fmla="*/ 2028657 w 3473628"/>
              <a:gd name="connsiteY408" fmla="*/ 186976 h 2831071"/>
              <a:gd name="connsiteX409" fmla="*/ 2037424 w 3473628"/>
              <a:gd name="connsiteY409" fmla="*/ 210435 h 2831071"/>
              <a:gd name="connsiteX410" fmla="*/ 2052531 w 3473628"/>
              <a:gd name="connsiteY410" fmla="*/ 240360 h 2831071"/>
              <a:gd name="connsiteX411" fmla="*/ 2063183 w 3473628"/>
              <a:gd name="connsiteY411" fmla="*/ 276606 h 2831071"/>
              <a:gd name="connsiteX412" fmla="*/ 2061173 w 3473628"/>
              <a:gd name="connsiteY412" fmla="*/ 308832 h 2831071"/>
              <a:gd name="connsiteX413" fmla="*/ 2047226 w 3473628"/>
              <a:gd name="connsiteY413" fmla="*/ 318324 h 2831071"/>
              <a:gd name="connsiteX414" fmla="*/ 2037009 w 3473628"/>
              <a:gd name="connsiteY414" fmla="*/ 303216 h 2831071"/>
              <a:gd name="connsiteX415" fmla="*/ 2039890 w 3473628"/>
              <a:gd name="connsiteY415" fmla="*/ 281932 h 2831071"/>
              <a:gd name="connsiteX416" fmla="*/ 2037589 w 3473628"/>
              <a:gd name="connsiteY416" fmla="*/ 253168 h 2831071"/>
              <a:gd name="connsiteX417" fmla="*/ 2017301 w 3473628"/>
              <a:gd name="connsiteY417" fmla="*/ 238640 h 2831071"/>
              <a:gd name="connsiteX418" fmla="*/ 1980039 w 3473628"/>
              <a:gd name="connsiteY418" fmla="*/ 250142 h 2831071"/>
              <a:gd name="connsiteX419" fmla="*/ 1965367 w 3473628"/>
              <a:gd name="connsiteY419" fmla="*/ 281207 h 2831071"/>
              <a:gd name="connsiteX420" fmla="*/ 1979604 w 3473628"/>
              <a:gd name="connsiteY420" fmla="*/ 326820 h 2831071"/>
              <a:gd name="connsiteX421" fmla="*/ 2042625 w 3473628"/>
              <a:gd name="connsiteY421" fmla="*/ 396598 h 2831071"/>
              <a:gd name="connsiteX422" fmla="*/ 2145208 w 3473628"/>
              <a:gd name="connsiteY422" fmla="*/ 455288 h 2831071"/>
              <a:gd name="connsiteX423" fmla="*/ 2223752 w 3473628"/>
              <a:gd name="connsiteY423" fmla="*/ 542183 h 2831071"/>
              <a:gd name="connsiteX424" fmla="*/ 2264889 w 3473628"/>
              <a:gd name="connsiteY424" fmla="*/ 604624 h 2831071"/>
              <a:gd name="connsiteX425" fmla="*/ 2331640 w 3473628"/>
              <a:gd name="connsiteY425" fmla="*/ 595132 h 2831071"/>
              <a:gd name="connsiteX426" fmla="*/ 2408753 w 3473628"/>
              <a:gd name="connsiteY426" fmla="*/ 561746 h 2831071"/>
              <a:gd name="connsiteX427" fmla="*/ 2486157 w 3473628"/>
              <a:gd name="connsiteY427" fmla="*/ 631088 h 2831071"/>
              <a:gd name="connsiteX428" fmla="*/ 2597797 w 3473628"/>
              <a:gd name="connsiteY428" fmla="*/ 831052 h 2831071"/>
              <a:gd name="connsiteX429" fmla="*/ 2689292 w 3473628"/>
              <a:gd name="connsiteY429" fmla="*/ 1008013 h 2831071"/>
              <a:gd name="connsiteX430" fmla="*/ 2728999 w 3473628"/>
              <a:gd name="connsiteY430" fmla="*/ 1141081 h 2831071"/>
              <a:gd name="connsiteX431" fmla="*/ 2722098 w 3473628"/>
              <a:gd name="connsiteY431" fmla="*/ 1265963 h 2831071"/>
              <a:gd name="connsiteX432" fmla="*/ 2726409 w 3473628"/>
              <a:gd name="connsiteY432" fmla="*/ 1370556 h 2831071"/>
              <a:gd name="connsiteX433" fmla="*/ 2748998 w 3473628"/>
              <a:gd name="connsiteY433" fmla="*/ 1502194 h 2831071"/>
              <a:gd name="connsiteX434" fmla="*/ 2793596 w 3473628"/>
              <a:gd name="connsiteY434" fmla="*/ 1683756 h 2831071"/>
              <a:gd name="connsiteX435" fmla="*/ 2841924 w 3473628"/>
              <a:gd name="connsiteY435" fmla="*/ 1899699 h 2831071"/>
              <a:gd name="connsiteX436" fmla="*/ 2835872 w 3473628"/>
              <a:gd name="connsiteY436" fmla="*/ 2160094 h 2831071"/>
              <a:gd name="connsiteX437" fmla="*/ 2789119 w 3473628"/>
              <a:gd name="connsiteY437" fmla="*/ 2458476 h 2831071"/>
              <a:gd name="connsiteX438" fmla="*/ 2737620 w 3473628"/>
              <a:gd name="connsiteY438" fmla="*/ 2693547 h 2831071"/>
              <a:gd name="connsiteX439" fmla="*/ 2657626 w 3473628"/>
              <a:gd name="connsiteY439" fmla="*/ 2723762 h 2831071"/>
              <a:gd name="connsiteX440" fmla="*/ 2479816 w 3473628"/>
              <a:gd name="connsiteY440" fmla="*/ 2656720 h 2831071"/>
              <a:gd name="connsiteX441" fmla="*/ 2254237 w 3473628"/>
              <a:gd name="connsiteY441" fmla="*/ 2611832 h 2831071"/>
              <a:gd name="connsiteX442" fmla="*/ 2082166 w 3473628"/>
              <a:gd name="connsiteY442" fmla="*/ 2636287 h 2831071"/>
              <a:gd name="connsiteX443" fmla="*/ 1994401 w 3473628"/>
              <a:gd name="connsiteY443" fmla="*/ 2663621 h 2831071"/>
              <a:gd name="connsiteX444" fmla="*/ 1965346 w 3473628"/>
              <a:gd name="connsiteY444" fmla="*/ 2610382 h 2831071"/>
              <a:gd name="connsiteX445" fmla="*/ 1972537 w 3473628"/>
              <a:gd name="connsiteY445" fmla="*/ 2529538 h 2831071"/>
              <a:gd name="connsiteX446" fmla="*/ 2001302 w 3473628"/>
              <a:gd name="connsiteY446" fmla="*/ 2410127 h 2831071"/>
              <a:gd name="connsiteX447" fmla="*/ 2065173 w 3473628"/>
              <a:gd name="connsiteY447" fmla="*/ 2234762 h 2831071"/>
              <a:gd name="connsiteX448" fmla="*/ 2185164 w 3473628"/>
              <a:gd name="connsiteY448" fmla="*/ 1982428 h 2831071"/>
              <a:gd name="connsiteX449" fmla="*/ 2272639 w 3473628"/>
              <a:gd name="connsiteY449" fmla="*/ 1790940 h 2831071"/>
              <a:gd name="connsiteX450" fmla="*/ 2341691 w 3473628"/>
              <a:gd name="connsiteY450" fmla="*/ 1698284 h 2831071"/>
              <a:gd name="connsiteX451" fmla="*/ 2369026 w 3473628"/>
              <a:gd name="connsiteY451" fmla="*/ 1632962 h 2831071"/>
              <a:gd name="connsiteX452" fmla="*/ 2351473 w 3473628"/>
              <a:gd name="connsiteY452" fmla="*/ 1607927 h 2831071"/>
              <a:gd name="connsiteX453" fmla="*/ 2270774 w 3473628"/>
              <a:gd name="connsiteY453" fmla="*/ 1653541 h 2831071"/>
              <a:gd name="connsiteX454" fmla="*/ 2210343 w 3473628"/>
              <a:gd name="connsiteY454" fmla="*/ 1626206 h 2831071"/>
              <a:gd name="connsiteX455" fmla="*/ 2164585 w 3473628"/>
              <a:gd name="connsiteY455" fmla="*/ 1571972 h 2831071"/>
              <a:gd name="connsiteX456" fmla="*/ 2149623 w 3473628"/>
              <a:gd name="connsiteY456" fmla="*/ 1525364 h 2831071"/>
              <a:gd name="connsiteX457" fmla="*/ 2171776 w 3473628"/>
              <a:gd name="connsiteY457" fmla="*/ 1480476 h 2831071"/>
              <a:gd name="connsiteX458" fmla="*/ 2219690 w 3473628"/>
              <a:gd name="connsiteY458" fmla="*/ 1471710 h 2831071"/>
              <a:gd name="connsiteX459" fmla="*/ 2304575 w 3473628"/>
              <a:gd name="connsiteY459" fmla="*/ 1491128 h 2831071"/>
              <a:gd name="connsiteX460" fmla="*/ 2357939 w 3473628"/>
              <a:gd name="connsiteY460" fmla="*/ 1495148 h 2831071"/>
              <a:gd name="connsiteX461" fmla="*/ 2365130 w 3473628"/>
              <a:gd name="connsiteY461" fmla="*/ 1468539 h 2831071"/>
              <a:gd name="connsiteX462" fmla="*/ 2343411 w 3473628"/>
              <a:gd name="connsiteY462" fmla="*/ 1383509 h 2831071"/>
              <a:gd name="connsiteX463" fmla="*/ 2328594 w 3473628"/>
              <a:gd name="connsiteY463" fmla="*/ 1282957 h 2831071"/>
              <a:gd name="connsiteX464" fmla="*/ 2324428 w 3473628"/>
              <a:gd name="connsiteY464" fmla="*/ 1207999 h 2831071"/>
              <a:gd name="connsiteX465" fmla="*/ 2305735 w 3473628"/>
              <a:gd name="connsiteY465" fmla="*/ 1175628 h 2831071"/>
              <a:gd name="connsiteX466" fmla="*/ 2240559 w 3473628"/>
              <a:gd name="connsiteY466" fmla="*/ 1175918 h 2831071"/>
              <a:gd name="connsiteX467" fmla="*/ 2155964 w 3473628"/>
              <a:gd name="connsiteY467" fmla="*/ 1209574 h 2831071"/>
              <a:gd name="connsiteX468" fmla="*/ 2105750 w 3473628"/>
              <a:gd name="connsiteY468" fmla="*/ 1260223 h 2831071"/>
              <a:gd name="connsiteX469" fmla="*/ 2085171 w 3473628"/>
              <a:gd name="connsiteY469" fmla="*/ 1297774 h 2831071"/>
              <a:gd name="connsiteX470" fmla="*/ 2074664 w 3473628"/>
              <a:gd name="connsiteY470" fmla="*/ 1286977 h 2831071"/>
              <a:gd name="connsiteX471" fmla="*/ 2069918 w 3473628"/>
              <a:gd name="connsiteY471" fmla="*/ 1234028 h 2831071"/>
              <a:gd name="connsiteX472" fmla="*/ 2108050 w 3473628"/>
              <a:gd name="connsiteY472" fmla="*/ 1171587 h 2831071"/>
              <a:gd name="connsiteX473" fmla="*/ 2189910 w 3473628"/>
              <a:gd name="connsiteY473" fmla="*/ 1136045 h 2831071"/>
              <a:gd name="connsiteX474" fmla="*/ 2269759 w 3473628"/>
              <a:gd name="connsiteY474" fmla="*/ 1132294 h 2831071"/>
              <a:gd name="connsiteX475" fmla="*/ 2308450 w 3473628"/>
              <a:gd name="connsiteY475" fmla="*/ 1125683 h 2831071"/>
              <a:gd name="connsiteX476" fmla="*/ 2307290 w 3473628"/>
              <a:gd name="connsiteY476" fmla="*/ 1074765 h 2831071"/>
              <a:gd name="connsiteX477" fmla="*/ 2297653 w 3473628"/>
              <a:gd name="connsiteY477" fmla="*/ 1036778 h 2831071"/>
              <a:gd name="connsiteX478" fmla="*/ 2262982 w 3473628"/>
              <a:gd name="connsiteY478" fmla="*/ 1022831 h 2831071"/>
              <a:gd name="connsiteX479" fmla="*/ 2194655 w 3473628"/>
              <a:gd name="connsiteY479" fmla="*/ 1035493 h 2831071"/>
              <a:gd name="connsiteX480" fmla="*/ 2144296 w 3473628"/>
              <a:gd name="connsiteY480" fmla="*/ 1081811 h 2831071"/>
              <a:gd name="connsiteX481" fmla="*/ 2106310 w 3473628"/>
              <a:gd name="connsiteY481" fmla="*/ 1120088 h 2831071"/>
              <a:gd name="connsiteX482" fmla="*/ 2043434 w 3473628"/>
              <a:gd name="connsiteY482" fmla="*/ 1152894 h 2831071"/>
              <a:gd name="connsiteX483" fmla="*/ 1998401 w 3473628"/>
              <a:gd name="connsiteY483" fmla="*/ 1194756 h 2831071"/>
              <a:gd name="connsiteX484" fmla="*/ 1991645 w 3473628"/>
              <a:gd name="connsiteY484" fmla="*/ 1239354 h 2831071"/>
              <a:gd name="connsiteX485" fmla="*/ 2014669 w 3473628"/>
              <a:gd name="connsiteY485" fmla="*/ 1279351 h 2831071"/>
              <a:gd name="connsiteX486" fmla="*/ 2051350 w 3473628"/>
              <a:gd name="connsiteY486" fmla="*/ 1309566 h 2831071"/>
              <a:gd name="connsiteX487" fmla="*/ 2064157 w 3473628"/>
              <a:gd name="connsiteY487" fmla="*/ 1331865 h 2831071"/>
              <a:gd name="connsiteX488" fmla="*/ 2053505 w 3473628"/>
              <a:gd name="connsiteY488" fmla="*/ 1376173 h 2831071"/>
              <a:gd name="connsiteX489" fmla="*/ 2057671 w 3473628"/>
              <a:gd name="connsiteY489" fmla="*/ 1437598 h 2831071"/>
              <a:gd name="connsiteX490" fmla="*/ 2084715 w 3473628"/>
              <a:gd name="connsiteY490" fmla="*/ 1526939 h 2831071"/>
              <a:gd name="connsiteX491" fmla="*/ 2142556 w 3473628"/>
              <a:gd name="connsiteY491" fmla="*/ 1590374 h 2831071"/>
              <a:gd name="connsiteX492" fmla="*/ 2188583 w 3473628"/>
              <a:gd name="connsiteY492" fmla="*/ 1652525 h 2831071"/>
              <a:gd name="connsiteX493" fmla="*/ 2211753 w 3473628"/>
              <a:gd name="connsiteY493" fmla="*/ 1709350 h 2831071"/>
              <a:gd name="connsiteX494" fmla="*/ 2213038 w 3473628"/>
              <a:gd name="connsiteY494" fmla="*/ 1751502 h 2831071"/>
              <a:gd name="connsiteX495" fmla="*/ 2193619 w 3473628"/>
              <a:gd name="connsiteY495" fmla="*/ 1786463 h 2831071"/>
              <a:gd name="connsiteX496" fmla="*/ 2145416 w 3473628"/>
              <a:gd name="connsiteY496" fmla="*/ 1826170 h 2831071"/>
              <a:gd name="connsiteX497" fmla="*/ 2094062 w 3473628"/>
              <a:gd name="connsiteY497" fmla="*/ 1865877 h 2831071"/>
              <a:gd name="connsiteX498" fmla="*/ 2067452 w 3473628"/>
              <a:gd name="connsiteY498" fmla="*/ 1897668 h 2831071"/>
              <a:gd name="connsiteX499" fmla="*/ 2076654 w 3473628"/>
              <a:gd name="connsiteY499" fmla="*/ 1913791 h 2831071"/>
              <a:gd name="connsiteX500" fmla="*/ 2097668 w 3473628"/>
              <a:gd name="connsiteY500" fmla="*/ 1937955 h 2831071"/>
              <a:gd name="connsiteX501" fmla="*/ 2095077 w 3473628"/>
              <a:gd name="connsiteY501" fmla="*/ 2004416 h 2831071"/>
              <a:gd name="connsiteX502" fmla="*/ 2059391 w 3473628"/>
              <a:gd name="connsiteY502" fmla="*/ 2109155 h 2831071"/>
              <a:gd name="connsiteX503" fmla="*/ 1969325 w 3473628"/>
              <a:gd name="connsiteY503" fmla="*/ 2331853 h 2831071"/>
              <a:gd name="connsiteX504" fmla="*/ 1904584 w 3473628"/>
              <a:gd name="connsiteY504" fmla="*/ 2574405 h 2831071"/>
              <a:gd name="connsiteX505" fmla="*/ 1892502 w 3473628"/>
              <a:gd name="connsiteY505" fmla="*/ 2764443 h 2831071"/>
              <a:gd name="connsiteX506" fmla="*/ 2038812 w 3473628"/>
              <a:gd name="connsiteY506" fmla="*/ 2824874 h 2831071"/>
              <a:gd name="connsiteX507" fmla="*/ 2686909 w 3473628"/>
              <a:gd name="connsiteY507" fmla="*/ 2831070 h 2831071"/>
              <a:gd name="connsiteX508" fmla="*/ 3473628 w 3473628"/>
              <a:gd name="connsiteY508" fmla="*/ 2831070 h 2831071"/>
              <a:gd name="connsiteX0" fmla="*/ 1213734 w 3473628"/>
              <a:gd name="connsiteY0" fmla="*/ 2320662 h 2831069"/>
              <a:gd name="connsiteX1" fmla="*/ 1209568 w 3473628"/>
              <a:gd name="connsiteY1" fmla="*/ 2270448 h 2831069"/>
              <a:gd name="connsiteX2" fmla="*/ 1120808 w 3473628"/>
              <a:gd name="connsiteY2" fmla="*/ 2115662 h 2831069"/>
              <a:gd name="connsiteX3" fmla="*/ 1030182 w 3473628"/>
              <a:gd name="connsiteY3" fmla="*/ 1957124 h 2831069"/>
              <a:gd name="connsiteX4" fmla="*/ 963576 w 3473628"/>
              <a:gd name="connsiteY4" fmla="*/ 1924173 h 2831069"/>
              <a:gd name="connsiteX5" fmla="*/ 805764 w 3473628"/>
              <a:gd name="connsiteY5" fmla="*/ 1954244 h 2831069"/>
              <a:gd name="connsiteX6" fmla="*/ 604929 w 3473628"/>
              <a:gd name="connsiteY6" fmla="*/ 1989060 h 2831069"/>
              <a:gd name="connsiteX7" fmla="*/ 477332 w 3473628"/>
              <a:gd name="connsiteY7" fmla="*/ 1993661 h 2831069"/>
              <a:gd name="connsiteX8" fmla="*/ 361672 w 3473628"/>
              <a:gd name="connsiteY8" fmla="*/ 2000852 h 2831069"/>
              <a:gd name="connsiteX9" fmla="*/ 98687 w 3473628"/>
              <a:gd name="connsiteY9" fmla="*/ 2062567 h 2831069"/>
              <a:gd name="connsiteX10" fmla="*/ 3316 w 3473628"/>
              <a:gd name="connsiteY10" fmla="*/ 2090047 h 2831069"/>
              <a:gd name="connsiteX11" fmla="*/ 45468 w 3473628"/>
              <a:gd name="connsiteY11" fmla="*/ 2164135 h 2831069"/>
              <a:gd name="connsiteX12" fmla="*/ 243277 w 3473628"/>
              <a:gd name="connsiteY12" fmla="*/ 2417629 h 2831069"/>
              <a:gd name="connsiteX13" fmla="*/ 343270 w 3473628"/>
              <a:gd name="connsiteY13" fmla="*/ 2553723 h 2831069"/>
              <a:gd name="connsiteX14" fmla="*/ 396634 w 3473628"/>
              <a:gd name="connsiteY14" fmla="*/ 2608392 h 2831069"/>
              <a:gd name="connsiteX15" fmla="*/ 442102 w 3473628"/>
              <a:gd name="connsiteY15" fmla="*/ 2644348 h 2831069"/>
              <a:gd name="connsiteX16" fmla="*/ 450018 w 3473628"/>
              <a:gd name="connsiteY16" fmla="*/ 2670108 h 2831069"/>
              <a:gd name="connsiteX17" fmla="*/ 431180 w 3473628"/>
              <a:gd name="connsiteY17" fmla="*/ 2687516 h 2831069"/>
              <a:gd name="connsiteX18" fmla="*/ 385007 w 3473628"/>
              <a:gd name="connsiteY18" fmla="*/ 2665507 h 2831069"/>
              <a:gd name="connsiteX19" fmla="*/ 320266 w 3473628"/>
              <a:gd name="connsiteY19" fmla="*/ 2569991 h 2831069"/>
              <a:gd name="connsiteX20" fmla="*/ 307459 w 3473628"/>
              <a:gd name="connsiteY20" fmla="*/ 2513166 h 2831069"/>
              <a:gd name="connsiteX21" fmla="*/ 319396 w 3473628"/>
              <a:gd name="connsiteY21" fmla="*/ 2499923 h 2831069"/>
              <a:gd name="connsiteX22" fmla="*/ 348015 w 3473628"/>
              <a:gd name="connsiteY22" fmla="*/ 2524378 h 2831069"/>
              <a:gd name="connsiteX23" fmla="*/ 378086 w 3473628"/>
              <a:gd name="connsiteY23" fmla="*/ 2562364 h 2831069"/>
              <a:gd name="connsiteX24" fmla="*/ 409731 w 3473628"/>
              <a:gd name="connsiteY24" fmla="*/ 2581348 h 2831069"/>
              <a:gd name="connsiteX25" fmla="*/ 431740 w 3473628"/>
              <a:gd name="connsiteY25" fmla="*/ 2604372 h 2831069"/>
              <a:gd name="connsiteX26" fmla="*/ 455323 w 3473628"/>
              <a:gd name="connsiteY26" fmla="*/ 2623645 h 2831069"/>
              <a:gd name="connsiteX27" fmla="*/ 472006 w 3473628"/>
              <a:gd name="connsiteY27" fmla="*/ 2654005 h 2831069"/>
              <a:gd name="connsiteX28" fmla="*/ 483798 w 3473628"/>
              <a:gd name="connsiteY28" fmla="*/ 2705649 h 2831069"/>
              <a:gd name="connsiteX29" fmla="*/ 515029 w 3473628"/>
              <a:gd name="connsiteY29" fmla="*/ 2761707 h 2831069"/>
              <a:gd name="connsiteX30" fmla="*/ 593924 w 3473628"/>
              <a:gd name="connsiteY30" fmla="*/ 2781975 h 2831069"/>
              <a:gd name="connsiteX31" fmla="*/ 917921 w 3473628"/>
              <a:gd name="connsiteY31" fmla="*/ 2784234 h 2831069"/>
              <a:gd name="connsiteX32" fmla="*/ 1481859 w 3473628"/>
              <a:gd name="connsiteY32" fmla="*/ 2784234 h 2831069"/>
              <a:gd name="connsiteX33" fmla="*/ 1611175 w 3473628"/>
              <a:gd name="connsiteY33" fmla="*/ 2760402 h 2831069"/>
              <a:gd name="connsiteX34" fmla="*/ 1530415 w 3473628"/>
              <a:gd name="connsiteY34" fmla="*/ 2653819 h 2831069"/>
              <a:gd name="connsiteX35" fmla="*/ 1485506 w 3473628"/>
              <a:gd name="connsiteY35" fmla="*/ 2582508 h 2831069"/>
              <a:gd name="connsiteX36" fmla="*/ 1444639 w 3473628"/>
              <a:gd name="connsiteY36" fmla="*/ 2563380 h 2831069"/>
              <a:gd name="connsiteX37" fmla="*/ 1360914 w 3473628"/>
              <a:gd name="connsiteY37" fmla="*/ 2569701 h 2831069"/>
              <a:gd name="connsiteX38" fmla="*/ 1305374 w 3473628"/>
              <a:gd name="connsiteY38" fmla="*/ 2561204 h 2831069"/>
              <a:gd name="connsiteX39" fmla="*/ 1259906 w 3473628"/>
              <a:gd name="connsiteY39" fmla="*/ 2517187 h 2831069"/>
              <a:gd name="connsiteX40" fmla="*/ 1228551 w 3473628"/>
              <a:gd name="connsiteY40" fmla="*/ 2442519 h 2831069"/>
              <a:gd name="connsiteX41" fmla="*/ 1227121 w 3473628"/>
              <a:gd name="connsiteY41" fmla="*/ 2364680 h 2831069"/>
              <a:gd name="connsiteX42" fmla="*/ 1271139 w 3473628"/>
              <a:gd name="connsiteY42" fmla="*/ 2317491 h 2831069"/>
              <a:gd name="connsiteX43" fmla="*/ 1254021 w 3473628"/>
              <a:gd name="connsiteY43" fmla="*/ 2254201 h 2831069"/>
              <a:gd name="connsiteX44" fmla="*/ 1118217 w 3473628"/>
              <a:gd name="connsiteY44" fmla="*/ 2041429 h 2831069"/>
              <a:gd name="connsiteX45" fmla="*/ 1021105 w 3473628"/>
              <a:gd name="connsiteY45" fmla="*/ 1888363 h 2831069"/>
              <a:gd name="connsiteX46" fmla="*/ 969171 w 3473628"/>
              <a:gd name="connsiteY46" fmla="*/ 1865338 h 2831069"/>
              <a:gd name="connsiteX47" fmla="*/ 890048 w 3473628"/>
              <a:gd name="connsiteY47" fmla="*/ 1886477 h 2831069"/>
              <a:gd name="connsiteX48" fmla="*/ 773808 w 3473628"/>
              <a:gd name="connsiteY48" fmla="*/ 1916837 h 2831069"/>
              <a:gd name="connsiteX49" fmla="*/ 552974 w 3473628"/>
              <a:gd name="connsiteY49" fmla="*/ 1960565 h 2831069"/>
              <a:gd name="connsiteX50" fmla="*/ 460463 w 3473628"/>
              <a:gd name="connsiteY50" fmla="*/ 1968771 h 2831069"/>
              <a:gd name="connsiteX51" fmla="*/ 390251 w 3473628"/>
              <a:gd name="connsiteY51" fmla="*/ 1936110 h 2831069"/>
              <a:gd name="connsiteX52" fmla="*/ 237329 w 3473628"/>
              <a:gd name="connsiteY52" fmla="*/ 1817280 h 2831069"/>
              <a:gd name="connsiteX53" fmla="*/ 148859 w 3473628"/>
              <a:gd name="connsiteY53" fmla="*/ 1724478 h 2831069"/>
              <a:gd name="connsiteX54" fmla="*/ 135326 w 3473628"/>
              <a:gd name="connsiteY54" fmla="*/ 1660753 h 2831069"/>
              <a:gd name="connsiteX55" fmla="*/ 160361 w 3473628"/>
              <a:gd name="connsiteY55" fmla="*/ 1619326 h 2831069"/>
              <a:gd name="connsiteX56" fmla="*/ 206534 w 3473628"/>
              <a:gd name="connsiteY56" fmla="*/ 1610829 h 2831069"/>
              <a:gd name="connsiteX57" fmla="*/ 299894 w 3473628"/>
              <a:gd name="connsiteY57" fmla="*/ 1646370 h 2831069"/>
              <a:gd name="connsiteX58" fmla="*/ 372552 w 3473628"/>
              <a:gd name="connsiteY58" fmla="*/ 1668959 h 2831069"/>
              <a:gd name="connsiteX59" fmla="*/ 375723 w 3473628"/>
              <a:gd name="connsiteY59" fmla="*/ 1692688 h 2831069"/>
              <a:gd name="connsiteX60" fmla="*/ 313282 w 3473628"/>
              <a:gd name="connsiteY60" fmla="*/ 1712832 h 2831069"/>
              <a:gd name="connsiteX61" fmla="*/ 211134 w 3473628"/>
              <a:gd name="connsiteY61" fmla="*/ 1685787 h 2831069"/>
              <a:gd name="connsiteX62" fmla="*/ 161356 w 3473628"/>
              <a:gd name="connsiteY62" fmla="*/ 1648235 h 2831069"/>
              <a:gd name="connsiteX63" fmla="*/ 166391 w 3473628"/>
              <a:gd name="connsiteY63" fmla="*/ 1605586 h 2831069"/>
              <a:gd name="connsiteX64" fmla="*/ 200192 w 3473628"/>
              <a:gd name="connsiteY64" fmla="*/ 1577816 h 2831069"/>
              <a:gd name="connsiteX65" fmla="*/ 287232 w 3473628"/>
              <a:gd name="connsiteY65" fmla="*/ 1590830 h 2831069"/>
              <a:gd name="connsiteX66" fmla="*/ 369009 w 3473628"/>
              <a:gd name="connsiteY66" fmla="*/ 1618953 h 2831069"/>
              <a:gd name="connsiteX67" fmla="*/ 419927 w 3473628"/>
              <a:gd name="connsiteY67" fmla="*/ 1621046 h 2831069"/>
              <a:gd name="connsiteX68" fmla="*/ 508625 w 3473628"/>
              <a:gd name="connsiteY68" fmla="*/ 1559682 h 2831069"/>
              <a:gd name="connsiteX69" fmla="*/ 603872 w 3473628"/>
              <a:gd name="connsiteY69" fmla="*/ 1496164 h 2831069"/>
              <a:gd name="connsiteX70" fmla="*/ 672489 w 3473628"/>
              <a:gd name="connsiteY70" fmla="*/ 1469699 h 2831069"/>
              <a:gd name="connsiteX71" fmla="*/ 740318 w 3473628"/>
              <a:gd name="connsiteY71" fmla="*/ 1459835 h 2831069"/>
              <a:gd name="connsiteX72" fmla="*/ 810675 w 3473628"/>
              <a:gd name="connsiteY72" fmla="*/ 1421288 h 2831069"/>
              <a:gd name="connsiteX73" fmla="*/ 854631 w 3473628"/>
              <a:gd name="connsiteY73" fmla="*/ 1394969 h 2831069"/>
              <a:gd name="connsiteX74" fmla="*/ 862982 w 3473628"/>
              <a:gd name="connsiteY74" fmla="*/ 1380214 h 2831069"/>
              <a:gd name="connsiteX75" fmla="*/ 851688 w 3473628"/>
              <a:gd name="connsiteY75" fmla="*/ 1366412 h 2831069"/>
              <a:gd name="connsiteX76" fmla="*/ 827524 w 3473628"/>
              <a:gd name="connsiteY76" fmla="*/ 1363614 h 2831069"/>
              <a:gd name="connsiteX77" fmla="*/ 824291 w 3473628"/>
              <a:gd name="connsiteY77" fmla="*/ 1354910 h 2831069"/>
              <a:gd name="connsiteX78" fmla="*/ 846652 w 3473628"/>
              <a:gd name="connsiteY78" fmla="*/ 1340030 h 2831069"/>
              <a:gd name="connsiteX79" fmla="*/ 880308 w 3473628"/>
              <a:gd name="connsiteY79" fmla="*/ 1319161 h 2831069"/>
              <a:gd name="connsiteX80" fmla="*/ 897363 w 3473628"/>
              <a:gd name="connsiteY80" fmla="*/ 1302831 h 2831069"/>
              <a:gd name="connsiteX81" fmla="*/ 886794 w 3473628"/>
              <a:gd name="connsiteY81" fmla="*/ 1295930 h 2831069"/>
              <a:gd name="connsiteX82" fmla="*/ 844642 w 3473628"/>
              <a:gd name="connsiteY82" fmla="*/ 1306934 h 2831069"/>
              <a:gd name="connsiteX83" fmla="*/ 809536 w 3473628"/>
              <a:gd name="connsiteY83" fmla="*/ 1335347 h 2831069"/>
              <a:gd name="connsiteX84" fmla="*/ 787029 w 3473628"/>
              <a:gd name="connsiteY84" fmla="*/ 1349667 h 2831069"/>
              <a:gd name="connsiteX85" fmla="*/ 782139 w 3473628"/>
              <a:gd name="connsiteY85" fmla="*/ 1343346 h 2831069"/>
              <a:gd name="connsiteX86" fmla="*/ 804583 w 3473628"/>
              <a:gd name="connsiteY86" fmla="*/ 1325296 h 2831069"/>
              <a:gd name="connsiteX87" fmla="*/ 816810 w 3473628"/>
              <a:gd name="connsiteY87" fmla="*/ 1307743 h 2831069"/>
              <a:gd name="connsiteX88" fmla="*/ 811276 w 3473628"/>
              <a:gd name="connsiteY88" fmla="*/ 1290977 h 2831069"/>
              <a:gd name="connsiteX89" fmla="*/ 791713 w 3473628"/>
              <a:gd name="connsiteY89" fmla="*/ 1290832 h 2831069"/>
              <a:gd name="connsiteX90" fmla="*/ 761933 w 3473628"/>
              <a:gd name="connsiteY90" fmla="*/ 1313856 h 2831069"/>
              <a:gd name="connsiteX91" fmla="*/ 742515 w 3473628"/>
              <a:gd name="connsiteY91" fmla="*/ 1324218 h 2831069"/>
              <a:gd name="connsiteX92" fmla="*/ 739862 w 3473628"/>
              <a:gd name="connsiteY92" fmla="*/ 1318457 h 2831069"/>
              <a:gd name="connsiteX93" fmla="*/ 752296 w 3473628"/>
              <a:gd name="connsiteY93" fmla="*/ 1300406 h 2831069"/>
              <a:gd name="connsiteX94" fmla="*/ 772585 w 3473628"/>
              <a:gd name="connsiteY94" fmla="*/ 1280615 h 2831069"/>
              <a:gd name="connsiteX95" fmla="*/ 776108 w 3473628"/>
              <a:gd name="connsiteY95" fmla="*/ 1263994 h 2831069"/>
              <a:gd name="connsiteX96" fmla="*/ 761083 w 3473628"/>
              <a:gd name="connsiteY96" fmla="*/ 1258026 h 2831069"/>
              <a:gd name="connsiteX97" fmla="*/ 718869 w 3473628"/>
              <a:gd name="connsiteY97" fmla="*/ 1273051 h 2831069"/>
              <a:gd name="connsiteX98" fmla="*/ 639600 w 3473628"/>
              <a:gd name="connsiteY98" fmla="*/ 1331181 h 2831069"/>
              <a:gd name="connsiteX99" fmla="*/ 569678 w 3473628"/>
              <a:gd name="connsiteY99" fmla="*/ 1382100 h 2831069"/>
              <a:gd name="connsiteX100" fmla="*/ 456173 w 3473628"/>
              <a:gd name="connsiteY100" fmla="*/ 1442530 h 2831069"/>
              <a:gd name="connsiteX101" fmla="*/ 325406 w 3473628"/>
              <a:gd name="connsiteY101" fmla="*/ 1515188 h 2831069"/>
              <a:gd name="connsiteX102" fmla="*/ 239526 w 3473628"/>
              <a:gd name="connsiteY102" fmla="*/ 1551144 h 2831069"/>
              <a:gd name="connsiteX103" fmla="*/ 218388 w 3473628"/>
              <a:gd name="connsiteY103" fmla="*/ 1575453 h 2831069"/>
              <a:gd name="connsiteX104" fmla="*/ 272912 w 3473628"/>
              <a:gd name="connsiteY104" fmla="*/ 1602208 h 2831069"/>
              <a:gd name="connsiteX105" fmla="*/ 357797 w 3473628"/>
              <a:gd name="connsiteY105" fmla="*/ 1635863 h 2831069"/>
              <a:gd name="connsiteX106" fmla="*/ 403410 w 3473628"/>
              <a:gd name="connsiteY106" fmla="*/ 1653271 h 2831069"/>
              <a:gd name="connsiteX107" fmla="*/ 416073 w 3473628"/>
              <a:gd name="connsiteY107" fmla="*/ 1682036 h 2831069"/>
              <a:gd name="connsiteX108" fmla="*/ 440817 w 3473628"/>
              <a:gd name="connsiteY108" fmla="*/ 1705060 h 2831069"/>
              <a:gd name="connsiteX109" fmla="*/ 514469 w 3473628"/>
              <a:gd name="connsiteY109" fmla="*/ 1733680 h 2831069"/>
              <a:gd name="connsiteX110" fmla="*/ 651288 w 3473628"/>
              <a:gd name="connsiteY110" fmla="*/ 1765905 h 2831069"/>
              <a:gd name="connsiteX111" fmla="*/ 768109 w 3473628"/>
              <a:gd name="connsiteY111" fmla="*/ 1785179 h 2831069"/>
              <a:gd name="connsiteX112" fmla="*/ 837306 w 3473628"/>
              <a:gd name="connsiteY112" fmla="*/ 1824740 h 2831069"/>
              <a:gd name="connsiteX113" fmla="*/ 840621 w 3473628"/>
              <a:gd name="connsiteY113" fmla="*/ 1854666 h 2831069"/>
              <a:gd name="connsiteX114" fmla="*/ 790843 w 3473628"/>
              <a:gd name="connsiteY114" fmla="*/ 1883430 h 2831069"/>
              <a:gd name="connsiteX115" fmla="*/ 713874 w 3473628"/>
              <a:gd name="connsiteY115" fmla="*/ 1902413 h 2831069"/>
              <a:gd name="connsiteX116" fmla="*/ 703367 w 3473628"/>
              <a:gd name="connsiteY116" fmla="*/ 1887741 h 2831069"/>
              <a:gd name="connsiteX117" fmla="*/ 735158 w 3473628"/>
              <a:gd name="connsiteY117" fmla="*/ 1840843 h 2831069"/>
              <a:gd name="connsiteX118" fmla="*/ 785662 w 3473628"/>
              <a:gd name="connsiteY118" fmla="*/ 1808037 h 2831069"/>
              <a:gd name="connsiteX119" fmla="*/ 864640 w 3473628"/>
              <a:gd name="connsiteY119" fmla="*/ 1809757 h 2831069"/>
              <a:gd name="connsiteX120" fmla="*/ 904637 w 3473628"/>
              <a:gd name="connsiteY120" fmla="*/ 1789468 h 2831069"/>
              <a:gd name="connsiteX121" fmla="*/ 916284 w 3473628"/>
              <a:gd name="connsiteY121" fmla="*/ 1745161 h 2831069"/>
              <a:gd name="connsiteX122" fmla="*/ 912119 w 3473628"/>
              <a:gd name="connsiteY122" fmla="*/ 1675238 h 2831069"/>
              <a:gd name="connsiteX123" fmla="*/ 918025 w 3473628"/>
              <a:gd name="connsiteY123" fmla="*/ 1647904 h 2831069"/>
              <a:gd name="connsiteX124" fmla="*/ 946230 w 3473628"/>
              <a:gd name="connsiteY124" fmla="*/ 1644588 h 2831069"/>
              <a:gd name="connsiteX125" fmla="*/ 993128 w 3473628"/>
              <a:gd name="connsiteY125" fmla="*/ 1664587 h 2831069"/>
              <a:gd name="connsiteX126" fmla="*/ 1043632 w 3473628"/>
              <a:gd name="connsiteY126" fmla="*/ 1685455 h 2831069"/>
              <a:gd name="connsiteX127" fmla="*/ 1091110 w 3473628"/>
              <a:gd name="connsiteY127" fmla="*/ 1667032 h 2831069"/>
              <a:gd name="connsiteX128" fmla="*/ 1113844 w 3473628"/>
              <a:gd name="connsiteY128" fmla="*/ 1609046 h 2831069"/>
              <a:gd name="connsiteX129" fmla="*/ 1137573 w 3473628"/>
              <a:gd name="connsiteY129" fmla="*/ 1536244 h 2831069"/>
              <a:gd name="connsiteX130" fmla="*/ 1175270 w 3473628"/>
              <a:gd name="connsiteY130" fmla="*/ 1484165 h 2831069"/>
              <a:gd name="connsiteX131" fmla="*/ 1215847 w 3473628"/>
              <a:gd name="connsiteY131" fmla="*/ 1437702 h 2831069"/>
              <a:gd name="connsiteX132" fmla="*/ 1213837 w 3473628"/>
              <a:gd name="connsiteY132" fmla="*/ 1405911 h 2831069"/>
              <a:gd name="connsiteX133" fmla="*/ 1160743 w 3473628"/>
              <a:gd name="connsiteY133" fmla="*/ 1359449 h 2831069"/>
              <a:gd name="connsiteX134" fmla="*/ 1072273 w 3473628"/>
              <a:gd name="connsiteY134" fmla="*/ 1326207 h 2831069"/>
              <a:gd name="connsiteX135" fmla="*/ 969420 w 3473628"/>
              <a:gd name="connsiteY135" fmla="*/ 1337709 h 2831069"/>
              <a:gd name="connsiteX136" fmla="*/ 912160 w 3473628"/>
              <a:gd name="connsiteY136" fmla="*/ 1380152 h 2831069"/>
              <a:gd name="connsiteX137" fmla="*/ 896327 w 3473628"/>
              <a:gd name="connsiteY137" fmla="*/ 1448333 h 2831069"/>
              <a:gd name="connsiteX138" fmla="*/ 877489 w 3473628"/>
              <a:gd name="connsiteY138" fmla="*/ 1512784 h 2831069"/>
              <a:gd name="connsiteX139" fmla="*/ 860806 w 3473628"/>
              <a:gd name="connsiteY139" fmla="*/ 1564138 h 2831069"/>
              <a:gd name="connsiteX140" fmla="*/ 859936 w 3473628"/>
              <a:gd name="connsiteY140" fmla="*/ 1636216 h 2831069"/>
              <a:gd name="connsiteX141" fmla="*/ 882670 w 3473628"/>
              <a:gd name="connsiteY141" fmla="*/ 1693040 h 2831069"/>
              <a:gd name="connsiteX142" fmla="*/ 939930 w 3473628"/>
              <a:gd name="connsiteY142" fmla="*/ 1728001 h 2831069"/>
              <a:gd name="connsiteX143" fmla="*/ 1032856 w 3473628"/>
              <a:gd name="connsiteY143" fmla="*/ 1733618 h 2831069"/>
              <a:gd name="connsiteX144" fmla="*/ 1121326 w 3473628"/>
              <a:gd name="connsiteY144" fmla="*/ 1688440 h 2831069"/>
              <a:gd name="connsiteX145" fmla="*/ 1171830 w 3473628"/>
              <a:gd name="connsiteY145" fmla="*/ 1627304 h 2831069"/>
              <a:gd name="connsiteX146" fmla="*/ 1192263 w 3473628"/>
              <a:gd name="connsiteY146" fmla="*/ 1592343 h 2831069"/>
              <a:gd name="connsiteX147" fmla="*/ 1215433 w 3473628"/>
              <a:gd name="connsiteY147" fmla="*/ 1590478 h 2831069"/>
              <a:gd name="connsiteX148" fmla="*/ 1223059 w 3473628"/>
              <a:gd name="connsiteY148" fmla="*/ 1624569 h 2831069"/>
              <a:gd name="connsiteX149" fmla="*/ 1193569 w 3473628"/>
              <a:gd name="connsiteY149" fmla="*/ 1655219 h 2831069"/>
              <a:gd name="connsiteX150" fmla="*/ 1160328 w 3473628"/>
              <a:gd name="connsiteY150" fmla="*/ 1650909 h 2831069"/>
              <a:gd name="connsiteX151" fmla="*/ 1152121 w 3473628"/>
              <a:gd name="connsiteY151" fmla="*/ 1619844 h 2831069"/>
              <a:gd name="connsiteX152" fmla="*/ 1169239 w 3473628"/>
              <a:gd name="connsiteY152" fmla="*/ 1577836 h 2831069"/>
              <a:gd name="connsiteX153" fmla="*/ 1208511 w 3473628"/>
              <a:gd name="connsiteY153" fmla="*/ 1555683 h 2831069"/>
              <a:gd name="connsiteX154" fmla="*/ 1223039 w 3473628"/>
              <a:gd name="connsiteY154" fmla="*/ 1534814 h 2831069"/>
              <a:gd name="connsiteX155" fmla="*/ 1221173 w 3473628"/>
              <a:gd name="connsiteY155" fmla="*/ 1493822 h 2831069"/>
              <a:gd name="connsiteX156" fmla="*/ 1192263 w 3473628"/>
              <a:gd name="connsiteY156" fmla="*/ 1435837 h 2831069"/>
              <a:gd name="connsiteX157" fmla="*/ 1126527 w 3473628"/>
              <a:gd name="connsiteY157" fmla="*/ 1373105 h 2831069"/>
              <a:gd name="connsiteX158" fmla="*/ 1015178 w 3473628"/>
              <a:gd name="connsiteY158" fmla="*/ 1361604 h 2831069"/>
              <a:gd name="connsiteX159" fmla="*/ 929299 w 3473628"/>
              <a:gd name="connsiteY159" fmla="*/ 1399591 h 2831069"/>
              <a:gd name="connsiteX160" fmla="*/ 891312 w 3473628"/>
              <a:gd name="connsiteY160" fmla="*/ 1413683 h 2831069"/>
              <a:gd name="connsiteX161" fmla="*/ 880805 w 3473628"/>
              <a:gd name="connsiteY161" fmla="*/ 1385623 h 2831069"/>
              <a:gd name="connsiteX162" fmla="*/ 887271 w 3473628"/>
              <a:gd name="connsiteY162" fmla="*/ 1343035 h 2831069"/>
              <a:gd name="connsiteX163" fmla="*/ 919351 w 3473628"/>
              <a:gd name="connsiteY163" fmla="*/ 1314270 h 2831069"/>
              <a:gd name="connsiteX164" fmla="*/ 976031 w 3473628"/>
              <a:gd name="connsiteY164" fmla="*/ 1293402 h 2831069"/>
              <a:gd name="connsiteX165" fmla="*/ 1018183 w 3473628"/>
              <a:gd name="connsiteY165" fmla="*/ 1281900 h 2831069"/>
              <a:gd name="connsiteX166" fmla="*/ 1050844 w 3473628"/>
              <a:gd name="connsiteY166" fmla="*/ 1268947 h 2831069"/>
              <a:gd name="connsiteX167" fmla="*/ 1109244 w 3473628"/>
              <a:gd name="connsiteY167" fmla="*/ 1272118 h 2831069"/>
              <a:gd name="connsiteX168" fmla="*/ 1183622 w 3473628"/>
              <a:gd name="connsiteY168" fmla="*/ 1306209 h 2831069"/>
              <a:gd name="connsiteX169" fmla="*/ 1247202 w 3473628"/>
              <a:gd name="connsiteY169" fmla="*/ 1382017 h 2831069"/>
              <a:gd name="connsiteX170" fmla="*/ 1276983 w 3473628"/>
              <a:gd name="connsiteY170" fmla="*/ 1470777 h 2831069"/>
              <a:gd name="connsiteX171" fmla="*/ 1290785 w 3473628"/>
              <a:gd name="connsiteY171" fmla="*/ 1538959 h 2831069"/>
              <a:gd name="connsiteX172" fmla="*/ 1286184 w 3473628"/>
              <a:gd name="connsiteY172" fmla="*/ 1598664 h 2831069"/>
              <a:gd name="connsiteX173" fmla="*/ 1251223 w 3473628"/>
              <a:gd name="connsiteY173" fmla="*/ 1657789 h 2831069"/>
              <a:gd name="connsiteX174" fmla="*/ 1190792 w 3473628"/>
              <a:gd name="connsiteY174" fmla="*/ 1692460 h 2831069"/>
              <a:gd name="connsiteX175" fmla="*/ 1155396 w 3473628"/>
              <a:gd name="connsiteY175" fmla="*/ 1717349 h 2831069"/>
              <a:gd name="connsiteX176" fmla="*/ 1128786 w 3473628"/>
              <a:gd name="connsiteY176" fmla="*/ 1768848 h 2831069"/>
              <a:gd name="connsiteX177" fmla="*/ 1124766 w 3473628"/>
              <a:gd name="connsiteY177" fmla="*/ 1813156 h 2831069"/>
              <a:gd name="connsiteX178" fmla="*/ 1143459 w 3473628"/>
              <a:gd name="connsiteY178" fmla="*/ 1838045 h 2831069"/>
              <a:gd name="connsiteX179" fmla="*/ 1176700 w 3473628"/>
              <a:gd name="connsiteY179" fmla="*/ 1874581 h 2831069"/>
              <a:gd name="connsiteX180" fmla="*/ 1211951 w 3473628"/>
              <a:gd name="connsiteY180" fmla="*/ 1930971 h 2831069"/>
              <a:gd name="connsiteX181" fmla="*/ 1269791 w 3473628"/>
              <a:gd name="connsiteY181" fmla="*/ 1970678 h 2831069"/>
              <a:gd name="connsiteX182" fmla="*/ 1289790 w 3473628"/>
              <a:gd name="connsiteY182" fmla="*/ 2016996 h 2831069"/>
              <a:gd name="connsiteX183" fmla="*/ 1236696 w 3473628"/>
              <a:gd name="connsiteY183" fmla="*/ 2105031 h 2831069"/>
              <a:gd name="connsiteX184" fmla="*/ 1189362 w 3473628"/>
              <a:gd name="connsiteY184" fmla="*/ 2099269 h 2831069"/>
              <a:gd name="connsiteX185" fmla="*/ 1126921 w 3473628"/>
              <a:gd name="connsiteY185" fmla="*/ 1994386 h 2831069"/>
              <a:gd name="connsiteX186" fmla="*/ 1124621 w 3473628"/>
              <a:gd name="connsiteY186" fmla="*/ 1948773 h 2831069"/>
              <a:gd name="connsiteX187" fmla="*/ 1178855 w 3473628"/>
              <a:gd name="connsiteY187" fmla="*/ 1910226 h 2831069"/>
              <a:gd name="connsiteX188" fmla="*/ 1235245 w 3473628"/>
              <a:gd name="connsiteY188" fmla="*/ 1918288 h 2831069"/>
              <a:gd name="connsiteX189" fmla="*/ 1332792 w 3473628"/>
              <a:gd name="connsiteY189" fmla="*/ 1988065 h 2831069"/>
              <a:gd name="connsiteX190" fmla="*/ 1387316 w 3473628"/>
              <a:gd name="connsiteY190" fmla="*/ 2070650 h 2831069"/>
              <a:gd name="connsiteX191" fmla="*/ 1383710 w 3473628"/>
              <a:gd name="connsiteY191" fmla="*/ 2126190 h 2831069"/>
              <a:gd name="connsiteX192" fmla="*/ 1348459 w 3473628"/>
              <a:gd name="connsiteY192" fmla="*/ 2203448 h 2831069"/>
              <a:gd name="connsiteX193" fmla="*/ 1311923 w 3473628"/>
              <a:gd name="connsiteY193" fmla="*/ 2248771 h 2831069"/>
              <a:gd name="connsiteX194" fmla="*/ 1270786 w 3473628"/>
              <a:gd name="connsiteY194" fmla="*/ 2226907 h 2831069"/>
              <a:gd name="connsiteX195" fmla="*/ 1256694 w 3473628"/>
              <a:gd name="connsiteY195" fmla="*/ 2197417 h 2831069"/>
              <a:gd name="connsiteX196" fmla="*/ 1262745 w 3473628"/>
              <a:gd name="connsiteY196" fmla="*/ 2172093 h 2831069"/>
              <a:gd name="connsiteX197" fmla="*/ 1299427 w 3473628"/>
              <a:gd name="connsiteY197" fmla="*/ 2127640 h 2831069"/>
              <a:gd name="connsiteX198" fmla="*/ 1357826 w 3473628"/>
              <a:gd name="connsiteY198" fmla="*/ 2086068 h 2831069"/>
              <a:gd name="connsiteX199" fmla="*/ 1403999 w 3473628"/>
              <a:gd name="connsiteY199" fmla="*/ 2048372 h 2831069"/>
              <a:gd name="connsiteX200" fmla="*/ 1428453 w 3473628"/>
              <a:gd name="connsiteY200" fmla="*/ 2028228 h 2831069"/>
              <a:gd name="connsiteX201" fmla="*/ 1435644 w 3473628"/>
              <a:gd name="connsiteY201" fmla="*/ 2043481 h 2831069"/>
              <a:gd name="connsiteX202" fmla="*/ 1439375 w 3473628"/>
              <a:gd name="connsiteY202" fmla="*/ 2107062 h 2831069"/>
              <a:gd name="connsiteX203" fmla="*/ 1432039 w 3473628"/>
              <a:gd name="connsiteY203" fmla="*/ 2164902 h 2831069"/>
              <a:gd name="connsiteX204" fmla="*/ 1405864 w 3473628"/>
              <a:gd name="connsiteY204" fmla="*/ 2266469 h 2831069"/>
              <a:gd name="connsiteX205" fmla="*/ 1412765 w 3473628"/>
              <a:gd name="connsiteY205" fmla="*/ 2328330 h 2831069"/>
              <a:gd name="connsiteX206" fmla="*/ 1440245 w 3473628"/>
              <a:gd name="connsiteY206" fmla="*/ 2353074 h 2831069"/>
              <a:gd name="connsiteX207" fmla="*/ 1475932 w 3473628"/>
              <a:gd name="connsiteY207" fmla="*/ 2367457 h 2831069"/>
              <a:gd name="connsiteX208" fmla="*/ 1511038 w 3473628"/>
              <a:gd name="connsiteY208" fmla="*/ 2382710 h 2831069"/>
              <a:gd name="connsiteX209" fmla="*/ 1536217 w 3473628"/>
              <a:gd name="connsiteY209" fmla="*/ 2415225 h 2831069"/>
              <a:gd name="connsiteX210" fmla="*/ 1543408 w 3473628"/>
              <a:gd name="connsiteY210" fmla="*/ 2463843 h 2831069"/>
              <a:gd name="connsiteX211" fmla="*/ 1512758 w 3473628"/>
              <a:gd name="connsiteY211" fmla="*/ 2507156 h 2831069"/>
              <a:gd name="connsiteX212" fmla="*/ 1467083 w 3473628"/>
              <a:gd name="connsiteY212" fmla="*/ 2522844 h 2831069"/>
              <a:gd name="connsiteX213" fmla="*/ 1422195 w 3473628"/>
              <a:gd name="connsiteY213" fmla="*/ 2523860 h 2831069"/>
              <a:gd name="connsiteX214" fmla="*/ 1366738 w 3473628"/>
              <a:gd name="connsiteY214" fmla="*/ 2540832 h 2831069"/>
              <a:gd name="connsiteX215" fmla="*/ 1320420 w 3473628"/>
              <a:gd name="connsiteY215" fmla="*/ 2536667 h 2831069"/>
              <a:gd name="connsiteX216" fmla="*/ 1321788 w 3473628"/>
              <a:gd name="connsiteY216" fmla="*/ 2519549 h 2831069"/>
              <a:gd name="connsiteX217" fmla="*/ 1369846 w 3473628"/>
              <a:gd name="connsiteY217" fmla="*/ 2497893 h 2831069"/>
              <a:gd name="connsiteX218" fmla="*/ 1396891 w 3473628"/>
              <a:gd name="connsiteY218" fmla="*/ 2480277 h 2831069"/>
              <a:gd name="connsiteX219" fmla="*/ 1381286 w 3473628"/>
              <a:gd name="connsiteY219" fmla="*/ 2474102 h 2831069"/>
              <a:gd name="connsiteX220" fmla="*/ 1307986 w 3473628"/>
              <a:gd name="connsiteY220" fmla="*/ 2503094 h 2831069"/>
              <a:gd name="connsiteX221" fmla="*/ 1275760 w 3473628"/>
              <a:gd name="connsiteY221" fmla="*/ 2503820 h 2831069"/>
              <a:gd name="connsiteX222" fmla="*/ 1277190 w 3473628"/>
              <a:gd name="connsiteY222" fmla="*/ 2490515 h 2831069"/>
              <a:gd name="connsiteX223" fmla="*/ 1302287 w 3473628"/>
              <a:gd name="connsiteY223" fmla="*/ 2478495 h 2831069"/>
              <a:gd name="connsiteX224" fmla="*/ 1350407 w 3473628"/>
              <a:gd name="connsiteY224" fmla="*/ 2445109 h 2831069"/>
              <a:gd name="connsiteX225" fmla="*/ 1346946 w 3473628"/>
              <a:gd name="connsiteY225" fmla="*/ 2435120 h 2831069"/>
              <a:gd name="connsiteX226" fmla="*/ 1292774 w 3473628"/>
              <a:gd name="connsiteY226" fmla="*/ 2461812 h 2831069"/>
              <a:gd name="connsiteX227" fmla="*/ 1261834 w 3473628"/>
              <a:gd name="connsiteY227" fmla="*/ 2459719 h 2831069"/>
              <a:gd name="connsiteX228" fmla="*/ 1265149 w 3473628"/>
              <a:gd name="connsiteY228" fmla="*/ 2438933 h 2831069"/>
              <a:gd name="connsiteX229" fmla="*/ 1303053 w 3473628"/>
              <a:gd name="connsiteY229" fmla="*/ 2411308 h 2831069"/>
              <a:gd name="connsiteX230" fmla="*/ 1318513 w 3473628"/>
              <a:gd name="connsiteY230" fmla="*/ 2393175 h 2831069"/>
              <a:gd name="connsiteX231" fmla="*/ 1306783 w 3473628"/>
              <a:gd name="connsiteY231" fmla="*/ 2385984 h 2831069"/>
              <a:gd name="connsiteX232" fmla="*/ 1268590 w 3473628"/>
              <a:gd name="connsiteY232" fmla="*/ 2403392 h 2831069"/>
              <a:gd name="connsiteX233" fmla="*/ 1243410 w 3473628"/>
              <a:gd name="connsiteY233" fmla="*/ 2405257 h 2831069"/>
              <a:gd name="connsiteX234" fmla="*/ 1242685 w 3473628"/>
              <a:gd name="connsiteY234" fmla="*/ 2382461 h 2831069"/>
              <a:gd name="connsiteX235" fmla="*/ 1284402 w 3473628"/>
              <a:gd name="connsiteY235" fmla="*/ 2341469 h 2831069"/>
              <a:gd name="connsiteX236" fmla="*/ 1360935 w 3473628"/>
              <a:gd name="connsiteY236" fmla="*/ 2306218 h 2831069"/>
              <a:gd name="connsiteX237" fmla="*/ 1411004 w 3473628"/>
              <a:gd name="connsiteY237" fmla="*/ 2303047 h 2831069"/>
              <a:gd name="connsiteX238" fmla="*/ 1438484 w 3473628"/>
              <a:gd name="connsiteY238" fmla="*/ 2295131 h 2831069"/>
              <a:gd name="connsiteX239" fmla="*/ 1468409 w 3473628"/>
              <a:gd name="connsiteY239" fmla="*/ 2243777 h 2831069"/>
              <a:gd name="connsiteX240" fmla="*/ 1532570 w 3473628"/>
              <a:gd name="connsiteY240" fmla="*/ 2156301 h 2831069"/>
              <a:gd name="connsiteX241" fmla="*/ 1610761 w 3473628"/>
              <a:gd name="connsiteY241" fmla="*/ 2074152 h 2831069"/>
              <a:gd name="connsiteX242" fmla="*/ 1628957 w 3473628"/>
              <a:gd name="connsiteY242" fmla="*/ 2041864 h 2831069"/>
              <a:gd name="connsiteX243" fmla="*/ 1628604 w 3473628"/>
              <a:gd name="connsiteY243" fmla="*/ 2021078 h 2831069"/>
              <a:gd name="connsiteX244" fmla="*/ 1642841 w 3473628"/>
              <a:gd name="connsiteY244" fmla="*/ 2001308 h 2831069"/>
              <a:gd name="connsiteX245" fmla="*/ 1697863 w 3473628"/>
              <a:gd name="connsiteY245" fmla="*/ 1963611 h 2831069"/>
              <a:gd name="connsiteX246" fmla="*/ 1768718 w 3473628"/>
              <a:gd name="connsiteY246" fmla="*/ 1914703 h 2831069"/>
              <a:gd name="connsiteX247" fmla="*/ 1816549 w 3473628"/>
              <a:gd name="connsiteY247" fmla="*/ 1881109 h 2831069"/>
              <a:gd name="connsiteX248" fmla="*/ 1846039 w 3473628"/>
              <a:gd name="connsiteY248" fmla="*/ 1836221 h 2831069"/>
              <a:gd name="connsiteX249" fmla="*/ 1863882 w 3473628"/>
              <a:gd name="connsiteY249" fmla="*/ 1739400 h 2831069"/>
              <a:gd name="connsiteX250" fmla="*/ 1862162 w 3473628"/>
              <a:gd name="connsiteY250" fmla="*/ 1654225 h 2831069"/>
              <a:gd name="connsiteX251" fmla="*/ 1849355 w 3473628"/>
              <a:gd name="connsiteY251" fmla="*/ 1586312 h 2831069"/>
              <a:gd name="connsiteX252" fmla="*/ 1804322 w 3473628"/>
              <a:gd name="connsiteY252" fmla="*/ 1511499 h 2831069"/>
              <a:gd name="connsiteX253" fmla="*/ 1748512 w 3473628"/>
              <a:gd name="connsiteY253" fmla="*/ 1463296 h 2831069"/>
              <a:gd name="connsiteX254" fmla="*/ 1688662 w 3473628"/>
              <a:gd name="connsiteY254" fmla="*/ 1445017 h 2831069"/>
              <a:gd name="connsiteX255" fmla="*/ 1629682 w 3473628"/>
              <a:gd name="connsiteY255" fmla="*/ 1434655 h 2831069"/>
              <a:gd name="connsiteX256" fmla="*/ 1565521 w 3473628"/>
              <a:gd name="connsiteY256" fmla="*/ 1420708 h 2831069"/>
              <a:gd name="connsiteX257" fmla="*/ 1482377 w 3473628"/>
              <a:gd name="connsiteY257" fmla="*/ 1428044 h 2831069"/>
              <a:gd name="connsiteX258" fmla="*/ 1425117 w 3473628"/>
              <a:gd name="connsiteY258" fmla="*/ 1469036 h 2831069"/>
              <a:gd name="connsiteX259" fmla="*/ 1416910 w 3473628"/>
              <a:gd name="connsiteY259" fmla="*/ 1533923 h 2831069"/>
              <a:gd name="connsiteX260" fmla="*/ 1436618 w 3473628"/>
              <a:gd name="connsiteY260" fmla="*/ 1580240 h 2831069"/>
              <a:gd name="connsiteX261" fmla="*/ 1448265 w 3473628"/>
              <a:gd name="connsiteY261" fmla="*/ 1638081 h 2831069"/>
              <a:gd name="connsiteX262" fmla="*/ 1432577 w 3473628"/>
              <a:gd name="connsiteY262" fmla="*/ 1733037 h 2831069"/>
              <a:gd name="connsiteX263" fmla="*/ 1436598 w 3473628"/>
              <a:gd name="connsiteY263" fmla="*/ 1799063 h 2831069"/>
              <a:gd name="connsiteX264" fmla="*/ 1493568 w 3473628"/>
              <a:gd name="connsiteY264" fmla="*/ 1841216 h 2831069"/>
              <a:gd name="connsiteX265" fmla="*/ 1619299 w 3473628"/>
              <a:gd name="connsiteY265" fmla="*/ 1854168 h 2831069"/>
              <a:gd name="connsiteX266" fmla="*/ 1704039 w 3473628"/>
              <a:gd name="connsiteY266" fmla="*/ 1837050 h 2831069"/>
              <a:gd name="connsiteX267" fmla="*/ 1739290 w 3473628"/>
              <a:gd name="connsiteY267" fmla="*/ 1788577 h 2831069"/>
              <a:gd name="connsiteX268" fmla="*/ 1754108 w 3473628"/>
              <a:gd name="connsiteY268" fmla="*/ 1758507 h 2831069"/>
              <a:gd name="connsiteX269" fmla="*/ 1769071 w 3473628"/>
              <a:gd name="connsiteY269" fmla="*/ 1758507 h 2831069"/>
              <a:gd name="connsiteX270" fmla="*/ 1773526 w 3473628"/>
              <a:gd name="connsiteY270" fmla="*/ 1787562 h 2831069"/>
              <a:gd name="connsiteX271" fmla="*/ 1747621 w 3473628"/>
              <a:gd name="connsiteY271" fmla="*/ 1819497 h 2831069"/>
              <a:gd name="connsiteX272" fmla="*/ 1719271 w 3473628"/>
              <a:gd name="connsiteY272" fmla="*/ 1806110 h 2831069"/>
              <a:gd name="connsiteX273" fmla="*/ 1727478 w 3473628"/>
              <a:gd name="connsiteY273" fmla="*/ 1762092 h 2831069"/>
              <a:gd name="connsiteX274" fmla="*/ 1757258 w 3473628"/>
              <a:gd name="connsiteY274" fmla="*/ 1731297 h 2831069"/>
              <a:gd name="connsiteX275" fmla="*/ 1781857 w 3473628"/>
              <a:gd name="connsiteY275" fmla="*/ 1696626 h 2831069"/>
              <a:gd name="connsiteX276" fmla="*/ 1759123 w 3473628"/>
              <a:gd name="connsiteY276" fmla="*/ 1625563 h 2831069"/>
              <a:gd name="connsiteX277" fmla="*/ 1710650 w 3473628"/>
              <a:gd name="connsiteY277" fmla="*/ 1549175 h 2831069"/>
              <a:gd name="connsiteX278" fmla="*/ 1628065 w 3473628"/>
              <a:gd name="connsiteY278" fmla="*/ 1512349 h 2831069"/>
              <a:gd name="connsiteX279" fmla="*/ 1535989 w 3473628"/>
              <a:gd name="connsiteY279" fmla="*/ 1521260 h 2831069"/>
              <a:gd name="connsiteX280" fmla="*/ 1469528 w 3473628"/>
              <a:gd name="connsiteY280" fmla="*/ 1574624 h 2831069"/>
              <a:gd name="connsiteX281" fmla="*/ 1448100 w 3473628"/>
              <a:gd name="connsiteY281" fmla="*/ 1608280 h 2831069"/>
              <a:gd name="connsiteX282" fmla="*/ 1425946 w 3473628"/>
              <a:gd name="connsiteY282" fmla="*/ 1663384 h 2831069"/>
              <a:gd name="connsiteX283" fmla="*/ 1406527 w 3473628"/>
              <a:gd name="connsiteY283" fmla="*/ 1760351 h 2831069"/>
              <a:gd name="connsiteX284" fmla="*/ 1422215 w 3473628"/>
              <a:gd name="connsiteY284" fmla="*/ 1829693 h 2831069"/>
              <a:gd name="connsiteX285" fmla="*/ 1452866 w 3473628"/>
              <a:gd name="connsiteY285" fmla="*/ 1880115 h 2831069"/>
              <a:gd name="connsiteX286" fmla="*/ 1472139 w 3473628"/>
              <a:gd name="connsiteY286" fmla="*/ 1939737 h 2831069"/>
              <a:gd name="connsiteX287" fmla="*/ 1476885 w 3473628"/>
              <a:gd name="connsiteY287" fmla="*/ 1996769 h 2831069"/>
              <a:gd name="connsiteX288" fmla="*/ 1459332 w 3473628"/>
              <a:gd name="connsiteY288" fmla="*/ 2060205 h 2831069"/>
              <a:gd name="connsiteX289" fmla="*/ 1462212 w 3473628"/>
              <a:gd name="connsiteY289" fmla="*/ 2092430 h 2831069"/>
              <a:gd name="connsiteX290" fmla="*/ 1501339 w 3473628"/>
              <a:gd name="connsiteY290" fmla="*/ 2073157 h 2831069"/>
              <a:gd name="connsiteX291" fmla="*/ 1597083 w 3473628"/>
              <a:gd name="connsiteY291" fmla="*/ 2002592 h 2831069"/>
              <a:gd name="connsiteX292" fmla="*/ 1667586 w 3473628"/>
              <a:gd name="connsiteY292" fmla="*/ 1957705 h 2831069"/>
              <a:gd name="connsiteX293" fmla="*/ 1726856 w 3473628"/>
              <a:gd name="connsiteY293" fmla="*/ 1927987 h 2831069"/>
              <a:gd name="connsiteX294" fmla="*/ 1753258 w 3473628"/>
              <a:gd name="connsiteY294" fmla="*/ 1933520 h 2831069"/>
              <a:gd name="connsiteX295" fmla="*/ 1781816 w 3473628"/>
              <a:gd name="connsiteY295" fmla="*/ 1986034 h 2831069"/>
              <a:gd name="connsiteX296" fmla="*/ 1823616 w 3473628"/>
              <a:gd name="connsiteY296" fmla="*/ 2024809 h 2831069"/>
              <a:gd name="connsiteX297" fmla="*/ 1853044 w 3473628"/>
              <a:gd name="connsiteY297" fmla="*/ 2039129 h 2831069"/>
              <a:gd name="connsiteX298" fmla="*/ 1845417 w 3473628"/>
              <a:gd name="connsiteY298" fmla="*/ 2056392 h 2831069"/>
              <a:gd name="connsiteX299" fmla="*/ 1802685 w 3473628"/>
              <a:gd name="connsiteY299" fmla="*/ 2090420 h 2831069"/>
              <a:gd name="connsiteX300" fmla="*/ 1764283 w 3473628"/>
              <a:gd name="connsiteY300" fmla="*/ 2152281 h 2831069"/>
              <a:gd name="connsiteX301" fmla="*/ 1702132 w 3473628"/>
              <a:gd name="connsiteY301" fmla="*/ 2291753 h 2831069"/>
              <a:gd name="connsiteX302" fmla="*/ 1672207 w 3473628"/>
              <a:gd name="connsiteY302" fmla="*/ 2356639 h 2831069"/>
              <a:gd name="connsiteX303" fmla="*/ 1654654 w 3473628"/>
              <a:gd name="connsiteY303" fmla="*/ 2363043 h 2831069"/>
              <a:gd name="connsiteX304" fmla="*/ 1613082 w 3473628"/>
              <a:gd name="connsiteY304" fmla="*/ 2345054 h 2831069"/>
              <a:gd name="connsiteX305" fmla="*/ 1559925 w 3473628"/>
              <a:gd name="connsiteY305" fmla="*/ 2330174 h 2831069"/>
              <a:gd name="connsiteX306" fmla="*/ 1518498 w 3473628"/>
              <a:gd name="connsiteY306" fmla="*/ 2333345 h 2831069"/>
              <a:gd name="connsiteX307" fmla="*/ 1485112 w 3473628"/>
              <a:gd name="connsiteY307" fmla="*/ 2345075 h 2831069"/>
              <a:gd name="connsiteX308" fmla="*/ 1462813 w 3473628"/>
              <a:gd name="connsiteY308" fmla="*/ 2341759 h 2831069"/>
              <a:gd name="connsiteX309" fmla="*/ 1462523 w 3473628"/>
              <a:gd name="connsiteY309" fmla="*/ 2316435 h 2831069"/>
              <a:gd name="connsiteX310" fmla="*/ 1514022 w 3473628"/>
              <a:gd name="connsiteY310" fmla="*/ 2230907 h 2831069"/>
              <a:gd name="connsiteX311" fmla="*/ 1633868 w 3473628"/>
              <a:gd name="connsiteY311" fmla="*/ 2086462 h 2831069"/>
              <a:gd name="connsiteX312" fmla="*/ 1761050 w 3473628"/>
              <a:gd name="connsiteY312" fmla="*/ 2009494 h 2831069"/>
              <a:gd name="connsiteX313" fmla="*/ 1835718 w 3473628"/>
              <a:gd name="connsiteY313" fmla="*/ 2007773 h 2831069"/>
              <a:gd name="connsiteX314" fmla="*/ 1915422 w 3473628"/>
              <a:gd name="connsiteY314" fmla="*/ 2040579 h 2831069"/>
              <a:gd name="connsiteX315" fmla="*/ 1956414 w 3473628"/>
              <a:gd name="connsiteY315" fmla="*/ 2094378 h 2831069"/>
              <a:gd name="connsiteX316" fmla="*/ 1981593 w 3473628"/>
              <a:gd name="connsiteY316" fmla="*/ 2161420 h 2831069"/>
              <a:gd name="connsiteX317" fmla="*/ 1998421 w 3473628"/>
              <a:gd name="connsiteY317" fmla="*/ 2191781 h 2831069"/>
              <a:gd name="connsiteX318" fmla="*/ 2004473 w 3473628"/>
              <a:gd name="connsiteY318" fmla="*/ 2185874 h 2831069"/>
              <a:gd name="connsiteX319" fmla="*/ 1997717 w 3473628"/>
              <a:gd name="connsiteY319" fmla="*/ 2138106 h 2831069"/>
              <a:gd name="connsiteX320" fmla="*/ 1965781 w 3473628"/>
              <a:gd name="connsiteY320" fmla="*/ 2073364 h 2831069"/>
              <a:gd name="connsiteX321" fmla="*/ 1892688 w 3473628"/>
              <a:gd name="connsiteY321" fmla="*/ 2059127 h 2831069"/>
              <a:gd name="connsiteX322" fmla="*/ 1816155 w 3473628"/>
              <a:gd name="connsiteY322" fmla="*/ 2115517 h 2831069"/>
              <a:gd name="connsiteX323" fmla="*/ 1767682 w 3473628"/>
              <a:gd name="connsiteY323" fmla="*/ 2216504 h 2831069"/>
              <a:gd name="connsiteX324" fmla="*/ 1756740 w 3473628"/>
              <a:gd name="connsiteY324" fmla="*/ 2315771 h 2831069"/>
              <a:gd name="connsiteX325" fmla="*/ 1733280 w 3473628"/>
              <a:gd name="connsiteY325" fmla="*/ 2398211 h 2831069"/>
              <a:gd name="connsiteX326" fmla="*/ 1632148 w 3473628"/>
              <a:gd name="connsiteY326" fmla="*/ 2384554 h 2831069"/>
              <a:gd name="connsiteX327" fmla="*/ 1539637 w 3473628"/>
              <a:gd name="connsiteY327" fmla="*/ 2352183 h 2831069"/>
              <a:gd name="connsiteX328" fmla="*/ 1522519 w 3473628"/>
              <a:gd name="connsiteY328" fmla="*/ 2359229 h 2831069"/>
              <a:gd name="connsiteX329" fmla="*/ 1543947 w 3473628"/>
              <a:gd name="connsiteY329" fmla="*/ 2385549 h 2831069"/>
              <a:gd name="connsiteX330" fmla="*/ 1564381 w 3473628"/>
              <a:gd name="connsiteY330" fmla="*/ 2430727 h 2831069"/>
              <a:gd name="connsiteX331" fmla="*/ 1559200 w 3473628"/>
              <a:gd name="connsiteY331" fmla="*/ 2486412 h 2831069"/>
              <a:gd name="connsiteX332" fmla="*/ 1529710 w 3473628"/>
              <a:gd name="connsiteY332" fmla="*/ 2562364 h 2831069"/>
              <a:gd name="connsiteX333" fmla="*/ 1544963 w 3473628"/>
              <a:gd name="connsiteY333" fmla="*/ 2634587 h 2831069"/>
              <a:gd name="connsiteX334" fmla="*/ 1609124 w 3473628"/>
              <a:gd name="connsiteY334" fmla="*/ 2669984 h 2831069"/>
              <a:gd name="connsiteX335" fmla="*/ 1709821 w 3473628"/>
              <a:gd name="connsiteY335" fmla="*/ 2685526 h 2831069"/>
              <a:gd name="connsiteX336" fmla="*/ 1825481 w 3473628"/>
              <a:gd name="connsiteY336" fmla="*/ 2710706 h 2831069"/>
              <a:gd name="connsiteX337" fmla="*/ 1849666 w 3473628"/>
              <a:gd name="connsiteY337" fmla="*/ 2737274 h 2831069"/>
              <a:gd name="connsiteX338" fmla="*/ 1827284 w 3473628"/>
              <a:gd name="connsiteY338" fmla="*/ 2775385 h 2831069"/>
              <a:gd name="connsiteX339" fmla="*/ 1859468 w 3473628"/>
              <a:gd name="connsiteY339" fmla="*/ 2784130 h 2831069"/>
              <a:gd name="connsiteX340" fmla="*/ 2089565 w 3473628"/>
              <a:gd name="connsiteY340" fmla="*/ 2784130 h 2831069"/>
              <a:gd name="connsiteX341" fmla="*/ 2566897 w 3473628"/>
              <a:gd name="connsiteY341" fmla="*/ 2782162 h 2831069"/>
              <a:gd name="connsiteX342" fmla="*/ 2687966 w 3473628"/>
              <a:gd name="connsiteY342" fmla="*/ 2759884 h 2831069"/>
              <a:gd name="connsiteX343" fmla="*/ 2680464 w 3473628"/>
              <a:gd name="connsiteY343" fmla="*/ 2692303 h 2831069"/>
              <a:gd name="connsiteX344" fmla="*/ 2633566 w 3473628"/>
              <a:gd name="connsiteY344" fmla="*/ 2631872 h 2831069"/>
              <a:gd name="connsiteX345" fmla="*/ 2492291 w 3473628"/>
              <a:gd name="connsiteY345" fmla="*/ 2565701 h 2831069"/>
              <a:gd name="connsiteX346" fmla="*/ 2424110 w 3473628"/>
              <a:gd name="connsiteY346" fmla="*/ 2476651 h 2831069"/>
              <a:gd name="connsiteX347" fmla="*/ 2465247 w 3473628"/>
              <a:gd name="connsiteY347" fmla="*/ 2186330 h 2831069"/>
              <a:gd name="connsiteX348" fmla="*/ 2494592 w 3473628"/>
              <a:gd name="connsiteY348" fmla="*/ 1978159 h 2831069"/>
              <a:gd name="connsiteX349" fmla="*/ 2532289 w 3473628"/>
              <a:gd name="connsiteY349" fmla="*/ 1883202 h 2831069"/>
              <a:gd name="connsiteX350" fmla="*/ 2600200 w 3473628"/>
              <a:gd name="connsiteY350" fmla="*/ 1837175 h 2831069"/>
              <a:gd name="connsiteX351" fmla="*/ 2643928 w 3473628"/>
              <a:gd name="connsiteY351" fmla="*/ 1758051 h 2831069"/>
              <a:gd name="connsiteX352" fmla="*/ 2671553 w 3473628"/>
              <a:gd name="connsiteY352" fmla="*/ 1632029 h 2831069"/>
              <a:gd name="connsiteX353" fmla="*/ 2694577 w 3473628"/>
              <a:gd name="connsiteY353" fmla="*/ 1561817 h 2831069"/>
              <a:gd name="connsiteX354" fmla="*/ 2707239 w 3473628"/>
              <a:gd name="connsiteY354" fmla="*/ 1548305 h 2831069"/>
              <a:gd name="connsiteX355" fmla="*/ 2696877 w 3473628"/>
              <a:gd name="connsiteY355" fmla="*/ 1616217 h 2831069"/>
              <a:gd name="connsiteX356" fmla="*/ 2656300 w 3473628"/>
              <a:gd name="connsiteY356" fmla="*/ 1792308 h 2831069"/>
              <a:gd name="connsiteX357" fmla="*/ 2576306 w 3473628"/>
              <a:gd name="connsiteY357" fmla="*/ 1905377 h 2831069"/>
              <a:gd name="connsiteX358" fmla="*/ 2484810 w 3473628"/>
              <a:gd name="connsiteY358" fmla="*/ 1918329 h 2831069"/>
              <a:gd name="connsiteX359" fmla="*/ 2405251 w 3473628"/>
              <a:gd name="connsiteY359" fmla="*/ 1822813 h 2831069"/>
              <a:gd name="connsiteX360" fmla="*/ 2384113 w 3473628"/>
              <a:gd name="connsiteY360" fmla="*/ 1673912 h 2831069"/>
              <a:gd name="connsiteX361" fmla="*/ 2378642 w 3473628"/>
              <a:gd name="connsiteY361" fmla="*/ 1541984 h 2831069"/>
              <a:gd name="connsiteX362" fmla="*/ 2373751 w 3473628"/>
              <a:gd name="connsiteY362" fmla="*/ 1415527 h 2831069"/>
              <a:gd name="connsiteX363" fmla="*/ 2347141 w 3473628"/>
              <a:gd name="connsiteY363" fmla="*/ 1246918 h 2831069"/>
              <a:gd name="connsiteX364" fmla="*/ 2334769 w 3473628"/>
              <a:gd name="connsiteY364" fmla="*/ 1142615 h 2831069"/>
              <a:gd name="connsiteX365" fmla="*/ 2329153 w 3473628"/>
              <a:gd name="connsiteY365" fmla="*/ 1065211 h 2831069"/>
              <a:gd name="connsiteX366" fmla="*/ 2304554 w 3473628"/>
              <a:gd name="connsiteY366" fmla="*/ 939335 h 2831069"/>
              <a:gd name="connsiteX367" fmla="*/ 2256641 w 3473628"/>
              <a:gd name="connsiteY367" fmla="*/ 796630 h 2831069"/>
              <a:gd name="connsiteX368" fmla="*/ 2230736 w 3473628"/>
              <a:gd name="connsiteY368" fmla="*/ 692327 h 2831069"/>
              <a:gd name="connsiteX369" fmla="*/ 2239502 w 3473628"/>
              <a:gd name="connsiteY369" fmla="*/ 643564 h 2831069"/>
              <a:gd name="connsiteX370" fmla="*/ 2294026 w 3473628"/>
              <a:gd name="connsiteY370" fmla="*/ 635647 h 2831069"/>
              <a:gd name="connsiteX371" fmla="*/ 2342789 w 3473628"/>
              <a:gd name="connsiteY371" fmla="*/ 621700 h 2831069"/>
              <a:gd name="connsiteX372" fmla="*/ 2378621 w 3473628"/>
              <a:gd name="connsiteY372" fmla="*/ 587174 h 2831069"/>
              <a:gd name="connsiteX373" fmla="*/ 2391283 w 3473628"/>
              <a:gd name="connsiteY373" fmla="*/ 534080 h 2831069"/>
              <a:gd name="connsiteX374" fmla="*/ 2374601 w 3473628"/>
              <a:gd name="connsiteY374" fmla="*/ 480426 h 2831069"/>
              <a:gd name="connsiteX375" fmla="*/ 2310004 w 3473628"/>
              <a:gd name="connsiteY375" fmla="*/ 360020 h 2831069"/>
              <a:gd name="connsiteX376" fmla="*/ 2266567 w 3473628"/>
              <a:gd name="connsiteY376" fmla="*/ 280171 h 2831069"/>
              <a:gd name="connsiteX377" fmla="*/ 2203691 w 3473628"/>
              <a:gd name="connsiteY377" fmla="*/ 213564 h 2831069"/>
              <a:gd name="connsiteX378" fmla="*/ 2153622 w 3473628"/>
              <a:gd name="connsiteY378" fmla="*/ 194291 h 2831069"/>
              <a:gd name="connsiteX379" fmla="*/ 2109315 w 3473628"/>
              <a:gd name="connsiteY379" fmla="*/ 218310 h 2831069"/>
              <a:gd name="connsiteX380" fmla="*/ 2085731 w 3473628"/>
              <a:gd name="connsiteY380" fmla="*/ 264214 h 2831069"/>
              <a:gd name="connsiteX381" fmla="*/ 2085006 w 3473628"/>
              <a:gd name="connsiteY381" fmla="*/ 308666 h 2831069"/>
              <a:gd name="connsiteX382" fmla="*/ 2107595 w 3473628"/>
              <a:gd name="connsiteY382" fmla="*/ 327794 h 2831069"/>
              <a:gd name="connsiteX383" fmla="*/ 2138245 w 3473628"/>
              <a:gd name="connsiteY383" fmla="*/ 329660 h 2831069"/>
              <a:gd name="connsiteX384" fmla="*/ 2151343 w 3473628"/>
              <a:gd name="connsiteY384" fmla="*/ 299299 h 2831069"/>
              <a:gd name="connsiteX385" fmla="*/ 2155508 w 3473628"/>
              <a:gd name="connsiteY385" fmla="*/ 263053 h 2831069"/>
              <a:gd name="connsiteX386" fmla="*/ 2173641 w 3473628"/>
              <a:gd name="connsiteY386" fmla="*/ 251261 h 2831069"/>
              <a:gd name="connsiteX387" fmla="*/ 2215068 w 3473628"/>
              <a:gd name="connsiteY387" fmla="*/ 262058 h 2831069"/>
              <a:gd name="connsiteX388" fmla="*/ 2248019 w 3473628"/>
              <a:gd name="connsiteY388" fmla="*/ 269975 h 2831069"/>
              <a:gd name="connsiteX389" fmla="*/ 2262257 w 3473628"/>
              <a:gd name="connsiteY389" fmla="*/ 259903 h 2831069"/>
              <a:gd name="connsiteX390" fmla="*/ 2259749 w 3473628"/>
              <a:gd name="connsiteY390" fmla="*/ 230993 h 2831069"/>
              <a:gd name="connsiteX391" fmla="*/ 2231337 w 3473628"/>
              <a:gd name="connsiteY391" fmla="*/ 190851 h 2831069"/>
              <a:gd name="connsiteX392" fmla="*/ 2181351 w 3473628"/>
              <a:gd name="connsiteY392" fmla="*/ 163309 h 2831069"/>
              <a:gd name="connsiteX393" fmla="*/ 2141354 w 3473628"/>
              <a:gd name="connsiteY393" fmla="*/ 157548 h 2831069"/>
              <a:gd name="connsiteX394" fmla="*/ 2113377 w 3473628"/>
              <a:gd name="connsiteY394" fmla="*/ 169485 h 2831069"/>
              <a:gd name="connsiteX395" fmla="*/ 2082726 w 3473628"/>
              <a:gd name="connsiteY395" fmla="*/ 176469 h 2831069"/>
              <a:gd name="connsiteX396" fmla="*/ 2031870 w 3473628"/>
              <a:gd name="connsiteY396" fmla="*/ 162086 h 2831069"/>
              <a:gd name="connsiteX397" fmla="*/ 1991955 w 3473628"/>
              <a:gd name="connsiteY397" fmla="*/ 137280 h 2831069"/>
              <a:gd name="connsiteX398" fmla="*/ 1950528 w 3473628"/>
              <a:gd name="connsiteY398" fmla="*/ 77222 h 2831069"/>
              <a:gd name="connsiteX399" fmla="*/ 1938737 w 3473628"/>
              <a:gd name="connsiteY399" fmla="*/ 27008 h 2831069"/>
              <a:gd name="connsiteX400" fmla="*/ 1947669 w 3473628"/>
              <a:gd name="connsiteY400" fmla="*/ 1725 h 2831069"/>
              <a:gd name="connsiteX401" fmla="*/ 1970755 w 3473628"/>
              <a:gd name="connsiteY401" fmla="*/ 8461 h 2831069"/>
              <a:gd name="connsiteX402" fmla="*/ 2009260 w 3473628"/>
              <a:gd name="connsiteY402" fmla="*/ 49494 h 2831069"/>
              <a:gd name="connsiteX403" fmla="*/ 2058292 w 3473628"/>
              <a:gd name="connsiteY403" fmla="*/ 104412 h 2831069"/>
              <a:gd name="connsiteX404" fmla="*/ 2093544 w 3473628"/>
              <a:gd name="connsiteY404" fmla="*/ 149010 h 2831069"/>
              <a:gd name="connsiteX405" fmla="*/ 2084487 w 3473628"/>
              <a:gd name="connsiteY405" fmla="*/ 165837 h 2831069"/>
              <a:gd name="connsiteX406" fmla="*/ 2039599 w 3473628"/>
              <a:gd name="connsiteY406" fmla="*/ 172593 h 2831069"/>
              <a:gd name="connsiteX407" fmla="*/ 2028657 w 3473628"/>
              <a:gd name="connsiteY407" fmla="*/ 186976 h 2831069"/>
              <a:gd name="connsiteX408" fmla="*/ 2037424 w 3473628"/>
              <a:gd name="connsiteY408" fmla="*/ 210435 h 2831069"/>
              <a:gd name="connsiteX409" fmla="*/ 2052531 w 3473628"/>
              <a:gd name="connsiteY409" fmla="*/ 240360 h 2831069"/>
              <a:gd name="connsiteX410" fmla="*/ 2063183 w 3473628"/>
              <a:gd name="connsiteY410" fmla="*/ 276606 h 2831069"/>
              <a:gd name="connsiteX411" fmla="*/ 2061173 w 3473628"/>
              <a:gd name="connsiteY411" fmla="*/ 308832 h 2831069"/>
              <a:gd name="connsiteX412" fmla="*/ 2047226 w 3473628"/>
              <a:gd name="connsiteY412" fmla="*/ 318324 h 2831069"/>
              <a:gd name="connsiteX413" fmla="*/ 2037009 w 3473628"/>
              <a:gd name="connsiteY413" fmla="*/ 303216 h 2831069"/>
              <a:gd name="connsiteX414" fmla="*/ 2039890 w 3473628"/>
              <a:gd name="connsiteY414" fmla="*/ 281932 h 2831069"/>
              <a:gd name="connsiteX415" fmla="*/ 2037589 w 3473628"/>
              <a:gd name="connsiteY415" fmla="*/ 253168 h 2831069"/>
              <a:gd name="connsiteX416" fmla="*/ 2017301 w 3473628"/>
              <a:gd name="connsiteY416" fmla="*/ 238640 h 2831069"/>
              <a:gd name="connsiteX417" fmla="*/ 1980039 w 3473628"/>
              <a:gd name="connsiteY417" fmla="*/ 250142 h 2831069"/>
              <a:gd name="connsiteX418" fmla="*/ 1965367 w 3473628"/>
              <a:gd name="connsiteY418" fmla="*/ 281207 h 2831069"/>
              <a:gd name="connsiteX419" fmla="*/ 1979604 w 3473628"/>
              <a:gd name="connsiteY419" fmla="*/ 326820 h 2831069"/>
              <a:gd name="connsiteX420" fmla="*/ 2042625 w 3473628"/>
              <a:gd name="connsiteY420" fmla="*/ 396598 h 2831069"/>
              <a:gd name="connsiteX421" fmla="*/ 2145208 w 3473628"/>
              <a:gd name="connsiteY421" fmla="*/ 455288 h 2831069"/>
              <a:gd name="connsiteX422" fmla="*/ 2223752 w 3473628"/>
              <a:gd name="connsiteY422" fmla="*/ 542183 h 2831069"/>
              <a:gd name="connsiteX423" fmla="*/ 2264889 w 3473628"/>
              <a:gd name="connsiteY423" fmla="*/ 604624 h 2831069"/>
              <a:gd name="connsiteX424" fmla="*/ 2331640 w 3473628"/>
              <a:gd name="connsiteY424" fmla="*/ 595132 h 2831069"/>
              <a:gd name="connsiteX425" fmla="*/ 2408753 w 3473628"/>
              <a:gd name="connsiteY425" fmla="*/ 561746 h 2831069"/>
              <a:gd name="connsiteX426" fmla="*/ 2486157 w 3473628"/>
              <a:gd name="connsiteY426" fmla="*/ 631088 h 2831069"/>
              <a:gd name="connsiteX427" fmla="*/ 2597797 w 3473628"/>
              <a:gd name="connsiteY427" fmla="*/ 831052 h 2831069"/>
              <a:gd name="connsiteX428" fmla="*/ 2689292 w 3473628"/>
              <a:gd name="connsiteY428" fmla="*/ 1008013 h 2831069"/>
              <a:gd name="connsiteX429" fmla="*/ 2728999 w 3473628"/>
              <a:gd name="connsiteY429" fmla="*/ 1141081 h 2831069"/>
              <a:gd name="connsiteX430" fmla="*/ 2722098 w 3473628"/>
              <a:gd name="connsiteY430" fmla="*/ 1265963 h 2831069"/>
              <a:gd name="connsiteX431" fmla="*/ 2726409 w 3473628"/>
              <a:gd name="connsiteY431" fmla="*/ 1370556 h 2831069"/>
              <a:gd name="connsiteX432" fmla="*/ 2748998 w 3473628"/>
              <a:gd name="connsiteY432" fmla="*/ 1502194 h 2831069"/>
              <a:gd name="connsiteX433" fmla="*/ 2793596 w 3473628"/>
              <a:gd name="connsiteY433" fmla="*/ 1683756 h 2831069"/>
              <a:gd name="connsiteX434" fmla="*/ 2841924 w 3473628"/>
              <a:gd name="connsiteY434" fmla="*/ 1899699 h 2831069"/>
              <a:gd name="connsiteX435" fmla="*/ 2835872 w 3473628"/>
              <a:gd name="connsiteY435" fmla="*/ 2160094 h 2831069"/>
              <a:gd name="connsiteX436" fmla="*/ 2789119 w 3473628"/>
              <a:gd name="connsiteY436" fmla="*/ 2458476 h 2831069"/>
              <a:gd name="connsiteX437" fmla="*/ 2737620 w 3473628"/>
              <a:gd name="connsiteY437" fmla="*/ 2693547 h 2831069"/>
              <a:gd name="connsiteX438" fmla="*/ 2657626 w 3473628"/>
              <a:gd name="connsiteY438" fmla="*/ 2723762 h 2831069"/>
              <a:gd name="connsiteX439" fmla="*/ 2479816 w 3473628"/>
              <a:gd name="connsiteY439" fmla="*/ 2656720 h 2831069"/>
              <a:gd name="connsiteX440" fmla="*/ 2254237 w 3473628"/>
              <a:gd name="connsiteY440" fmla="*/ 2611832 h 2831069"/>
              <a:gd name="connsiteX441" fmla="*/ 2082166 w 3473628"/>
              <a:gd name="connsiteY441" fmla="*/ 2636287 h 2831069"/>
              <a:gd name="connsiteX442" fmla="*/ 1994401 w 3473628"/>
              <a:gd name="connsiteY442" fmla="*/ 2663621 h 2831069"/>
              <a:gd name="connsiteX443" fmla="*/ 1965346 w 3473628"/>
              <a:gd name="connsiteY443" fmla="*/ 2610382 h 2831069"/>
              <a:gd name="connsiteX444" fmla="*/ 1972537 w 3473628"/>
              <a:gd name="connsiteY444" fmla="*/ 2529538 h 2831069"/>
              <a:gd name="connsiteX445" fmla="*/ 2001302 w 3473628"/>
              <a:gd name="connsiteY445" fmla="*/ 2410127 h 2831069"/>
              <a:gd name="connsiteX446" fmla="*/ 2065173 w 3473628"/>
              <a:gd name="connsiteY446" fmla="*/ 2234762 h 2831069"/>
              <a:gd name="connsiteX447" fmla="*/ 2185164 w 3473628"/>
              <a:gd name="connsiteY447" fmla="*/ 1982428 h 2831069"/>
              <a:gd name="connsiteX448" fmla="*/ 2272639 w 3473628"/>
              <a:gd name="connsiteY448" fmla="*/ 1790940 h 2831069"/>
              <a:gd name="connsiteX449" fmla="*/ 2341691 w 3473628"/>
              <a:gd name="connsiteY449" fmla="*/ 1698284 h 2831069"/>
              <a:gd name="connsiteX450" fmla="*/ 2369026 w 3473628"/>
              <a:gd name="connsiteY450" fmla="*/ 1632962 h 2831069"/>
              <a:gd name="connsiteX451" fmla="*/ 2351473 w 3473628"/>
              <a:gd name="connsiteY451" fmla="*/ 1607927 h 2831069"/>
              <a:gd name="connsiteX452" fmla="*/ 2270774 w 3473628"/>
              <a:gd name="connsiteY452" fmla="*/ 1653541 h 2831069"/>
              <a:gd name="connsiteX453" fmla="*/ 2210343 w 3473628"/>
              <a:gd name="connsiteY453" fmla="*/ 1626206 h 2831069"/>
              <a:gd name="connsiteX454" fmla="*/ 2164585 w 3473628"/>
              <a:gd name="connsiteY454" fmla="*/ 1571972 h 2831069"/>
              <a:gd name="connsiteX455" fmla="*/ 2149623 w 3473628"/>
              <a:gd name="connsiteY455" fmla="*/ 1525364 h 2831069"/>
              <a:gd name="connsiteX456" fmla="*/ 2171776 w 3473628"/>
              <a:gd name="connsiteY456" fmla="*/ 1480476 h 2831069"/>
              <a:gd name="connsiteX457" fmla="*/ 2219690 w 3473628"/>
              <a:gd name="connsiteY457" fmla="*/ 1471710 h 2831069"/>
              <a:gd name="connsiteX458" fmla="*/ 2304575 w 3473628"/>
              <a:gd name="connsiteY458" fmla="*/ 1491128 h 2831069"/>
              <a:gd name="connsiteX459" fmla="*/ 2357939 w 3473628"/>
              <a:gd name="connsiteY459" fmla="*/ 1495148 h 2831069"/>
              <a:gd name="connsiteX460" fmla="*/ 2365130 w 3473628"/>
              <a:gd name="connsiteY460" fmla="*/ 1468539 h 2831069"/>
              <a:gd name="connsiteX461" fmla="*/ 2343411 w 3473628"/>
              <a:gd name="connsiteY461" fmla="*/ 1383509 h 2831069"/>
              <a:gd name="connsiteX462" fmla="*/ 2328594 w 3473628"/>
              <a:gd name="connsiteY462" fmla="*/ 1282957 h 2831069"/>
              <a:gd name="connsiteX463" fmla="*/ 2324428 w 3473628"/>
              <a:gd name="connsiteY463" fmla="*/ 1207999 h 2831069"/>
              <a:gd name="connsiteX464" fmla="*/ 2305735 w 3473628"/>
              <a:gd name="connsiteY464" fmla="*/ 1175628 h 2831069"/>
              <a:gd name="connsiteX465" fmla="*/ 2240559 w 3473628"/>
              <a:gd name="connsiteY465" fmla="*/ 1175918 h 2831069"/>
              <a:gd name="connsiteX466" fmla="*/ 2155964 w 3473628"/>
              <a:gd name="connsiteY466" fmla="*/ 1209574 h 2831069"/>
              <a:gd name="connsiteX467" fmla="*/ 2105750 w 3473628"/>
              <a:gd name="connsiteY467" fmla="*/ 1260223 h 2831069"/>
              <a:gd name="connsiteX468" fmla="*/ 2085171 w 3473628"/>
              <a:gd name="connsiteY468" fmla="*/ 1297774 h 2831069"/>
              <a:gd name="connsiteX469" fmla="*/ 2074664 w 3473628"/>
              <a:gd name="connsiteY469" fmla="*/ 1286977 h 2831069"/>
              <a:gd name="connsiteX470" fmla="*/ 2069918 w 3473628"/>
              <a:gd name="connsiteY470" fmla="*/ 1234028 h 2831069"/>
              <a:gd name="connsiteX471" fmla="*/ 2108050 w 3473628"/>
              <a:gd name="connsiteY471" fmla="*/ 1171587 h 2831069"/>
              <a:gd name="connsiteX472" fmla="*/ 2189910 w 3473628"/>
              <a:gd name="connsiteY472" fmla="*/ 1136045 h 2831069"/>
              <a:gd name="connsiteX473" fmla="*/ 2269759 w 3473628"/>
              <a:gd name="connsiteY473" fmla="*/ 1132294 h 2831069"/>
              <a:gd name="connsiteX474" fmla="*/ 2308450 w 3473628"/>
              <a:gd name="connsiteY474" fmla="*/ 1125683 h 2831069"/>
              <a:gd name="connsiteX475" fmla="*/ 2307290 w 3473628"/>
              <a:gd name="connsiteY475" fmla="*/ 1074765 h 2831069"/>
              <a:gd name="connsiteX476" fmla="*/ 2297653 w 3473628"/>
              <a:gd name="connsiteY476" fmla="*/ 1036778 h 2831069"/>
              <a:gd name="connsiteX477" fmla="*/ 2262982 w 3473628"/>
              <a:gd name="connsiteY477" fmla="*/ 1022831 h 2831069"/>
              <a:gd name="connsiteX478" fmla="*/ 2194655 w 3473628"/>
              <a:gd name="connsiteY478" fmla="*/ 1035493 h 2831069"/>
              <a:gd name="connsiteX479" fmla="*/ 2144296 w 3473628"/>
              <a:gd name="connsiteY479" fmla="*/ 1081811 h 2831069"/>
              <a:gd name="connsiteX480" fmla="*/ 2106310 w 3473628"/>
              <a:gd name="connsiteY480" fmla="*/ 1120088 h 2831069"/>
              <a:gd name="connsiteX481" fmla="*/ 2043434 w 3473628"/>
              <a:gd name="connsiteY481" fmla="*/ 1152894 h 2831069"/>
              <a:gd name="connsiteX482" fmla="*/ 1998401 w 3473628"/>
              <a:gd name="connsiteY482" fmla="*/ 1194756 h 2831069"/>
              <a:gd name="connsiteX483" fmla="*/ 1991645 w 3473628"/>
              <a:gd name="connsiteY483" fmla="*/ 1239354 h 2831069"/>
              <a:gd name="connsiteX484" fmla="*/ 2014669 w 3473628"/>
              <a:gd name="connsiteY484" fmla="*/ 1279351 h 2831069"/>
              <a:gd name="connsiteX485" fmla="*/ 2051350 w 3473628"/>
              <a:gd name="connsiteY485" fmla="*/ 1309566 h 2831069"/>
              <a:gd name="connsiteX486" fmla="*/ 2064157 w 3473628"/>
              <a:gd name="connsiteY486" fmla="*/ 1331865 h 2831069"/>
              <a:gd name="connsiteX487" fmla="*/ 2053505 w 3473628"/>
              <a:gd name="connsiteY487" fmla="*/ 1376173 h 2831069"/>
              <a:gd name="connsiteX488" fmla="*/ 2057671 w 3473628"/>
              <a:gd name="connsiteY488" fmla="*/ 1437598 h 2831069"/>
              <a:gd name="connsiteX489" fmla="*/ 2084715 w 3473628"/>
              <a:gd name="connsiteY489" fmla="*/ 1526939 h 2831069"/>
              <a:gd name="connsiteX490" fmla="*/ 2142556 w 3473628"/>
              <a:gd name="connsiteY490" fmla="*/ 1590374 h 2831069"/>
              <a:gd name="connsiteX491" fmla="*/ 2188583 w 3473628"/>
              <a:gd name="connsiteY491" fmla="*/ 1652525 h 2831069"/>
              <a:gd name="connsiteX492" fmla="*/ 2211753 w 3473628"/>
              <a:gd name="connsiteY492" fmla="*/ 1709350 h 2831069"/>
              <a:gd name="connsiteX493" fmla="*/ 2213038 w 3473628"/>
              <a:gd name="connsiteY493" fmla="*/ 1751502 h 2831069"/>
              <a:gd name="connsiteX494" fmla="*/ 2193619 w 3473628"/>
              <a:gd name="connsiteY494" fmla="*/ 1786463 h 2831069"/>
              <a:gd name="connsiteX495" fmla="*/ 2145416 w 3473628"/>
              <a:gd name="connsiteY495" fmla="*/ 1826170 h 2831069"/>
              <a:gd name="connsiteX496" fmla="*/ 2094062 w 3473628"/>
              <a:gd name="connsiteY496" fmla="*/ 1865877 h 2831069"/>
              <a:gd name="connsiteX497" fmla="*/ 2067452 w 3473628"/>
              <a:gd name="connsiteY497" fmla="*/ 1897668 h 2831069"/>
              <a:gd name="connsiteX498" fmla="*/ 2076654 w 3473628"/>
              <a:gd name="connsiteY498" fmla="*/ 1913791 h 2831069"/>
              <a:gd name="connsiteX499" fmla="*/ 2097668 w 3473628"/>
              <a:gd name="connsiteY499" fmla="*/ 1937955 h 2831069"/>
              <a:gd name="connsiteX500" fmla="*/ 2095077 w 3473628"/>
              <a:gd name="connsiteY500" fmla="*/ 2004416 h 2831069"/>
              <a:gd name="connsiteX501" fmla="*/ 2059391 w 3473628"/>
              <a:gd name="connsiteY501" fmla="*/ 2109155 h 2831069"/>
              <a:gd name="connsiteX502" fmla="*/ 1969325 w 3473628"/>
              <a:gd name="connsiteY502" fmla="*/ 2331853 h 2831069"/>
              <a:gd name="connsiteX503" fmla="*/ 1904584 w 3473628"/>
              <a:gd name="connsiteY503" fmla="*/ 2574405 h 2831069"/>
              <a:gd name="connsiteX504" fmla="*/ 1892502 w 3473628"/>
              <a:gd name="connsiteY504" fmla="*/ 2764443 h 2831069"/>
              <a:gd name="connsiteX505" fmla="*/ 2038812 w 3473628"/>
              <a:gd name="connsiteY505" fmla="*/ 2824874 h 2831069"/>
              <a:gd name="connsiteX506" fmla="*/ 2686909 w 3473628"/>
              <a:gd name="connsiteY506" fmla="*/ 2831070 h 2831069"/>
              <a:gd name="connsiteX507" fmla="*/ 3473628 w 3473628"/>
              <a:gd name="connsiteY507" fmla="*/ 2831070 h 2831069"/>
              <a:gd name="connsiteX0" fmla="*/ 1241953 w 3473628"/>
              <a:gd name="connsiteY0" fmla="*/ 2360975 h 2831071"/>
              <a:gd name="connsiteX1" fmla="*/ 1209568 w 3473628"/>
              <a:gd name="connsiteY1" fmla="*/ 2270448 h 2831071"/>
              <a:gd name="connsiteX2" fmla="*/ 1120808 w 3473628"/>
              <a:gd name="connsiteY2" fmla="*/ 2115662 h 2831071"/>
              <a:gd name="connsiteX3" fmla="*/ 1030182 w 3473628"/>
              <a:gd name="connsiteY3" fmla="*/ 1957124 h 2831071"/>
              <a:gd name="connsiteX4" fmla="*/ 963576 w 3473628"/>
              <a:gd name="connsiteY4" fmla="*/ 1924173 h 2831071"/>
              <a:gd name="connsiteX5" fmla="*/ 805764 w 3473628"/>
              <a:gd name="connsiteY5" fmla="*/ 1954244 h 2831071"/>
              <a:gd name="connsiteX6" fmla="*/ 604929 w 3473628"/>
              <a:gd name="connsiteY6" fmla="*/ 1989060 h 2831071"/>
              <a:gd name="connsiteX7" fmla="*/ 477332 w 3473628"/>
              <a:gd name="connsiteY7" fmla="*/ 1993661 h 2831071"/>
              <a:gd name="connsiteX8" fmla="*/ 361672 w 3473628"/>
              <a:gd name="connsiteY8" fmla="*/ 2000852 h 2831071"/>
              <a:gd name="connsiteX9" fmla="*/ 98687 w 3473628"/>
              <a:gd name="connsiteY9" fmla="*/ 2062567 h 2831071"/>
              <a:gd name="connsiteX10" fmla="*/ 3316 w 3473628"/>
              <a:gd name="connsiteY10" fmla="*/ 2090047 h 2831071"/>
              <a:gd name="connsiteX11" fmla="*/ 45468 w 3473628"/>
              <a:gd name="connsiteY11" fmla="*/ 2164135 h 2831071"/>
              <a:gd name="connsiteX12" fmla="*/ 243277 w 3473628"/>
              <a:gd name="connsiteY12" fmla="*/ 2417629 h 2831071"/>
              <a:gd name="connsiteX13" fmla="*/ 343270 w 3473628"/>
              <a:gd name="connsiteY13" fmla="*/ 2553723 h 2831071"/>
              <a:gd name="connsiteX14" fmla="*/ 396634 w 3473628"/>
              <a:gd name="connsiteY14" fmla="*/ 2608392 h 2831071"/>
              <a:gd name="connsiteX15" fmla="*/ 442102 w 3473628"/>
              <a:gd name="connsiteY15" fmla="*/ 2644348 h 2831071"/>
              <a:gd name="connsiteX16" fmla="*/ 450018 w 3473628"/>
              <a:gd name="connsiteY16" fmla="*/ 2670108 h 2831071"/>
              <a:gd name="connsiteX17" fmla="*/ 431180 w 3473628"/>
              <a:gd name="connsiteY17" fmla="*/ 2687516 h 2831071"/>
              <a:gd name="connsiteX18" fmla="*/ 385007 w 3473628"/>
              <a:gd name="connsiteY18" fmla="*/ 2665507 h 2831071"/>
              <a:gd name="connsiteX19" fmla="*/ 320266 w 3473628"/>
              <a:gd name="connsiteY19" fmla="*/ 2569991 h 2831071"/>
              <a:gd name="connsiteX20" fmla="*/ 307459 w 3473628"/>
              <a:gd name="connsiteY20" fmla="*/ 2513166 h 2831071"/>
              <a:gd name="connsiteX21" fmla="*/ 319396 w 3473628"/>
              <a:gd name="connsiteY21" fmla="*/ 2499923 h 2831071"/>
              <a:gd name="connsiteX22" fmla="*/ 348015 w 3473628"/>
              <a:gd name="connsiteY22" fmla="*/ 2524378 h 2831071"/>
              <a:gd name="connsiteX23" fmla="*/ 378086 w 3473628"/>
              <a:gd name="connsiteY23" fmla="*/ 2562364 h 2831071"/>
              <a:gd name="connsiteX24" fmla="*/ 409731 w 3473628"/>
              <a:gd name="connsiteY24" fmla="*/ 2581348 h 2831071"/>
              <a:gd name="connsiteX25" fmla="*/ 431740 w 3473628"/>
              <a:gd name="connsiteY25" fmla="*/ 2604372 h 2831071"/>
              <a:gd name="connsiteX26" fmla="*/ 455323 w 3473628"/>
              <a:gd name="connsiteY26" fmla="*/ 2623645 h 2831071"/>
              <a:gd name="connsiteX27" fmla="*/ 472006 w 3473628"/>
              <a:gd name="connsiteY27" fmla="*/ 2654005 h 2831071"/>
              <a:gd name="connsiteX28" fmla="*/ 483798 w 3473628"/>
              <a:gd name="connsiteY28" fmla="*/ 2705649 h 2831071"/>
              <a:gd name="connsiteX29" fmla="*/ 515029 w 3473628"/>
              <a:gd name="connsiteY29" fmla="*/ 2761707 h 2831071"/>
              <a:gd name="connsiteX30" fmla="*/ 593924 w 3473628"/>
              <a:gd name="connsiteY30" fmla="*/ 2781975 h 2831071"/>
              <a:gd name="connsiteX31" fmla="*/ 917921 w 3473628"/>
              <a:gd name="connsiteY31" fmla="*/ 2784234 h 2831071"/>
              <a:gd name="connsiteX32" fmla="*/ 1481859 w 3473628"/>
              <a:gd name="connsiteY32" fmla="*/ 2784234 h 2831071"/>
              <a:gd name="connsiteX33" fmla="*/ 1611175 w 3473628"/>
              <a:gd name="connsiteY33" fmla="*/ 2760402 h 2831071"/>
              <a:gd name="connsiteX34" fmla="*/ 1530415 w 3473628"/>
              <a:gd name="connsiteY34" fmla="*/ 2653819 h 2831071"/>
              <a:gd name="connsiteX35" fmla="*/ 1485506 w 3473628"/>
              <a:gd name="connsiteY35" fmla="*/ 2582508 h 2831071"/>
              <a:gd name="connsiteX36" fmla="*/ 1444639 w 3473628"/>
              <a:gd name="connsiteY36" fmla="*/ 2563380 h 2831071"/>
              <a:gd name="connsiteX37" fmla="*/ 1360914 w 3473628"/>
              <a:gd name="connsiteY37" fmla="*/ 2569701 h 2831071"/>
              <a:gd name="connsiteX38" fmla="*/ 1305374 w 3473628"/>
              <a:gd name="connsiteY38" fmla="*/ 2561204 h 2831071"/>
              <a:gd name="connsiteX39" fmla="*/ 1259906 w 3473628"/>
              <a:gd name="connsiteY39" fmla="*/ 2517187 h 2831071"/>
              <a:gd name="connsiteX40" fmla="*/ 1228551 w 3473628"/>
              <a:gd name="connsiteY40" fmla="*/ 2442519 h 2831071"/>
              <a:gd name="connsiteX41" fmla="*/ 1227121 w 3473628"/>
              <a:gd name="connsiteY41" fmla="*/ 2364680 h 2831071"/>
              <a:gd name="connsiteX42" fmla="*/ 1271139 w 3473628"/>
              <a:gd name="connsiteY42" fmla="*/ 2317491 h 2831071"/>
              <a:gd name="connsiteX43" fmla="*/ 1254021 w 3473628"/>
              <a:gd name="connsiteY43" fmla="*/ 2254201 h 2831071"/>
              <a:gd name="connsiteX44" fmla="*/ 1118217 w 3473628"/>
              <a:gd name="connsiteY44" fmla="*/ 2041429 h 2831071"/>
              <a:gd name="connsiteX45" fmla="*/ 1021105 w 3473628"/>
              <a:gd name="connsiteY45" fmla="*/ 1888363 h 2831071"/>
              <a:gd name="connsiteX46" fmla="*/ 969171 w 3473628"/>
              <a:gd name="connsiteY46" fmla="*/ 1865338 h 2831071"/>
              <a:gd name="connsiteX47" fmla="*/ 890048 w 3473628"/>
              <a:gd name="connsiteY47" fmla="*/ 1886477 h 2831071"/>
              <a:gd name="connsiteX48" fmla="*/ 773808 w 3473628"/>
              <a:gd name="connsiteY48" fmla="*/ 1916837 h 2831071"/>
              <a:gd name="connsiteX49" fmla="*/ 552974 w 3473628"/>
              <a:gd name="connsiteY49" fmla="*/ 1960565 h 2831071"/>
              <a:gd name="connsiteX50" fmla="*/ 460463 w 3473628"/>
              <a:gd name="connsiteY50" fmla="*/ 1968771 h 2831071"/>
              <a:gd name="connsiteX51" fmla="*/ 390251 w 3473628"/>
              <a:gd name="connsiteY51" fmla="*/ 1936110 h 2831071"/>
              <a:gd name="connsiteX52" fmla="*/ 237329 w 3473628"/>
              <a:gd name="connsiteY52" fmla="*/ 1817280 h 2831071"/>
              <a:gd name="connsiteX53" fmla="*/ 148859 w 3473628"/>
              <a:gd name="connsiteY53" fmla="*/ 1724478 h 2831071"/>
              <a:gd name="connsiteX54" fmla="*/ 135326 w 3473628"/>
              <a:gd name="connsiteY54" fmla="*/ 1660753 h 2831071"/>
              <a:gd name="connsiteX55" fmla="*/ 160361 w 3473628"/>
              <a:gd name="connsiteY55" fmla="*/ 1619326 h 2831071"/>
              <a:gd name="connsiteX56" fmla="*/ 206534 w 3473628"/>
              <a:gd name="connsiteY56" fmla="*/ 1610829 h 2831071"/>
              <a:gd name="connsiteX57" fmla="*/ 299894 w 3473628"/>
              <a:gd name="connsiteY57" fmla="*/ 1646370 h 2831071"/>
              <a:gd name="connsiteX58" fmla="*/ 372552 w 3473628"/>
              <a:gd name="connsiteY58" fmla="*/ 1668959 h 2831071"/>
              <a:gd name="connsiteX59" fmla="*/ 375723 w 3473628"/>
              <a:gd name="connsiteY59" fmla="*/ 1692688 h 2831071"/>
              <a:gd name="connsiteX60" fmla="*/ 313282 w 3473628"/>
              <a:gd name="connsiteY60" fmla="*/ 1712832 h 2831071"/>
              <a:gd name="connsiteX61" fmla="*/ 211134 w 3473628"/>
              <a:gd name="connsiteY61" fmla="*/ 1685787 h 2831071"/>
              <a:gd name="connsiteX62" fmla="*/ 161356 w 3473628"/>
              <a:gd name="connsiteY62" fmla="*/ 1648235 h 2831071"/>
              <a:gd name="connsiteX63" fmla="*/ 166391 w 3473628"/>
              <a:gd name="connsiteY63" fmla="*/ 1605586 h 2831071"/>
              <a:gd name="connsiteX64" fmla="*/ 200192 w 3473628"/>
              <a:gd name="connsiteY64" fmla="*/ 1577816 h 2831071"/>
              <a:gd name="connsiteX65" fmla="*/ 287232 w 3473628"/>
              <a:gd name="connsiteY65" fmla="*/ 1590830 h 2831071"/>
              <a:gd name="connsiteX66" fmla="*/ 369009 w 3473628"/>
              <a:gd name="connsiteY66" fmla="*/ 1618953 h 2831071"/>
              <a:gd name="connsiteX67" fmla="*/ 419927 w 3473628"/>
              <a:gd name="connsiteY67" fmla="*/ 1621046 h 2831071"/>
              <a:gd name="connsiteX68" fmla="*/ 508625 w 3473628"/>
              <a:gd name="connsiteY68" fmla="*/ 1559682 h 2831071"/>
              <a:gd name="connsiteX69" fmla="*/ 603872 w 3473628"/>
              <a:gd name="connsiteY69" fmla="*/ 1496164 h 2831071"/>
              <a:gd name="connsiteX70" fmla="*/ 672489 w 3473628"/>
              <a:gd name="connsiteY70" fmla="*/ 1469699 h 2831071"/>
              <a:gd name="connsiteX71" fmla="*/ 740318 w 3473628"/>
              <a:gd name="connsiteY71" fmla="*/ 1459835 h 2831071"/>
              <a:gd name="connsiteX72" fmla="*/ 810675 w 3473628"/>
              <a:gd name="connsiteY72" fmla="*/ 1421288 h 2831071"/>
              <a:gd name="connsiteX73" fmla="*/ 854631 w 3473628"/>
              <a:gd name="connsiteY73" fmla="*/ 1394969 h 2831071"/>
              <a:gd name="connsiteX74" fmla="*/ 862982 w 3473628"/>
              <a:gd name="connsiteY74" fmla="*/ 1380214 h 2831071"/>
              <a:gd name="connsiteX75" fmla="*/ 851688 w 3473628"/>
              <a:gd name="connsiteY75" fmla="*/ 1366412 h 2831071"/>
              <a:gd name="connsiteX76" fmla="*/ 827524 w 3473628"/>
              <a:gd name="connsiteY76" fmla="*/ 1363614 h 2831071"/>
              <a:gd name="connsiteX77" fmla="*/ 824291 w 3473628"/>
              <a:gd name="connsiteY77" fmla="*/ 1354910 h 2831071"/>
              <a:gd name="connsiteX78" fmla="*/ 846652 w 3473628"/>
              <a:gd name="connsiteY78" fmla="*/ 1340030 h 2831071"/>
              <a:gd name="connsiteX79" fmla="*/ 880308 w 3473628"/>
              <a:gd name="connsiteY79" fmla="*/ 1319161 h 2831071"/>
              <a:gd name="connsiteX80" fmla="*/ 897363 w 3473628"/>
              <a:gd name="connsiteY80" fmla="*/ 1302831 h 2831071"/>
              <a:gd name="connsiteX81" fmla="*/ 886794 w 3473628"/>
              <a:gd name="connsiteY81" fmla="*/ 1295930 h 2831071"/>
              <a:gd name="connsiteX82" fmla="*/ 844642 w 3473628"/>
              <a:gd name="connsiteY82" fmla="*/ 1306934 h 2831071"/>
              <a:gd name="connsiteX83" fmla="*/ 809536 w 3473628"/>
              <a:gd name="connsiteY83" fmla="*/ 1335347 h 2831071"/>
              <a:gd name="connsiteX84" fmla="*/ 787029 w 3473628"/>
              <a:gd name="connsiteY84" fmla="*/ 1349667 h 2831071"/>
              <a:gd name="connsiteX85" fmla="*/ 782139 w 3473628"/>
              <a:gd name="connsiteY85" fmla="*/ 1343346 h 2831071"/>
              <a:gd name="connsiteX86" fmla="*/ 804583 w 3473628"/>
              <a:gd name="connsiteY86" fmla="*/ 1325296 h 2831071"/>
              <a:gd name="connsiteX87" fmla="*/ 816810 w 3473628"/>
              <a:gd name="connsiteY87" fmla="*/ 1307743 h 2831071"/>
              <a:gd name="connsiteX88" fmla="*/ 811276 w 3473628"/>
              <a:gd name="connsiteY88" fmla="*/ 1290977 h 2831071"/>
              <a:gd name="connsiteX89" fmla="*/ 791713 w 3473628"/>
              <a:gd name="connsiteY89" fmla="*/ 1290832 h 2831071"/>
              <a:gd name="connsiteX90" fmla="*/ 761933 w 3473628"/>
              <a:gd name="connsiteY90" fmla="*/ 1313856 h 2831071"/>
              <a:gd name="connsiteX91" fmla="*/ 742515 w 3473628"/>
              <a:gd name="connsiteY91" fmla="*/ 1324218 h 2831071"/>
              <a:gd name="connsiteX92" fmla="*/ 739862 w 3473628"/>
              <a:gd name="connsiteY92" fmla="*/ 1318457 h 2831071"/>
              <a:gd name="connsiteX93" fmla="*/ 752296 w 3473628"/>
              <a:gd name="connsiteY93" fmla="*/ 1300406 h 2831071"/>
              <a:gd name="connsiteX94" fmla="*/ 772585 w 3473628"/>
              <a:gd name="connsiteY94" fmla="*/ 1280615 h 2831071"/>
              <a:gd name="connsiteX95" fmla="*/ 776108 w 3473628"/>
              <a:gd name="connsiteY95" fmla="*/ 1263994 h 2831071"/>
              <a:gd name="connsiteX96" fmla="*/ 761083 w 3473628"/>
              <a:gd name="connsiteY96" fmla="*/ 1258026 h 2831071"/>
              <a:gd name="connsiteX97" fmla="*/ 718869 w 3473628"/>
              <a:gd name="connsiteY97" fmla="*/ 1273051 h 2831071"/>
              <a:gd name="connsiteX98" fmla="*/ 639600 w 3473628"/>
              <a:gd name="connsiteY98" fmla="*/ 1331181 h 2831071"/>
              <a:gd name="connsiteX99" fmla="*/ 569678 w 3473628"/>
              <a:gd name="connsiteY99" fmla="*/ 1382100 h 2831071"/>
              <a:gd name="connsiteX100" fmla="*/ 456173 w 3473628"/>
              <a:gd name="connsiteY100" fmla="*/ 1442530 h 2831071"/>
              <a:gd name="connsiteX101" fmla="*/ 325406 w 3473628"/>
              <a:gd name="connsiteY101" fmla="*/ 1515188 h 2831071"/>
              <a:gd name="connsiteX102" fmla="*/ 239526 w 3473628"/>
              <a:gd name="connsiteY102" fmla="*/ 1551144 h 2831071"/>
              <a:gd name="connsiteX103" fmla="*/ 218388 w 3473628"/>
              <a:gd name="connsiteY103" fmla="*/ 1575453 h 2831071"/>
              <a:gd name="connsiteX104" fmla="*/ 272912 w 3473628"/>
              <a:gd name="connsiteY104" fmla="*/ 1602208 h 2831071"/>
              <a:gd name="connsiteX105" fmla="*/ 357797 w 3473628"/>
              <a:gd name="connsiteY105" fmla="*/ 1635863 h 2831071"/>
              <a:gd name="connsiteX106" fmla="*/ 403410 w 3473628"/>
              <a:gd name="connsiteY106" fmla="*/ 1653271 h 2831071"/>
              <a:gd name="connsiteX107" fmla="*/ 416073 w 3473628"/>
              <a:gd name="connsiteY107" fmla="*/ 1682036 h 2831071"/>
              <a:gd name="connsiteX108" fmla="*/ 440817 w 3473628"/>
              <a:gd name="connsiteY108" fmla="*/ 1705060 h 2831071"/>
              <a:gd name="connsiteX109" fmla="*/ 514469 w 3473628"/>
              <a:gd name="connsiteY109" fmla="*/ 1733680 h 2831071"/>
              <a:gd name="connsiteX110" fmla="*/ 651288 w 3473628"/>
              <a:gd name="connsiteY110" fmla="*/ 1765905 h 2831071"/>
              <a:gd name="connsiteX111" fmla="*/ 768109 w 3473628"/>
              <a:gd name="connsiteY111" fmla="*/ 1785179 h 2831071"/>
              <a:gd name="connsiteX112" fmla="*/ 837306 w 3473628"/>
              <a:gd name="connsiteY112" fmla="*/ 1824740 h 2831071"/>
              <a:gd name="connsiteX113" fmla="*/ 840621 w 3473628"/>
              <a:gd name="connsiteY113" fmla="*/ 1854666 h 2831071"/>
              <a:gd name="connsiteX114" fmla="*/ 790843 w 3473628"/>
              <a:gd name="connsiteY114" fmla="*/ 1883430 h 2831071"/>
              <a:gd name="connsiteX115" fmla="*/ 713874 w 3473628"/>
              <a:gd name="connsiteY115" fmla="*/ 1902413 h 2831071"/>
              <a:gd name="connsiteX116" fmla="*/ 703367 w 3473628"/>
              <a:gd name="connsiteY116" fmla="*/ 1887741 h 2831071"/>
              <a:gd name="connsiteX117" fmla="*/ 735158 w 3473628"/>
              <a:gd name="connsiteY117" fmla="*/ 1840843 h 2831071"/>
              <a:gd name="connsiteX118" fmla="*/ 785662 w 3473628"/>
              <a:gd name="connsiteY118" fmla="*/ 1808037 h 2831071"/>
              <a:gd name="connsiteX119" fmla="*/ 864640 w 3473628"/>
              <a:gd name="connsiteY119" fmla="*/ 1809757 h 2831071"/>
              <a:gd name="connsiteX120" fmla="*/ 904637 w 3473628"/>
              <a:gd name="connsiteY120" fmla="*/ 1789468 h 2831071"/>
              <a:gd name="connsiteX121" fmla="*/ 916284 w 3473628"/>
              <a:gd name="connsiteY121" fmla="*/ 1745161 h 2831071"/>
              <a:gd name="connsiteX122" fmla="*/ 912119 w 3473628"/>
              <a:gd name="connsiteY122" fmla="*/ 1675238 h 2831071"/>
              <a:gd name="connsiteX123" fmla="*/ 918025 w 3473628"/>
              <a:gd name="connsiteY123" fmla="*/ 1647904 h 2831071"/>
              <a:gd name="connsiteX124" fmla="*/ 946230 w 3473628"/>
              <a:gd name="connsiteY124" fmla="*/ 1644588 h 2831071"/>
              <a:gd name="connsiteX125" fmla="*/ 993128 w 3473628"/>
              <a:gd name="connsiteY125" fmla="*/ 1664587 h 2831071"/>
              <a:gd name="connsiteX126" fmla="*/ 1043632 w 3473628"/>
              <a:gd name="connsiteY126" fmla="*/ 1685455 h 2831071"/>
              <a:gd name="connsiteX127" fmla="*/ 1091110 w 3473628"/>
              <a:gd name="connsiteY127" fmla="*/ 1667032 h 2831071"/>
              <a:gd name="connsiteX128" fmla="*/ 1113844 w 3473628"/>
              <a:gd name="connsiteY128" fmla="*/ 1609046 h 2831071"/>
              <a:gd name="connsiteX129" fmla="*/ 1137573 w 3473628"/>
              <a:gd name="connsiteY129" fmla="*/ 1536244 h 2831071"/>
              <a:gd name="connsiteX130" fmla="*/ 1175270 w 3473628"/>
              <a:gd name="connsiteY130" fmla="*/ 1484165 h 2831071"/>
              <a:gd name="connsiteX131" fmla="*/ 1215847 w 3473628"/>
              <a:gd name="connsiteY131" fmla="*/ 1437702 h 2831071"/>
              <a:gd name="connsiteX132" fmla="*/ 1213837 w 3473628"/>
              <a:gd name="connsiteY132" fmla="*/ 1405911 h 2831071"/>
              <a:gd name="connsiteX133" fmla="*/ 1160743 w 3473628"/>
              <a:gd name="connsiteY133" fmla="*/ 1359449 h 2831071"/>
              <a:gd name="connsiteX134" fmla="*/ 1072273 w 3473628"/>
              <a:gd name="connsiteY134" fmla="*/ 1326207 h 2831071"/>
              <a:gd name="connsiteX135" fmla="*/ 969420 w 3473628"/>
              <a:gd name="connsiteY135" fmla="*/ 1337709 h 2831071"/>
              <a:gd name="connsiteX136" fmla="*/ 912160 w 3473628"/>
              <a:gd name="connsiteY136" fmla="*/ 1380152 h 2831071"/>
              <a:gd name="connsiteX137" fmla="*/ 896327 w 3473628"/>
              <a:gd name="connsiteY137" fmla="*/ 1448333 h 2831071"/>
              <a:gd name="connsiteX138" fmla="*/ 877489 w 3473628"/>
              <a:gd name="connsiteY138" fmla="*/ 1512784 h 2831071"/>
              <a:gd name="connsiteX139" fmla="*/ 860806 w 3473628"/>
              <a:gd name="connsiteY139" fmla="*/ 1564138 h 2831071"/>
              <a:gd name="connsiteX140" fmla="*/ 859936 w 3473628"/>
              <a:gd name="connsiteY140" fmla="*/ 1636216 h 2831071"/>
              <a:gd name="connsiteX141" fmla="*/ 882670 w 3473628"/>
              <a:gd name="connsiteY141" fmla="*/ 1693040 h 2831071"/>
              <a:gd name="connsiteX142" fmla="*/ 939930 w 3473628"/>
              <a:gd name="connsiteY142" fmla="*/ 1728001 h 2831071"/>
              <a:gd name="connsiteX143" fmla="*/ 1032856 w 3473628"/>
              <a:gd name="connsiteY143" fmla="*/ 1733618 h 2831071"/>
              <a:gd name="connsiteX144" fmla="*/ 1121326 w 3473628"/>
              <a:gd name="connsiteY144" fmla="*/ 1688440 h 2831071"/>
              <a:gd name="connsiteX145" fmla="*/ 1171830 w 3473628"/>
              <a:gd name="connsiteY145" fmla="*/ 1627304 h 2831071"/>
              <a:gd name="connsiteX146" fmla="*/ 1192263 w 3473628"/>
              <a:gd name="connsiteY146" fmla="*/ 1592343 h 2831071"/>
              <a:gd name="connsiteX147" fmla="*/ 1215433 w 3473628"/>
              <a:gd name="connsiteY147" fmla="*/ 1590478 h 2831071"/>
              <a:gd name="connsiteX148" fmla="*/ 1223059 w 3473628"/>
              <a:gd name="connsiteY148" fmla="*/ 1624569 h 2831071"/>
              <a:gd name="connsiteX149" fmla="*/ 1193569 w 3473628"/>
              <a:gd name="connsiteY149" fmla="*/ 1655219 h 2831071"/>
              <a:gd name="connsiteX150" fmla="*/ 1160328 w 3473628"/>
              <a:gd name="connsiteY150" fmla="*/ 1650909 h 2831071"/>
              <a:gd name="connsiteX151" fmla="*/ 1152121 w 3473628"/>
              <a:gd name="connsiteY151" fmla="*/ 1619844 h 2831071"/>
              <a:gd name="connsiteX152" fmla="*/ 1169239 w 3473628"/>
              <a:gd name="connsiteY152" fmla="*/ 1577836 h 2831071"/>
              <a:gd name="connsiteX153" fmla="*/ 1208511 w 3473628"/>
              <a:gd name="connsiteY153" fmla="*/ 1555683 h 2831071"/>
              <a:gd name="connsiteX154" fmla="*/ 1223039 w 3473628"/>
              <a:gd name="connsiteY154" fmla="*/ 1534814 h 2831071"/>
              <a:gd name="connsiteX155" fmla="*/ 1221173 w 3473628"/>
              <a:gd name="connsiteY155" fmla="*/ 1493822 h 2831071"/>
              <a:gd name="connsiteX156" fmla="*/ 1192263 w 3473628"/>
              <a:gd name="connsiteY156" fmla="*/ 1435837 h 2831071"/>
              <a:gd name="connsiteX157" fmla="*/ 1126527 w 3473628"/>
              <a:gd name="connsiteY157" fmla="*/ 1373105 h 2831071"/>
              <a:gd name="connsiteX158" fmla="*/ 1015178 w 3473628"/>
              <a:gd name="connsiteY158" fmla="*/ 1361604 h 2831071"/>
              <a:gd name="connsiteX159" fmla="*/ 929299 w 3473628"/>
              <a:gd name="connsiteY159" fmla="*/ 1399591 h 2831071"/>
              <a:gd name="connsiteX160" fmla="*/ 891312 w 3473628"/>
              <a:gd name="connsiteY160" fmla="*/ 1413683 h 2831071"/>
              <a:gd name="connsiteX161" fmla="*/ 880805 w 3473628"/>
              <a:gd name="connsiteY161" fmla="*/ 1385623 h 2831071"/>
              <a:gd name="connsiteX162" fmla="*/ 887271 w 3473628"/>
              <a:gd name="connsiteY162" fmla="*/ 1343035 h 2831071"/>
              <a:gd name="connsiteX163" fmla="*/ 919351 w 3473628"/>
              <a:gd name="connsiteY163" fmla="*/ 1314270 h 2831071"/>
              <a:gd name="connsiteX164" fmla="*/ 976031 w 3473628"/>
              <a:gd name="connsiteY164" fmla="*/ 1293402 h 2831071"/>
              <a:gd name="connsiteX165" fmla="*/ 1018183 w 3473628"/>
              <a:gd name="connsiteY165" fmla="*/ 1281900 h 2831071"/>
              <a:gd name="connsiteX166" fmla="*/ 1050844 w 3473628"/>
              <a:gd name="connsiteY166" fmla="*/ 1268947 h 2831071"/>
              <a:gd name="connsiteX167" fmla="*/ 1109244 w 3473628"/>
              <a:gd name="connsiteY167" fmla="*/ 1272118 h 2831071"/>
              <a:gd name="connsiteX168" fmla="*/ 1183622 w 3473628"/>
              <a:gd name="connsiteY168" fmla="*/ 1306209 h 2831071"/>
              <a:gd name="connsiteX169" fmla="*/ 1247202 w 3473628"/>
              <a:gd name="connsiteY169" fmla="*/ 1382017 h 2831071"/>
              <a:gd name="connsiteX170" fmla="*/ 1276983 w 3473628"/>
              <a:gd name="connsiteY170" fmla="*/ 1470777 h 2831071"/>
              <a:gd name="connsiteX171" fmla="*/ 1290785 w 3473628"/>
              <a:gd name="connsiteY171" fmla="*/ 1538959 h 2831071"/>
              <a:gd name="connsiteX172" fmla="*/ 1286184 w 3473628"/>
              <a:gd name="connsiteY172" fmla="*/ 1598664 h 2831071"/>
              <a:gd name="connsiteX173" fmla="*/ 1251223 w 3473628"/>
              <a:gd name="connsiteY173" fmla="*/ 1657789 h 2831071"/>
              <a:gd name="connsiteX174" fmla="*/ 1190792 w 3473628"/>
              <a:gd name="connsiteY174" fmla="*/ 1692460 h 2831071"/>
              <a:gd name="connsiteX175" fmla="*/ 1155396 w 3473628"/>
              <a:gd name="connsiteY175" fmla="*/ 1717349 h 2831071"/>
              <a:gd name="connsiteX176" fmla="*/ 1128786 w 3473628"/>
              <a:gd name="connsiteY176" fmla="*/ 1768848 h 2831071"/>
              <a:gd name="connsiteX177" fmla="*/ 1124766 w 3473628"/>
              <a:gd name="connsiteY177" fmla="*/ 1813156 h 2831071"/>
              <a:gd name="connsiteX178" fmla="*/ 1143459 w 3473628"/>
              <a:gd name="connsiteY178" fmla="*/ 1838045 h 2831071"/>
              <a:gd name="connsiteX179" fmla="*/ 1176700 w 3473628"/>
              <a:gd name="connsiteY179" fmla="*/ 1874581 h 2831071"/>
              <a:gd name="connsiteX180" fmla="*/ 1211951 w 3473628"/>
              <a:gd name="connsiteY180" fmla="*/ 1930971 h 2831071"/>
              <a:gd name="connsiteX181" fmla="*/ 1269791 w 3473628"/>
              <a:gd name="connsiteY181" fmla="*/ 1970678 h 2831071"/>
              <a:gd name="connsiteX182" fmla="*/ 1289790 w 3473628"/>
              <a:gd name="connsiteY182" fmla="*/ 2016996 h 2831071"/>
              <a:gd name="connsiteX183" fmla="*/ 1236696 w 3473628"/>
              <a:gd name="connsiteY183" fmla="*/ 2105031 h 2831071"/>
              <a:gd name="connsiteX184" fmla="*/ 1189362 w 3473628"/>
              <a:gd name="connsiteY184" fmla="*/ 2099269 h 2831071"/>
              <a:gd name="connsiteX185" fmla="*/ 1126921 w 3473628"/>
              <a:gd name="connsiteY185" fmla="*/ 1994386 h 2831071"/>
              <a:gd name="connsiteX186" fmla="*/ 1124621 w 3473628"/>
              <a:gd name="connsiteY186" fmla="*/ 1948773 h 2831071"/>
              <a:gd name="connsiteX187" fmla="*/ 1178855 w 3473628"/>
              <a:gd name="connsiteY187" fmla="*/ 1910226 h 2831071"/>
              <a:gd name="connsiteX188" fmla="*/ 1235245 w 3473628"/>
              <a:gd name="connsiteY188" fmla="*/ 1918288 h 2831071"/>
              <a:gd name="connsiteX189" fmla="*/ 1332792 w 3473628"/>
              <a:gd name="connsiteY189" fmla="*/ 1988065 h 2831071"/>
              <a:gd name="connsiteX190" fmla="*/ 1387316 w 3473628"/>
              <a:gd name="connsiteY190" fmla="*/ 2070650 h 2831071"/>
              <a:gd name="connsiteX191" fmla="*/ 1383710 w 3473628"/>
              <a:gd name="connsiteY191" fmla="*/ 2126190 h 2831071"/>
              <a:gd name="connsiteX192" fmla="*/ 1348459 w 3473628"/>
              <a:gd name="connsiteY192" fmla="*/ 2203448 h 2831071"/>
              <a:gd name="connsiteX193" fmla="*/ 1311923 w 3473628"/>
              <a:gd name="connsiteY193" fmla="*/ 2248771 h 2831071"/>
              <a:gd name="connsiteX194" fmla="*/ 1270786 w 3473628"/>
              <a:gd name="connsiteY194" fmla="*/ 2226907 h 2831071"/>
              <a:gd name="connsiteX195" fmla="*/ 1256694 w 3473628"/>
              <a:gd name="connsiteY195" fmla="*/ 2197417 h 2831071"/>
              <a:gd name="connsiteX196" fmla="*/ 1262745 w 3473628"/>
              <a:gd name="connsiteY196" fmla="*/ 2172093 h 2831071"/>
              <a:gd name="connsiteX197" fmla="*/ 1299427 w 3473628"/>
              <a:gd name="connsiteY197" fmla="*/ 2127640 h 2831071"/>
              <a:gd name="connsiteX198" fmla="*/ 1357826 w 3473628"/>
              <a:gd name="connsiteY198" fmla="*/ 2086068 h 2831071"/>
              <a:gd name="connsiteX199" fmla="*/ 1403999 w 3473628"/>
              <a:gd name="connsiteY199" fmla="*/ 2048372 h 2831071"/>
              <a:gd name="connsiteX200" fmla="*/ 1428453 w 3473628"/>
              <a:gd name="connsiteY200" fmla="*/ 2028228 h 2831071"/>
              <a:gd name="connsiteX201" fmla="*/ 1435644 w 3473628"/>
              <a:gd name="connsiteY201" fmla="*/ 2043481 h 2831071"/>
              <a:gd name="connsiteX202" fmla="*/ 1439375 w 3473628"/>
              <a:gd name="connsiteY202" fmla="*/ 2107062 h 2831071"/>
              <a:gd name="connsiteX203" fmla="*/ 1432039 w 3473628"/>
              <a:gd name="connsiteY203" fmla="*/ 2164902 h 2831071"/>
              <a:gd name="connsiteX204" fmla="*/ 1405864 w 3473628"/>
              <a:gd name="connsiteY204" fmla="*/ 2266469 h 2831071"/>
              <a:gd name="connsiteX205" fmla="*/ 1412765 w 3473628"/>
              <a:gd name="connsiteY205" fmla="*/ 2328330 h 2831071"/>
              <a:gd name="connsiteX206" fmla="*/ 1440245 w 3473628"/>
              <a:gd name="connsiteY206" fmla="*/ 2353074 h 2831071"/>
              <a:gd name="connsiteX207" fmla="*/ 1475932 w 3473628"/>
              <a:gd name="connsiteY207" fmla="*/ 2367457 h 2831071"/>
              <a:gd name="connsiteX208" fmla="*/ 1511038 w 3473628"/>
              <a:gd name="connsiteY208" fmla="*/ 2382710 h 2831071"/>
              <a:gd name="connsiteX209" fmla="*/ 1536217 w 3473628"/>
              <a:gd name="connsiteY209" fmla="*/ 2415225 h 2831071"/>
              <a:gd name="connsiteX210" fmla="*/ 1543408 w 3473628"/>
              <a:gd name="connsiteY210" fmla="*/ 2463843 h 2831071"/>
              <a:gd name="connsiteX211" fmla="*/ 1512758 w 3473628"/>
              <a:gd name="connsiteY211" fmla="*/ 2507156 h 2831071"/>
              <a:gd name="connsiteX212" fmla="*/ 1467083 w 3473628"/>
              <a:gd name="connsiteY212" fmla="*/ 2522844 h 2831071"/>
              <a:gd name="connsiteX213" fmla="*/ 1422195 w 3473628"/>
              <a:gd name="connsiteY213" fmla="*/ 2523860 h 2831071"/>
              <a:gd name="connsiteX214" fmla="*/ 1366738 w 3473628"/>
              <a:gd name="connsiteY214" fmla="*/ 2540832 h 2831071"/>
              <a:gd name="connsiteX215" fmla="*/ 1320420 w 3473628"/>
              <a:gd name="connsiteY215" fmla="*/ 2536667 h 2831071"/>
              <a:gd name="connsiteX216" fmla="*/ 1321788 w 3473628"/>
              <a:gd name="connsiteY216" fmla="*/ 2519549 h 2831071"/>
              <a:gd name="connsiteX217" fmla="*/ 1369846 w 3473628"/>
              <a:gd name="connsiteY217" fmla="*/ 2497893 h 2831071"/>
              <a:gd name="connsiteX218" fmla="*/ 1396891 w 3473628"/>
              <a:gd name="connsiteY218" fmla="*/ 2480277 h 2831071"/>
              <a:gd name="connsiteX219" fmla="*/ 1381286 w 3473628"/>
              <a:gd name="connsiteY219" fmla="*/ 2474102 h 2831071"/>
              <a:gd name="connsiteX220" fmla="*/ 1307986 w 3473628"/>
              <a:gd name="connsiteY220" fmla="*/ 2503094 h 2831071"/>
              <a:gd name="connsiteX221" fmla="*/ 1275760 w 3473628"/>
              <a:gd name="connsiteY221" fmla="*/ 2503820 h 2831071"/>
              <a:gd name="connsiteX222" fmla="*/ 1277190 w 3473628"/>
              <a:gd name="connsiteY222" fmla="*/ 2490515 h 2831071"/>
              <a:gd name="connsiteX223" fmla="*/ 1302287 w 3473628"/>
              <a:gd name="connsiteY223" fmla="*/ 2478495 h 2831071"/>
              <a:gd name="connsiteX224" fmla="*/ 1350407 w 3473628"/>
              <a:gd name="connsiteY224" fmla="*/ 2445109 h 2831071"/>
              <a:gd name="connsiteX225" fmla="*/ 1346946 w 3473628"/>
              <a:gd name="connsiteY225" fmla="*/ 2435120 h 2831071"/>
              <a:gd name="connsiteX226" fmla="*/ 1292774 w 3473628"/>
              <a:gd name="connsiteY226" fmla="*/ 2461812 h 2831071"/>
              <a:gd name="connsiteX227" fmla="*/ 1261834 w 3473628"/>
              <a:gd name="connsiteY227" fmla="*/ 2459719 h 2831071"/>
              <a:gd name="connsiteX228" fmla="*/ 1265149 w 3473628"/>
              <a:gd name="connsiteY228" fmla="*/ 2438933 h 2831071"/>
              <a:gd name="connsiteX229" fmla="*/ 1303053 w 3473628"/>
              <a:gd name="connsiteY229" fmla="*/ 2411308 h 2831071"/>
              <a:gd name="connsiteX230" fmla="*/ 1318513 w 3473628"/>
              <a:gd name="connsiteY230" fmla="*/ 2393175 h 2831071"/>
              <a:gd name="connsiteX231" fmla="*/ 1306783 w 3473628"/>
              <a:gd name="connsiteY231" fmla="*/ 2385984 h 2831071"/>
              <a:gd name="connsiteX232" fmla="*/ 1268590 w 3473628"/>
              <a:gd name="connsiteY232" fmla="*/ 2403392 h 2831071"/>
              <a:gd name="connsiteX233" fmla="*/ 1243410 w 3473628"/>
              <a:gd name="connsiteY233" fmla="*/ 2405257 h 2831071"/>
              <a:gd name="connsiteX234" fmla="*/ 1242685 w 3473628"/>
              <a:gd name="connsiteY234" fmla="*/ 2382461 h 2831071"/>
              <a:gd name="connsiteX235" fmla="*/ 1284402 w 3473628"/>
              <a:gd name="connsiteY235" fmla="*/ 2341469 h 2831071"/>
              <a:gd name="connsiteX236" fmla="*/ 1360935 w 3473628"/>
              <a:gd name="connsiteY236" fmla="*/ 2306218 h 2831071"/>
              <a:gd name="connsiteX237" fmla="*/ 1411004 w 3473628"/>
              <a:gd name="connsiteY237" fmla="*/ 2303047 h 2831071"/>
              <a:gd name="connsiteX238" fmla="*/ 1438484 w 3473628"/>
              <a:gd name="connsiteY238" fmla="*/ 2295131 h 2831071"/>
              <a:gd name="connsiteX239" fmla="*/ 1468409 w 3473628"/>
              <a:gd name="connsiteY239" fmla="*/ 2243777 h 2831071"/>
              <a:gd name="connsiteX240" fmla="*/ 1532570 w 3473628"/>
              <a:gd name="connsiteY240" fmla="*/ 2156301 h 2831071"/>
              <a:gd name="connsiteX241" fmla="*/ 1610761 w 3473628"/>
              <a:gd name="connsiteY241" fmla="*/ 2074152 h 2831071"/>
              <a:gd name="connsiteX242" fmla="*/ 1628957 w 3473628"/>
              <a:gd name="connsiteY242" fmla="*/ 2041864 h 2831071"/>
              <a:gd name="connsiteX243" fmla="*/ 1628604 w 3473628"/>
              <a:gd name="connsiteY243" fmla="*/ 2021078 h 2831071"/>
              <a:gd name="connsiteX244" fmla="*/ 1642841 w 3473628"/>
              <a:gd name="connsiteY244" fmla="*/ 2001308 h 2831071"/>
              <a:gd name="connsiteX245" fmla="*/ 1697863 w 3473628"/>
              <a:gd name="connsiteY245" fmla="*/ 1963611 h 2831071"/>
              <a:gd name="connsiteX246" fmla="*/ 1768718 w 3473628"/>
              <a:gd name="connsiteY246" fmla="*/ 1914703 h 2831071"/>
              <a:gd name="connsiteX247" fmla="*/ 1816549 w 3473628"/>
              <a:gd name="connsiteY247" fmla="*/ 1881109 h 2831071"/>
              <a:gd name="connsiteX248" fmla="*/ 1846039 w 3473628"/>
              <a:gd name="connsiteY248" fmla="*/ 1836221 h 2831071"/>
              <a:gd name="connsiteX249" fmla="*/ 1863882 w 3473628"/>
              <a:gd name="connsiteY249" fmla="*/ 1739400 h 2831071"/>
              <a:gd name="connsiteX250" fmla="*/ 1862162 w 3473628"/>
              <a:gd name="connsiteY250" fmla="*/ 1654225 h 2831071"/>
              <a:gd name="connsiteX251" fmla="*/ 1849355 w 3473628"/>
              <a:gd name="connsiteY251" fmla="*/ 1586312 h 2831071"/>
              <a:gd name="connsiteX252" fmla="*/ 1804322 w 3473628"/>
              <a:gd name="connsiteY252" fmla="*/ 1511499 h 2831071"/>
              <a:gd name="connsiteX253" fmla="*/ 1748512 w 3473628"/>
              <a:gd name="connsiteY253" fmla="*/ 1463296 h 2831071"/>
              <a:gd name="connsiteX254" fmla="*/ 1688662 w 3473628"/>
              <a:gd name="connsiteY254" fmla="*/ 1445017 h 2831071"/>
              <a:gd name="connsiteX255" fmla="*/ 1629682 w 3473628"/>
              <a:gd name="connsiteY255" fmla="*/ 1434655 h 2831071"/>
              <a:gd name="connsiteX256" fmla="*/ 1565521 w 3473628"/>
              <a:gd name="connsiteY256" fmla="*/ 1420708 h 2831071"/>
              <a:gd name="connsiteX257" fmla="*/ 1482377 w 3473628"/>
              <a:gd name="connsiteY257" fmla="*/ 1428044 h 2831071"/>
              <a:gd name="connsiteX258" fmla="*/ 1425117 w 3473628"/>
              <a:gd name="connsiteY258" fmla="*/ 1469036 h 2831071"/>
              <a:gd name="connsiteX259" fmla="*/ 1416910 w 3473628"/>
              <a:gd name="connsiteY259" fmla="*/ 1533923 h 2831071"/>
              <a:gd name="connsiteX260" fmla="*/ 1436618 w 3473628"/>
              <a:gd name="connsiteY260" fmla="*/ 1580240 h 2831071"/>
              <a:gd name="connsiteX261" fmla="*/ 1448265 w 3473628"/>
              <a:gd name="connsiteY261" fmla="*/ 1638081 h 2831071"/>
              <a:gd name="connsiteX262" fmla="*/ 1432577 w 3473628"/>
              <a:gd name="connsiteY262" fmla="*/ 1733037 h 2831071"/>
              <a:gd name="connsiteX263" fmla="*/ 1436598 w 3473628"/>
              <a:gd name="connsiteY263" fmla="*/ 1799063 h 2831071"/>
              <a:gd name="connsiteX264" fmla="*/ 1493568 w 3473628"/>
              <a:gd name="connsiteY264" fmla="*/ 1841216 h 2831071"/>
              <a:gd name="connsiteX265" fmla="*/ 1619299 w 3473628"/>
              <a:gd name="connsiteY265" fmla="*/ 1854168 h 2831071"/>
              <a:gd name="connsiteX266" fmla="*/ 1704039 w 3473628"/>
              <a:gd name="connsiteY266" fmla="*/ 1837050 h 2831071"/>
              <a:gd name="connsiteX267" fmla="*/ 1739290 w 3473628"/>
              <a:gd name="connsiteY267" fmla="*/ 1788577 h 2831071"/>
              <a:gd name="connsiteX268" fmla="*/ 1754108 w 3473628"/>
              <a:gd name="connsiteY268" fmla="*/ 1758507 h 2831071"/>
              <a:gd name="connsiteX269" fmla="*/ 1769071 w 3473628"/>
              <a:gd name="connsiteY269" fmla="*/ 1758507 h 2831071"/>
              <a:gd name="connsiteX270" fmla="*/ 1773526 w 3473628"/>
              <a:gd name="connsiteY270" fmla="*/ 1787562 h 2831071"/>
              <a:gd name="connsiteX271" fmla="*/ 1747621 w 3473628"/>
              <a:gd name="connsiteY271" fmla="*/ 1819497 h 2831071"/>
              <a:gd name="connsiteX272" fmla="*/ 1719271 w 3473628"/>
              <a:gd name="connsiteY272" fmla="*/ 1806110 h 2831071"/>
              <a:gd name="connsiteX273" fmla="*/ 1727478 w 3473628"/>
              <a:gd name="connsiteY273" fmla="*/ 1762092 h 2831071"/>
              <a:gd name="connsiteX274" fmla="*/ 1757258 w 3473628"/>
              <a:gd name="connsiteY274" fmla="*/ 1731297 h 2831071"/>
              <a:gd name="connsiteX275" fmla="*/ 1781857 w 3473628"/>
              <a:gd name="connsiteY275" fmla="*/ 1696626 h 2831071"/>
              <a:gd name="connsiteX276" fmla="*/ 1759123 w 3473628"/>
              <a:gd name="connsiteY276" fmla="*/ 1625563 h 2831071"/>
              <a:gd name="connsiteX277" fmla="*/ 1710650 w 3473628"/>
              <a:gd name="connsiteY277" fmla="*/ 1549175 h 2831071"/>
              <a:gd name="connsiteX278" fmla="*/ 1628065 w 3473628"/>
              <a:gd name="connsiteY278" fmla="*/ 1512349 h 2831071"/>
              <a:gd name="connsiteX279" fmla="*/ 1535989 w 3473628"/>
              <a:gd name="connsiteY279" fmla="*/ 1521260 h 2831071"/>
              <a:gd name="connsiteX280" fmla="*/ 1469528 w 3473628"/>
              <a:gd name="connsiteY280" fmla="*/ 1574624 h 2831071"/>
              <a:gd name="connsiteX281" fmla="*/ 1448100 w 3473628"/>
              <a:gd name="connsiteY281" fmla="*/ 1608280 h 2831071"/>
              <a:gd name="connsiteX282" fmla="*/ 1425946 w 3473628"/>
              <a:gd name="connsiteY282" fmla="*/ 1663384 h 2831071"/>
              <a:gd name="connsiteX283" fmla="*/ 1406527 w 3473628"/>
              <a:gd name="connsiteY283" fmla="*/ 1760351 h 2831071"/>
              <a:gd name="connsiteX284" fmla="*/ 1422215 w 3473628"/>
              <a:gd name="connsiteY284" fmla="*/ 1829693 h 2831071"/>
              <a:gd name="connsiteX285" fmla="*/ 1452866 w 3473628"/>
              <a:gd name="connsiteY285" fmla="*/ 1880115 h 2831071"/>
              <a:gd name="connsiteX286" fmla="*/ 1472139 w 3473628"/>
              <a:gd name="connsiteY286" fmla="*/ 1939737 h 2831071"/>
              <a:gd name="connsiteX287" fmla="*/ 1476885 w 3473628"/>
              <a:gd name="connsiteY287" fmla="*/ 1996769 h 2831071"/>
              <a:gd name="connsiteX288" fmla="*/ 1459332 w 3473628"/>
              <a:gd name="connsiteY288" fmla="*/ 2060205 h 2831071"/>
              <a:gd name="connsiteX289" fmla="*/ 1462212 w 3473628"/>
              <a:gd name="connsiteY289" fmla="*/ 2092430 h 2831071"/>
              <a:gd name="connsiteX290" fmla="*/ 1501339 w 3473628"/>
              <a:gd name="connsiteY290" fmla="*/ 2073157 h 2831071"/>
              <a:gd name="connsiteX291" fmla="*/ 1597083 w 3473628"/>
              <a:gd name="connsiteY291" fmla="*/ 2002592 h 2831071"/>
              <a:gd name="connsiteX292" fmla="*/ 1667586 w 3473628"/>
              <a:gd name="connsiteY292" fmla="*/ 1957705 h 2831071"/>
              <a:gd name="connsiteX293" fmla="*/ 1726856 w 3473628"/>
              <a:gd name="connsiteY293" fmla="*/ 1927987 h 2831071"/>
              <a:gd name="connsiteX294" fmla="*/ 1753258 w 3473628"/>
              <a:gd name="connsiteY294" fmla="*/ 1933520 h 2831071"/>
              <a:gd name="connsiteX295" fmla="*/ 1781816 w 3473628"/>
              <a:gd name="connsiteY295" fmla="*/ 1986034 h 2831071"/>
              <a:gd name="connsiteX296" fmla="*/ 1823616 w 3473628"/>
              <a:gd name="connsiteY296" fmla="*/ 2024809 h 2831071"/>
              <a:gd name="connsiteX297" fmla="*/ 1853044 w 3473628"/>
              <a:gd name="connsiteY297" fmla="*/ 2039129 h 2831071"/>
              <a:gd name="connsiteX298" fmla="*/ 1845417 w 3473628"/>
              <a:gd name="connsiteY298" fmla="*/ 2056392 h 2831071"/>
              <a:gd name="connsiteX299" fmla="*/ 1802685 w 3473628"/>
              <a:gd name="connsiteY299" fmla="*/ 2090420 h 2831071"/>
              <a:gd name="connsiteX300" fmla="*/ 1764283 w 3473628"/>
              <a:gd name="connsiteY300" fmla="*/ 2152281 h 2831071"/>
              <a:gd name="connsiteX301" fmla="*/ 1702132 w 3473628"/>
              <a:gd name="connsiteY301" fmla="*/ 2291753 h 2831071"/>
              <a:gd name="connsiteX302" fmla="*/ 1672207 w 3473628"/>
              <a:gd name="connsiteY302" fmla="*/ 2356639 h 2831071"/>
              <a:gd name="connsiteX303" fmla="*/ 1654654 w 3473628"/>
              <a:gd name="connsiteY303" fmla="*/ 2363043 h 2831071"/>
              <a:gd name="connsiteX304" fmla="*/ 1613082 w 3473628"/>
              <a:gd name="connsiteY304" fmla="*/ 2345054 h 2831071"/>
              <a:gd name="connsiteX305" fmla="*/ 1559925 w 3473628"/>
              <a:gd name="connsiteY305" fmla="*/ 2330174 h 2831071"/>
              <a:gd name="connsiteX306" fmla="*/ 1518498 w 3473628"/>
              <a:gd name="connsiteY306" fmla="*/ 2333345 h 2831071"/>
              <a:gd name="connsiteX307" fmla="*/ 1485112 w 3473628"/>
              <a:gd name="connsiteY307" fmla="*/ 2345075 h 2831071"/>
              <a:gd name="connsiteX308" fmla="*/ 1462813 w 3473628"/>
              <a:gd name="connsiteY308" fmla="*/ 2341759 h 2831071"/>
              <a:gd name="connsiteX309" fmla="*/ 1462523 w 3473628"/>
              <a:gd name="connsiteY309" fmla="*/ 2316435 h 2831071"/>
              <a:gd name="connsiteX310" fmla="*/ 1514022 w 3473628"/>
              <a:gd name="connsiteY310" fmla="*/ 2230907 h 2831071"/>
              <a:gd name="connsiteX311" fmla="*/ 1633868 w 3473628"/>
              <a:gd name="connsiteY311" fmla="*/ 2086462 h 2831071"/>
              <a:gd name="connsiteX312" fmla="*/ 1761050 w 3473628"/>
              <a:gd name="connsiteY312" fmla="*/ 2009494 h 2831071"/>
              <a:gd name="connsiteX313" fmla="*/ 1835718 w 3473628"/>
              <a:gd name="connsiteY313" fmla="*/ 2007773 h 2831071"/>
              <a:gd name="connsiteX314" fmla="*/ 1915422 w 3473628"/>
              <a:gd name="connsiteY314" fmla="*/ 2040579 h 2831071"/>
              <a:gd name="connsiteX315" fmla="*/ 1956414 w 3473628"/>
              <a:gd name="connsiteY315" fmla="*/ 2094378 h 2831071"/>
              <a:gd name="connsiteX316" fmla="*/ 1981593 w 3473628"/>
              <a:gd name="connsiteY316" fmla="*/ 2161420 h 2831071"/>
              <a:gd name="connsiteX317" fmla="*/ 1998421 w 3473628"/>
              <a:gd name="connsiteY317" fmla="*/ 2191781 h 2831071"/>
              <a:gd name="connsiteX318" fmla="*/ 2004473 w 3473628"/>
              <a:gd name="connsiteY318" fmla="*/ 2185874 h 2831071"/>
              <a:gd name="connsiteX319" fmla="*/ 1997717 w 3473628"/>
              <a:gd name="connsiteY319" fmla="*/ 2138106 h 2831071"/>
              <a:gd name="connsiteX320" fmla="*/ 1965781 w 3473628"/>
              <a:gd name="connsiteY320" fmla="*/ 2073364 h 2831071"/>
              <a:gd name="connsiteX321" fmla="*/ 1892688 w 3473628"/>
              <a:gd name="connsiteY321" fmla="*/ 2059127 h 2831071"/>
              <a:gd name="connsiteX322" fmla="*/ 1816155 w 3473628"/>
              <a:gd name="connsiteY322" fmla="*/ 2115517 h 2831071"/>
              <a:gd name="connsiteX323" fmla="*/ 1767682 w 3473628"/>
              <a:gd name="connsiteY323" fmla="*/ 2216504 h 2831071"/>
              <a:gd name="connsiteX324" fmla="*/ 1756740 w 3473628"/>
              <a:gd name="connsiteY324" fmla="*/ 2315771 h 2831071"/>
              <a:gd name="connsiteX325" fmla="*/ 1733280 w 3473628"/>
              <a:gd name="connsiteY325" fmla="*/ 2398211 h 2831071"/>
              <a:gd name="connsiteX326" fmla="*/ 1632148 w 3473628"/>
              <a:gd name="connsiteY326" fmla="*/ 2384554 h 2831071"/>
              <a:gd name="connsiteX327" fmla="*/ 1539637 w 3473628"/>
              <a:gd name="connsiteY327" fmla="*/ 2352183 h 2831071"/>
              <a:gd name="connsiteX328" fmla="*/ 1522519 w 3473628"/>
              <a:gd name="connsiteY328" fmla="*/ 2359229 h 2831071"/>
              <a:gd name="connsiteX329" fmla="*/ 1543947 w 3473628"/>
              <a:gd name="connsiteY329" fmla="*/ 2385549 h 2831071"/>
              <a:gd name="connsiteX330" fmla="*/ 1564381 w 3473628"/>
              <a:gd name="connsiteY330" fmla="*/ 2430727 h 2831071"/>
              <a:gd name="connsiteX331" fmla="*/ 1559200 w 3473628"/>
              <a:gd name="connsiteY331" fmla="*/ 2486412 h 2831071"/>
              <a:gd name="connsiteX332" fmla="*/ 1529710 w 3473628"/>
              <a:gd name="connsiteY332" fmla="*/ 2562364 h 2831071"/>
              <a:gd name="connsiteX333" fmla="*/ 1544963 w 3473628"/>
              <a:gd name="connsiteY333" fmla="*/ 2634587 h 2831071"/>
              <a:gd name="connsiteX334" fmla="*/ 1609124 w 3473628"/>
              <a:gd name="connsiteY334" fmla="*/ 2669984 h 2831071"/>
              <a:gd name="connsiteX335" fmla="*/ 1709821 w 3473628"/>
              <a:gd name="connsiteY335" fmla="*/ 2685526 h 2831071"/>
              <a:gd name="connsiteX336" fmla="*/ 1825481 w 3473628"/>
              <a:gd name="connsiteY336" fmla="*/ 2710706 h 2831071"/>
              <a:gd name="connsiteX337" fmla="*/ 1849666 w 3473628"/>
              <a:gd name="connsiteY337" fmla="*/ 2737274 h 2831071"/>
              <a:gd name="connsiteX338" fmla="*/ 1827284 w 3473628"/>
              <a:gd name="connsiteY338" fmla="*/ 2775385 h 2831071"/>
              <a:gd name="connsiteX339" fmla="*/ 1859468 w 3473628"/>
              <a:gd name="connsiteY339" fmla="*/ 2784130 h 2831071"/>
              <a:gd name="connsiteX340" fmla="*/ 2089565 w 3473628"/>
              <a:gd name="connsiteY340" fmla="*/ 2784130 h 2831071"/>
              <a:gd name="connsiteX341" fmla="*/ 2566897 w 3473628"/>
              <a:gd name="connsiteY341" fmla="*/ 2782162 h 2831071"/>
              <a:gd name="connsiteX342" fmla="*/ 2687966 w 3473628"/>
              <a:gd name="connsiteY342" fmla="*/ 2759884 h 2831071"/>
              <a:gd name="connsiteX343" fmla="*/ 2680464 w 3473628"/>
              <a:gd name="connsiteY343" fmla="*/ 2692303 h 2831071"/>
              <a:gd name="connsiteX344" fmla="*/ 2633566 w 3473628"/>
              <a:gd name="connsiteY344" fmla="*/ 2631872 h 2831071"/>
              <a:gd name="connsiteX345" fmla="*/ 2492291 w 3473628"/>
              <a:gd name="connsiteY345" fmla="*/ 2565701 h 2831071"/>
              <a:gd name="connsiteX346" fmla="*/ 2424110 w 3473628"/>
              <a:gd name="connsiteY346" fmla="*/ 2476651 h 2831071"/>
              <a:gd name="connsiteX347" fmla="*/ 2465247 w 3473628"/>
              <a:gd name="connsiteY347" fmla="*/ 2186330 h 2831071"/>
              <a:gd name="connsiteX348" fmla="*/ 2494592 w 3473628"/>
              <a:gd name="connsiteY348" fmla="*/ 1978159 h 2831071"/>
              <a:gd name="connsiteX349" fmla="*/ 2532289 w 3473628"/>
              <a:gd name="connsiteY349" fmla="*/ 1883202 h 2831071"/>
              <a:gd name="connsiteX350" fmla="*/ 2600200 w 3473628"/>
              <a:gd name="connsiteY350" fmla="*/ 1837175 h 2831071"/>
              <a:gd name="connsiteX351" fmla="*/ 2643928 w 3473628"/>
              <a:gd name="connsiteY351" fmla="*/ 1758051 h 2831071"/>
              <a:gd name="connsiteX352" fmla="*/ 2671553 w 3473628"/>
              <a:gd name="connsiteY352" fmla="*/ 1632029 h 2831071"/>
              <a:gd name="connsiteX353" fmla="*/ 2694577 w 3473628"/>
              <a:gd name="connsiteY353" fmla="*/ 1561817 h 2831071"/>
              <a:gd name="connsiteX354" fmla="*/ 2707239 w 3473628"/>
              <a:gd name="connsiteY354" fmla="*/ 1548305 h 2831071"/>
              <a:gd name="connsiteX355" fmla="*/ 2696877 w 3473628"/>
              <a:gd name="connsiteY355" fmla="*/ 1616217 h 2831071"/>
              <a:gd name="connsiteX356" fmla="*/ 2656300 w 3473628"/>
              <a:gd name="connsiteY356" fmla="*/ 1792308 h 2831071"/>
              <a:gd name="connsiteX357" fmla="*/ 2576306 w 3473628"/>
              <a:gd name="connsiteY357" fmla="*/ 1905377 h 2831071"/>
              <a:gd name="connsiteX358" fmla="*/ 2484810 w 3473628"/>
              <a:gd name="connsiteY358" fmla="*/ 1918329 h 2831071"/>
              <a:gd name="connsiteX359" fmla="*/ 2405251 w 3473628"/>
              <a:gd name="connsiteY359" fmla="*/ 1822813 h 2831071"/>
              <a:gd name="connsiteX360" fmla="*/ 2384113 w 3473628"/>
              <a:gd name="connsiteY360" fmla="*/ 1673912 h 2831071"/>
              <a:gd name="connsiteX361" fmla="*/ 2378642 w 3473628"/>
              <a:gd name="connsiteY361" fmla="*/ 1541984 h 2831071"/>
              <a:gd name="connsiteX362" fmla="*/ 2373751 w 3473628"/>
              <a:gd name="connsiteY362" fmla="*/ 1415527 h 2831071"/>
              <a:gd name="connsiteX363" fmla="*/ 2347141 w 3473628"/>
              <a:gd name="connsiteY363" fmla="*/ 1246918 h 2831071"/>
              <a:gd name="connsiteX364" fmla="*/ 2334769 w 3473628"/>
              <a:gd name="connsiteY364" fmla="*/ 1142615 h 2831071"/>
              <a:gd name="connsiteX365" fmla="*/ 2329153 w 3473628"/>
              <a:gd name="connsiteY365" fmla="*/ 1065211 h 2831071"/>
              <a:gd name="connsiteX366" fmla="*/ 2304554 w 3473628"/>
              <a:gd name="connsiteY366" fmla="*/ 939335 h 2831071"/>
              <a:gd name="connsiteX367" fmla="*/ 2256641 w 3473628"/>
              <a:gd name="connsiteY367" fmla="*/ 796630 h 2831071"/>
              <a:gd name="connsiteX368" fmla="*/ 2230736 w 3473628"/>
              <a:gd name="connsiteY368" fmla="*/ 692327 h 2831071"/>
              <a:gd name="connsiteX369" fmla="*/ 2239502 w 3473628"/>
              <a:gd name="connsiteY369" fmla="*/ 643564 h 2831071"/>
              <a:gd name="connsiteX370" fmla="*/ 2294026 w 3473628"/>
              <a:gd name="connsiteY370" fmla="*/ 635647 h 2831071"/>
              <a:gd name="connsiteX371" fmla="*/ 2342789 w 3473628"/>
              <a:gd name="connsiteY371" fmla="*/ 621700 h 2831071"/>
              <a:gd name="connsiteX372" fmla="*/ 2378621 w 3473628"/>
              <a:gd name="connsiteY372" fmla="*/ 587174 h 2831071"/>
              <a:gd name="connsiteX373" fmla="*/ 2391283 w 3473628"/>
              <a:gd name="connsiteY373" fmla="*/ 534080 h 2831071"/>
              <a:gd name="connsiteX374" fmla="*/ 2374601 w 3473628"/>
              <a:gd name="connsiteY374" fmla="*/ 480426 h 2831071"/>
              <a:gd name="connsiteX375" fmla="*/ 2310004 w 3473628"/>
              <a:gd name="connsiteY375" fmla="*/ 360020 h 2831071"/>
              <a:gd name="connsiteX376" fmla="*/ 2266567 w 3473628"/>
              <a:gd name="connsiteY376" fmla="*/ 280171 h 2831071"/>
              <a:gd name="connsiteX377" fmla="*/ 2203691 w 3473628"/>
              <a:gd name="connsiteY377" fmla="*/ 213564 h 2831071"/>
              <a:gd name="connsiteX378" fmla="*/ 2153622 w 3473628"/>
              <a:gd name="connsiteY378" fmla="*/ 194291 h 2831071"/>
              <a:gd name="connsiteX379" fmla="*/ 2109315 w 3473628"/>
              <a:gd name="connsiteY379" fmla="*/ 218310 h 2831071"/>
              <a:gd name="connsiteX380" fmla="*/ 2085731 w 3473628"/>
              <a:gd name="connsiteY380" fmla="*/ 264214 h 2831071"/>
              <a:gd name="connsiteX381" fmla="*/ 2085006 w 3473628"/>
              <a:gd name="connsiteY381" fmla="*/ 308666 h 2831071"/>
              <a:gd name="connsiteX382" fmla="*/ 2107595 w 3473628"/>
              <a:gd name="connsiteY382" fmla="*/ 327794 h 2831071"/>
              <a:gd name="connsiteX383" fmla="*/ 2138245 w 3473628"/>
              <a:gd name="connsiteY383" fmla="*/ 329660 h 2831071"/>
              <a:gd name="connsiteX384" fmla="*/ 2151343 w 3473628"/>
              <a:gd name="connsiteY384" fmla="*/ 299299 h 2831071"/>
              <a:gd name="connsiteX385" fmla="*/ 2155508 w 3473628"/>
              <a:gd name="connsiteY385" fmla="*/ 263053 h 2831071"/>
              <a:gd name="connsiteX386" fmla="*/ 2173641 w 3473628"/>
              <a:gd name="connsiteY386" fmla="*/ 251261 h 2831071"/>
              <a:gd name="connsiteX387" fmla="*/ 2215068 w 3473628"/>
              <a:gd name="connsiteY387" fmla="*/ 262058 h 2831071"/>
              <a:gd name="connsiteX388" fmla="*/ 2248019 w 3473628"/>
              <a:gd name="connsiteY388" fmla="*/ 269975 h 2831071"/>
              <a:gd name="connsiteX389" fmla="*/ 2262257 w 3473628"/>
              <a:gd name="connsiteY389" fmla="*/ 259903 h 2831071"/>
              <a:gd name="connsiteX390" fmla="*/ 2259749 w 3473628"/>
              <a:gd name="connsiteY390" fmla="*/ 230993 h 2831071"/>
              <a:gd name="connsiteX391" fmla="*/ 2231337 w 3473628"/>
              <a:gd name="connsiteY391" fmla="*/ 190851 h 2831071"/>
              <a:gd name="connsiteX392" fmla="*/ 2181351 w 3473628"/>
              <a:gd name="connsiteY392" fmla="*/ 163309 h 2831071"/>
              <a:gd name="connsiteX393" fmla="*/ 2141354 w 3473628"/>
              <a:gd name="connsiteY393" fmla="*/ 157548 h 2831071"/>
              <a:gd name="connsiteX394" fmla="*/ 2113377 w 3473628"/>
              <a:gd name="connsiteY394" fmla="*/ 169485 h 2831071"/>
              <a:gd name="connsiteX395" fmla="*/ 2082726 w 3473628"/>
              <a:gd name="connsiteY395" fmla="*/ 176469 h 2831071"/>
              <a:gd name="connsiteX396" fmla="*/ 2031870 w 3473628"/>
              <a:gd name="connsiteY396" fmla="*/ 162086 h 2831071"/>
              <a:gd name="connsiteX397" fmla="*/ 1991955 w 3473628"/>
              <a:gd name="connsiteY397" fmla="*/ 137280 h 2831071"/>
              <a:gd name="connsiteX398" fmla="*/ 1950528 w 3473628"/>
              <a:gd name="connsiteY398" fmla="*/ 77222 h 2831071"/>
              <a:gd name="connsiteX399" fmla="*/ 1938737 w 3473628"/>
              <a:gd name="connsiteY399" fmla="*/ 27008 h 2831071"/>
              <a:gd name="connsiteX400" fmla="*/ 1947669 w 3473628"/>
              <a:gd name="connsiteY400" fmla="*/ 1725 h 2831071"/>
              <a:gd name="connsiteX401" fmla="*/ 1970755 w 3473628"/>
              <a:gd name="connsiteY401" fmla="*/ 8461 h 2831071"/>
              <a:gd name="connsiteX402" fmla="*/ 2009260 w 3473628"/>
              <a:gd name="connsiteY402" fmla="*/ 49494 h 2831071"/>
              <a:gd name="connsiteX403" fmla="*/ 2058292 w 3473628"/>
              <a:gd name="connsiteY403" fmla="*/ 104412 h 2831071"/>
              <a:gd name="connsiteX404" fmla="*/ 2093544 w 3473628"/>
              <a:gd name="connsiteY404" fmla="*/ 149010 h 2831071"/>
              <a:gd name="connsiteX405" fmla="*/ 2084487 w 3473628"/>
              <a:gd name="connsiteY405" fmla="*/ 165837 h 2831071"/>
              <a:gd name="connsiteX406" fmla="*/ 2039599 w 3473628"/>
              <a:gd name="connsiteY406" fmla="*/ 172593 h 2831071"/>
              <a:gd name="connsiteX407" fmla="*/ 2028657 w 3473628"/>
              <a:gd name="connsiteY407" fmla="*/ 186976 h 2831071"/>
              <a:gd name="connsiteX408" fmla="*/ 2037424 w 3473628"/>
              <a:gd name="connsiteY408" fmla="*/ 210435 h 2831071"/>
              <a:gd name="connsiteX409" fmla="*/ 2052531 w 3473628"/>
              <a:gd name="connsiteY409" fmla="*/ 240360 h 2831071"/>
              <a:gd name="connsiteX410" fmla="*/ 2063183 w 3473628"/>
              <a:gd name="connsiteY410" fmla="*/ 276606 h 2831071"/>
              <a:gd name="connsiteX411" fmla="*/ 2061173 w 3473628"/>
              <a:gd name="connsiteY411" fmla="*/ 308832 h 2831071"/>
              <a:gd name="connsiteX412" fmla="*/ 2047226 w 3473628"/>
              <a:gd name="connsiteY412" fmla="*/ 318324 h 2831071"/>
              <a:gd name="connsiteX413" fmla="*/ 2037009 w 3473628"/>
              <a:gd name="connsiteY413" fmla="*/ 303216 h 2831071"/>
              <a:gd name="connsiteX414" fmla="*/ 2039890 w 3473628"/>
              <a:gd name="connsiteY414" fmla="*/ 281932 h 2831071"/>
              <a:gd name="connsiteX415" fmla="*/ 2037589 w 3473628"/>
              <a:gd name="connsiteY415" fmla="*/ 253168 h 2831071"/>
              <a:gd name="connsiteX416" fmla="*/ 2017301 w 3473628"/>
              <a:gd name="connsiteY416" fmla="*/ 238640 h 2831071"/>
              <a:gd name="connsiteX417" fmla="*/ 1980039 w 3473628"/>
              <a:gd name="connsiteY417" fmla="*/ 250142 h 2831071"/>
              <a:gd name="connsiteX418" fmla="*/ 1965367 w 3473628"/>
              <a:gd name="connsiteY418" fmla="*/ 281207 h 2831071"/>
              <a:gd name="connsiteX419" fmla="*/ 1979604 w 3473628"/>
              <a:gd name="connsiteY419" fmla="*/ 326820 h 2831071"/>
              <a:gd name="connsiteX420" fmla="*/ 2042625 w 3473628"/>
              <a:gd name="connsiteY420" fmla="*/ 396598 h 2831071"/>
              <a:gd name="connsiteX421" fmla="*/ 2145208 w 3473628"/>
              <a:gd name="connsiteY421" fmla="*/ 455288 h 2831071"/>
              <a:gd name="connsiteX422" fmla="*/ 2223752 w 3473628"/>
              <a:gd name="connsiteY422" fmla="*/ 542183 h 2831071"/>
              <a:gd name="connsiteX423" fmla="*/ 2264889 w 3473628"/>
              <a:gd name="connsiteY423" fmla="*/ 604624 h 2831071"/>
              <a:gd name="connsiteX424" fmla="*/ 2331640 w 3473628"/>
              <a:gd name="connsiteY424" fmla="*/ 595132 h 2831071"/>
              <a:gd name="connsiteX425" fmla="*/ 2408753 w 3473628"/>
              <a:gd name="connsiteY425" fmla="*/ 561746 h 2831071"/>
              <a:gd name="connsiteX426" fmla="*/ 2486157 w 3473628"/>
              <a:gd name="connsiteY426" fmla="*/ 631088 h 2831071"/>
              <a:gd name="connsiteX427" fmla="*/ 2597797 w 3473628"/>
              <a:gd name="connsiteY427" fmla="*/ 831052 h 2831071"/>
              <a:gd name="connsiteX428" fmla="*/ 2689292 w 3473628"/>
              <a:gd name="connsiteY428" fmla="*/ 1008013 h 2831071"/>
              <a:gd name="connsiteX429" fmla="*/ 2728999 w 3473628"/>
              <a:gd name="connsiteY429" fmla="*/ 1141081 h 2831071"/>
              <a:gd name="connsiteX430" fmla="*/ 2722098 w 3473628"/>
              <a:gd name="connsiteY430" fmla="*/ 1265963 h 2831071"/>
              <a:gd name="connsiteX431" fmla="*/ 2726409 w 3473628"/>
              <a:gd name="connsiteY431" fmla="*/ 1370556 h 2831071"/>
              <a:gd name="connsiteX432" fmla="*/ 2748998 w 3473628"/>
              <a:gd name="connsiteY432" fmla="*/ 1502194 h 2831071"/>
              <a:gd name="connsiteX433" fmla="*/ 2793596 w 3473628"/>
              <a:gd name="connsiteY433" fmla="*/ 1683756 h 2831071"/>
              <a:gd name="connsiteX434" fmla="*/ 2841924 w 3473628"/>
              <a:gd name="connsiteY434" fmla="*/ 1899699 h 2831071"/>
              <a:gd name="connsiteX435" fmla="*/ 2835872 w 3473628"/>
              <a:gd name="connsiteY435" fmla="*/ 2160094 h 2831071"/>
              <a:gd name="connsiteX436" fmla="*/ 2789119 w 3473628"/>
              <a:gd name="connsiteY436" fmla="*/ 2458476 h 2831071"/>
              <a:gd name="connsiteX437" fmla="*/ 2737620 w 3473628"/>
              <a:gd name="connsiteY437" fmla="*/ 2693547 h 2831071"/>
              <a:gd name="connsiteX438" fmla="*/ 2657626 w 3473628"/>
              <a:gd name="connsiteY438" fmla="*/ 2723762 h 2831071"/>
              <a:gd name="connsiteX439" fmla="*/ 2479816 w 3473628"/>
              <a:gd name="connsiteY439" fmla="*/ 2656720 h 2831071"/>
              <a:gd name="connsiteX440" fmla="*/ 2254237 w 3473628"/>
              <a:gd name="connsiteY440" fmla="*/ 2611832 h 2831071"/>
              <a:gd name="connsiteX441" fmla="*/ 2082166 w 3473628"/>
              <a:gd name="connsiteY441" fmla="*/ 2636287 h 2831071"/>
              <a:gd name="connsiteX442" fmla="*/ 1994401 w 3473628"/>
              <a:gd name="connsiteY442" fmla="*/ 2663621 h 2831071"/>
              <a:gd name="connsiteX443" fmla="*/ 1965346 w 3473628"/>
              <a:gd name="connsiteY443" fmla="*/ 2610382 h 2831071"/>
              <a:gd name="connsiteX444" fmla="*/ 1972537 w 3473628"/>
              <a:gd name="connsiteY444" fmla="*/ 2529538 h 2831071"/>
              <a:gd name="connsiteX445" fmla="*/ 2001302 w 3473628"/>
              <a:gd name="connsiteY445" fmla="*/ 2410127 h 2831071"/>
              <a:gd name="connsiteX446" fmla="*/ 2065173 w 3473628"/>
              <a:gd name="connsiteY446" fmla="*/ 2234762 h 2831071"/>
              <a:gd name="connsiteX447" fmla="*/ 2185164 w 3473628"/>
              <a:gd name="connsiteY447" fmla="*/ 1982428 h 2831071"/>
              <a:gd name="connsiteX448" fmla="*/ 2272639 w 3473628"/>
              <a:gd name="connsiteY448" fmla="*/ 1790940 h 2831071"/>
              <a:gd name="connsiteX449" fmla="*/ 2341691 w 3473628"/>
              <a:gd name="connsiteY449" fmla="*/ 1698284 h 2831071"/>
              <a:gd name="connsiteX450" fmla="*/ 2369026 w 3473628"/>
              <a:gd name="connsiteY450" fmla="*/ 1632962 h 2831071"/>
              <a:gd name="connsiteX451" fmla="*/ 2351473 w 3473628"/>
              <a:gd name="connsiteY451" fmla="*/ 1607927 h 2831071"/>
              <a:gd name="connsiteX452" fmla="*/ 2270774 w 3473628"/>
              <a:gd name="connsiteY452" fmla="*/ 1653541 h 2831071"/>
              <a:gd name="connsiteX453" fmla="*/ 2210343 w 3473628"/>
              <a:gd name="connsiteY453" fmla="*/ 1626206 h 2831071"/>
              <a:gd name="connsiteX454" fmla="*/ 2164585 w 3473628"/>
              <a:gd name="connsiteY454" fmla="*/ 1571972 h 2831071"/>
              <a:gd name="connsiteX455" fmla="*/ 2149623 w 3473628"/>
              <a:gd name="connsiteY455" fmla="*/ 1525364 h 2831071"/>
              <a:gd name="connsiteX456" fmla="*/ 2171776 w 3473628"/>
              <a:gd name="connsiteY456" fmla="*/ 1480476 h 2831071"/>
              <a:gd name="connsiteX457" fmla="*/ 2219690 w 3473628"/>
              <a:gd name="connsiteY457" fmla="*/ 1471710 h 2831071"/>
              <a:gd name="connsiteX458" fmla="*/ 2304575 w 3473628"/>
              <a:gd name="connsiteY458" fmla="*/ 1491128 h 2831071"/>
              <a:gd name="connsiteX459" fmla="*/ 2357939 w 3473628"/>
              <a:gd name="connsiteY459" fmla="*/ 1495148 h 2831071"/>
              <a:gd name="connsiteX460" fmla="*/ 2365130 w 3473628"/>
              <a:gd name="connsiteY460" fmla="*/ 1468539 h 2831071"/>
              <a:gd name="connsiteX461" fmla="*/ 2343411 w 3473628"/>
              <a:gd name="connsiteY461" fmla="*/ 1383509 h 2831071"/>
              <a:gd name="connsiteX462" fmla="*/ 2328594 w 3473628"/>
              <a:gd name="connsiteY462" fmla="*/ 1282957 h 2831071"/>
              <a:gd name="connsiteX463" fmla="*/ 2324428 w 3473628"/>
              <a:gd name="connsiteY463" fmla="*/ 1207999 h 2831071"/>
              <a:gd name="connsiteX464" fmla="*/ 2305735 w 3473628"/>
              <a:gd name="connsiteY464" fmla="*/ 1175628 h 2831071"/>
              <a:gd name="connsiteX465" fmla="*/ 2240559 w 3473628"/>
              <a:gd name="connsiteY465" fmla="*/ 1175918 h 2831071"/>
              <a:gd name="connsiteX466" fmla="*/ 2155964 w 3473628"/>
              <a:gd name="connsiteY466" fmla="*/ 1209574 h 2831071"/>
              <a:gd name="connsiteX467" fmla="*/ 2105750 w 3473628"/>
              <a:gd name="connsiteY467" fmla="*/ 1260223 h 2831071"/>
              <a:gd name="connsiteX468" fmla="*/ 2085171 w 3473628"/>
              <a:gd name="connsiteY468" fmla="*/ 1297774 h 2831071"/>
              <a:gd name="connsiteX469" fmla="*/ 2074664 w 3473628"/>
              <a:gd name="connsiteY469" fmla="*/ 1286977 h 2831071"/>
              <a:gd name="connsiteX470" fmla="*/ 2069918 w 3473628"/>
              <a:gd name="connsiteY470" fmla="*/ 1234028 h 2831071"/>
              <a:gd name="connsiteX471" fmla="*/ 2108050 w 3473628"/>
              <a:gd name="connsiteY471" fmla="*/ 1171587 h 2831071"/>
              <a:gd name="connsiteX472" fmla="*/ 2189910 w 3473628"/>
              <a:gd name="connsiteY472" fmla="*/ 1136045 h 2831071"/>
              <a:gd name="connsiteX473" fmla="*/ 2269759 w 3473628"/>
              <a:gd name="connsiteY473" fmla="*/ 1132294 h 2831071"/>
              <a:gd name="connsiteX474" fmla="*/ 2308450 w 3473628"/>
              <a:gd name="connsiteY474" fmla="*/ 1125683 h 2831071"/>
              <a:gd name="connsiteX475" fmla="*/ 2307290 w 3473628"/>
              <a:gd name="connsiteY475" fmla="*/ 1074765 h 2831071"/>
              <a:gd name="connsiteX476" fmla="*/ 2297653 w 3473628"/>
              <a:gd name="connsiteY476" fmla="*/ 1036778 h 2831071"/>
              <a:gd name="connsiteX477" fmla="*/ 2262982 w 3473628"/>
              <a:gd name="connsiteY477" fmla="*/ 1022831 h 2831071"/>
              <a:gd name="connsiteX478" fmla="*/ 2194655 w 3473628"/>
              <a:gd name="connsiteY478" fmla="*/ 1035493 h 2831071"/>
              <a:gd name="connsiteX479" fmla="*/ 2144296 w 3473628"/>
              <a:gd name="connsiteY479" fmla="*/ 1081811 h 2831071"/>
              <a:gd name="connsiteX480" fmla="*/ 2106310 w 3473628"/>
              <a:gd name="connsiteY480" fmla="*/ 1120088 h 2831071"/>
              <a:gd name="connsiteX481" fmla="*/ 2043434 w 3473628"/>
              <a:gd name="connsiteY481" fmla="*/ 1152894 h 2831071"/>
              <a:gd name="connsiteX482" fmla="*/ 1998401 w 3473628"/>
              <a:gd name="connsiteY482" fmla="*/ 1194756 h 2831071"/>
              <a:gd name="connsiteX483" fmla="*/ 1991645 w 3473628"/>
              <a:gd name="connsiteY483" fmla="*/ 1239354 h 2831071"/>
              <a:gd name="connsiteX484" fmla="*/ 2014669 w 3473628"/>
              <a:gd name="connsiteY484" fmla="*/ 1279351 h 2831071"/>
              <a:gd name="connsiteX485" fmla="*/ 2051350 w 3473628"/>
              <a:gd name="connsiteY485" fmla="*/ 1309566 h 2831071"/>
              <a:gd name="connsiteX486" fmla="*/ 2064157 w 3473628"/>
              <a:gd name="connsiteY486" fmla="*/ 1331865 h 2831071"/>
              <a:gd name="connsiteX487" fmla="*/ 2053505 w 3473628"/>
              <a:gd name="connsiteY487" fmla="*/ 1376173 h 2831071"/>
              <a:gd name="connsiteX488" fmla="*/ 2057671 w 3473628"/>
              <a:gd name="connsiteY488" fmla="*/ 1437598 h 2831071"/>
              <a:gd name="connsiteX489" fmla="*/ 2084715 w 3473628"/>
              <a:gd name="connsiteY489" fmla="*/ 1526939 h 2831071"/>
              <a:gd name="connsiteX490" fmla="*/ 2142556 w 3473628"/>
              <a:gd name="connsiteY490" fmla="*/ 1590374 h 2831071"/>
              <a:gd name="connsiteX491" fmla="*/ 2188583 w 3473628"/>
              <a:gd name="connsiteY491" fmla="*/ 1652525 h 2831071"/>
              <a:gd name="connsiteX492" fmla="*/ 2211753 w 3473628"/>
              <a:gd name="connsiteY492" fmla="*/ 1709350 h 2831071"/>
              <a:gd name="connsiteX493" fmla="*/ 2213038 w 3473628"/>
              <a:gd name="connsiteY493" fmla="*/ 1751502 h 2831071"/>
              <a:gd name="connsiteX494" fmla="*/ 2193619 w 3473628"/>
              <a:gd name="connsiteY494" fmla="*/ 1786463 h 2831071"/>
              <a:gd name="connsiteX495" fmla="*/ 2145416 w 3473628"/>
              <a:gd name="connsiteY495" fmla="*/ 1826170 h 2831071"/>
              <a:gd name="connsiteX496" fmla="*/ 2094062 w 3473628"/>
              <a:gd name="connsiteY496" fmla="*/ 1865877 h 2831071"/>
              <a:gd name="connsiteX497" fmla="*/ 2067452 w 3473628"/>
              <a:gd name="connsiteY497" fmla="*/ 1897668 h 2831071"/>
              <a:gd name="connsiteX498" fmla="*/ 2076654 w 3473628"/>
              <a:gd name="connsiteY498" fmla="*/ 1913791 h 2831071"/>
              <a:gd name="connsiteX499" fmla="*/ 2097668 w 3473628"/>
              <a:gd name="connsiteY499" fmla="*/ 1937955 h 2831071"/>
              <a:gd name="connsiteX500" fmla="*/ 2095077 w 3473628"/>
              <a:gd name="connsiteY500" fmla="*/ 2004416 h 2831071"/>
              <a:gd name="connsiteX501" fmla="*/ 2059391 w 3473628"/>
              <a:gd name="connsiteY501" fmla="*/ 2109155 h 2831071"/>
              <a:gd name="connsiteX502" fmla="*/ 1969325 w 3473628"/>
              <a:gd name="connsiteY502" fmla="*/ 2331853 h 2831071"/>
              <a:gd name="connsiteX503" fmla="*/ 1904584 w 3473628"/>
              <a:gd name="connsiteY503" fmla="*/ 2574405 h 2831071"/>
              <a:gd name="connsiteX504" fmla="*/ 1892502 w 3473628"/>
              <a:gd name="connsiteY504" fmla="*/ 2764443 h 2831071"/>
              <a:gd name="connsiteX505" fmla="*/ 2038812 w 3473628"/>
              <a:gd name="connsiteY505" fmla="*/ 2824874 h 2831071"/>
              <a:gd name="connsiteX506" fmla="*/ 2686909 w 3473628"/>
              <a:gd name="connsiteY506" fmla="*/ 2831070 h 2831071"/>
              <a:gd name="connsiteX507" fmla="*/ 3473628 w 3473628"/>
              <a:gd name="connsiteY507" fmla="*/ 2831070 h 2831071"/>
              <a:gd name="connsiteX0" fmla="*/ 1241953 w 2846793"/>
              <a:gd name="connsiteY0" fmla="*/ 2360975 h 2831069"/>
              <a:gd name="connsiteX1" fmla="*/ 1209568 w 2846793"/>
              <a:gd name="connsiteY1" fmla="*/ 2270448 h 2831069"/>
              <a:gd name="connsiteX2" fmla="*/ 1120808 w 2846793"/>
              <a:gd name="connsiteY2" fmla="*/ 2115662 h 2831069"/>
              <a:gd name="connsiteX3" fmla="*/ 1030182 w 2846793"/>
              <a:gd name="connsiteY3" fmla="*/ 1957124 h 2831069"/>
              <a:gd name="connsiteX4" fmla="*/ 963576 w 2846793"/>
              <a:gd name="connsiteY4" fmla="*/ 1924173 h 2831069"/>
              <a:gd name="connsiteX5" fmla="*/ 805764 w 2846793"/>
              <a:gd name="connsiteY5" fmla="*/ 1954244 h 2831069"/>
              <a:gd name="connsiteX6" fmla="*/ 604929 w 2846793"/>
              <a:gd name="connsiteY6" fmla="*/ 1989060 h 2831069"/>
              <a:gd name="connsiteX7" fmla="*/ 477332 w 2846793"/>
              <a:gd name="connsiteY7" fmla="*/ 1993661 h 2831069"/>
              <a:gd name="connsiteX8" fmla="*/ 361672 w 2846793"/>
              <a:gd name="connsiteY8" fmla="*/ 2000852 h 2831069"/>
              <a:gd name="connsiteX9" fmla="*/ 98687 w 2846793"/>
              <a:gd name="connsiteY9" fmla="*/ 2062567 h 2831069"/>
              <a:gd name="connsiteX10" fmla="*/ 3316 w 2846793"/>
              <a:gd name="connsiteY10" fmla="*/ 2090047 h 2831069"/>
              <a:gd name="connsiteX11" fmla="*/ 45468 w 2846793"/>
              <a:gd name="connsiteY11" fmla="*/ 2164135 h 2831069"/>
              <a:gd name="connsiteX12" fmla="*/ 243277 w 2846793"/>
              <a:gd name="connsiteY12" fmla="*/ 2417629 h 2831069"/>
              <a:gd name="connsiteX13" fmla="*/ 343270 w 2846793"/>
              <a:gd name="connsiteY13" fmla="*/ 2553723 h 2831069"/>
              <a:gd name="connsiteX14" fmla="*/ 396634 w 2846793"/>
              <a:gd name="connsiteY14" fmla="*/ 2608392 h 2831069"/>
              <a:gd name="connsiteX15" fmla="*/ 442102 w 2846793"/>
              <a:gd name="connsiteY15" fmla="*/ 2644348 h 2831069"/>
              <a:gd name="connsiteX16" fmla="*/ 450018 w 2846793"/>
              <a:gd name="connsiteY16" fmla="*/ 2670108 h 2831069"/>
              <a:gd name="connsiteX17" fmla="*/ 431180 w 2846793"/>
              <a:gd name="connsiteY17" fmla="*/ 2687516 h 2831069"/>
              <a:gd name="connsiteX18" fmla="*/ 385007 w 2846793"/>
              <a:gd name="connsiteY18" fmla="*/ 2665507 h 2831069"/>
              <a:gd name="connsiteX19" fmla="*/ 320266 w 2846793"/>
              <a:gd name="connsiteY19" fmla="*/ 2569991 h 2831069"/>
              <a:gd name="connsiteX20" fmla="*/ 307459 w 2846793"/>
              <a:gd name="connsiteY20" fmla="*/ 2513166 h 2831069"/>
              <a:gd name="connsiteX21" fmla="*/ 319396 w 2846793"/>
              <a:gd name="connsiteY21" fmla="*/ 2499923 h 2831069"/>
              <a:gd name="connsiteX22" fmla="*/ 348015 w 2846793"/>
              <a:gd name="connsiteY22" fmla="*/ 2524378 h 2831069"/>
              <a:gd name="connsiteX23" fmla="*/ 378086 w 2846793"/>
              <a:gd name="connsiteY23" fmla="*/ 2562364 h 2831069"/>
              <a:gd name="connsiteX24" fmla="*/ 409731 w 2846793"/>
              <a:gd name="connsiteY24" fmla="*/ 2581348 h 2831069"/>
              <a:gd name="connsiteX25" fmla="*/ 431740 w 2846793"/>
              <a:gd name="connsiteY25" fmla="*/ 2604372 h 2831069"/>
              <a:gd name="connsiteX26" fmla="*/ 455323 w 2846793"/>
              <a:gd name="connsiteY26" fmla="*/ 2623645 h 2831069"/>
              <a:gd name="connsiteX27" fmla="*/ 472006 w 2846793"/>
              <a:gd name="connsiteY27" fmla="*/ 2654005 h 2831069"/>
              <a:gd name="connsiteX28" fmla="*/ 483798 w 2846793"/>
              <a:gd name="connsiteY28" fmla="*/ 2705649 h 2831069"/>
              <a:gd name="connsiteX29" fmla="*/ 515029 w 2846793"/>
              <a:gd name="connsiteY29" fmla="*/ 2761707 h 2831069"/>
              <a:gd name="connsiteX30" fmla="*/ 593924 w 2846793"/>
              <a:gd name="connsiteY30" fmla="*/ 2781975 h 2831069"/>
              <a:gd name="connsiteX31" fmla="*/ 917921 w 2846793"/>
              <a:gd name="connsiteY31" fmla="*/ 2784234 h 2831069"/>
              <a:gd name="connsiteX32" fmla="*/ 1481859 w 2846793"/>
              <a:gd name="connsiteY32" fmla="*/ 2784234 h 2831069"/>
              <a:gd name="connsiteX33" fmla="*/ 1611175 w 2846793"/>
              <a:gd name="connsiteY33" fmla="*/ 2760402 h 2831069"/>
              <a:gd name="connsiteX34" fmla="*/ 1530415 w 2846793"/>
              <a:gd name="connsiteY34" fmla="*/ 2653819 h 2831069"/>
              <a:gd name="connsiteX35" fmla="*/ 1485506 w 2846793"/>
              <a:gd name="connsiteY35" fmla="*/ 2582508 h 2831069"/>
              <a:gd name="connsiteX36" fmla="*/ 1444639 w 2846793"/>
              <a:gd name="connsiteY36" fmla="*/ 2563380 h 2831069"/>
              <a:gd name="connsiteX37" fmla="*/ 1360914 w 2846793"/>
              <a:gd name="connsiteY37" fmla="*/ 2569701 h 2831069"/>
              <a:gd name="connsiteX38" fmla="*/ 1305374 w 2846793"/>
              <a:gd name="connsiteY38" fmla="*/ 2561204 h 2831069"/>
              <a:gd name="connsiteX39" fmla="*/ 1259906 w 2846793"/>
              <a:gd name="connsiteY39" fmla="*/ 2517187 h 2831069"/>
              <a:gd name="connsiteX40" fmla="*/ 1228551 w 2846793"/>
              <a:gd name="connsiteY40" fmla="*/ 2442519 h 2831069"/>
              <a:gd name="connsiteX41" fmla="*/ 1227121 w 2846793"/>
              <a:gd name="connsiteY41" fmla="*/ 2364680 h 2831069"/>
              <a:gd name="connsiteX42" fmla="*/ 1271139 w 2846793"/>
              <a:gd name="connsiteY42" fmla="*/ 2317491 h 2831069"/>
              <a:gd name="connsiteX43" fmla="*/ 1254021 w 2846793"/>
              <a:gd name="connsiteY43" fmla="*/ 2254201 h 2831069"/>
              <a:gd name="connsiteX44" fmla="*/ 1118217 w 2846793"/>
              <a:gd name="connsiteY44" fmla="*/ 2041429 h 2831069"/>
              <a:gd name="connsiteX45" fmla="*/ 1021105 w 2846793"/>
              <a:gd name="connsiteY45" fmla="*/ 1888363 h 2831069"/>
              <a:gd name="connsiteX46" fmla="*/ 969171 w 2846793"/>
              <a:gd name="connsiteY46" fmla="*/ 1865338 h 2831069"/>
              <a:gd name="connsiteX47" fmla="*/ 890048 w 2846793"/>
              <a:gd name="connsiteY47" fmla="*/ 1886477 h 2831069"/>
              <a:gd name="connsiteX48" fmla="*/ 773808 w 2846793"/>
              <a:gd name="connsiteY48" fmla="*/ 1916837 h 2831069"/>
              <a:gd name="connsiteX49" fmla="*/ 552974 w 2846793"/>
              <a:gd name="connsiteY49" fmla="*/ 1960565 h 2831069"/>
              <a:gd name="connsiteX50" fmla="*/ 460463 w 2846793"/>
              <a:gd name="connsiteY50" fmla="*/ 1968771 h 2831069"/>
              <a:gd name="connsiteX51" fmla="*/ 390251 w 2846793"/>
              <a:gd name="connsiteY51" fmla="*/ 1936110 h 2831069"/>
              <a:gd name="connsiteX52" fmla="*/ 237329 w 2846793"/>
              <a:gd name="connsiteY52" fmla="*/ 1817280 h 2831069"/>
              <a:gd name="connsiteX53" fmla="*/ 148859 w 2846793"/>
              <a:gd name="connsiteY53" fmla="*/ 1724478 h 2831069"/>
              <a:gd name="connsiteX54" fmla="*/ 135326 w 2846793"/>
              <a:gd name="connsiteY54" fmla="*/ 1660753 h 2831069"/>
              <a:gd name="connsiteX55" fmla="*/ 160361 w 2846793"/>
              <a:gd name="connsiteY55" fmla="*/ 1619326 h 2831069"/>
              <a:gd name="connsiteX56" fmla="*/ 206534 w 2846793"/>
              <a:gd name="connsiteY56" fmla="*/ 1610829 h 2831069"/>
              <a:gd name="connsiteX57" fmla="*/ 299894 w 2846793"/>
              <a:gd name="connsiteY57" fmla="*/ 1646370 h 2831069"/>
              <a:gd name="connsiteX58" fmla="*/ 372552 w 2846793"/>
              <a:gd name="connsiteY58" fmla="*/ 1668959 h 2831069"/>
              <a:gd name="connsiteX59" fmla="*/ 375723 w 2846793"/>
              <a:gd name="connsiteY59" fmla="*/ 1692688 h 2831069"/>
              <a:gd name="connsiteX60" fmla="*/ 313282 w 2846793"/>
              <a:gd name="connsiteY60" fmla="*/ 1712832 h 2831069"/>
              <a:gd name="connsiteX61" fmla="*/ 211134 w 2846793"/>
              <a:gd name="connsiteY61" fmla="*/ 1685787 h 2831069"/>
              <a:gd name="connsiteX62" fmla="*/ 161356 w 2846793"/>
              <a:gd name="connsiteY62" fmla="*/ 1648235 h 2831069"/>
              <a:gd name="connsiteX63" fmla="*/ 166391 w 2846793"/>
              <a:gd name="connsiteY63" fmla="*/ 1605586 h 2831069"/>
              <a:gd name="connsiteX64" fmla="*/ 200192 w 2846793"/>
              <a:gd name="connsiteY64" fmla="*/ 1577816 h 2831069"/>
              <a:gd name="connsiteX65" fmla="*/ 287232 w 2846793"/>
              <a:gd name="connsiteY65" fmla="*/ 1590830 h 2831069"/>
              <a:gd name="connsiteX66" fmla="*/ 369009 w 2846793"/>
              <a:gd name="connsiteY66" fmla="*/ 1618953 h 2831069"/>
              <a:gd name="connsiteX67" fmla="*/ 419927 w 2846793"/>
              <a:gd name="connsiteY67" fmla="*/ 1621046 h 2831069"/>
              <a:gd name="connsiteX68" fmla="*/ 508625 w 2846793"/>
              <a:gd name="connsiteY68" fmla="*/ 1559682 h 2831069"/>
              <a:gd name="connsiteX69" fmla="*/ 603872 w 2846793"/>
              <a:gd name="connsiteY69" fmla="*/ 1496164 h 2831069"/>
              <a:gd name="connsiteX70" fmla="*/ 672489 w 2846793"/>
              <a:gd name="connsiteY70" fmla="*/ 1469699 h 2831069"/>
              <a:gd name="connsiteX71" fmla="*/ 740318 w 2846793"/>
              <a:gd name="connsiteY71" fmla="*/ 1459835 h 2831069"/>
              <a:gd name="connsiteX72" fmla="*/ 810675 w 2846793"/>
              <a:gd name="connsiteY72" fmla="*/ 1421288 h 2831069"/>
              <a:gd name="connsiteX73" fmla="*/ 854631 w 2846793"/>
              <a:gd name="connsiteY73" fmla="*/ 1394969 h 2831069"/>
              <a:gd name="connsiteX74" fmla="*/ 862982 w 2846793"/>
              <a:gd name="connsiteY74" fmla="*/ 1380214 h 2831069"/>
              <a:gd name="connsiteX75" fmla="*/ 851688 w 2846793"/>
              <a:gd name="connsiteY75" fmla="*/ 1366412 h 2831069"/>
              <a:gd name="connsiteX76" fmla="*/ 827524 w 2846793"/>
              <a:gd name="connsiteY76" fmla="*/ 1363614 h 2831069"/>
              <a:gd name="connsiteX77" fmla="*/ 824291 w 2846793"/>
              <a:gd name="connsiteY77" fmla="*/ 1354910 h 2831069"/>
              <a:gd name="connsiteX78" fmla="*/ 846652 w 2846793"/>
              <a:gd name="connsiteY78" fmla="*/ 1340030 h 2831069"/>
              <a:gd name="connsiteX79" fmla="*/ 880308 w 2846793"/>
              <a:gd name="connsiteY79" fmla="*/ 1319161 h 2831069"/>
              <a:gd name="connsiteX80" fmla="*/ 897363 w 2846793"/>
              <a:gd name="connsiteY80" fmla="*/ 1302831 h 2831069"/>
              <a:gd name="connsiteX81" fmla="*/ 886794 w 2846793"/>
              <a:gd name="connsiteY81" fmla="*/ 1295930 h 2831069"/>
              <a:gd name="connsiteX82" fmla="*/ 844642 w 2846793"/>
              <a:gd name="connsiteY82" fmla="*/ 1306934 h 2831069"/>
              <a:gd name="connsiteX83" fmla="*/ 809536 w 2846793"/>
              <a:gd name="connsiteY83" fmla="*/ 1335347 h 2831069"/>
              <a:gd name="connsiteX84" fmla="*/ 787029 w 2846793"/>
              <a:gd name="connsiteY84" fmla="*/ 1349667 h 2831069"/>
              <a:gd name="connsiteX85" fmla="*/ 782139 w 2846793"/>
              <a:gd name="connsiteY85" fmla="*/ 1343346 h 2831069"/>
              <a:gd name="connsiteX86" fmla="*/ 804583 w 2846793"/>
              <a:gd name="connsiteY86" fmla="*/ 1325296 h 2831069"/>
              <a:gd name="connsiteX87" fmla="*/ 816810 w 2846793"/>
              <a:gd name="connsiteY87" fmla="*/ 1307743 h 2831069"/>
              <a:gd name="connsiteX88" fmla="*/ 811276 w 2846793"/>
              <a:gd name="connsiteY88" fmla="*/ 1290977 h 2831069"/>
              <a:gd name="connsiteX89" fmla="*/ 791713 w 2846793"/>
              <a:gd name="connsiteY89" fmla="*/ 1290832 h 2831069"/>
              <a:gd name="connsiteX90" fmla="*/ 761933 w 2846793"/>
              <a:gd name="connsiteY90" fmla="*/ 1313856 h 2831069"/>
              <a:gd name="connsiteX91" fmla="*/ 742515 w 2846793"/>
              <a:gd name="connsiteY91" fmla="*/ 1324218 h 2831069"/>
              <a:gd name="connsiteX92" fmla="*/ 739862 w 2846793"/>
              <a:gd name="connsiteY92" fmla="*/ 1318457 h 2831069"/>
              <a:gd name="connsiteX93" fmla="*/ 752296 w 2846793"/>
              <a:gd name="connsiteY93" fmla="*/ 1300406 h 2831069"/>
              <a:gd name="connsiteX94" fmla="*/ 772585 w 2846793"/>
              <a:gd name="connsiteY94" fmla="*/ 1280615 h 2831069"/>
              <a:gd name="connsiteX95" fmla="*/ 776108 w 2846793"/>
              <a:gd name="connsiteY95" fmla="*/ 1263994 h 2831069"/>
              <a:gd name="connsiteX96" fmla="*/ 761083 w 2846793"/>
              <a:gd name="connsiteY96" fmla="*/ 1258026 h 2831069"/>
              <a:gd name="connsiteX97" fmla="*/ 718869 w 2846793"/>
              <a:gd name="connsiteY97" fmla="*/ 1273051 h 2831069"/>
              <a:gd name="connsiteX98" fmla="*/ 639600 w 2846793"/>
              <a:gd name="connsiteY98" fmla="*/ 1331181 h 2831069"/>
              <a:gd name="connsiteX99" fmla="*/ 569678 w 2846793"/>
              <a:gd name="connsiteY99" fmla="*/ 1382100 h 2831069"/>
              <a:gd name="connsiteX100" fmla="*/ 456173 w 2846793"/>
              <a:gd name="connsiteY100" fmla="*/ 1442530 h 2831069"/>
              <a:gd name="connsiteX101" fmla="*/ 325406 w 2846793"/>
              <a:gd name="connsiteY101" fmla="*/ 1515188 h 2831069"/>
              <a:gd name="connsiteX102" fmla="*/ 239526 w 2846793"/>
              <a:gd name="connsiteY102" fmla="*/ 1551144 h 2831069"/>
              <a:gd name="connsiteX103" fmla="*/ 218388 w 2846793"/>
              <a:gd name="connsiteY103" fmla="*/ 1575453 h 2831069"/>
              <a:gd name="connsiteX104" fmla="*/ 272912 w 2846793"/>
              <a:gd name="connsiteY104" fmla="*/ 1602208 h 2831069"/>
              <a:gd name="connsiteX105" fmla="*/ 357797 w 2846793"/>
              <a:gd name="connsiteY105" fmla="*/ 1635863 h 2831069"/>
              <a:gd name="connsiteX106" fmla="*/ 403410 w 2846793"/>
              <a:gd name="connsiteY106" fmla="*/ 1653271 h 2831069"/>
              <a:gd name="connsiteX107" fmla="*/ 416073 w 2846793"/>
              <a:gd name="connsiteY107" fmla="*/ 1682036 h 2831069"/>
              <a:gd name="connsiteX108" fmla="*/ 440817 w 2846793"/>
              <a:gd name="connsiteY108" fmla="*/ 1705060 h 2831069"/>
              <a:gd name="connsiteX109" fmla="*/ 514469 w 2846793"/>
              <a:gd name="connsiteY109" fmla="*/ 1733680 h 2831069"/>
              <a:gd name="connsiteX110" fmla="*/ 651288 w 2846793"/>
              <a:gd name="connsiteY110" fmla="*/ 1765905 h 2831069"/>
              <a:gd name="connsiteX111" fmla="*/ 768109 w 2846793"/>
              <a:gd name="connsiteY111" fmla="*/ 1785179 h 2831069"/>
              <a:gd name="connsiteX112" fmla="*/ 837306 w 2846793"/>
              <a:gd name="connsiteY112" fmla="*/ 1824740 h 2831069"/>
              <a:gd name="connsiteX113" fmla="*/ 840621 w 2846793"/>
              <a:gd name="connsiteY113" fmla="*/ 1854666 h 2831069"/>
              <a:gd name="connsiteX114" fmla="*/ 790843 w 2846793"/>
              <a:gd name="connsiteY114" fmla="*/ 1883430 h 2831069"/>
              <a:gd name="connsiteX115" fmla="*/ 713874 w 2846793"/>
              <a:gd name="connsiteY115" fmla="*/ 1902413 h 2831069"/>
              <a:gd name="connsiteX116" fmla="*/ 703367 w 2846793"/>
              <a:gd name="connsiteY116" fmla="*/ 1887741 h 2831069"/>
              <a:gd name="connsiteX117" fmla="*/ 735158 w 2846793"/>
              <a:gd name="connsiteY117" fmla="*/ 1840843 h 2831069"/>
              <a:gd name="connsiteX118" fmla="*/ 785662 w 2846793"/>
              <a:gd name="connsiteY118" fmla="*/ 1808037 h 2831069"/>
              <a:gd name="connsiteX119" fmla="*/ 864640 w 2846793"/>
              <a:gd name="connsiteY119" fmla="*/ 1809757 h 2831069"/>
              <a:gd name="connsiteX120" fmla="*/ 904637 w 2846793"/>
              <a:gd name="connsiteY120" fmla="*/ 1789468 h 2831069"/>
              <a:gd name="connsiteX121" fmla="*/ 916284 w 2846793"/>
              <a:gd name="connsiteY121" fmla="*/ 1745161 h 2831069"/>
              <a:gd name="connsiteX122" fmla="*/ 912119 w 2846793"/>
              <a:gd name="connsiteY122" fmla="*/ 1675238 h 2831069"/>
              <a:gd name="connsiteX123" fmla="*/ 918025 w 2846793"/>
              <a:gd name="connsiteY123" fmla="*/ 1647904 h 2831069"/>
              <a:gd name="connsiteX124" fmla="*/ 946230 w 2846793"/>
              <a:gd name="connsiteY124" fmla="*/ 1644588 h 2831069"/>
              <a:gd name="connsiteX125" fmla="*/ 993128 w 2846793"/>
              <a:gd name="connsiteY125" fmla="*/ 1664587 h 2831069"/>
              <a:gd name="connsiteX126" fmla="*/ 1043632 w 2846793"/>
              <a:gd name="connsiteY126" fmla="*/ 1685455 h 2831069"/>
              <a:gd name="connsiteX127" fmla="*/ 1091110 w 2846793"/>
              <a:gd name="connsiteY127" fmla="*/ 1667032 h 2831069"/>
              <a:gd name="connsiteX128" fmla="*/ 1113844 w 2846793"/>
              <a:gd name="connsiteY128" fmla="*/ 1609046 h 2831069"/>
              <a:gd name="connsiteX129" fmla="*/ 1137573 w 2846793"/>
              <a:gd name="connsiteY129" fmla="*/ 1536244 h 2831069"/>
              <a:gd name="connsiteX130" fmla="*/ 1175270 w 2846793"/>
              <a:gd name="connsiteY130" fmla="*/ 1484165 h 2831069"/>
              <a:gd name="connsiteX131" fmla="*/ 1215847 w 2846793"/>
              <a:gd name="connsiteY131" fmla="*/ 1437702 h 2831069"/>
              <a:gd name="connsiteX132" fmla="*/ 1213837 w 2846793"/>
              <a:gd name="connsiteY132" fmla="*/ 1405911 h 2831069"/>
              <a:gd name="connsiteX133" fmla="*/ 1160743 w 2846793"/>
              <a:gd name="connsiteY133" fmla="*/ 1359449 h 2831069"/>
              <a:gd name="connsiteX134" fmla="*/ 1072273 w 2846793"/>
              <a:gd name="connsiteY134" fmla="*/ 1326207 h 2831069"/>
              <a:gd name="connsiteX135" fmla="*/ 969420 w 2846793"/>
              <a:gd name="connsiteY135" fmla="*/ 1337709 h 2831069"/>
              <a:gd name="connsiteX136" fmla="*/ 912160 w 2846793"/>
              <a:gd name="connsiteY136" fmla="*/ 1380152 h 2831069"/>
              <a:gd name="connsiteX137" fmla="*/ 896327 w 2846793"/>
              <a:gd name="connsiteY137" fmla="*/ 1448333 h 2831069"/>
              <a:gd name="connsiteX138" fmla="*/ 877489 w 2846793"/>
              <a:gd name="connsiteY138" fmla="*/ 1512784 h 2831069"/>
              <a:gd name="connsiteX139" fmla="*/ 860806 w 2846793"/>
              <a:gd name="connsiteY139" fmla="*/ 1564138 h 2831069"/>
              <a:gd name="connsiteX140" fmla="*/ 859936 w 2846793"/>
              <a:gd name="connsiteY140" fmla="*/ 1636216 h 2831069"/>
              <a:gd name="connsiteX141" fmla="*/ 882670 w 2846793"/>
              <a:gd name="connsiteY141" fmla="*/ 1693040 h 2831069"/>
              <a:gd name="connsiteX142" fmla="*/ 939930 w 2846793"/>
              <a:gd name="connsiteY142" fmla="*/ 1728001 h 2831069"/>
              <a:gd name="connsiteX143" fmla="*/ 1032856 w 2846793"/>
              <a:gd name="connsiteY143" fmla="*/ 1733618 h 2831069"/>
              <a:gd name="connsiteX144" fmla="*/ 1121326 w 2846793"/>
              <a:gd name="connsiteY144" fmla="*/ 1688440 h 2831069"/>
              <a:gd name="connsiteX145" fmla="*/ 1171830 w 2846793"/>
              <a:gd name="connsiteY145" fmla="*/ 1627304 h 2831069"/>
              <a:gd name="connsiteX146" fmla="*/ 1192263 w 2846793"/>
              <a:gd name="connsiteY146" fmla="*/ 1592343 h 2831069"/>
              <a:gd name="connsiteX147" fmla="*/ 1215433 w 2846793"/>
              <a:gd name="connsiteY147" fmla="*/ 1590478 h 2831069"/>
              <a:gd name="connsiteX148" fmla="*/ 1223059 w 2846793"/>
              <a:gd name="connsiteY148" fmla="*/ 1624569 h 2831069"/>
              <a:gd name="connsiteX149" fmla="*/ 1193569 w 2846793"/>
              <a:gd name="connsiteY149" fmla="*/ 1655219 h 2831069"/>
              <a:gd name="connsiteX150" fmla="*/ 1160328 w 2846793"/>
              <a:gd name="connsiteY150" fmla="*/ 1650909 h 2831069"/>
              <a:gd name="connsiteX151" fmla="*/ 1152121 w 2846793"/>
              <a:gd name="connsiteY151" fmla="*/ 1619844 h 2831069"/>
              <a:gd name="connsiteX152" fmla="*/ 1169239 w 2846793"/>
              <a:gd name="connsiteY152" fmla="*/ 1577836 h 2831069"/>
              <a:gd name="connsiteX153" fmla="*/ 1208511 w 2846793"/>
              <a:gd name="connsiteY153" fmla="*/ 1555683 h 2831069"/>
              <a:gd name="connsiteX154" fmla="*/ 1223039 w 2846793"/>
              <a:gd name="connsiteY154" fmla="*/ 1534814 h 2831069"/>
              <a:gd name="connsiteX155" fmla="*/ 1221173 w 2846793"/>
              <a:gd name="connsiteY155" fmla="*/ 1493822 h 2831069"/>
              <a:gd name="connsiteX156" fmla="*/ 1192263 w 2846793"/>
              <a:gd name="connsiteY156" fmla="*/ 1435837 h 2831069"/>
              <a:gd name="connsiteX157" fmla="*/ 1126527 w 2846793"/>
              <a:gd name="connsiteY157" fmla="*/ 1373105 h 2831069"/>
              <a:gd name="connsiteX158" fmla="*/ 1015178 w 2846793"/>
              <a:gd name="connsiteY158" fmla="*/ 1361604 h 2831069"/>
              <a:gd name="connsiteX159" fmla="*/ 929299 w 2846793"/>
              <a:gd name="connsiteY159" fmla="*/ 1399591 h 2831069"/>
              <a:gd name="connsiteX160" fmla="*/ 891312 w 2846793"/>
              <a:gd name="connsiteY160" fmla="*/ 1413683 h 2831069"/>
              <a:gd name="connsiteX161" fmla="*/ 880805 w 2846793"/>
              <a:gd name="connsiteY161" fmla="*/ 1385623 h 2831069"/>
              <a:gd name="connsiteX162" fmla="*/ 887271 w 2846793"/>
              <a:gd name="connsiteY162" fmla="*/ 1343035 h 2831069"/>
              <a:gd name="connsiteX163" fmla="*/ 919351 w 2846793"/>
              <a:gd name="connsiteY163" fmla="*/ 1314270 h 2831069"/>
              <a:gd name="connsiteX164" fmla="*/ 976031 w 2846793"/>
              <a:gd name="connsiteY164" fmla="*/ 1293402 h 2831069"/>
              <a:gd name="connsiteX165" fmla="*/ 1018183 w 2846793"/>
              <a:gd name="connsiteY165" fmla="*/ 1281900 h 2831069"/>
              <a:gd name="connsiteX166" fmla="*/ 1050844 w 2846793"/>
              <a:gd name="connsiteY166" fmla="*/ 1268947 h 2831069"/>
              <a:gd name="connsiteX167" fmla="*/ 1109244 w 2846793"/>
              <a:gd name="connsiteY167" fmla="*/ 1272118 h 2831069"/>
              <a:gd name="connsiteX168" fmla="*/ 1183622 w 2846793"/>
              <a:gd name="connsiteY168" fmla="*/ 1306209 h 2831069"/>
              <a:gd name="connsiteX169" fmla="*/ 1247202 w 2846793"/>
              <a:gd name="connsiteY169" fmla="*/ 1382017 h 2831069"/>
              <a:gd name="connsiteX170" fmla="*/ 1276983 w 2846793"/>
              <a:gd name="connsiteY170" fmla="*/ 1470777 h 2831069"/>
              <a:gd name="connsiteX171" fmla="*/ 1290785 w 2846793"/>
              <a:gd name="connsiteY171" fmla="*/ 1538959 h 2831069"/>
              <a:gd name="connsiteX172" fmla="*/ 1286184 w 2846793"/>
              <a:gd name="connsiteY172" fmla="*/ 1598664 h 2831069"/>
              <a:gd name="connsiteX173" fmla="*/ 1251223 w 2846793"/>
              <a:gd name="connsiteY173" fmla="*/ 1657789 h 2831069"/>
              <a:gd name="connsiteX174" fmla="*/ 1190792 w 2846793"/>
              <a:gd name="connsiteY174" fmla="*/ 1692460 h 2831069"/>
              <a:gd name="connsiteX175" fmla="*/ 1155396 w 2846793"/>
              <a:gd name="connsiteY175" fmla="*/ 1717349 h 2831069"/>
              <a:gd name="connsiteX176" fmla="*/ 1128786 w 2846793"/>
              <a:gd name="connsiteY176" fmla="*/ 1768848 h 2831069"/>
              <a:gd name="connsiteX177" fmla="*/ 1124766 w 2846793"/>
              <a:gd name="connsiteY177" fmla="*/ 1813156 h 2831069"/>
              <a:gd name="connsiteX178" fmla="*/ 1143459 w 2846793"/>
              <a:gd name="connsiteY178" fmla="*/ 1838045 h 2831069"/>
              <a:gd name="connsiteX179" fmla="*/ 1176700 w 2846793"/>
              <a:gd name="connsiteY179" fmla="*/ 1874581 h 2831069"/>
              <a:gd name="connsiteX180" fmla="*/ 1211951 w 2846793"/>
              <a:gd name="connsiteY180" fmla="*/ 1930971 h 2831069"/>
              <a:gd name="connsiteX181" fmla="*/ 1269791 w 2846793"/>
              <a:gd name="connsiteY181" fmla="*/ 1970678 h 2831069"/>
              <a:gd name="connsiteX182" fmla="*/ 1289790 w 2846793"/>
              <a:gd name="connsiteY182" fmla="*/ 2016996 h 2831069"/>
              <a:gd name="connsiteX183" fmla="*/ 1236696 w 2846793"/>
              <a:gd name="connsiteY183" fmla="*/ 2105031 h 2831069"/>
              <a:gd name="connsiteX184" fmla="*/ 1189362 w 2846793"/>
              <a:gd name="connsiteY184" fmla="*/ 2099269 h 2831069"/>
              <a:gd name="connsiteX185" fmla="*/ 1126921 w 2846793"/>
              <a:gd name="connsiteY185" fmla="*/ 1994386 h 2831069"/>
              <a:gd name="connsiteX186" fmla="*/ 1124621 w 2846793"/>
              <a:gd name="connsiteY186" fmla="*/ 1948773 h 2831069"/>
              <a:gd name="connsiteX187" fmla="*/ 1178855 w 2846793"/>
              <a:gd name="connsiteY187" fmla="*/ 1910226 h 2831069"/>
              <a:gd name="connsiteX188" fmla="*/ 1235245 w 2846793"/>
              <a:gd name="connsiteY188" fmla="*/ 1918288 h 2831069"/>
              <a:gd name="connsiteX189" fmla="*/ 1332792 w 2846793"/>
              <a:gd name="connsiteY189" fmla="*/ 1988065 h 2831069"/>
              <a:gd name="connsiteX190" fmla="*/ 1387316 w 2846793"/>
              <a:gd name="connsiteY190" fmla="*/ 2070650 h 2831069"/>
              <a:gd name="connsiteX191" fmla="*/ 1383710 w 2846793"/>
              <a:gd name="connsiteY191" fmla="*/ 2126190 h 2831069"/>
              <a:gd name="connsiteX192" fmla="*/ 1348459 w 2846793"/>
              <a:gd name="connsiteY192" fmla="*/ 2203448 h 2831069"/>
              <a:gd name="connsiteX193" fmla="*/ 1311923 w 2846793"/>
              <a:gd name="connsiteY193" fmla="*/ 2248771 h 2831069"/>
              <a:gd name="connsiteX194" fmla="*/ 1270786 w 2846793"/>
              <a:gd name="connsiteY194" fmla="*/ 2226907 h 2831069"/>
              <a:gd name="connsiteX195" fmla="*/ 1256694 w 2846793"/>
              <a:gd name="connsiteY195" fmla="*/ 2197417 h 2831069"/>
              <a:gd name="connsiteX196" fmla="*/ 1262745 w 2846793"/>
              <a:gd name="connsiteY196" fmla="*/ 2172093 h 2831069"/>
              <a:gd name="connsiteX197" fmla="*/ 1299427 w 2846793"/>
              <a:gd name="connsiteY197" fmla="*/ 2127640 h 2831069"/>
              <a:gd name="connsiteX198" fmla="*/ 1357826 w 2846793"/>
              <a:gd name="connsiteY198" fmla="*/ 2086068 h 2831069"/>
              <a:gd name="connsiteX199" fmla="*/ 1403999 w 2846793"/>
              <a:gd name="connsiteY199" fmla="*/ 2048372 h 2831069"/>
              <a:gd name="connsiteX200" fmla="*/ 1428453 w 2846793"/>
              <a:gd name="connsiteY200" fmla="*/ 2028228 h 2831069"/>
              <a:gd name="connsiteX201" fmla="*/ 1435644 w 2846793"/>
              <a:gd name="connsiteY201" fmla="*/ 2043481 h 2831069"/>
              <a:gd name="connsiteX202" fmla="*/ 1439375 w 2846793"/>
              <a:gd name="connsiteY202" fmla="*/ 2107062 h 2831069"/>
              <a:gd name="connsiteX203" fmla="*/ 1432039 w 2846793"/>
              <a:gd name="connsiteY203" fmla="*/ 2164902 h 2831069"/>
              <a:gd name="connsiteX204" fmla="*/ 1405864 w 2846793"/>
              <a:gd name="connsiteY204" fmla="*/ 2266469 h 2831069"/>
              <a:gd name="connsiteX205" fmla="*/ 1412765 w 2846793"/>
              <a:gd name="connsiteY205" fmla="*/ 2328330 h 2831069"/>
              <a:gd name="connsiteX206" fmla="*/ 1440245 w 2846793"/>
              <a:gd name="connsiteY206" fmla="*/ 2353074 h 2831069"/>
              <a:gd name="connsiteX207" fmla="*/ 1475932 w 2846793"/>
              <a:gd name="connsiteY207" fmla="*/ 2367457 h 2831069"/>
              <a:gd name="connsiteX208" fmla="*/ 1511038 w 2846793"/>
              <a:gd name="connsiteY208" fmla="*/ 2382710 h 2831069"/>
              <a:gd name="connsiteX209" fmla="*/ 1536217 w 2846793"/>
              <a:gd name="connsiteY209" fmla="*/ 2415225 h 2831069"/>
              <a:gd name="connsiteX210" fmla="*/ 1543408 w 2846793"/>
              <a:gd name="connsiteY210" fmla="*/ 2463843 h 2831069"/>
              <a:gd name="connsiteX211" fmla="*/ 1512758 w 2846793"/>
              <a:gd name="connsiteY211" fmla="*/ 2507156 h 2831069"/>
              <a:gd name="connsiteX212" fmla="*/ 1467083 w 2846793"/>
              <a:gd name="connsiteY212" fmla="*/ 2522844 h 2831069"/>
              <a:gd name="connsiteX213" fmla="*/ 1422195 w 2846793"/>
              <a:gd name="connsiteY213" fmla="*/ 2523860 h 2831069"/>
              <a:gd name="connsiteX214" fmla="*/ 1366738 w 2846793"/>
              <a:gd name="connsiteY214" fmla="*/ 2540832 h 2831069"/>
              <a:gd name="connsiteX215" fmla="*/ 1320420 w 2846793"/>
              <a:gd name="connsiteY215" fmla="*/ 2536667 h 2831069"/>
              <a:gd name="connsiteX216" fmla="*/ 1321788 w 2846793"/>
              <a:gd name="connsiteY216" fmla="*/ 2519549 h 2831069"/>
              <a:gd name="connsiteX217" fmla="*/ 1369846 w 2846793"/>
              <a:gd name="connsiteY217" fmla="*/ 2497893 h 2831069"/>
              <a:gd name="connsiteX218" fmla="*/ 1396891 w 2846793"/>
              <a:gd name="connsiteY218" fmla="*/ 2480277 h 2831069"/>
              <a:gd name="connsiteX219" fmla="*/ 1381286 w 2846793"/>
              <a:gd name="connsiteY219" fmla="*/ 2474102 h 2831069"/>
              <a:gd name="connsiteX220" fmla="*/ 1307986 w 2846793"/>
              <a:gd name="connsiteY220" fmla="*/ 2503094 h 2831069"/>
              <a:gd name="connsiteX221" fmla="*/ 1275760 w 2846793"/>
              <a:gd name="connsiteY221" fmla="*/ 2503820 h 2831069"/>
              <a:gd name="connsiteX222" fmla="*/ 1277190 w 2846793"/>
              <a:gd name="connsiteY222" fmla="*/ 2490515 h 2831069"/>
              <a:gd name="connsiteX223" fmla="*/ 1302287 w 2846793"/>
              <a:gd name="connsiteY223" fmla="*/ 2478495 h 2831069"/>
              <a:gd name="connsiteX224" fmla="*/ 1350407 w 2846793"/>
              <a:gd name="connsiteY224" fmla="*/ 2445109 h 2831069"/>
              <a:gd name="connsiteX225" fmla="*/ 1346946 w 2846793"/>
              <a:gd name="connsiteY225" fmla="*/ 2435120 h 2831069"/>
              <a:gd name="connsiteX226" fmla="*/ 1292774 w 2846793"/>
              <a:gd name="connsiteY226" fmla="*/ 2461812 h 2831069"/>
              <a:gd name="connsiteX227" fmla="*/ 1261834 w 2846793"/>
              <a:gd name="connsiteY227" fmla="*/ 2459719 h 2831069"/>
              <a:gd name="connsiteX228" fmla="*/ 1265149 w 2846793"/>
              <a:gd name="connsiteY228" fmla="*/ 2438933 h 2831069"/>
              <a:gd name="connsiteX229" fmla="*/ 1303053 w 2846793"/>
              <a:gd name="connsiteY229" fmla="*/ 2411308 h 2831069"/>
              <a:gd name="connsiteX230" fmla="*/ 1318513 w 2846793"/>
              <a:gd name="connsiteY230" fmla="*/ 2393175 h 2831069"/>
              <a:gd name="connsiteX231" fmla="*/ 1306783 w 2846793"/>
              <a:gd name="connsiteY231" fmla="*/ 2385984 h 2831069"/>
              <a:gd name="connsiteX232" fmla="*/ 1268590 w 2846793"/>
              <a:gd name="connsiteY232" fmla="*/ 2403392 h 2831069"/>
              <a:gd name="connsiteX233" fmla="*/ 1243410 w 2846793"/>
              <a:gd name="connsiteY233" fmla="*/ 2405257 h 2831069"/>
              <a:gd name="connsiteX234" fmla="*/ 1242685 w 2846793"/>
              <a:gd name="connsiteY234" fmla="*/ 2382461 h 2831069"/>
              <a:gd name="connsiteX235" fmla="*/ 1284402 w 2846793"/>
              <a:gd name="connsiteY235" fmla="*/ 2341469 h 2831069"/>
              <a:gd name="connsiteX236" fmla="*/ 1360935 w 2846793"/>
              <a:gd name="connsiteY236" fmla="*/ 2306218 h 2831069"/>
              <a:gd name="connsiteX237" fmla="*/ 1411004 w 2846793"/>
              <a:gd name="connsiteY237" fmla="*/ 2303047 h 2831069"/>
              <a:gd name="connsiteX238" fmla="*/ 1438484 w 2846793"/>
              <a:gd name="connsiteY238" fmla="*/ 2295131 h 2831069"/>
              <a:gd name="connsiteX239" fmla="*/ 1468409 w 2846793"/>
              <a:gd name="connsiteY239" fmla="*/ 2243777 h 2831069"/>
              <a:gd name="connsiteX240" fmla="*/ 1532570 w 2846793"/>
              <a:gd name="connsiteY240" fmla="*/ 2156301 h 2831069"/>
              <a:gd name="connsiteX241" fmla="*/ 1610761 w 2846793"/>
              <a:gd name="connsiteY241" fmla="*/ 2074152 h 2831069"/>
              <a:gd name="connsiteX242" fmla="*/ 1628957 w 2846793"/>
              <a:gd name="connsiteY242" fmla="*/ 2041864 h 2831069"/>
              <a:gd name="connsiteX243" fmla="*/ 1628604 w 2846793"/>
              <a:gd name="connsiteY243" fmla="*/ 2021078 h 2831069"/>
              <a:gd name="connsiteX244" fmla="*/ 1642841 w 2846793"/>
              <a:gd name="connsiteY244" fmla="*/ 2001308 h 2831069"/>
              <a:gd name="connsiteX245" fmla="*/ 1697863 w 2846793"/>
              <a:gd name="connsiteY245" fmla="*/ 1963611 h 2831069"/>
              <a:gd name="connsiteX246" fmla="*/ 1768718 w 2846793"/>
              <a:gd name="connsiteY246" fmla="*/ 1914703 h 2831069"/>
              <a:gd name="connsiteX247" fmla="*/ 1816549 w 2846793"/>
              <a:gd name="connsiteY247" fmla="*/ 1881109 h 2831069"/>
              <a:gd name="connsiteX248" fmla="*/ 1846039 w 2846793"/>
              <a:gd name="connsiteY248" fmla="*/ 1836221 h 2831069"/>
              <a:gd name="connsiteX249" fmla="*/ 1863882 w 2846793"/>
              <a:gd name="connsiteY249" fmla="*/ 1739400 h 2831069"/>
              <a:gd name="connsiteX250" fmla="*/ 1862162 w 2846793"/>
              <a:gd name="connsiteY250" fmla="*/ 1654225 h 2831069"/>
              <a:gd name="connsiteX251" fmla="*/ 1849355 w 2846793"/>
              <a:gd name="connsiteY251" fmla="*/ 1586312 h 2831069"/>
              <a:gd name="connsiteX252" fmla="*/ 1804322 w 2846793"/>
              <a:gd name="connsiteY252" fmla="*/ 1511499 h 2831069"/>
              <a:gd name="connsiteX253" fmla="*/ 1748512 w 2846793"/>
              <a:gd name="connsiteY253" fmla="*/ 1463296 h 2831069"/>
              <a:gd name="connsiteX254" fmla="*/ 1688662 w 2846793"/>
              <a:gd name="connsiteY254" fmla="*/ 1445017 h 2831069"/>
              <a:gd name="connsiteX255" fmla="*/ 1629682 w 2846793"/>
              <a:gd name="connsiteY255" fmla="*/ 1434655 h 2831069"/>
              <a:gd name="connsiteX256" fmla="*/ 1565521 w 2846793"/>
              <a:gd name="connsiteY256" fmla="*/ 1420708 h 2831069"/>
              <a:gd name="connsiteX257" fmla="*/ 1482377 w 2846793"/>
              <a:gd name="connsiteY257" fmla="*/ 1428044 h 2831069"/>
              <a:gd name="connsiteX258" fmla="*/ 1425117 w 2846793"/>
              <a:gd name="connsiteY258" fmla="*/ 1469036 h 2831069"/>
              <a:gd name="connsiteX259" fmla="*/ 1416910 w 2846793"/>
              <a:gd name="connsiteY259" fmla="*/ 1533923 h 2831069"/>
              <a:gd name="connsiteX260" fmla="*/ 1436618 w 2846793"/>
              <a:gd name="connsiteY260" fmla="*/ 1580240 h 2831069"/>
              <a:gd name="connsiteX261" fmla="*/ 1448265 w 2846793"/>
              <a:gd name="connsiteY261" fmla="*/ 1638081 h 2831069"/>
              <a:gd name="connsiteX262" fmla="*/ 1432577 w 2846793"/>
              <a:gd name="connsiteY262" fmla="*/ 1733037 h 2831069"/>
              <a:gd name="connsiteX263" fmla="*/ 1436598 w 2846793"/>
              <a:gd name="connsiteY263" fmla="*/ 1799063 h 2831069"/>
              <a:gd name="connsiteX264" fmla="*/ 1493568 w 2846793"/>
              <a:gd name="connsiteY264" fmla="*/ 1841216 h 2831069"/>
              <a:gd name="connsiteX265" fmla="*/ 1619299 w 2846793"/>
              <a:gd name="connsiteY265" fmla="*/ 1854168 h 2831069"/>
              <a:gd name="connsiteX266" fmla="*/ 1704039 w 2846793"/>
              <a:gd name="connsiteY266" fmla="*/ 1837050 h 2831069"/>
              <a:gd name="connsiteX267" fmla="*/ 1739290 w 2846793"/>
              <a:gd name="connsiteY267" fmla="*/ 1788577 h 2831069"/>
              <a:gd name="connsiteX268" fmla="*/ 1754108 w 2846793"/>
              <a:gd name="connsiteY268" fmla="*/ 1758507 h 2831069"/>
              <a:gd name="connsiteX269" fmla="*/ 1769071 w 2846793"/>
              <a:gd name="connsiteY269" fmla="*/ 1758507 h 2831069"/>
              <a:gd name="connsiteX270" fmla="*/ 1773526 w 2846793"/>
              <a:gd name="connsiteY270" fmla="*/ 1787562 h 2831069"/>
              <a:gd name="connsiteX271" fmla="*/ 1747621 w 2846793"/>
              <a:gd name="connsiteY271" fmla="*/ 1819497 h 2831069"/>
              <a:gd name="connsiteX272" fmla="*/ 1719271 w 2846793"/>
              <a:gd name="connsiteY272" fmla="*/ 1806110 h 2831069"/>
              <a:gd name="connsiteX273" fmla="*/ 1727478 w 2846793"/>
              <a:gd name="connsiteY273" fmla="*/ 1762092 h 2831069"/>
              <a:gd name="connsiteX274" fmla="*/ 1757258 w 2846793"/>
              <a:gd name="connsiteY274" fmla="*/ 1731297 h 2831069"/>
              <a:gd name="connsiteX275" fmla="*/ 1781857 w 2846793"/>
              <a:gd name="connsiteY275" fmla="*/ 1696626 h 2831069"/>
              <a:gd name="connsiteX276" fmla="*/ 1759123 w 2846793"/>
              <a:gd name="connsiteY276" fmla="*/ 1625563 h 2831069"/>
              <a:gd name="connsiteX277" fmla="*/ 1710650 w 2846793"/>
              <a:gd name="connsiteY277" fmla="*/ 1549175 h 2831069"/>
              <a:gd name="connsiteX278" fmla="*/ 1628065 w 2846793"/>
              <a:gd name="connsiteY278" fmla="*/ 1512349 h 2831069"/>
              <a:gd name="connsiteX279" fmla="*/ 1535989 w 2846793"/>
              <a:gd name="connsiteY279" fmla="*/ 1521260 h 2831069"/>
              <a:gd name="connsiteX280" fmla="*/ 1469528 w 2846793"/>
              <a:gd name="connsiteY280" fmla="*/ 1574624 h 2831069"/>
              <a:gd name="connsiteX281" fmla="*/ 1448100 w 2846793"/>
              <a:gd name="connsiteY281" fmla="*/ 1608280 h 2831069"/>
              <a:gd name="connsiteX282" fmla="*/ 1425946 w 2846793"/>
              <a:gd name="connsiteY282" fmla="*/ 1663384 h 2831069"/>
              <a:gd name="connsiteX283" fmla="*/ 1406527 w 2846793"/>
              <a:gd name="connsiteY283" fmla="*/ 1760351 h 2831069"/>
              <a:gd name="connsiteX284" fmla="*/ 1422215 w 2846793"/>
              <a:gd name="connsiteY284" fmla="*/ 1829693 h 2831069"/>
              <a:gd name="connsiteX285" fmla="*/ 1452866 w 2846793"/>
              <a:gd name="connsiteY285" fmla="*/ 1880115 h 2831069"/>
              <a:gd name="connsiteX286" fmla="*/ 1472139 w 2846793"/>
              <a:gd name="connsiteY286" fmla="*/ 1939737 h 2831069"/>
              <a:gd name="connsiteX287" fmla="*/ 1476885 w 2846793"/>
              <a:gd name="connsiteY287" fmla="*/ 1996769 h 2831069"/>
              <a:gd name="connsiteX288" fmla="*/ 1459332 w 2846793"/>
              <a:gd name="connsiteY288" fmla="*/ 2060205 h 2831069"/>
              <a:gd name="connsiteX289" fmla="*/ 1462212 w 2846793"/>
              <a:gd name="connsiteY289" fmla="*/ 2092430 h 2831069"/>
              <a:gd name="connsiteX290" fmla="*/ 1501339 w 2846793"/>
              <a:gd name="connsiteY290" fmla="*/ 2073157 h 2831069"/>
              <a:gd name="connsiteX291" fmla="*/ 1597083 w 2846793"/>
              <a:gd name="connsiteY291" fmla="*/ 2002592 h 2831069"/>
              <a:gd name="connsiteX292" fmla="*/ 1667586 w 2846793"/>
              <a:gd name="connsiteY292" fmla="*/ 1957705 h 2831069"/>
              <a:gd name="connsiteX293" fmla="*/ 1726856 w 2846793"/>
              <a:gd name="connsiteY293" fmla="*/ 1927987 h 2831069"/>
              <a:gd name="connsiteX294" fmla="*/ 1753258 w 2846793"/>
              <a:gd name="connsiteY294" fmla="*/ 1933520 h 2831069"/>
              <a:gd name="connsiteX295" fmla="*/ 1781816 w 2846793"/>
              <a:gd name="connsiteY295" fmla="*/ 1986034 h 2831069"/>
              <a:gd name="connsiteX296" fmla="*/ 1823616 w 2846793"/>
              <a:gd name="connsiteY296" fmla="*/ 2024809 h 2831069"/>
              <a:gd name="connsiteX297" fmla="*/ 1853044 w 2846793"/>
              <a:gd name="connsiteY297" fmla="*/ 2039129 h 2831069"/>
              <a:gd name="connsiteX298" fmla="*/ 1845417 w 2846793"/>
              <a:gd name="connsiteY298" fmla="*/ 2056392 h 2831069"/>
              <a:gd name="connsiteX299" fmla="*/ 1802685 w 2846793"/>
              <a:gd name="connsiteY299" fmla="*/ 2090420 h 2831069"/>
              <a:gd name="connsiteX300" fmla="*/ 1764283 w 2846793"/>
              <a:gd name="connsiteY300" fmla="*/ 2152281 h 2831069"/>
              <a:gd name="connsiteX301" fmla="*/ 1702132 w 2846793"/>
              <a:gd name="connsiteY301" fmla="*/ 2291753 h 2831069"/>
              <a:gd name="connsiteX302" fmla="*/ 1672207 w 2846793"/>
              <a:gd name="connsiteY302" fmla="*/ 2356639 h 2831069"/>
              <a:gd name="connsiteX303" fmla="*/ 1654654 w 2846793"/>
              <a:gd name="connsiteY303" fmla="*/ 2363043 h 2831069"/>
              <a:gd name="connsiteX304" fmla="*/ 1613082 w 2846793"/>
              <a:gd name="connsiteY304" fmla="*/ 2345054 h 2831069"/>
              <a:gd name="connsiteX305" fmla="*/ 1559925 w 2846793"/>
              <a:gd name="connsiteY305" fmla="*/ 2330174 h 2831069"/>
              <a:gd name="connsiteX306" fmla="*/ 1518498 w 2846793"/>
              <a:gd name="connsiteY306" fmla="*/ 2333345 h 2831069"/>
              <a:gd name="connsiteX307" fmla="*/ 1485112 w 2846793"/>
              <a:gd name="connsiteY307" fmla="*/ 2345075 h 2831069"/>
              <a:gd name="connsiteX308" fmla="*/ 1462813 w 2846793"/>
              <a:gd name="connsiteY308" fmla="*/ 2341759 h 2831069"/>
              <a:gd name="connsiteX309" fmla="*/ 1462523 w 2846793"/>
              <a:gd name="connsiteY309" fmla="*/ 2316435 h 2831069"/>
              <a:gd name="connsiteX310" fmla="*/ 1514022 w 2846793"/>
              <a:gd name="connsiteY310" fmla="*/ 2230907 h 2831069"/>
              <a:gd name="connsiteX311" fmla="*/ 1633868 w 2846793"/>
              <a:gd name="connsiteY311" fmla="*/ 2086462 h 2831069"/>
              <a:gd name="connsiteX312" fmla="*/ 1761050 w 2846793"/>
              <a:gd name="connsiteY312" fmla="*/ 2009494 h 2831069"/>
              <a:gd name="connsiteX313" fmla="*/ 1835718 w 2846793"/>
              <a:gd name="connsiteY313" fmla="*/ 2007773 h 2831069"/>
              <a:gd name="connsiteX314" fmla="*/ 1915422 w 2846793"/>
              <a:gd name="connsiteY314" fmla="*/ 2040579 h 2831069"/>
              <a:gd name="connsiteX315" fmla="*/ 1956414 w 2846793"/>
              <a:gd name="connsiteY315" fmla="*/ 2094378 h 2831069"/>
              <a:gd name="connsiteX316" fmla="*/ 1981593 w 2846793"/>
              <a:gd name="connsiteY316" fmla="*/ 2161420 h 2831069"/>
              <a:gd name="connsiteX317" fmla="*/ 1998421 w 2846793"/>
              <a:gd name="connsiteY317" fmla="*/ 2191781 h 2831069"/>
              <a:gd name="connsiteX318" fmla="*/ 2004473 w 2846793"/>
              <a:gd name="connsiteY318" fmla="*/ 2185874 h 2831069"/>
              <a:gd name="connsiteX319" fmla="*/ 1997717 w 2846793"/>
              <a:gd name="connsiteY319" fmla="*/ 2138106 h 2831069"/>
              <a:gd name="connsiteX320" fmla="*/ 1965781 w 2846793"/>
              <a:gd name="connsiteY320" fmla="*/ 2073364 h 2831069"/>
              <a:gd name="connsiteX321" fmla="*/ 1892688 w 2846793"/>
              <a:gd name="connsiteY321" fmla="*/ 2059127 h 2831069"/>
              <a:gd name="connsiteX322" fmla="*/ 1816155 w 2846793"/>
              <a:gd name="connsiteY322" fmla="*/ 2115517 h 2831069"/>
              <a:gd name="connsiteX323" fmla="*/ 1767682 w 2846793"/>
              <a:gd name="connsiteY323" fmla="*/ 2216504 h 2831069"/>
              <a:gd name="connsiteX324" fmla="*/ 1756740 w 2846793"/>
              <a:gd name="connsiteY324" fmla="*/ 2315771 h 2831069"/>
              <a:gd name="connsiteX325" fmla="*/ 1733280 w 2846793"/>
              <a:gd name="connsiteY325" fmla="*/ 2398211 h 2831069"/>
              <a:gd name="connsiteX326" fmla="*/ 1632148 w 2846793"/>
              <a:gd name="connsiteY326" fmla="*/ 2384554 h 2831069"/>
              <a:gd name="connsiteX327" fmla="*/ 1539637 w 2846793"/>
              <a:gd name="connsiteY327" fmla="*/ 2352183 h 2831069"/>
              <a:gd name="connsiteX328" fmla="*/ 1522519 w 2846793"/>
              <a:gd name="connsiteY328" fmla="*/ 2359229 h 2831069"/>
              <a:gd name="connsiteX329" fmla="*/ 1543947 w 2846793"/>
              <a:gd name="connsiteY329" fmla="*/ 2385549 h 2831069"/>
              <a:gd name="connsiteX330" fmla="*/ 1564381 w 2846793"/>
              <a:gd name="connsiteY330" fmla="*/ 2430727 h 2831069"/>
              <a:gd name="connsiteX331" fmla="*/ 1559200 w 2846793"/>
              <a:gd name="connsiteY331" fmla="*/ 2486412 h 2831069"/>
              <a:gd name="connsiteX332" fmla="*/ 1529710 w 2846793"/>
              <a:gd name="connsiteY332" fmla="*/ 2562364 h 2831069"/>
              <a:gd name="connsiteX333" fmla="*/ 1544963 w 2846793"/>
              <a:gd name="connsiteY333" fmla="*/ 2634587 h 2831069"/>
              <a:gd name="connsiteX334" fmla="*/ 1609124 w 2846793"/>
              <a:gd name="connsiteY334" fmla="*/ 2669984 h 2831069"/>
              <a:gd name="connsiteX335" fmla="*/ 1709821 w 2846793"/>
              <a:gd name="connsiteY335" fmla="*/ 2685526 h 2831069"/>
              <a:gd name="connsiteX336" fmla="*/ 1825481 w 2846793"/>
              <a:gd name="connsiteY336" fmla="*/ 2710706 h 2831069"/>
              <a:gd name="connsiteX337" fmla="*/ 1849666 w 2846793"/>
              <a:gd name="connsiteY337" fmla="*/ 2737274 h 2831069"/>
              <a:gd name="connsiteX338" fmla="*/ 1827284 w 2846793"/>
              <a:gd name="connsiteY338" fmla="*/ 2775385 h 2831069"/>
              <a:gd name="connsiteX339" fmla="*/ 1859468 w 2846793"/>
              <a:gd name="connsiteY339" fmla="*/ 2784130 h 2831069"/>
              <a:gd name="connsiteX340" fmla="*/ 2089565 w 2846793"/>
              <a:gd name="connsiteY340" fmla="*/ 2784130 h 2831069"/>
              <a:gd name="connsiteX341" fmla="*/ 2566897 w 2846793"/>
              <a:gd name="connsiteY341" fmla="*/ 2782162 h 2831069"/>
              <a:gd name="connsiteX342" fmla="*/ 2687966 w 2846793"/>
              <a:gd name="connsiteY342" fmla="*/ 2759884 h 2831069"/>
              <a:gd name="connsiteX343" fmla="*/ 2680464 w 2846793"/>
              <a:gd name="connsiteY343" fmla="*/ 2692303 h 2831069"/>
              <a:gd name="connsiteX344" fmla="*/ 2633566 w 2846793"/>
              <a:gd name="connsiteY344" fmla="*/ 2631872 h 2831069"/>
              <a:gd name="connsiteX345" fmla="*/ 2492291 w 2846793"/>
              <a:gd name="connsiteY345" fmla="*/ 2565701 h 2831069"/>
              <a:gd name="connsiteX346" fmla="*/ 2424110 w 2846793"/>
              <a:gd name="connsiteY346" fmla="*/ 2476651 h 2831069"/>
              <a:gd name="connsiteX347" fmla="*/ 2465247 w 2846793"/>
              <a:gd name="connsiteY347" fmla="*/ 2186330 h 2831069"/>
              <a:gd name="connsiteX348" fmla="*/ 2494592 w 2846793"/>
              <a:gd name="connsiteY348" fmla="*/ 1978159 h 2831069"/>
              <a:gd name="connsiteX349" fmla="*/ 2532289 w 2846793"/>
              <a:gd name="connsiteY349" fmla="*/ 1883202 h 2831069"/>
              <a:gd name="connsiteX350" fmla="*/ 2600200 w 2846793"/>
              <a:gd name="connsiteY350" fmla="*/ 1837175 h 2831069"/>
              <a:gd name="connsiteX351" fmla="*/ 2643928 w 2846793"/>
              <a:gd name="connsiteY351" fmla="*/ 1758051 h 2831069"/>
              <a:gd name="connsiteX352" fmla="*/ 2671553 w 2846793"/>
              <a:gd name="connsiteY352" fmla="*/ 1632029 h 2831069"/>
              <a:gd name="connsiteX353" fmla="*/ 2694577 w 2846793"/>
              <a:gd name="connsiteY353" fmla="*/ 1561817 h 2831069"/>
              <a:gd name="connsiteX354" fmla="*/ 2707239 w 2846793"/>
              <a:gd name="connsiteY354" fmla="*/ 1548305 h 2831069"/>
              <a:gd name="connsiteX355" fmla="*/ 2696877 w 2846793"/>
              <a:gd name="connsiteY355" fmla="*/ 1616217 h 2831069"/>
              <a:gd name="connsiteX356" fmla="*/ 2656300 w 2846793"/>
              <a:gd name="connsiteY356" fmla="*/ 1792308 h 2831069"/>
              <a:gd name="connsiteX357" fmla="*/ 2576306 w 2846793"/>
              <a:gd name="connsiteY357" fmla="*/ 1905377 h 2831069"/>
              <a:gd name="connsiteX358" fmla="*/ 2484810 w 2846793"/>
              <a:gd name="connsiteY358" fmla="*/ 1918329 h 2831069"/>
              <a:gd name="connsiteX359" fmla="*/ 2405251 w 2846793"/>
              <a:gd name="connsiteY359" fmla="*/ 1822813 h 2831069"/>
              <a:gd name="connsiteX360" fmla="*/ 2384113 w 2846793"/>
              <a:gd name="connsiteY360" fmla="*/ 1673912 h 2831069"/>
              <a:gd name="connsiteX361" fmla="*/ 2378642 w 2846793"/>
              <a:gd name="connsiteY361" fmla="*/ 1541984 h 2831069"/>
              <a:gd name="connsiteX362" fmla="*/ 2373751 w 2846793"/>
              <a:gd name="connsiteY362" fmla="*/ 1415527 h 2831069"/>
              <a:gd name="connsiteX363" fmla="*/ 2347141 w 2846793"/>
              <a:gd name="connsiteY363" fmla="*/ 1246918 h 2831069"/>
              <a:gd name="connsiteX364" fmla="*/ 2334769 w 2846793"/>
              <a:gd name="connsiteY364" fmla="*/ 1142615 h 2831069"/>
              <a:gd name="connsiteX365" fmla="*/ 2329153 w 2846793"/>
              <a:gd name="connsiteY365" fmla="*/ 1065211 h 2831069"/>
              <a:gd name="connsiteX366" fmla="*/ 2304554 w 2846793"/>
              <a:gd name="connsiteY366" fmla="*/ 939335 h 2831069"/>
              <a:gd name="connsiteX367" fmla="*/ 2256641 w 2846793"/>
              <a:gd name="connsiteY367" fmla="*/ 796630 h 2831069"/>
              <a:gd name="connsiteX368" fmla="*/ 2230736 w 2846793"/>
              <a:gd name="connsiteY368" fmla="*/ 692327 h 2831069"/>
              <a:gd name="connsiteX369" fmla="*/ 2239502 w 2846793"/>
              <a:gd name="connsiteY369" fmla="*/ 643564 h 2831069"/>
              <a:gd name="connsiteX370" fmla="*/ 2294026 w 2846793"/>
              <a:gd name="connsiteY370" fmla="*/ 635647 h 2831069"/>
              <a:gd name="connsiteX371" fmla="*/ 2342789 w 2846793"/>
              <a:gd name="connsiteY371" fmla="*/ 621700 h 2831069"/>
              <a:gd name="connsiteX372" fmla="*/ 2378621 w 2846793"/>
              <a:gd name="connsiteY372" fmla="*/ 587174 h 2831069"/>
              <a:gd name="connsiteX373" fmla="*/ 2391283 w 2846793"/>
              <a:gd name="connsiteY373" fmla="*/ 534080 h 2831069"/>
              <a:gd name="connsiteX374" fmla="*/ 2374601 w 2846793"/>
              <a:gd name="connsiteY374" fmla="*/ 480426 h 2831069"/>
              <a:gd name="connsiteX375" fmla="*/ 2310004 w 2846793"/>
              <a:gd name="connsiteY375" fmla="*/ 360020 h 2831069"/>
              <a:gd name="connsiteX376" fmla="*/ 2266567 w 2846793"/>
              <a:gd name="connsiteY376" fmla="*/ 280171 h 2831069"/>
              <a:gd name="connsiteX377" fmla="*/ 2203691 w 2846793"/>
              <a:gd name="connsiteY377" fmla="*/ 213564 h 2831069"/>
              <a:gd name="connsiteX378" fmla="*/ 2153622 w 2846793"/>
              <a:gd name="connsiteY378" fmla="*/ 194291 h 2831069"/>
              <a:gd name="connsiteX379" fmla="*/ 2109315 w 2846793"/>
              <a:gd name="connsiteY379" fmla="*/ 218310 h 2831069"/>
              <a:gd name="connsiteX380" fmla="*/ 2085731 w 2846793"/>
              <a:gd name="connsiteY380" fmla="*/ 264214 h 2831069"/>
              <a:gd name="connsiteX381" fmla="*/ 2085006 w 2846793"/>
              <a:gd name="connsiteY381" fmla="*/ 308666 h 2831069"/>
              <a:gd name="connsiteX382" fmla="*/ 2107595 w 2846793"/>
              <a:gd name="connsiteY382" fmla="*/ 327794 h 2831069"/>
              <a:gd name="connsiteX383" fmla="*/ 2138245 w 2846793"/>
              <a:gd name="connsiteY383" fmla="*/ 329660 h 2831069"/>
              <a:gd name="connsiteX384" fmla="*/ 2151343 w 2846793"/>
              <a:gd name="connsiteY384" fmla="*/ 299299 h 2831069"/>
              <a:gd name="connsiteX385" fmla="*/ 2155508 w 2846793"/>
              <a:gd name="connsiteY385" fmla="*/ 263053 h 2831069"/>
              <a:gd name="connsiteX386" fmla="*/ 2173641 w 2846793"/>
              <a:gd name="connsiteY386" fmla="*/ 251261 h 2831069"/>
              <a:gd name="connsiteX387" fmla="*/ 2215068 w 2846793"/>
              <a:gd name="connsiteY387" fmla="*/ 262058 h 2831069"/>
              <a:gd name="connsiteX388" fmla="*/ 2248019 w 2846793"/>
              <a:gd name="connsiteY388" fmla="*/ 269975 h 2831069"/>
              <a:gd name="connsiteX389" fmla="*/ 2262257 w 2846793"/>
              <a:gd name="connsiteY389" fmla="*/ 259903 h 2831069"/>
              <a:gd name="connsiteX390" fmla="*/ 2259749 w 2846793"/>
              <a:gd name="connsiteY390" fmla="*/ 230993 h 2831069"/>
              <a:gd name="connsiteX391" fmla="*/ 2231337 w 2846793"/>
              <a:gd name="connsiteY391" fmla="*/ 190851 h 2831069"/>
              <a:gd name="connsiteX392" fmla="*/ 2181351 w 2846793"/>
              <a:gd name="connsiteY392" fmla="*/ 163309 h 2831069"/>
              <a:gd name="connsiteX393" fmla="*/ 2141354 w 2846793"/>
              <a:gd name="connsiteY393" fmla="*/ 157548 h 2831069"/>
              <a:gd name="connsiteX394" fmla="*/ 2113377 w 2846793"/>
              <a:gd name="connsiteY394" fmla="*/ 169485 h 2831069"/>
              <a:gd name="connsiteX395" fmla="*/ 2082726 w 2846793"/>
              <a:gd name="connsiteY395" fmla="*/ 176469 h 2831069"/>
              <a:gd name="connsiteX396" fmla="*/ 2031870 w 2846793"/>
              <a:gd name="connsiteY396" fmla="*/ 162086 h 2831069"/>
              <a:gd name="connsiteX397" fmla="*/ 1991955 w 2846793"/>
              <a:gd name="connsiteY397" fmla="*/ 137280 h 2831069"/>
              <a:gd name="connsiteX398" fmla="*/ 1950528 w 2846793"/>
              <a:gd name="connsiteY398" fmla="*/ 77222 h 2831069"/>
              <a:gd name="connsiteX399" fmla="*/ 1938737 w 2846793"/>
              <a:gd name="connsiteY399" fmla="*/ 27008 h 2831069"/>
              <a:gd name="connsiteX400" fmla="*/ 1947669 w 2846793"/>
              <a:gd name="connsiteY400" fmla="*/ 1725 h 2831069"/>
              <a:gd name="connsiteX401" fmla="*/ 1970755 w 2846793"/>
              <a:gd name="connsiteY401" fmla="*/ 8461 h 2831069"/>
              <a:gd name="connsiteX402" fmla="*/ 2009260 w 2846793"/>
              <a:gd name="connsiteY402" fmla="*/ 49494 h 2831069"/>
              <a:gd name="connsiteX403" fmla="*/ 2058292 w 2846793"/>
              <a:gd name="connsiteY403" fmla="*/ 104412 h 2831069"/>
              <a:gd name="connsiteX404" fmla="*/ 2093544 w 2846793"/>
              <a:gd name="connsiteY404" fmla="*/ 149010 h 2831069"/>
              <a:gd name="connsiteX405" fmla="*/ 2084487 w 2846793"/>
              <a:gd name="connsiteY405" fmla="*/ 165837 h 2831069"/>
              <a:gd name="connsiteX406" fmla="*/ 2039599 w 2846793"/>
              <a:gd name="connsiteY406" fmla="*/ 172593 h 2831069"/>
              <a:gd name="connsiteX407" fmla="*/ 2028657 w 2846793"/>
              <a:gd name="connsiteY407" fmla="*/ 186976 h 2831069"/>
              <a:gd name="connsiteX408" fmla="*/ 2037424 w 2846793"/>
              <a:gd name="connsiteY408" fmla="*/ 210435 h 2831069"/>
              <a:gd name="connsiteX409" fmla="*/ 2052531 w 2846793"/>
              <a:gd name="connsiteY409" fmla="*/ 240360 h 2831069"/>
              <a:gd name="connsiteX410" fmla="*/ 2063183 w 2846793"/>
              <a:gd name="connsiteY410" fmla="*/ 276606 h 2831069"/>
              <a:gd name="connsiteX411" fmla="*/ 2061173 w 2846793"/>
              <a:gd name="connsiteY411" fmla="*/ 308832 h 2831069"/>
              <a:gd name="connsiteX412" fmla="*/ 2047226 w 2846793"/>
              <a:gd name="connsiteY412" fmla="*/ 318324 h 2831069"/>
              <a:gd name="connsiteX413" fmla="*/ 2037009 w 2846793"/>
              <a:gd name="connsiteY413" fmla="*/ 303216 h 2831069"/>
              <a:gd name="connsiteX414" fmla="*/ 2039890 w 2846793"/>
              <a:gd name="connsiteY414" fmla="*/ 281932 h 2831069"/>
              <a:gd name="connsiteX415" fmla="*/ 2037589 w 2846793"/>
              <a:gd name="connsiteY415" fmla="*/ 253168 h 2831069"/>
              <a:gd name="connsiteX416" fmla="*/ 2017301 w 2846793"/>
              <a:gd name="connsiteY416" fmla="*/ 238640 h 2831069"/>
              <a:gd name="connsiteX417" fmla="*/ 1980039 w 2846793"/>
              <a:gd name="connsiteY417" fmla="*/ 250142 h 2831069"/>
              <a:gd name="connsiteX418" fmla="*/ 1965367 w 2846793"/>
              <a:gd name="connsiteY418" fmla="*/ 281207 h 2831069"/>
              <a:gd name="connsiteX419" fmla="*/ 1979604 w 2846793"/>
              <a:gd name="connsiteY419" fmla="*/ 326820 h 2831069"/>
              <a:gd name="connsiteX420" fmla="*/ 2042625 w 2846793"/>
              <a:gd name="connsiteY420" fmla="*/ 396598 h 2831069"/>
              <a:gd name="connsiteX421" fmla="*/ 2145208 w 2846793"/>
              <a:gd name="connsiteY421" fmla="*/ 455288 h 2831069"/>
              <a:gd name="connsiteX422" fmla="*/ 2223752 w 2846793"/>
              <a:gd name="connsiteY422" fmla="*/ 542183 h 2831069"/>
              <a:gd name="connsiteX423" fmla="*/ 2264889 w 2846793"/>
              <a:gd name="connsiteY423" fmla="*/ 604624 h 2831069"/>
              <a:gd name="connsiteX424" fmla="*/ 2331640 w 2846793"/>
              <a:gd name="connsiteY424" fmla="*/ 595132 h 2831069"/>
              <a:gd name="connsiteX425" fmla="*/ 2408753 w 2846793"/>
              <a:gd name="connsiteY425" fmla="*/ 561746 h 2831069"/>
              <a:gd name="connsiteX426" fmla="*/ 2486157 w 2846793"/>
              <a:gd name="connsiteY426" fmla="*/ 631088 h 2831069"/>
              <a:gd name="connsiteX427" fmla="*/ 2597797 w 2846793"/>
              <a:gd name="connsiteY427" fmla="*/ 831052 h 2831069"/>
              <a:gd name="connsiteX428" fmla="*/ 2689292 w 2846793"/>
              <a:gd name="connsiteY428" fmla="*/ 1008013 h 2831069"/>
              <a:gd name="connsiteX429" fmla="*/ 2728999 w 2846793"/>
              <a:gd name="connsiteY429" fmla="*/ 1141081 h 2831069"/>
              <a:gd name="connsiteX430" fmla="*/ 2722098 w 2846793"/>
              <a:gd name="connsiteY430" fmla="*/ 1265963 h 2831069"/>
              <a:gd name="connsiteX431" fmla="*/ 2726409 w 2846793"/>
              <a:gd name="connsiteY431" fmla="*/ 1370556 h 2831069"/>
              <a:gd name="connsiteX432" fmla="*/ 2748998 w 2846793"/>
              <a:gd name="connsiteY432" fmla="*/ 1502194 h 2831069"/>
              <a:gd name="connsiteX433" fmla="*/ 2793596 w 2846793"/>
              <a:gd name="connsiteY433" fmla="*/ 1683756 h 2831069"/>
              <a:gd name="connsiteX434" fmla="*/ 2841924 w 2846793"/>
              <a:gd name="connsiteY434" fmla="*/ 1899699 h 2831069"/>
              <a:gd name="connsiteX435" fmla="*/ 2835872 w 2846793"/>
              <a:gd name="connsiteY435" fmla="*/ 2160094 h 2831069"/>
              <a:gd name="connsiteX436" fmla="*/ 2789119 w 2846793"/>
              <a:gd name="connsiteY436" fmla="*/ 2458476 h 2831069"/>
              <a:gd name="connsiteX437" fmla="*/ 2737620 w 2846793"/>
              <a:gd name="connsiteY437" fmla="*/ 2693547 h 2831069"/>
              <a:gd name="connsiteX438" fmla="*/ 2657626 w 2846793"/>
              <a:gd name="connsiteY438" fmla="*/ 2723762 h 2831069"/>
              <a:gd name="connsiteX439" fmla="*/ 2479816 w 2846793"/>
              <a:gd name="connsiteY439" fmla="*/ 2656720 h 2831069"/>
              <a:gd name="connsiteX440" fmla="*/ 2254237 w 2846793"/>
              <a:gd name="connsiteY440" fmla="*/ 2611832 h 2831069"/>
              <a:gd name="connsiteX441" fmla="*/ 2082166 w 2846793"/>
              <a:gd name="connsiteY441" fmla="*/ 2636287 h 2831069"/>
              <a:gd name="connsiteX442" fmla="*/ 1994401 w 2846793"/>
              <a:gd name="connsiteY442" fmla="*/ 2663621 h 2831069"/>
              <a:gd name="connsiteX443" fmla="*/ 1965346 w 2846793"/>
              <a:gd name="connsiteY443" fmla="*/ 2610382 h 2831069"/>
              <a:gd name="connsiteX444" fmla="*/ 1972537 w 2846793"/>
              <a:gd name="connsiteY444" fmla="*/ 2529538 h 2831069"/>
              <a:gd name="connsiteX445" fmla="*/ 2001302 w 2846793"/>
              <a:gd name="connsiteY445" fmla="*/ 2410127 h 2831069"/>
              <a:gd name="connsiteX446" fmla="*/ 2065173 w 2846793"/>
              <a:gd name="connsiteY446" fmla="*/ 2234762 h 2831069"/>
              <a:gd name="connsiteX447" fmla="*/ 2185164 w 2846793"/>
              <a:gd name="connsiteY447" fmla="*/ 1982428 h 2831069"/>
              <a:gd name="connsiteX448" fmla="*/ 2272639 w 2846793"/>
              <a:gd name="connsiteY448" fmla="*/ 1790940 h 2831069"/>
              <a:gd name="connsiteX449" fmla="*/ 2341691 w 2846793"/>
              <a:gd name="connsiteY449" fmla="*/ 1698284 h 2831069"/>
              <a:gd name="connsiteX450" fmla="*/ 2369026 w 2846793"/>
              <a:gd name="connsiteY450" fmla="*/ 1632962 h 2831069"/>
              <a:gd name="connsiteX451" fmla="*/ 2351473 w 2846793"/>
              <a:gd name="connsiteY451" fmla="*/ 1607927 h 2831069"/>
              <a:gd name="connsiteX452" fmla="*/ 2270774 w 2846793"/>
              <a:gd name="connsiteY452" fmla="*/ 1653541 h 2831069"/>
              <a:gd name="connsiteX453" fmla="*/ 2210343 w 2846793"/>
              <a:gd name="connsiteY453" fmla="*/ 1626206 h 2831069"/>
              <a:gd name="connsiteX454" fmla="*/ 2164585 w 2846793"/>
              <a:gd name="connsiteY454" fmla="*/ 1571972 h 2831069"/>
              <a:gd name="connsiteX455" fmla="*/ 2149623 w 2846793"/>
              <a:gd name="connsiteY455" fmla="*/ 1525364 h 2831069"/>
              <a:gd name="connsiteX456" fmla="*/ 2171776 w 2846793"/>
              <a:gd name="connsiteY456" fmla="*/ 1480476 h 2831069"/>
              <a:gd name="connsiteX457" fmla="*/ 2219690 w 2846793"/>
              <a:gd name="connsiteY457" fmla="*/ 1471710 h 2831069"/>
              <a:gd name="connsiteX458" fmla="*/ 2304575 w 2846793"/>
              <a:gd name="connsiteY458" fmla="*/ 1491128 h 2831069"/>
              <a:gd name="connsiteX459" fmla="*/ 2357939 w 2846793"/>
              <a:gd name="connsiteY459" fmla="*/ 1495148 h 2831069"/>
              <a:gd name="connsiteX460" fmla="*/ 2365130 w 2846793"/>
              <a:gd name="connsiteY460" fmla="*/ 1468539 h 2831069"/>
              <a:gd name="connsiteX461" fmla="*/ 2343411 w 2846793"/>
              <a:gd name="connsiteY461" fmla="*/ 1383509 h 2831069"/>
              <a:gd name="connsiteX462" fmla="*/ 2328594 w 2846793"/>
              <a:gd name="connsiteY462" fmla="*/ 1282957 h 2831069"/>
              <a:gd name="connsiteX463" fmla="*/ 2324428 w 2846793"/>
              <a:gd name="connsiteY463" fmla="*/ 1207999 h 2831069"/>
              <a:gd name="connsiteX464" fmla="*/ 2305735 w 2846793"/>
              <a:gd name="connsiteY464" fmla="*/ 1175628 h 2831069"/>
              <a:gd name="connsiteX465" fmla="*/ 2240559 w 2846793"/>
              <a:gd name="connsiteY465" fmla="*/ 1175918 h 2831069"/>
              <a:gd name="connsiteX466" fmla="*/ 2155964 w 2846793"/>
              <a:gd name="connsiteY466" fmla="*/ 1209574 h 2831069"/>
              <a:gd name="connsiteX467" fmla="*/ 2105750 w 2846793"/>
              <a:gd name="connsiteY467" fmla="*/ 1260223 h 2831069"/>
              <a:gd name="connsiteX468" fmla="*/ 2085171 w 2846793"/>
              <a:gd name="connsiteY468" fmla="*/ 1297774 h 2831069"/>
              <a:gd name="connsiteX469" fmla="*/ 2074664 w 2846793"/>
              <a:gd name="connsiteY469" fmla="*/ 1286977 h 2831069"/>
              <a:gd name="connsiteX470" fmla="*/ 2069918 w 2846793"/>
              <a:gd name="connsiteY470" fmla="*/ 1234028 h 2831069"/>
              <a:gd name="connsiteX471" fmla="*/ 2108050 w 2846793"/>
              <a:gd name="connsiteY471" fmla="*/ 1171587 h 2831069"/>
              <a:gd name="connsiteX472" fmla="*/ 2189910 w 2846793"/>
              <a:gd name="connsiteY472" fmla="*/ 1136045 h 2831069"/>
              <a:gd name="connsiteX473" fmla="*/ 2269759 w 2846793"/>
              <a:gd name="connsiteY473" fmla="*/ 1132294 h 2831069"/>
              <a:gd name="connsiteX474" fmla="*/ 2308450 w 2846793"/>
              <a:gd name="connsiteY474" fmla="*/ 1125683 h 2831069"/>
              <a:gd name="connsiteX475" fmla="*/ 2307290 w 2846793"/>
              <a:gd name="connsiteY475" fmla="*/ 1074765 h 2831069"/>
              <a:gd name="connsiteX476" fmla="*/ 2297653 w 2846793"/>
              <a:gd name="connsiteY476" fmla="*/ 1036778 h 2831069"/>
              <a:gd name="connsiteX477" fmla="*/ 2262982 w 2846793"/>
              <a:gd name="connsiteY477" fmla="*/ 1022831 h 2831069"/>
              <a:gd name="connsiteX478" fmla="*/ 2194655 w 2846793"/>
              <a:gd name="connsiteY478" fmla="*/ 1035493 h 2831069"/>
              <a:gd name="connsiteX479" fmla="*/ 2144296 w 2846793"/>
              <a:gd name="connsiteY479" fmla="*/ 1081811 h 2831069"/>
              <a:gd name="connsiteX480" fmla="*/ 2106310 w 2846793"/>
              <a:gd name="connsiteY480" fmla="*/ 1120088 h 2831069"/>
              <a:gd name="connsiteX481" fmla="*/ 2043434 w 2846793"/>
              <a:gd name="connsiteY481" fmla="*/ 1152894 h 2831069"/>
              <a:gd name="connsiteX482" fmla="*/ 1998401 w 2846793"/>
              <a:gd name="connsiteY482" fmla="*/ 1194756 h 2831069"/>
              <a:gd name="connsiteX483" fmla="*/ 1991645 w 2846793"/>
              <a:gd name="connsiteY483" fmla="*/ 1239354 h 2831069"/>
              <a:gd name="connsiteX484" fmla="*/ 2014669 w 2846793"/>
              <a:gd name="connsiteY484" fmla="*/ 1279351 h 2831069"/>
              <a:gd name="connsiteX485" fmla="*/ 2051350 w 2846793"/>
              <a:gd name="connsiteY485" fmla="*/ 1309566 h 2831069"/>
              <a:gd name="connsiteX486" fmla="*/ 2064157 w 2846793"/>
              <a:gd name="connsiteY486" fmla="*/ 1331865 h 2831069"/>
              <a:gd name="connsiteX487" fmla="*/ 2053505 w 2846793"/>
              <a:gd name="connsiteY487" fmla="*/ 1376173 h 2831069"/>
              <a:gd name="connsiteX488" fmla="*/ 2057671 w 2846793"/>
              <a:gd name="connsiteY488" fmla="*/ 1437598 h 2831069"/>
              <a:gd name="connsiteX489" fmla="*/ 2084715 w 2846793"/>
              <a:gd name="connsiteY489" fmla="*/ 1526939 h 2831069"/>
              <a:gd name="connsiteX490" fmla="*/ 2142556 w 2846793"/>
              <a:gd name="connsiteY490" fmla="*/ 1590374 h 2831069"/>
              <a:gd name="connsiteX491" fmla="*/ 2188583 w 2846793"/>
              <a:gd name="connsiteY491" fmla="*/ 1652525 h 2831069"/>
              <a:gd name="connsiteX492" fmla="*/ 2211753 w 2846793"/>
              <a:gd name="connsiteY492" fmla="*/ 1709350 h 2831069"/>
              <a:gd name="connsiteX493" fmla="*/ 2213038 w 2846793"/>
              <a:gd name="connsiteY493" fmla="*/ 1751502 h 2831069"/>
              <a:gd name="connsiteX494" fmla="*/ 2193619 w 2846793"/>
              <a:gd name="connsiteY494" fmla="*/ 1786463 h 2831069"/>
              <a:gd name="connsiteX495" fmla="*/ 2145416 w 2846793"/>
              <a:gd name="connsiteY495" fmla="*/ 1826170 h 2831069"/>
              <a:gd name="connsiteX496" fmla="*/ 2094062 w 2846793"/>
              <a:gd name="connsiteY496" fmla="*/ 1865877 h 2831069"/>
              <a:gd name="connsiteX497" fmla="*/ 2067452 w 2846793"/>
              <a:gd name="connsiteY497" fmla="*/ 1897668 h 2831069"/>
              <a:gd name="connsiteX498" fmla="*/ 2076654 w 2846793"/>
              <a:gd name="connsiteY498" fmla="*/ 1913791 h 2831069"/>
              <a:gd name="connsiteX499" fmla="*/ 2097668 w 2846793"/>
              <a:gd name="connsiteY499" fmla="*/ 1937955 h 2831069"/>
              <a:gd name="connsiteX500" fmla="*/ 2095077 w 2846793"/>
              <a:gd name="connsiteY500" fmla="*/ 2004416 h 2831069"/>
              <a:gd name="connsiteX501" fmla="*/ 2059391 w 2846793"/>
              <a:gd name="connsiteY501" fmla="*/ 2109155 h 2831069"/>
              <a:gd name="connsiteX502" fmla="*/ 1969325 w 2846793"/>
              <a:gd name="connsiteY502" fmla="*/ 2331853 h 2831069"/>
              <a:gd name="connsiteX503" fmla="*/ 1904584 w 2846793"/>
              <a:gd name="connsiteY503" fmla="*/ 2574405 h 2831069"/>
              <a:gd name="connsiteX504" fmla="*/ 1892502 w 2846793"/>
              <a:gd name="connsiteY504" fmla="*/ 2764443 h 2831069"/>
              <a:gd name="connsiteX505" fmla="*/ 2038812 w 2846793"/>
              <a:gd name="connsiteY505" fmla="*/ 2824874 h 2831069"/>
              <a:gd name="connsiteX506" fmla="*/ 2686909 w 2846793"/>
              <a:gd name="connsiteY506" fmla="*/ 2831070 h 2831069"/>
              <a:gd name="connsiteX0" fmla="*/ 1241953 w 2846795"/>
              <a:gd name="connsiteY0" fmla="*/ 2360975 h 2824875"/>
              <a:gd name="connsiteX1" fmla="*/ 1209568 w 2846795"/>
              <a:gd name="connsiteY1" fmla="*/ 2270448 h 2824875"/>
              <a:gd name="connsiteX2" fmla="*/ 1120808 w 2846795"/>
              <a:gd name="connsiteY2" fmla="*/ 2115662 h 2824875"/>
              <a:gd name="connsiteX3" fmla="*/ 1030182 w 2846795"/>
              <a:gd name="connsiteY3" fmla="*/ 1957124 h 2824875"/>
              <a:gd name="connsiteX4" fmla="*/ 963576 w 2846795"/>
              <a:gd name="connsiteY4" fmla="*/ 1924173 h 2824875"/>
              <a:gd name="connsiteX5" fmla="*/ 805764 w 2846795"/>
              <a:gd name="connsiteY5" fmla="*/ 1954244 h 2824875"/>
              <a:gd name="connsiteX6" fmla="*/ 604929 w 2846795"/>
              <a:gd name="connsiteY6" fmla="*/ 1989060 h 2824875"/>
              <a:gd name="connsiteX7" fmla="*/ 477332 w 2846795"/>
              <a:gd name="connsiteY7" fmla="*/ 1993661 h 2824875"/>
              <a:gd name="connsiteX8" fmla="*/ 361672 w 2846795"/>
              <a:gd name="connsiteY8" fmla="*/ 2000852 h 2824875"/>
              <a:gd name="connsiteX9" fmla="*/ 98687 w 2846795"/>
              <a:gd name="connsiteY9" fmla="*/ 2062567 h 2824875"/>
              <a:gd name="connsiteX10" fmla="*/ 3316 w 2846795"/>
              <a:gd name="connsiteY10" fmla="*/ 2090047 h 2824875"/>
              <a:gd name="connsiteX11" fmla="*/ 45468 w 2846795"/>
              <a:gd name="connsiteY11" fmla="*/ 2164135 h 2824875"/>
              <a:gd name="connsiteX12" fmla="*/ 243277 w 2846795"/>
              <a:gd name="connsiteY12" fmla="*/ 2417629 h 2824875"/>
              <a:gd name="connsiteX13" fmla="*/ 343270 w 2846795"/>
              <a:gd name="connsiteY13" fmla="*/ 2553723 h 2824875"/>
              <a:gd name="connsiteX14" fmla="*/ 396634 w 2846795"/>
              <a:gd name="connsiteY14" fmla="*/ 2608392 h 2824875"/>
              <a:gd name="connsiteX15" fmla="*/ 442102 w 2846795"/>
              <a:gd name="connsiteY15" fmla="*/ 2644348 h 2824875"/>
              <a:gd name="connsiteX16" fmla="*/ 450018 w 2846795"/>
              <a:gd name="connsiteY16" fmla="*/ 2670108 h 2824875"/>
              <a:gd name="connsiteX17" fmla="*/ 431180 w 2846795"/>
              <a:gd name="connsiteY17" fmla="*/ 2687516 h 2824875"/>
              <a:gd name="connsiteX18" fmla="*/ 385007 w 2846795"/>
              <a:gd name="connsiteY18" fmla="*/ 2665507 h 2824875"/>
              <a:gd name="connsiteX19" fmla="*/ 320266 w 2846795"/>
              <a:gd name="connsiteY19" fmla="*/ 2569991 h 2824875"/>
              <a:gd name="connsiteX20" fmla="*/ 307459 w 2846795"/>
              <a:gd name="connsiteY20" fmla="*/ 2513166 h 2824875"/>
              <a:gd name="connsiteX21" fmla="*/ 319396 w 2846795"/>
              <a:gd name="connsiteY21" fmla="*/ 2499923 h 2824875"/>
              <a:gd name="connsiteX22" fmla="*/ 348015 w 2846795"/>
              <a:gd name="connsiteY22" fmla="*/ 2524378 h 2824875"/>
              <a:gd name="connsiteX23" fmla="*/ 378086 w 2846795"/>
              <a:gd name="connsiteY23" fmla="*/ 2562364 h 2824875"/>
              <a:gd name="connsiteX24" fmla="*/ 409731 w 2846795"/>
              <a:gd name="connsiteY24" fmla="*/ 2581348 h 2824875"/>
              <a:gd name="connsiteX25" fmla="*/ 431740 w 2846795"/>
              <a:gd name="connsiteY25" fmla="*/ 2604372 h 2824875"/>
              <a:gd name="connsiteX26" fmla="*/ 455323 w 2846795"/>
              <a:gd name="connsiteY26" fmla="*/ 2623645 h 2824875"/>
              <a:gd name="connsiteX27" fmla="*/ 472006 w 2846795"/>
              <a:gd name="connsiteY27" fmla="*/ 2654005 h 2824875"/>
              <a:gd name="connsiteX28" fmla="*/ 483798 w 2846795"/>
              <a:gd name="connsiteY28" fmla="*/ 2705649 h 2824875"/>
              <a:gd name="connsiteX29" fmla="*/ 515029 w 2846795"/>
              <a:gd name="connsiteY29" fmla="*/ 2761707 h 2824875"/>
              <a:gd name="connsiteX30" fmla="*/ 593924 w 2846795"/>
              <a:gd name="connsiteY30" fmla="*/ 2781975 h 2824875"/>
              <a:gd name="connsiteX31" fmla="*/ 917921 w 2846795"/>
              <a:gd name="connsiteY31" fmla="*/ 2784234 h 2824875"/>
              <a:gd name="connsiteX32" fmla="*/ 1481859 w 2846795"/>
              <a:gd name="connsiteY32" fmla="*/ 2784234 h 2824875"/>
              <a:gd name="connsiteX33" fmla="*/ 1611175 w 2846795"/>
              <a:gd name="connsiteY33" fmla="*/ 2760402 h 2824875"/>
              <a:gd name="connsiteX34" fmla="*/ 1530415 w 2846795"/>
              <a:gd name="connsiteY34" fmla="*/ 2653819 h 2824875"/>
              <a:gd name="connsiteX35" fmla="*/ 1485506 w 2846795"/>
              <a:gd name="connsiteY35" fmla="*/ 2582508 h 2824875"/>
              <a:gd name="connsiteX36" fmla="*/ 1444639 w 2846795"/>
              <a:gd name="connsiteY36" fmla="*/ 2563380 h 2824875"/>
              <a:gd name="connsiteX37" fmla="*/ 1360914 w 2846795"/>
              <a:gd name="connsiteY37" fmla="*/ 2569701 h 2824875"/>
              <a:gd name="connsiteX38" fmla="*/ 1305374 w 2846795"/>
              <a:gd name="connsiteY38" fmla="*/ 2561204 h 2824875"/>
              <a:gd name="connsiteX39" fmla="*/ 1259906 w 2846795"/>
              <a:gd name="connsiteY39" fmla="*/ 2517187 h 2824875"/>
              <a:gd name="connsiteX40" fmla="*/ 1228551 w 2846795"/>
              <a:gd name="connsiteY40" fmla="*/ 2442519 h 2824875"/>
              <a:gd name="connsiteX41" fmla="*/ 1227121 w 2846795"/>
              <a:gd name="connsiteY41" fmla="*/ 2364680 h 2824875"/>
              <a:gd name="connsiteX42" fmla="*/ 1271139 w 2846795"/>
              <a:gd name="connsiteY42" fmla="*/ 2317491 h 2824875"/>
              <a:gd name="connsiteX43" fmla="*/ 1254021 w 2846795"/>
              <a:gd name="connsiteY43" fmla="*/ 2254201 h 2824875"/>
              <a:gd name="connsiteX44" fmla="*/ 1118217 w 2846795"/>
              <a:gd name="connsiteY44" fmla="*/ 2041429 h 2824875"/>
              <a:gd name="connsiteX45" fmla="*/ 1021105 w 2846795"/>
              <a:gd name="connsiteY45" fmla="*/ 1888363 h 2824875"/>
              <a:gd name="connsiteX46" fmla="*/ 969171 w 2846795"/>
              <a:gd name="connsiteY46" fmla="*/ 1865338 h 2824875"/>
              <a:gd name="connsiteX47" fmla="*/ 890048 w 2846795"/>
              <a:gd name="connsiteY47" fmla="*/ 1886477 h 2824875"/>
              <a:gd name="connsiteX48" fmla="*/ 773808 w 2846795"/>
              <a:gd name="connsiteY48" fmla="*/ 1916837 h 2824875"/>
              <a:gd name="connsiteX49" fmla="*/ 552974 w 2846795"/>
              <a:gd name="connsiteY49" fmla="*/ 1960565 h 2824875"/>
              <a:gd name="connsiteX50" fmla="*/ 460463 w 2846795"/>
              <a:gd name="connsiteY50" fmla="*/ 1968771 h 2824875"/>
              <a:gd name="connsiteX51" fmla="*/ 390251 w 2846795"/>
              <a:gd name="connsiteY51" fmla="*/ 1936110 h 2824875"/>
              <a:gd name="connsiteX52" fmla="*/ 237329 w 2846795"/>
              <a:gd name="connsiteY52" fmla="*/ 1817280 h 2824875"/>
              <a:gd name="connsiteX53" fmla="*/ 148859 w 2846795"/>
              <a:gd name="connsiteY53" fmla="*/ 1724478 h 2824875"/>
              <a:gd name="connsiteX54" fmla="*/ 135326 w 2846795"/>
              <a:gd name="connsiteY54" fmla="*/ 1660753 h 2824875"/>
              <a:gd name="connsiteX55" fmla="*/ 160361 w 2846795"/>
              <a:gd name="connsiteY55" fmla="*/ 1619326 h 2824875"/>
              <a:gd name="connsiteX56" fmla="*/ 206534 w 2846795"/>
              <a:gd name="connsiteY56" fmla="*/ 1610829 h 2824875"/>
              <a:gd name="connsiteX57" fmla="*/ 299894 w 2846795"/>
              <a:gd name="connsiteY57" fmla="*/ 1646370 h 2824875"/>
              <a:gd name="connsiteX58" fmla="*/ 372552 w 2846795"/>
              <a:gd name="connsiteY58" fmla="*/ 1668959 h 2824875"/>
              <a:gd name="connsiteX59" fmla="*/ 375723 w 2846795"/>
              <a:gd name="connsiteY59" fmla="*/ 1692688 h 2824875"/>
              <a:gd name="connsiteX60" fmla="*/ 313282 w 2846795"/>
              <a:gd name="connsiteY60" fmla="*/ 1712832 h 2824875"/>
              <a:gd name="connsiteX61" fmla="*/ 211134 w 2846795"/>
              <a:gd name="connsiteY61" fmla="*/ 1685787 h 2824875"/>
              <a:gd name="connsiteX62" fmla="*/ 161356 w 2846795"/>
              <a:gd name="connsiteY62" fmla="*/ 1648235 h 2824875"/>
              <a:gd name="connsiteX63" fmla="*/ 166391 w 2846795"/>
              <a:gd name="connsiteY63" fmla="*/ 1605586 h 2824875"/>
              <a:gd name="connsiteX64" fmla="*/ 200192 w 2846795"/>
              <a:gd name="connsiteY64" fmla="*/ 1577816 h 2824875"/>
              <a:gd name="connsiteX65" fmla="*/ 287232 w 2846795"/>
              <a:gd name="connsiteY65" fmla="*/ 1590830 h 2824875"/>
              <a:gd name="connsiteX66" fmla="*/ 369009 w 2846795"/>
              <a:gd name="connsiteY66" fmla="*/ 1618953 h 2824875"/>
              <a:gd name="connsiteX67" fmla="*/ 419927 w 2846795"/>
              <a:gd name="connsiteY67" fmla="*/ 1621046 h 2824875"/>
              <a:gd name="connsiteX68" fmla="*/ 508625 w 2846795"/>
              <a:gd name="connsiteY68" fmla="*/ 1559682 h 2824875"/>
              <a:gd name="connsiteX69" fmla="*/ 603872 w 2846795"/>
              <a:gd name="connsiteY69" fmla="*/ 1496164 h 2824875"/>
              <a:gd name="connsiteX70" fmla="*/ 672489 w 2846795"/>
              <a:gd name="connsiteY70" fmla="*/ 1469699 h 2824875"/>
              <a:gd name="connsiteX71" fmla="*/ 740318 w 2846795"/>
              <a:gd name="connsiteY71" fmla="*/ 1459835 h 2824875"/>
              <a:gd name="connsiteX72" fmla="*/ 810675 w 2846795"/>
              <a:gd name="connsiteY72" fmla="*/ 1421288 h 2824875"/>
              <a:gd name="connsiteX73" fmla="*/ 854631 w 2846795"/>
              <a:gd name="connsiteY73" fmla="*/ 1394969 h 2824875"/>
              <a:gd name="connsiteX74" fmla="*/ 862982 w 2846795"/>
              <a:gd name="connsiteY74" fmla="*/ 1380214 h 2824875"/>
              <a:gd name="connsiteX75" fmla="*/ 851688 w 2846795"/>
              <a:gd name="connsiteY75" fmla="*/ 1366412 h 2824875"/>
              <a:gd name="connsiteX76" fmla="*/ 827524 w 2846795"/>
              <a:gd name="connsiteY76" fmla="*/ 1363614 h 2824875"/>
              <a:gd name="connsiteX77" fmla="*/ 824291 w 2846795"/>
              <a:gd name="connsiteY77" fmla="*/ 1354910 h 2824875"/>
              <a:gd name="connsiteX78" fmla="*/ 846652 w 2846795"/>
              <a:gd name="connsiteY78" fmla="*/ 1340030 h 2824875"/>
              <a:gd name="connsiteX79" fmla="*/ 880308 w 2846795"/>
              <a:gd name="connsiteY79" fmla="*/ 1319161 h 2824875"/>
              <a:gd name="connsiteX80" fmla="*/ 897363 w 2846795"/>
              <a:gd name="connsiteY80" fmla="*/ 1302831 h 2824875"/>
              <a:gd name="connsiteX81" fmla="*/ 886794 w 2846795"/>
              <a:gd name="connsiteY81" fmla="*/ 1295930 h 2824875"/>
              <a:gd name="connsiteX82" fmla="*/ 844642 w 2846795"/>
              <a:gd name="connsiteY82" fmla="*/ 1306934 h 2824875"/>
              <a:gd name="connsiteX83" fmla="*/ 809536 w 2846795"/>
              <a:gd name="connsiteY83" fmla="*/ 1335347 h 2824875"/>
              <a:gd name="connsiteX84" fmla="*/ 787029 w 2846795"/>
              <a:gd name="connsiteY84" fmla="*/ 1349667 h 2824875"/>
              <a:gd name="connsiteX85" fmla="*/ 782139 w 2846795"/>
              <a:gd name="connsiteY85" fmla="*/ 1343346 h 2824875"/>
              <a:gd name="connsiteX86" fmla="*/ 804583 w 2846795"/>
              <a:gd name="connsiteY86" fmla="*/ 1325296 h 2824875"/>
              <a:gd name="connsiteX87" fmla="*/ 816810 w 2846795"/>
              <a:gd name="connsiteY87" fmla="*/ 1307743 h 2824875"/>
              <a:gd name="connsiteX88" fmla="*/ 811276 w 2846795"/>
              <a:gd name="connsiteY88" fmla="*/ 1290977 h 2824875"/>
              <a:gd name="connsiteX89" fmla="*/ 791713 w 2846795"/>
              <a:gd name="connsiteY89" fmla="*/ 1290832 h 2824875"/>
              <a:gd name="connsiteX90" fmla="*/ 761933 w 2846795"/>
              <a:gd name="connsiteY90" fmla="*/ 1313856 h 2824875"/>
              <a:gd name="connsiteX91" fmla="*/ 742515 w 2846795"/>
              <a:gd name="connsiteY91" fmla="*/ 1324218 h 2824875"/>
              <a:gd name="connsiteX92" fmla="*/ 739862 w 2846795"/>
              <a:gd name="connsiteY92" fmla="*/ 1318457 h 2824875"/>
              <a:gd name="connsiteX93" fmla="*/ 752296 w 2846795"/>
              <a:gd name="connsiteY93" fmla="*/ 1300406 h 2824875"/>
              <a:gd name="connsiteX94" fmla="*/ 772585 w 2846795"/>
              <a:gd name="connsiteY94" fmla="*/ 1280615 h 2824875"/>
              <a:gd name="connsiteX95" fmla="*/ 776108 w 2846795"/>
              <a:gd name="connsiteY95" fmla="*/ 1263994 h 2824875"/>
              <a:gd name="connsiteX96" fmla="*/ 761083 w 2846795"/>
              <a:gd name="connsiteY96" fmla="*/ 1258026 h 2824875"/>
              <a:gd name="connsiteX97" fmla="*/ 718869 w 2846795"/>
              <a:gd name="connsiteY97" fmla="*/ 1273051 h 2824875"/>
              <a:gd name="connsiteX98" fmla="*/ 639600 w 2846795"/>
              <a:gd name="connsiteY98" fmla="*/ 1331181 h 2824875"/>
              <a:gd name="connsiteX99" fmla="*/ 569678 w 2846795"/>
              <a:gd name="connsiteY99" fmla="*/ 1382100 h 2824875"/>
              <a:gd name="connsiteX100" fmla="*/ 456173 w 2846795"/>
              <a:gd name="connsiteY100" fmla="*/ 1442530 h 2824875"/>
              <a:gd name="connsiteX101" fmla="*/ 325406 w 2846795"/>
              <a:gd name="connsiteY101" fmla="*/ 1515188 h 2824875"/>
              <a:gd name="connsiteX102" fmla="*/ 239526 w 2846795"/>
              <a:gd name="connsiteY102" fmla="*/ 1551144 h 2824875"/>
              <a:gd name="connsiteX103" fmla="*/ 218388 w 2846795"/>
              <a:gd name="connsiteY103" fmla="*/ 1575453 h 2824875"/>
              <a:gd name="connsiteX104" fmla="*/ 272912 w 2846795"/>
              <a:gd name="connsiteY104" fmla="*/ 1602208 h 2824875"/>
              <a:gd name="connsiteX105" fmla="*/ 357797 w 2846795"/>
              <a:gd name="connsiteY105" fmla="*/ 1635863 h 2824875"/>
              <a:gd name="connsiteX106" fmla="*/ 403410 w 2846795"/>
              <a:gd name="connsiteY106" fmla="*/ 1653271 h 2824875"/>
              <a:gd name="connsiteX107" fmla="*/ 416073 w 2846795"/>
              <a:gd name="connsiteY107" fmla="*/ 1682036 h 2824875"/>
              <a:gd name="connsiteX108" fmla="*/ 440817 w 2846795"/>
              <a:gd name="connsiteY108" fmla="*/ 1705060 h 2824875"/>
              <a:gd name="connsiteX109" fmla="*/ 514469 w 2846795"/>
              <a:gd name="connsiteY109" fmla="*/ 1733680 h 2824875"/>
              <a:gd name="connsiteX110" fmla="*/ 651288 w 2846795"/>
              <a:gd name="connsiteY110" fmla="*/ 1765905 h 2824875"/>
              <a:gd name="connsiteX111" fmla="*/ 768109 w 2846795"/>
              <a:gd name="connsiteY111" fmla="*/ 1785179 h 2824875"/>
              <a:gd name="connsiteX112" fmla="*/ 837306 w 2846795"/>
              <a:gd name="connsiteY112" fmla="*/ 1824740 h 2824875"/>
              <a:gd name="connsiteX113" fmla="*/ 840621 w 2846795"/>
              <a:gd name="connsiteY113" fmla="*/ 1854666 h 2824875"/>
              <a:gd name="connsiteX114" fmla="*/ 790843 w 2846795"/>
              <a:gd name="connsiteY114" fmla="*/ 1883430 h 2824875"/>
              <a:gd name="connsiteX115" fmla="*/ 713874 w 2846795"/>
              <a:gd name="connsiteY115" fmla="*/ 1902413 h 2824875"/>
              <a:gd name="connsiteX116" fmla="*/ 703367 w 2846795"/>
              <a:gd name="connsiteY116" fmla="*/ 1887741 h 2824875"/>
              <a:gd name="connsiteX117" fmla="*/ 735158 w 2846795"/>
              <a:gd name="connsiteY117" fmla="*/ 1840843 h 2824875"/>
              <a:gd name="connsiteX118" fmla="*/ 785662 w 2846795"/>
              <a:gd name="connsiteY118" fmla="*/ 1808037 h 2824875"/>
              <a:gd name="connsiteX119" fmla="*/ 864640 w 2846795"/>
              <a:gd name="connsiteY119" fmla="*/ 1809757 h 2824875"/>
              <a:gd name="connsiteX120" fmla="*/ 904637 w 2846795"/>
              <a:gd name="connsiteY120" fmla="*/ 1789468 h 2824875"/>
              <a:gd name="connsiteX121" fmla="*/ 916284 w 2846795"/>
              <a:gd name="connsiteY121" fmla="*/ 1745161 h 2824875"/>
              <a:gd name="connsiteX122" fmla="*/ 912119 w 2846795"/>
              <a:gd name="connsiteY122" fmla="*/ 1675238 h 2824875"/>
              <a:gd name="connsiteX123" fmla="*/ 918025 w 2846795"/>
              <a:gd name="connsiteY123" fmla="*/ 1647904 h 2824875"/>
              <a:gd name="connsiteX124" fmla="*/ 946230 w 2846795"/>
              <a:gd name="connsiteY124" fmla="*/ 1644588 h 2824875"/>
              <a:gd name="connsiteX125" fmla="*/ 993128 w 2846795"/>
              <a:gd name="connsiteY125" fmla="*/ 1664587 h 2824875"/>
              <a:gd name="connsiteX126" fmla="*/ 1043632 w 2846795"/>
              <a:gd name="connsiteY126" fmla="*/ 1685455 h 2824875"/>
              <a:gd name="connsiteX127" fmla="*/ 1091110 w 2846795"/>
              <a:gd name="connsiteY127" fmla="*/ 1667032 h 2824875"/>
              <a:gd name="connsiteX128" fmla="*/ 1113844 w 2846795"/>
              <a:gd name="connsiteY128" fmla="*/ 1609046 h 2824875"/>
              <a:gd name="connsiteX129" fmla="*/ 1137573 w 2846795"/>
              <a:gd name="connsiteY129" fmla="*/ 1536244 h 2824875"/>
              <a:gd name="connsiteX130" fmla="*/ 1175270 w 2846795"/>
              <a:gd name="connsiteY130" fmla="*/ 1484165 h 2824875"/>
              <a:gd name="connsiteX131" fmla="*/ 1215847 w 2846795"/>
              <a:gd name="connsiteY131" fmla="*/ 1437702 h 2824875"/>
              <a:gd name="connsiteX132" fmla="*/ 1213837 w 2846795"/>
              <a:gd name="connsiteY132" fmla="*/ 1405911 h 2824875"/>
              <a:gd name="connsiteX133" fmla="*/ 1160743 w 2846795"/>
              <a:gd name="connsiteY133" fmla="*/ 1359449 h 2824875"/>
              <a:gd name="connsiteX134" fmla="*/ 1072273 w 2846795"/>
              <a:gd name="connsiteY134" fmla="*/ 1326207 h 2824875"/>
              <a:gd name="connsiteX135" fmla="*/ 969420 w 2846795"/>
              <a:gd name="connsiteY135" fmla="*/ 1337709 h 2824875"/>
              <a:gd name="connsiteX136" fmla="*/ 912160 w 2846795"/>
              <a:gd name="connsiteY136" fmla="*/ 1380152 h 2824875"/>
              <a:gd name="connsiteX137" fmla="*/ 896327 w 2846795"/>
              <a:gd name="connsiteY137" fmla="*/ 1448333 h 2824875"/>
              <a:gd name="connsiteX138" fmla="*/ 877489 w 2846795"/>
              <a:gd name="connsiteY138" fmla="*/ 1512784 h 2824875"/>
              <a:gd name="connsiteX139" fmla="*/ 860806 w 2846795"/>
              <a:gd name="connsiteY139" fmla="*/ 1564138 h 2824875"/>
              <a:gd name="connsiteX140" fmla="*/ 859936 w 2846795"/>
              <a:gd name="connsiteY140" fmla="*/ 1636216 h 2824875"/>
              <a:gd name="connsiteX141" fmla="*/ 882670 w 2846795"/>
              <a:gd name="connsiteY141" fmla="*/ 1693040 h 2824875"/>
              <a:gd name="connsiteX142" fmla="*/ 939930 w 2846795"/>
              <a:gd name="connsiteY142" fmla="*/ 1728001 h 2824875"/>
              <a:gd name="connsiteX143" fmla="*/ 1032856 w 2846795"/>
              <a:gd name="connsiteY143" fmla="*/ 1733618 h 2824875"/>
              <a:gd name="connsiteX144" fmla="*/ 1121326 w 2846795"/>
              <a:gd name="connsiteY144" fmla="*/ 1688440 h 2824875"/>
              <a:gd name="connsiteX145" fmla="*/ 1171830 w 2846795"/>
              <a:gd name="connsiteY145" fmla="*/ 1627304 h 2824875"/>
              <a:gd name="connsiteX146" fmla="*/ 1192263 w 2846795"/>
              <a:gd name="connsiteY146" fmla="*/ 1592343 h 2824875"/>
              <a:gd name="connsiteX147" fmla="*/ 1215433 w 2846795"/>
              <a:gd name="connsiteY147" fmla="*/ 1590478 h 2824875"/>
              <a:gd name="connsiteX148" fmla="*/ 1223059 w 2846795"/>
              <a:gd name="connsiteY148" fmla="*/ 1624569 h 2824875"/>
              <a:gd name="connsiteX149" fmla="*/ 1193569 w 2846795"/>
              <a:gd name="connsiteY149" fmla="*/ 1655219 h 2824875"/>
              <a:gd name="connsiteX150" fmla="*/ 1160328 w 2846795"/>
              <a:gd name="connsiteY150" fmla="*/ 1650909 h 2824875"/>
              <a:gd name="connsiteX151" fmla="*/ 1152121 w 2846795"/>
              <a:gd name="connsiteY151" fmla="*/ 1619844 h 2824875"/>
              <a:gd name="connsiteX152" fmla="*/ 1169239 w 2846795"/>
              <a:gd name="connsiteY152" fmla="*/ 1577836 h 2824875"/>
              <a:gd name="connsiteX153" fmla="*/ 1208511 w 2846795"/>
              <a:gd name="connsiteY153" fmla="*/ 1555683 h 2824875"/>
              <a:gd name="connsiteX154" fmla="*/ 1223039 w 2846795"/>
              <a:gd name="connsiteY154" fmla="*/ 1534814 h 2824875"/>
              <a:gd name="connsiteX155" fmla="*/ 1221173 w 2846795"/>
              <a:gd name="connsiteY155" fmla="*/ 1493822 h 2824875"/>
              <a:gd name="connsiteX156" fmla="*/ 1192263 w 2846795"/>
              <a:gd name="connsiteY156" fmla="*/ 1435837 h 2824875"/>
              <a:gd name="connsiteX157" fmla="*/ 1126527 w 2846795"/>
              <a:gd name="connsiteY157" fmla="*/ 1373105 h 2824875"/>
              <a:gd name="connsiteX158" fmla="*/ 1015178 w 2846795"/>
              <a:gd name="connsiteY158" fmla="*/ 1361604 h 2824875"/>
              <a:gd name="connsiteX159" fmla="*/ 929299 w 2846795"/>
              <a:gd name="connsiteY159" fmla="*/ 1399591 h 2824875"/>
              <a:gd name="connsiteX160" fmla="*/ 891312 w 2846795"/>
              <a:gd name="connsiteY160" fmla="*/ 1413683 h 2824875"/>
              <a:gd name="connsiteX161" fmla="*/ 880805 w 2846795"/>
              <a:gd name="connsiteY161" fmla="*/ 1385623 h 2824875"/>
              <a:gd name="connsiteX162" fmla="*/ 887271 w 2846795"/>
              <a:gd name="connsiteY162" fmla="*/ 1343035 h 2824875"/>
              <a:gd name="connsiteX163" fmla="*/ 919351 w 2846795"/>
              <a:gd name="connsiteY163" fmla="*/ 1314270 h 2824875"/>
              <a:gd name="connsiteX164" fmla="*/ 976031 w 2846795"/>
              <a:gd name="connsiteY164" fmla="*/ 1293402 h 2824875"/>
              <a:gd name="connsiteX165" fmla="*/ 1018183 w 2846795"/>
              <a:gd name="connsiteY165" fmla="*/ 1281900 h 2824875"/>
              <a:gd name="connsiteX166" fmla="*/ 1050844 w 2846795"/>
              <a:gd name="connsiteY166" fmla="*/ 1268947 h 2824875"/>
              <a:gd name="connsiteX167" fmla="*/ 1109244 w 2846795"/>
              <a:gd name="connsiteY167" fmla="*/ 1272118 h 2824875"/>
              <a:gd name="connsiteX168" fmla="*/ 1183622 w 2846795"/>
              <a:gd name="connsiteY168" fmla="*/ 1306209 h 2824875"/>
              <a:gd name="connsiteX169" fmla="*/ 1247202 w 2846795"/>
              <a:gd name="connsiteY169" fmla="*/ 1382017 h 2824875"/>
              <a:gd name="connsiteX170" fmla="*/ 1276983 w 2846795"/>
              <a:gd name="connsiteY170" fmla="*/ 1470777 h 2824875"/>
              <a:gd name="connsiteX171" fmla="*/ 1290785 w 2846795"/>
              <a:gd name="connsiteY171" fmla="*/ 1538959 h 2824875"/>
              <a:gd name="connsiteX172" fmla="*/ 1286184 w 2846795"/>
              <a:gd name="connsiteY172" fmla="*/ 1598664 h 2824875"/>
              <a:gd name="connsiteX173" fmla="*/ 1251223 w 2846795"/>
              <a:gd name="connsiteY173" fmla="*/ 1657789 h 2824875"/>
              <a:gd name="connsiteX174" fmla="*/ 1190792 w 2846795"/>
              <a:gd name="connsiteY174" fmla="*/ 1692460 h 2824875"/>
              <a:gd name="connsiteX175" fmla="*/ 1155396 w 2846795"/>
              <a:gd name="connsiteY175" fmla="*/ 1717349 h 2824875"/>
              <a:gd name="connsiteX176" fmla="*/ 1128786 w 2846795"/>
              <a:gd name="connsiteY176" fmla="*/ 1768848 h 2824875"/>
              <a:gd name="connsiteX177" fmla="*/ 1124766 w 2846795"/>
              <a:gd name="connsiteY177" fmla="*/ 1813156 h 2824875"/>
              <a:gd name="connsiteX178" fmla="*/ 1143459 w 2846795"/>
              <a:gd name="connsiteY178" fmla="*/ 1838045 h 2824875"/>
              <a:gd name="connsiteX179" fmla="*/ 1176700 w 2846795"/>
              <a:gd name="connsiteY179" fmla="*/ 1874581 h 2824875"/>
              <a:gd name="connsiteX180" fmla="*/ 1211951 w 2846795"/>
              <a:gd name="connsiteY180" fmla="*/ 1930971 h 2824875"/>
              <a:gd name="connsiteX181" fmla="*/ 1269791 w 2846795"/>
              <a:gd name="connsiteY181" fmla="*/ 1970678 h 2824875"/>
              <a:gd name="connsiteX182" fmla="*/ 1289790 w 2846795"/>
              <a:gd name="connsiteY182" fmla="*/ 2016996 h 2824875"/>
              <a:gd name="connsiteX183" fmla="*/ 1236696 w 2846795"/>
              <a:gd name="connsiteY183" fmla="*/ 2105031 h 2824875"/>
              <a:gd name="connsiteX184" fmla="*/ 1189362 w 2846795"/>
              <a:gd name="connsiteY184" fmla="*/ 2099269 h 2824875"/>
              <a:gd name="connsiteX185" fmla="*/ 1126921 w 2846795"/>
              <a:gd name="connsiteY185" fmla="*/ 1994386 h 2824875"/>
              <a:gd name="connsiteX186" fmla="*/ 1124621 w 2846795"/>
              <a:gd name="connsiteY186" fmla="*/ 1948773 h 2824875"/>
              <a:gd name="connsiteX187" fmla="*/ 1178855 w 2846795"/>
              <a:gd name="connsiteY187" fmla="*/ 1910226 h 2824875"/>
              <a:gd name="connsiteX188" fmla="*/ 1235245 w 2846795"/>
              <a:gd name="connsiteY188" fmla="*/ 1918288 h 2824875"/>
              <a:gd name="connsiteX189" fmla="*/ 1332792 w 2846795"/>
              <a:gd name="connsiteY189" fmla="*/ 1988065 h 2824875"/>
              <a:gd name="connsiteX190" fmla="*/ 1387316 w 2846795"/>
              <a:gd name="connsiteY190" fmla="*/ 2070650 h 2824875"/>
              <a:gd name="connsiteX191" fmla="*/ 1383710 w 2846795"/>
              <a:gd name="connsiteY191" fmla="*/ 2126190 h 2824875"/>
              <a:gd name="connsiteX192" fmla="*/ 1348459 w 2846795"/>
              <a:gd name="connsiteY192" fmla="*/ 2203448 h 2824875"/>
              <a:gd name="connsiteX193" fmla="*/ 1311923 w 2846795"/>
              <a:gd name="connsiteY193" fmla="*/ 2248771 h 2824875"/>
              <a:gd name="connsiteX194" fmla="*/ 1270786 w 2846795"/>
              <a:gd name="connsiteY194" fmla="*/ 2226907 h 2824875"/>
              <a:gd name="connsiteX195" fmla="*/ 1256694 w 2846795"/>
              <a:gd name="connsiteY195" fmla="*/ 2197417 h 2824875"/>
              <a:gd name="connsiteX196" fmla="*/ 1262745 w 2846795"/>
              <a:gd name="connsiteY196" fmla="*/ 2172093 h 2824875"/>
              <a:gd name="connsiteX197" fmla="*/ 1299427 w 2846795"/>
              <a:gd name="connsiteY197" fmla="*/ 2127640 h 2824875"/>
              <a:gd name="connsiteX198" fmla="*/ 1357826 w 2846795"/>
              <a:gd name="connsiteY198" fmla="*/ 2086068 h 2824875"/>
              <a:gd name="connsiteX199" fmla="*/ 1403999 w 2846795"/>
              <a:gd name="connsiteY199" fmla="*/ 2048372 h 2824875"/>
              <a:gd name="connsiteX200" fmla="*/ 1428453 w 2846795"/>
              <a:gd name="connsiteY200" fmla="*/ 2028228 h 2824875"/>
              <a:gd name="connsiteX201" fmla="*/ 1435644 w 2846795"/>
              <a:gd name="connsiteY201" fmla="*/ 2043481 h 2824875"/>
              <a:gd name="connsiteX202" fmla="*/ 1439375 w 2846795"/>
              <a:gd name="connsiteY202" fmla="*/ 2107062 h 2824875"/>
              <a:gd name="connsiteX203" fmla="*/ 1432039 w 2846795"/>
              <a:gd name="connsiteY203" fmla="*/ 2164902 h 2824875"/>
              <a:gd name="connsiteX204" fmla="*/ 1405864 w 2846795"/>
              <a:gd name="connsiteY204" fmla="*/ 2266469 h 2824875"/>
              <a:gd name="connsiteX205" fmla="*/ 1412765 w 2846795"/>
              <a:gd name="connsiteY205" fmla="*/ 2328330 h 2824875"/>
              <a:gd name="connsiteX206" fmla="*/ 1440245 w 2846795"/>
              <a:gd name="connsiteY206" fmla="*/ 2353074 h 2824875"/>
              <a:gd name="connsiteX207" fmla="*/ 1475932 w 2846795"/>
              <a:gd name="connsiteY207" fmla="*/ 2367457 h 2824875"/>
              <a:gd name="connsiteX208" fmla="*/ 1511038 w 2846795"/>
              <a:gd name="connsiteY208" fmla="*/ 2382710 h 2824875"/>
              <a:gd name="connsiteX209" fmla="*/ 1536217 w 2846795"/>
              <a:gd name="connsiteY209" fmla="*/ 2415225 h 2824875"/>
              <a:gd name="connsiteX210" fmla="*/ 1543408 w 2846795"/>
              <a:gd name="connsiteY210" fmla="*/ 2463843 h 2824875"/>
              <a:gd name="connsiteX211" fmla="*/ 1512758 w 2846795"/>
              <a:gd name="connsiteY211" fmla="*/ 2507156 h 2824875"/>
              <a:gd name="connsiteX212" fmla="*/ 1467083 w 2846795"/>
              <a:gd name="connsiteY212" fmla="*/ 2522844 h 2824875"/>
              <a:gd name="connsiteX213" fmla="*/ 1422195 w 2846795"/>
              <a:gd name="connsiteY213" fmla="*/ 2523860 h 2824875"/>
              <a:gd name="connsiteX214" fmla="*/ 1366738 w 2846795"/>
              <a:gd name="connsiteY214" fmla="*/ 2540832 h 2824875"/>
              <a:gd name="connsiteX215" fmla="*/ 1320420 w 2846795"/>
              <a:gd name="connsiteY215" fmla="*/ 2536667 h 2824875"/>
              <a:gd name="connsiteX216" fmla="*/ 1321788 w 2846795"/>
              <a:gd name="connsiteY216" fmla="*/ 2519549 h 2824875"/>
              <a:gd name="connsiteX217" fmla="*/ 1369846 w 2846795"/>
              <a:gd name="connsiteY217" fmla="*/ 2497893 h 2824875"/>
              <a:gd name="connsiteX218" fmla="*/ 1396891 w 2846795"/>
              <a:gd name="connsiteY218" fmla="*/ 2480277 h 2824875"/>
              <a:gd name="connsiteX219" fmla="*/ 1381286 w 2846795"/>
              <a:gd name="connsiteY219" fmla="*/ 2474102 h 2824875"/>
              <a:gd name="connsiteX220" fmla="*/ 1307986 w 2846795"/>
              <a:gd name="connsiteY220" fmla="*/ 2503094 h 2824875"/>
              <a:gd name="connsiteX221" fmla="*/ 1275760 w 2846795"/>
              <a:gd name="connsiteY221" fmla="*/ 2503820 h 2824875"/>
              <a:gd name="connsiteX222" fmla="*/ 1277190 w 2846795"/>
              <a:gd name="connsiteY222" fmla="*/ 2490515 h 2824875"/>
              <a:gd name="connsiteX223" fmla="*/ 1302287 w 2846795"/>
              <a:gd name="connsiteY223" fmla="*/ 2478495 h 2824875"/>
              <a:gd name="connsiteX224" fmla="*/ 1350407 w 2846795"/>
              <a:gd name="connsiteY224" fmla="*/ 2445109 h 2824875"/>
              <a:gd name="connsiteX225" fmla="*/ 1346946 w 2846795"/>
              <a:gd name="connsiteY225" fmla="*/ 2435120 h 2824875"/>
              <a:gd name="connsiteX226" fmla="*/ 1292774 w 2846795"/>
              <a:gd name="connsiteY226" fmla="*/ 2461812 h 2824875"/>
              <a:gd name="connsiteX227" fmla="*/ 1261834 w 2846795"/>
              <a:gd name="connsiteY227" fmla="*/ 2459719 h 2824875"/>
              <a:gd name="connsiteX228" fmla="*/ 1265149 w 2846795"/>
              <a:gd name="connsiteY228" fmla="*/ 2438933 h 2824875"/>
              <a:gd name="connsiteX229" fmla="*/ 1303053 w 2846795"/>
              <a:gd name="connsiteY229" fmla="*/ 2411308 h 2824875"/>
              <a:gd name="connsiteX230" fmla="*/ 1318513 w 2846795"/>
              <a:gd name="connsiteY230" fmla="*/ 2393175 h 2824875"/>
              <a:gd name="connsiteX231" fmla="*/ 1306783 w 2846795"/>
              <a:gd name="connsiteY231" fmla="*/ 2385984 h 2824875"/>
              <a:gd name="connsiteX232" fmla="*/ 1268590 w 2846795"/>
              <a:gd name="connsiteY232" fmla="*/ 2403392 h 2824875"/>
              <a:gd name="connsiteX233" fmla="*/ 1243410 w 2846795"/>
              <a:gd name="connsiteY233" fmla="*/ 2405257 h 2824875"/>
              <a:gd name="connsiteX234" fmla="*/ 1242685 w 2846795"/>
              <a:gd name="connsiteY234" fmla="*/ 2382461 h 2824875"/>
              <a:gd name="connsiteX235" fmla="*/ 1284402 w 2846795"/>
              <a:gd name="connsiteY235" fmla="*/ 2341469 h 2824875"/>
              <a:gd name="connsiteX236" fmla="*/ 1360935 w 2846795"/>
              <a:gd name="connsiteY236" fmla="*/ 2306218 h 2824875"/>
              <a:gd name="connsiteX237" fmla="*/ 1411004 w 2846795"/>
              <a:gd name="connsiteY237" fmla="*/ 2303047 h 2824875"/>
              <a:gd name="connsiteX238" fmla="*/ 1438484 w 2846795"/>
              <a:gd name="connsiteY238" fmla="*/ 2295131 h 2824875"/>
              <a:gd name="connsiteX239" fmla="*/ 1468409 w 2846795"/>
              <a:gd name="connsiteY239" fmla="*/ 2243777 h 2824875"/>
              <a:gd name="connsiteX240" fmla="*/ 1532570 w 2846795"/>
              <a:gd name="connsiteY240" fmla="*/ 2156301 h 2824875"/>
              <a:gd name="connsiteX241" fmla="*/ 1610761 w 2846795"/>
              <a:gd name="connsiteY241" fmla="*/ 2074152 h 2824875"/>
              <a:gd name="connsiteX242" fmla="*/ 1628957 w 2846795"/>
              <a:gd name="connsiteY242" fmla="*/ 2041864 h 2824875"/>
              <a:gd name="connsiteX243" fmla="*/ 1628604 w 2846795"/>
              <a:gd name="connsiteY243" fmla="*/ 2021078 h 2824875"/>
              <a:gd name="connsiteX244" fmla="*/ 1642841 w 2846795"/>
              <a:gd name="connsiteY244" fmla="*/ 2001308 h 2824875"/>
              <a:gd name="connsiteX245" fmla="*/ 1697863 w 2846795"/>
              <a:gd name="connsiteY245" fmla="*/ 1963611 h 2824875"/>
              <a:gd name="connsiteX246" fmla="*/ 1768718 w 2846795"/>
              <a:gd name="connsiteY246" fmla="*/ 1914703 h 2824875"/>
              <a:gd name="connsiteX247" fmla="*/ 1816549 w 2846795"/>
              <a:gd name="connsiteY247" fmla="*/ 1881109 h 2824875"/>
              <a:gd name="connsiteX248" fmla="*/ 1846039 w 2846795"/>
              <a:gd name="connsiteY248" fmla="*/ 1836221 h 2824875"/>
              <a:gd name="connsiteX249" fmla="*/ 1863882 w 2846795"/>
              <a:gd name="connsiteY249" fmla="*/ 1739400 h 2824875"/>
              <a:gd name="connsiteX250" fmla="*/ 1862162 w 2846795"/>
              <a:gd name="connsiteY250" fmla="*/ 1654225 h 2824875"/>
              <a:gd name="connsiteX251" fmla="*/ 1849355 w 2846795"/>
              <a:gd name="connsiteY251" fmla="*/ 1586312 h 2824875"/>
              <a:gd name="connsiteX252" fmla="*/ 1804322 w 2846795"/>
              <a:gd name="connsiteY252" fmla="*/ 1511499 h 2824875"/>
              <a:gd name="connsiteX253" fmla="*/ 1748512 w 2846795"/>
              <a:gd name="connsiteY253" fmla="*/ 1463296 h 2824875"/>
              <a:gd name="connsiteX254" fmla="*/ 1688662 w 2846795"/>
              <a:gd name="connsiteY254" fmla="*/ 1445017 h 2824875"/>
              <a:gd name="connsiteX255" fmla="*/ 1629682 w 2846795"/>
              <a:gd name="connsiteY255" fmla="*/ 1434655 h 2824875"/>
              <a:gd name="connsiteX256" fmla="*/ 1565521 w 2846795"/>
              <a:gd name="connsiteY256" fmla="*/ 1420708 h 2824875"/>
              <a:gd name="connsiteX257" fmla="*/ 1482377 w 2846795"/>
              <a:gd name="connsiteY257" fmla="*/ 1428044 h 2824875"/>
              <a:gd name="connsiteX258" fmla="*/ 1425117 w 2846795"/>
              <a:gd name="connsiteY258" fmla="*/ 1469036 h 2824875"/>
              <a:gd name="connsiteX259" fmla="*/ 1416910 w 2846795"/>
              <a:gd name="connsiteY259" fmla="*/ 1533923 h 2824875"/>
              <a:gd name="connsiteX260" fmla="*/ 1436618 w 2846795"/>
              <a:gd name="connsiteY260" fmla="*/ 1580240 h 2824875"/>
              <a:gd name="connsiteX261" fmla="*/ 1448265 w 2846795"/>
              <a:gd name="connsiteY261" fmla="*/ 1638081 h 2824875"/>
              <a:gd name="connsiteX262" fmla="*/ 1432577 w 2846795"/>
              <a:gd name="connsiteY262" fmla="*/ 1733037 h 2824875"/>
              <a:gd name="connsiteX263" fmla="*/ 1436598 w 2846795"/>
              <a:gd name="connsiteY263" fmla="*/ 1799063 h 2824875"/>
              <a:gd name="connsiteX264" fmla="*/ 1493568 w 2846795"/>
              <a:gd name="connsiteY264" fmla="*/ 1841216 h 2824875"/>
              <a:gd name="connsiteX265" fmla="*/ 1619299 w 2846795"/>
              <a:gd name="connsiteY265" fmla="*/ 1854168 h 2824875"/>
              <a:gd name="connsiteX266" fmla="*/ 1704039 w 2846795"/>
              <a:gd name="connsiteY266" fmla="*/ 1837050 h 2824875"/>
              <a:gd name="connsiteX267" fmla="*/ 1739290 w 2846795"/>
              <a:gd name="connsiteY267" fmla="*/ 1788577 h 2824875"/>
              <a:gd name="connsiteX268" fmla="*/ 1754108 w 2846795"/>
              <a:gd name="connsiteY268" fmla="*/ 1758507 h 2824875"/>
              <a:gd name="connsiteX269" fmla="*/ 1769071 w 2846795"/>
              <a:gd name="connsiteY269" fmla="*/ 1758507 h 2824875"/>
              <a:gd name="connsiteX270" fmla="*/ 1773526 w 2846795"/>
              <a:gd name="connsiteY270" fmla="*/ 1787562 h 2824875"/>
              <a:gd name="connsiteX271" fmla="*/ 1747621 w 2846795"/>
              <a:gd name="connsiteY271" fmla="*/ 1819497 h 2824875"/>
              <a:gd name="connsiteX272" fmla="*/ 1719271 w 2846795"/>
              <a:gd name="connsiteY272" fmla="*/ 1806110 h 2824875"/>
              <a:gd name="connsiteX273" fmla="*/ 1727478 w 2846795"/>
              <a:gd name="connsiteY273" fmla="*/ 1762092 h 2824875"/>
              <a:gd name="connsiteX274" fmla="*/ 1757258 w 2846795"/>
              <a:gd name="connsiteY274" fmla="*/ 1731297 h 2824875"/>
              <a:gd name="connsiteX275" fmla="*/ 1781857 w 2846795"/>
              <a:gd name="connsiteY275" fmla="*/ 1696626 h 2824875"/>
              <a:gd name="connsiteX276" fmla="*/ 1759123 w 2846795"/>
              <a:gd name="connsiteY276" fmla="*/ 1625563 h 2824875"/>
              <a:gd name="connsiteX277" fmla="*/ 1710650 w 2846795"/>
              <a:gd name="connsiteY277" fmla="*/ 1549175 h 2824875"/>
              <a:gd name="connsiteX278" fmla="*/ 1628065 w 2846795"/>
              <a:gd name="connsiteY278" fmla="*/ 1512349 h 2824875"/>
              <a:gd name="connsiteX279" fmla="*/ 1535989 w 2846795"/>
              <a:gd name="connsiteY279" fmla="*/ 1521260 h 2824875"/>
              <a:gd name="connsiteX280" fmla="*/ 1469528 w 2846795"/>
              <a:gd name="connsiteY280" fmla="*/ 1574624 h 2824875"/>
              <a:gd name="connsiteX281" fmla="*/ 1448100 w 2846795"/>
              <a:gd name="connsiteY281" fmla="*/ 1608280 h 2824875"/>
              <a:gd name="connsiteX282" fmla="*/ 1425946 w 2846795"/>
              <a:gd name="connsiteY282" fmla="*/ 1663384 h 2824875"/>
              <a:gd name="connsiteX283" fmla="*/ 1406527 w 2846795"/>
              <a:gd name="connsiteY283" fmla="*/ 1760351 h 2824875"/>
              <a:gd name="connsiteX284" fmla="*/ 1422215 w 2846795"/>
              <a:gd name="connsiteY284" fmla="*/ 1829693 h 2824875"/>
              <a:gd name="connsiteX285" fmla="*/ 1452866 w 2846795"/>
              <a:gd name="connsiteY285" fmla="*/ 1880115 h 2824875"/>
              <a:gd name="connsiteX286" fmla="*/ 1472139 w 2846795"/>
              <a:gd name="connsiteY286" fmla="*/ 1939737 h 2824875"/>
              <a:gd name="connsiteX287" fmla="*/ 1476885 w 2846795"/>
              <a:gd name="connsiteY287" fmla="*/ 1996769 h 2824875"/>
              <a:gd name="connsiteX288" fmla="*/ 1459332 w 2846795"/>
              <a:gd name="connsiteY288" fmla="*/ 2060205 h 2824875"/>
              <a:gd name="connsiteX289" fmla="*/ 1462212 w 2846795"/>
              <a:gd name="connsiteY289" fmla="*/ 2092430 h 2824875"/>
              <a:gd name="connsiteX290" fmla="*/ 1501339 w 2846795"/>
              <a:gd name="connsiteY290" fmla="*/ 2073157 h 2824875"/>
              <a:gd name="connsiteX291" fmla="*/ 1597083 w 2846795"/>
              <a:gd name="connsiteY291" fmla="*/ 2002592 h 2824875"/>
              <a:gd name="connsiteX292" fmla="*/ 1667586 w 2846795"/>
              <a:gd name="connsiteY292" fmla="*/ 1957705 h 2824875"/>
              <a:gd name="connsiteX293" fmla="*/ 1726856 w 2846795"/>
              <a:gd name="connsiteY293" fmla="*/ 1927987 h 2824875"/>
              <a:gd name="connsiteX294" fmla="*/ 1753258 w 2846795"/>
              <a:gd name="connsiteY294" fmla="*/ 1933520 h 2824875"/>
              <a:gd name="connsiteX295" fmla="*/ 1781816 w 2846795"/>
              <a:gd name="connsiteY295" fmla="*/ 1986034 h 2824875"/>
              <a:gd name="connsiteX296" fmla="*/ 1823616 w 2846795"/>
              <a:gd name="connsiteY296" fmla="*/ 2024809 h 2824875"/>
              <a:gd name="connsiteX297" fmla="*/ 1853044 w 2846795"/>
              <a:gd name="connsiteY297" fmla="*/ 2039129 h 2824875"/>
              <a:gd name="connsiteX298" fmla="*/ 1845417 w 2846795"/>
              <a:gd name="connsiteY298" fmla="*/ 2056392 h 2824875"/>
              <a:gd name="connsiteX299" fmla="*/ 1802685 w 2846795"/>
              <a:gd name="connsiteY299" fmla="*/ 2090420 h 2824875"/>
              <a:gd name="connsiteX300" fmla="*/ 1764283 w 2846795"/>
              <a:gd name="connsiteY300" fmla="*/ 2152281 h 2824875"/>
              <a:gd name="connsiteX301" fmla="*/ 1702132 w 2846795"/>
              <a:gd name="connsiteY301" fmla="*/ 2291753 h 2824875"/>
              <a:gd name="connsiteX302" fmla="*/ 1672207 w 2846795"/>
              <a:gd name="connsiteY302" fmla="*/ 2356639 h 2824875"/>
              <a:gd name="connsiteX303" fmla="*/ 1654654 w 2846795"/>
              <a:gd name="connsiteY303" fmla="*/ 2363043 h 2824875"/>
              <a:gd name="connsiteX304" fmla="*/ 1613082 w 2846795"/>
              <a:gd name="connsiteY304" fmla="*/ 2345054 h 2824875"/>
              <a:gd name="connsiteX305" fmla="*/ 1559925 w 2846795"/>
              <a:gd name="connsiteY305" fmla="*/ 2330174 h 2824875"/>
              <a:gd name="connsiteX306" fmla="*/ 1518498 w 2846795"/>
              <a:gd name="connsiteY306" fmla="*/ 2333345 h 2824875"/>
              <a:gd name="connsiteX307" fmla="*/ 1485112 w 2846795"/>
              <a:gd name="connsiteY307" fmla="*/ 2345075 h 2824875"/>
              <a:gd name="connsiteX308" fmla="*/ 1462813 w 2846795"/>
              <a:gd name="connsiteY308" fmla="*/ 2341759 h 2824875"/>
              <a:gd name="connsiteX309" fmla="*/ 1462523 w 2846795"/>
              <a:gd name="connsiteY309" fmla="*/ 2316435 h 2824875"/>
              <a:gd name="connsiteX310" fmla="*/ 1514022 w 2846795"/>
              <a:gd name="connsiteY310" fmla="*/ 2230907 h 2824875"/>
              <a:gd name="connsiteX311" fmla="*/ 1633868 w 2846795"/>
              <a:gd name="connsiteY311" fmla="*/ 2086462 h 2824875"/>
              <a:gd name="connsiteX312" fmla="*/ 1761050 w 2846795"/>
              <a:gd name="connsiteY312" fmla="*/ 2009494 h 2824875"/>
              <a:gd name="connsiteX313" fmla="*/ 1835718 w 2846795"/>
              <a:gd name="connsiteY313" fmla="*/ 2007773 h 2824875"/>
              <a:gd name="connsiteX314" fmla="*/ 1915422 w 2846795"/>
              <a:gd name="connsiteY314" fmla="*/ 2040579 h 2824875"/>
              <a:gd name="connsiteX315" fmla="*/ 1956414 w 2846795"/>
              <a:gd name="connsiteY315" fmla="*/ 2094378 h 2824875"/>
              <a:gd name="connsiteX316" fmla="*/ 1981593 w 2846795"/>
              <a:gd name="connsiteY316" fmla="*/ 2161420 h 2824875"/>
              <a:gd name="connsiteX317" fmla="*/ 1998421 w 2846795"/>
              <a:gd name="connsiteY317" fmla="*/ 2191781 h 2824875"/>
              <a:gd name="connsiteX318" fmla="*/ 2004473 w 2846795"/>
              <a:gd name="connsiteY318" fmla="*/ 2185874 h 2824875"/>
              <a:gd name="connsiteX319" fmla="*/ 1997717 w 2846795"/>
              <a:gd name="connsiteY319" fmla="*/ 2138106 h 2824875"/>
              <a:gd name="connsiteX320" fmla="*/ 1965781 w 2846795"/>
              <a:gd name="connsiteY320" fmla="*/ 2073364 h 2824875"/>
              <a:gd name="connsiteX321" fmla="*/ 1892688 w 2846795"/>
              <a:gd name="connsiteY321" fmla="*/ 2059127 h 2824875"/>
              <a:gd name="connsiteX322" fmla="*/ 1816155 w 2846795"/>
              <a:gd name="connsiteY322" fmla="*/ 2115517 h 2824875"/>
              <a:gd name="connsiteX323" fmla="*/ 1767682 w 2846795"/>
              <a:gd name="connsiteY323" fmla="*/ 2216504 h 2824875"/>
              <a:gd name="connsiteX324" fmla="*/ 1756740 w 2846795"/>
              <a:gd name="connsiteY324" fmla="*/ 2315771 h 2824875"/>
              <a:gd name="connsiteX325" fmla="*/ 1733280 w 2846795"/>
              <a:gd name="connsiteY325" fmla="*/ 2398211 h 2824875"/>
              <a:gd name="connsiteX326" fmla="*/ 1632148 w 2846795"/>
              <a:gd name="connsiteY326" fmla="*/ 2384554 h 2824875"/>
              <a:gd name="connsiteX327" fmla="*/ 1539637 w 2846795"/>
              <a:gd name="connsiteY327" fmla="*/ 2352183 h 2824875"/>
              <a:gd name="connsiteX328" fmla="*/ 1522519 w 2846795"/>
              <a:gd name="connsiteY328" fmla="*/ 2359229 h 2824875"/>
              <a:gd name="connsiteX329" fmla="*/ 1543947 w 2846795"/>
              <a:gd name="connsiteY329" fmla="*/ 2385549 h 2824875"/>
              <a:gd name="connsiteX330" fmla="*/ 1564381 w 2846795"/>
              <a:gd name="connsiteY330" fmla="*/ 2430727 h 2824875"/>
              <a:gd name="connsiteX331" fmla="*/ 1559200 w 2846795"/>
              <a:gd name="connsiteY331" fmla="*/ 2486412 h 2824875"/>
              <a:gd name="connsiteX332" fmla="*/ 1529710 w 2846795"/>
              <a:gd name="connsiteY332" fmla="*/ 2562364 h 2824875"/>
              <a:gd name="connsiteX333" fmla="*/ 1544963 w 2846795"/>
              <a:gd name="connsiteY333" fmla="*/ 2634587 h 2824875"/>
              <a:gd name="connsiteX334" fmla="*/ 1609124 w 2846795"/>
              <a:gd name="connsiteY334" fmla="*/ 2669984 h 2824875"/>
              <a:gd name="connsiteX335" fmla="*/ 1709821 w 2846795"/>
              <a:gd name="connsiteY335" fmla="*/ 2685526 h 2824875"/>
              <a:gd name="connsiteX336" fmla="*/ 1825481 w 2846795"/>
              <a:gd name="connsiteY336" fmla="*/ 2710706 h 2824875"/>
              <a:gd name="connsiteX337" fmla="*/ 1849666 w 2846795"/>
              <a:gd name="connsiteY337" fmla="*/ 2737274 h 2824875"/>
              <a:gd name="connsiteX338" fmla="*/ 1827284 w 2846795"/>
              <a:gd name="connsiteY338" fmla="*/ 2775385 h 2824875"/>
              <a:gd name="connsiteX339" fmla="*/ 1859468 w 2846795"/>
              <a:gd name="connsiteY339" fmla="*/ 2784130 h 2824875"/>
              <a:gd name="connsiteX340" fmla="*/ 2089565 w 2846795"/>
              <a:gd name="connsiteY340" fmla="*/ 2784130 h 2824875"/>
              <a:gd name="connsiteX341" fmla="*/ 2566897 w 2846795"/>
              <a:gd name="connsiteY341" fmla="*/ 2782162 h 2824875"/>
              <a:gd name="connsiteX342" fmla="*/ 2687966 w 2846795"/>
              <a:gd name="connsiteY342" fmla="*/ 2759884 h 2824875"/>
              <a:gd name="connsiteX343" fmla="*/ 2680464 w 2846795"/>
              <a:gd name="connsiteY343" fmla="*/ 2692303 h 2824875"/>
              <a:gd name="connsiteX344" fmla="*/ 2633566 w 2846795"/>
              <a:gd name="connsiteY344" fmla="*/ 2631872 h 2824875"/>
              <a:gd name="connsiteX345" fmla="*/ 2492291 w 2846795"/>
              <a:gd name="connsiteY345" fmla="*/ 2565701 h 2824875"/>
              <a:gd name="connsiteX346" fmla="*/ 2424110 w 2846795"/>
              <a:gd name="connsiteY346" fmla="*/ 2476651 h 2824875"/>
              <a:gd name="connsiteX347" fmla="*/ 2465247 w 2846795"/>
              <a:gd name="connsiteY347" fmla="*/ 2186330 h 2824875"/>
              <a:gd name="connsiteX348" fmla="*/ 2494592 w 2846795"/>
              <a:gd name="connsiteY348" fmla="*/ 1978159 h 2824875"/>
              <a:gd name="connsiteX349" fmla="*/ 2532289 w 2846795"/>
              <a:gd name="connsiteY349" fmla="*/ 1883202 h 2824875"/>
              <a:gd name="connsiteX350" fmla="*/ 2600200 w 2846795"/>
              <a:gd name="connsiteY350" fmla="*/ 1837175 h 2824875"/>
              <a:gd name="connsiteX351" fmla="*/ 2643928 w 2846795"/>
              <a:gd name="connsiteY351" fmla="*/ 1758051 h 2824875"/>
              <a:gd name="connsiteX352" fmla="*/ 2671553 w 2846795"/>
              <a:gd name="connsiteY352" fmla="*/ 1632029 h 2824875"/>
              <a:gd name="connsiteX353" fmla="*/ 2694577 w 2846795"/>
              <a:gd name="connsiteY353" fmla="*/ 1561817 h 2824875"/>
              <a:gd name="connsiteX354" fmla="*/ 2707239 w 2846795"/>
              <a:gd name="connsiteY354" fmla="*/ 1548305 h 2824875"/>
              <a:gd name="connsiteX355" fmla="*/ 2696877 w 2846795"/>
              <a:gd name="connsiteY355" fmla="*/ 1616217 h 2824875"/>
              <a:gd name="connsiteX356" fmla="*/ 2656300 w 2846795"/>
              <a:gd name="connsiteY356" fmla="*/ 1792308 h 2824875"/>
              <a:gd name="connsiteX357" fmla="*/ 2576306 w 2846795"/>
              <a:gd name="connsiteY357" fmla="*/ 1905377 h 2824875"/>
              <a:gd name="connsiteX358" fmla="*/ 2484810 w 2846795"/>
              <a:gd name="connsiteY358" fmla="*/ 1918329 h 2824875"/>
              <a:gd name="connsiteX359" fmla="*/ 2405251 w 2846795"/>
              <a:gd name="connsiteY359" fmla="*/ 1822813 h 2824875"/>
              <a:gd name="connsiteX360" fmla="*/ 2384113 w 2846795"/>
              <a:gd name="connsiteY360" fmla="*/ 1673912 h 2824875"/>
              <a:gd name="connsiteX361" fmla="*/ 2378642 w 2846795"/>
              <a:gd name="connsiteY361" fmla="*/ 1541984 h 2824875"/>
              <a:gd name="connsiteX362" fmla="*/ 2373751 w 2846795"/>
              <a:gd name="connsiteY362" fmla="*/ 1415527 h 2824875"/>
              <a:gd name="connsiteX363" fmla="*/ 2347141 w 2846795"/>
              <a:gd name="connsiteY363" fmla="*/ 1246918 h 2824875"/>
              <a:gd name="connsiteX364" fmla="*/ 2334769 w 2846795"/>
              <a:gd name="connsiteY364" fmla="*/ 1142615 h 2824875"/>
              <a:gd name="connsiteX365" fmla="*/ 2329153 w 2846795"/>
              <a:gd name="connsiteY365" fmla="*/ 1065211 h 2824875"/>
              <a:gd name="connsiteX366" fmla="*/ 2304554 w 2846795"/>
              <a:gd name="connsiteY366" fmla="*/ 939335 h 2824875"/>
              <a:gd name="connsiteX367" fmla="*/ 2256641 w 2846795"/>
              <a:gd name="connsiteY367" fmla="*/ 796630 h 2824875"/>
              <a:gd name="connsiteX368" fmla="*/ 2230736 w 2846795"/>
              <a:gd name="connsiteY368" fmla="*/ 692327 h 2824875"/>
              <a:gd name="connsiteX369" fmla="*/ 2239502 w 2846795"/>
              <a:gd name="connsiteY369" fmla="*/ 643564 h 2824875"/>
              <a:gd name="connsiteX370" fmla="*/ 2294026 w 2846795"/>
              <a:gd name="connsiteY370" fmla="*/ 635647 h 2824875"/>
              <a:gd name="connsiteX371" fmla="*/ 2342789 w 2846795"/>
              <a:gd name="connsiteY371" fmla="*/ 621700 h 2824875"/>
              <a:gd name="connsiteX372" fmla="*/ 2378621 w 2846795"/>
              <a:gd name="connsiteY372" fmla="*/ 587174 h 2824875"/>
              <a:gd name="connsiteX373" fmla="*/ 2391283 w 2846795"/>
              <a:gd name="connsiteY373" fmla="*/ 534080 h 2824875"/>
              <a:gd name="connsiteX374" fmla="*/ 2374601 w 2846795"/>
              <a:gd name="connsiteY374" fmla="*/ 480426 h 2824875"/>
              <a:gd name="connsiteX375" fmla="*/ 2310004 w 2846795"/>
              <a:gd name="connsiteY375" fmla="*/ 360020 h 2824875"/>
              <a:gd name="connsiteX376" fmla="*/ 2266567 w 2846795"/>
              <a:gd name="connsiteY376" fmla="*/ 280171 h 2824875"/>
              <a:gd name="connsiteX377" fmla="*/ 2203691 w 2846795"/>
              <a:gd name="connsiteY377" fmla="*/ 213564 h 2824875"/>
              <a:gd name="connsiteX378" fmla="*/ 2153622 w 2846795"/>
              <a:gd name="connsiteY378" fmla="*/ 194291 h 2824875"/>
              <a:gd name="connsiteX379" fmla="*/ 2109315 w 2846795"/>
              <a:gd name="connsiteY379" fmla="*/ 218310 h 2824875"/>
              <a:gd name="connsiteX380" fmla="*/ 2085731 w 2846795"/>
              <a:gd name="connsiteY380" fmla="*/ 264214 h 2824875"/>
              <a:gd name="connsiteX381" fmla="*/ 2085006 w 2846795"/>
              <a:gd name="connsiteY381" fmla="*/ 308666 h 2824875"/>
              <a:gd name="connsiteX382" fmla="*/ 2107595 w 2846795"/>
              <a:gd name="connsiteY382" fmla="*/ 327794 h 2824875"/>
              <a:gd name="connsiteX383" fmla="*/ 2138245 w 2846795"/>
              <a:gd name="connsiteY383" fmla="*/ 329660 h 2824875"/>
              <a:gd name="connsiteX384" fmla="*/ 2151343 w 2846795"/>
              <a:gd name="connsiteY384" fmla="*/ 299299 h 2824875"/>
              <a:gd name="connsiteX385" fmla="*/ 2155508 w 2846795"/>
              <a:gd name="connsiteY385" fmla="*/ 263053 h 2824875"/>
              <a:gd name="connsiteX386" fmla="*/ 2173641 w 2846795"/>
              <a:gd name="connsiteY386" fmla="*/ 251261 h 2824875"/>
              <a:gd name="connsiteX387" fmla="*/ 2215068 w 2846795"/>
              <a:gd name="connsiteY387" fmla="*/ 262058 h 2824875"/>
              <a:gd name="connsiteX388" fmla="*/ 2248019 w 2846795"/>
              <a:gd name="connsiteY388" fmla="*/ 269975 h 2824875"/>
              <a:gd name="connsiteX389" fmla="*/ 2262257 w 2846795"/>
              <a:gd name="connsiteY389" fmla="*/ 259903 h 2824875"/>
              <a:gd name="connsiteX390" fmla="*/ 2259749 w 2846795"/>
              <a:gd name="connsiteY390" fmla="*/ 230993 h 2824875"/>
              <a:gd name="connsiteX391" fmla="*/ 2231337 w 2846795"/>
              <a:gd name="connsiteY391" fmla="*/ 190851 h 2824875"/>
              <a:gd name="connsiteX392" fmla="*/ 2181351 w 2846795"/>
              <a:gd name="connsiteY392" fmla="*/ 163309 h 2824875"/>
              <a:gd name="connsiteX393" fmla="*/ 2141354 w 2846795"/>
              <a:gd name="connsiteY393" fmla="*/ 157548 h 2824875"/>
              <a:gd name="connsiteX394" fmla="*/ 2113377 w 2846795"/>
              <a:gd name="connsiteY394" fmla="*/ 169485 h 2824875"/>
              <a:gd name="connsiteX395" fmla="*/ 2082726 w 2846795"/>
              <a:gd name="connsiteY395" fmla="*/ 176469 h 2824875"/>
              <a:gd name="connsiteX396" fmla="*/ 2031870 w 2846795"/>
              <a:gd name="connsiteY396" fmla="*/ 162086 h 2824875"/>
              <a:gd name="connsiteX397" fmla="*/ 1991955 w 2846795"/>
              <a:gd name="connsiteY397" fmla="*/ 137280 h 2824875"/>
              <a:gd name="connsiteX398" fmla="*/ 1950528 w 2846795"/>
              <a:gd name="connsiteY398" fmla="*/ 77222 h 2824875"/>
              <a:gd name="connsiteX399" fmla="*/ 1938737 w 2846795"/>
              <a:gd name="connsiteY399" fmla="*/ 27008 h 2824875"/>
              <a:gd name="connsiteX400" fmla="*/ 1947669 w 2846795"/>
              <a:gd name="connsiteY400" fmla="*/ 1725 h 2824875"/>
              <a:gd name="connsiteX401" fmla="*/ 1970755 w 2846795"/>
              <a:gd name="connsiteY401" fmla="*/ 8461 h 2824875"/>
              <a:gd name="connsiteX402" fmla="*/ 2009260 w 2846795"/>
              <a:gd name="connsiteY402" fmla="*/ 49494 h 2824875"/>
              <a:gd name="connsiteX403" fmla="*/ 2058292 w 2846795"/>
              <a:gd name="connsiteY403" fmla="*/ 104412 h 2824875"/>
              <a:gd name="connsiteX404" fmla="*/ 2093544 w 2846795"/>
              <a:gd name="connsiteY404" fmla="*/ 149010 h 2824875"/>
              <a:gd name="connsiteX405" fmla="*/ 2084487 w 2846795"/>
              <a:gd name="connsiteY405" fmla="*/ 165837 h 2824875"/>
              <a:gd name="connsiteX406" fmla="*/ 2039599 w 2846795"/>
              <a:gd name="connsiteY406" fmla="*/ 172593 h 2824875"/>
              <a:gd name="connsiteX407" fmla="*/ 2028657 w 2846795"/>
              <a:gd name="connsiteY407" fmla="*/ 186976 h 2824875"/>
              <a:gd name="connsiteX408" fmla="*/ 2037424 w 2846795"/>
              <a:gd name="connsiteY408" fmla="*/ 210435 h 2824875"/>
              <a:gd name="connsiteX409" fmla="*/ 2052531 w 2846795"/>
              <a:gd name="connsiteY409" fmla="*/ 240360 h 2824875"/>
              <a:gd name="connsiteX410" fmla="*/ 2063183 w 2846795"/>
              <a:gd name="connsiteY410" fmla="*/ 276606 h 2824875"/>
              <a:gd name="connsiteX411" fmla="*/ 2061173 w 2846795"/>
              <a:gd name="connsiteY411" fmla="*/ 308832 h 2824875"/>
              <a:gd name="connsiteX412" fmla="*/ 2047226 w 2846795"/>
              <a:gd name="connsiteY412" fmla="*/ 318324 h 2824875"/>
              <a:gd name="connsiteX413" fmla="*/ 2037009 w 2846795"/>
              <a:gd name="connsiteY413" fmla="*/ 303216 h 2824875"/>
              <a:gd name="connsiteX414" fmla="*/ 2039890 w 2846795"/>
              <a:gd name="connsiteY414" fmla="*/ 281932 h 2824875"/>
              <a:gd name="connsiteX415" fmla="*/ 2037589 w 2846795"/>
              <a:gd name="connsiteY415" fmla="*/ 253168 h 2824875"/>
              <a:gd name="connsiteX416" fmla="*/ 2017301 w 2846795"/>
              <a:gd name="connsiteY416" fmla="*/ 238640 h 2824875"/>
              <a:gd name="connsiteX417" fmla="*/ 1980039 w 2846795"/>
              <a:gd name="connsiteY417" fmla="*/ 250142 h 2824875"/>
              <a:gd name="connsiteX418" fmla="*/ 1965367 w 2846795"/>
              <a:gd name="connsiteY418" fmla="*/ 281207 h 2824875"/>
              <a:gd name="connsiteX419" fmla="*/ 1979604 w 2846795"/>
              <a:gd name="connsiteY419" fmla="*/ 326820 h 2824875"/>
              <a:gd name="connsiteX420" fmla="*/ 2042625 w 2846795"/>
              <a:gd name="connsiteY420" fmla="*/ 396598 h 2824875"/>
              <a:gd name="connsiteX421" fmla="*/ 2145208 w 2846795"/>
              <a:gd name="connsiteY421" fmla="*/ 455288 h 2824875"/>
              <a:gd name="connsiteX422" fmla="*/ 2223752 w 2846795"/>
              <a:gd name="connsiteY422" fmla="*/ 542183 h 2824875"/>
              <a:gd name="connsiteX423" fmla="*/ 2264889 w 2846795"/>
              <a:gd name="connsiteY423" fmla="*/ 604624 h 2824875"/>
              <a:gd name="connsiteX424" fmla="*/ 2331640 w 2846795"/>
              <a:gd name="connsiteY424" fmla="*/ 595132 h 2824875"/>
              <a:gd name="connsiteX425" fmla="*/ 2408753 w 2846795"/>
              <a:gd name="connsiteY425" fmla="*/ 561746 h 2824875"/>
              <a:gd name="connsiteX426" fmla="*/ 2486157 w 2846795"/>
              <a:gd name="connsiteY426" fmla="*/ 631088 h 2824875"/>
              <a:gd name="connsiteX427" fmla="*/ 2597797 w 2846795"/>
              <a:gd name="connsiteY427" fmla="*/ 831052 h 2824875"/>
              <a:gd name="connsiteX428" fmla="*/ 2689292 w 2846795"/>
              <a:gd name="connsiteY428" fmla="*/ 1008013 h 2824875"/>
              <a:gd name="connsiteX429" fmla="*/ 2728999 w 2846795"/>
              <a:gd name="connsiteY429" fmla="*/ 1141081 h 2824875"/>
              <a:gd name="connsiteX430" fmla="*/ 2722098 w 2846795"/>
              <a:gd name="connsiteY430" fmla="*/ 1265963 h 2824875"/>
              <a:gd name="connsiteX431" fmla="*/ 2726409 w 2846795"/>
              <a:gd name="connsiteY431" fmla="*/ 1370556 h 2824875"/>
              <a:gd name="connsiteX432" fmla="*/ 2748998 w 2846795"/>
              <a:gd name="connsiteY432" fmla="*/ 1502194 h 2824875"/>
              <a:gd name="connsiteX433" fmla="*/ 2793596 w 2846795"/>
              <a:gd name="connsiteY433" fmla="*/ 1683756 h 2824875"/>
              <a:gd name="connsiteX434" fmla="*/ 2841924 w 2846795"/>
              <a:gd name="connsiteY434" fmla="*/ 1899699 h 2824875"/>
              <a:gd name="connsiteX435" fmla="*/ 2835872 w 2846795"/>
              <a:gd name="connsiteY435" fmla="*/ 2160094 h 2824875"/>
              <a:gd name="connsiteX436" fmla="*/ 2789119 w 2846795"/>
              <a:gd name="connsiteY436" fmla="*/ 2458476 h 2824875"/>
              <a:gd name="connsiteX437" fmla="*/ 2737620 w 2846795"/>
              <a:gd name="connsiteY437" fmla="*/ 2693547 h 2824875"/>
              <a:gd name="connsiteX438" fmla="*/ 2657626 w 2846795"/>
              <a:gd name="connsiteY438" fmla="*/ 2723762 h 2824875"/>
              <a:gd name="connsiteX439" fmla="*/ 2479816 w 2846795"/>
              <a:gd name="connsiteY439" fmla="*/ 2656720 h 2824875"/>
              <a:gd name="connsiteX440" fmla="*/ 2254237 w 2846795"/>
              <a:gd name="connsiteY440" fmla="*/ 2611832 h 2824875"/>
              <a:gd name="connsiteX441" fmla="*/ 2082166 w 2846795"/>
              <a:gd name="connsiteY441" fmla="*/ 2636287 h 2824875"/>
              <a:gd name="connsiteX442" fmla="*/ 1994401 w 2846795"/>
              <a:gd name="connsiteY442" fmla="*/ 2663621 h 2824875"/>
              <a:gd name="connsiteX443" fmla="*/ 1965346 w 2846795"/>
              <a:gd name="connsiteY443" fmla="*/ 2610382 h 2824875"/>
              <a:gd name="connsiteX444" fmla="*/ 1972537 w 2846795"/>
              <a:gd name="connsiteY444" fmla="*/ 2529538 h 2824875"/>
              <a:gd name="connsiteX445" fmla="*/ 2001302 w 2846795"/>
              <a:gd name="connsiteY445" fmla="*/ 2410127 h 2824875"/>
              <a:gd name="connsiteX446" fmla="*/ 2065173 w 2846795"/>
              <a:gd name="connsiteY446" fmla="*/ 2234762 h 2824875"/>
              <a:gd name="connsiteX447" fmla="*/ 2185164 w 2846795"/>
              <a:gd name="connsiteY447" fmla="*/ 1982428 h 2824875"/>
              <a:gd name="connsiteX448" fmla="*/ 2272639 w 2846795"/>
              <a:gd name="connsiteY448" fmla="*/ 1790940 h 2824875"/>
              <a:gd name="connsiteX449" fmla="*/ 2341691 w 2846795"/>
              <a:gd name="connsiteY449" fmla="*/ 1698284 h 2824875"/>
              <a:gd name="connsiteX450" fmla="*/ 2369026 w 2846795"/>
              <a:gd name="connsiteY450" fmla="*/ 1632962 h 2824875"/>
              <a:gd name="connsiteX451" fmla="*/ 2351473 w 2846795"/>
              <a:gd name="connsiteY451" fmla="*/ 1607927 h 2824875"/>
              <a:gd name="connsiteX452" fmla="*/ 2270774 w 2846795"/>
              <a:gd name="connsiteY452" fmla="*/ 1653541 h 2824875"/>
              <a:gd name="connsiteX453" fmla="*/ 2210343 w 2846795"/>
              <a:gd name="connsiteY453" fmla="*/ 1626206 h 2824875"/>
              <a:gd name="connsiteX454" fmla="*/ 2164585 w 2846795"/>
              <a:gd name="connsiteY454" fmla="*/ 1571972 h 2824875"/>
              <a:gd name="connsiteX455" fmla="*/ 2149623 w 2846795"/>
              <a:gd name="connsiteY455" fmla="*/ 1525364 h 2824875"/>
              <a:gd name="connsiteX456" fmla="*/ 2171776 w 2846795"/>
              <a:gd name="connsiteY456" fmla="*/ 1480476 h 2824875"/>
              <a:gd name="connsiteX457" fmla="*/ 2219690 w 2846795"/>
              <a:gd name="connsiteY457" fmla="*/ 1471710 h 2824875"/>
              <a:gd name="connsiteX458" fmla="*/ 2304575 w 2846795"/>
              <a:gd name="connsiteY458" fmla="*/ 1491128 h 2824875"/>
              <a:gd name="connsiteX459" fmla="*/ 2357939 w 2846795"/>
              <a:gd name="connsiteY459" fmla="*/ 1495148 h 2824875"/>
              <a:gd name="connsiteX460" fmla="*/ 2365130 w 2846795"/>
              <a:gd name="connsiteY460" fmla="*/ 1468539 h 2824875"/>
              <a:gd name="connsiteX461" fmla="*/ 2343411 w 2846795"/>
              <a:gd name="connsiteY461" fmla="*/ 1383509 h 2824875"/>
              <a:gd name="connsiteX462" fmla="*/ 2328594 w 2846795"/>
              <a:gd name="connsiteY462" fmla="*/ 1282957 h 2824875"/>
              <a:gd name="connsiteX463" fmla="*/ 2324428 w 2846795"/>
              <a:gd name="connsiteY463" fmla="*/ 1207999 h 2824875"/>
              <a:gd name="connsiteX464" fmla="*/ 2305735 w 2846795"/>
              <a:gd name="connsiteY464" fmla="*/ 1175628 h 2824875"/>
              <a:gd name="connsiteX465" fmla="*/ 2240559 w 2846795"/>
              <a:gd name="connsiteY465" fmla="*/ 1175918 h 2824875"/>
              <a:gd name="connsiteX466" fmla="*/ 2155964 w 2846795"/>
              <a:gd name="connsiteY466" fmla="*/ 1209574 h 2824875"/>
              <a:gd name="connsiteX467" fmla="*/ 2105750 w 2846795"/>
              <a:gd name="connsiteY467" fmla="*/ 1260223 h 2824875"/>
              <a:gd name="connsiteX468" fmla="*/ 2085171 w 2846795"/>
              <a:gd name="connsiteY468" fmla="*/ 1297774 h 2824875"/>
              <a:gd name="connsiteX469" fmla="*/ 2074664 w 2846795"/>
              <a:gd name="connsiteY469" fmla="*/ 1286977 h 2824875"/>
              <a:gd name="connsiteX470" fmla="*/ 2069918 w 2846795"/>
              <a:gd name="connsiteY470" fmla="*/ 1234028 h 2824875"/>
              <a:gd name="connsiteX471" fmla="*/ 2108050 w 2846795"/>
              <a:gd name="connsiteY471" fmla="*/ 1171587 h 2824875"/>
              <a:gd name="connsiteX472" fmla="*/ 2189910 w 2846795"/>
              <a:gd name="connsiteY472" fmla="*/ 1136045 h 2824875"/>
              <a:gd name="connsiteX473" fmla="*/ 2269759 w 2846795"/>
              <a:gd name="connsiteY473" fmla="*/ 1132294 h 2824875"/>
              <a:gd name="connsiteX474" fmla="*/ 2308450 w 2846795"/>
              <a:gd name="connsiteY474" fmla="*/ 1125683 h 2824875"/>
              <a:gd name="connsiteX475" fmla="*/ 2307290 w 2846795"/>
              <a:gd name="connsiteY475" fmla="*/ 1074765 h 2824875"/>
              <a:gd name="connsiteX476" fmla="*/ 2297653 w 2846795"/>
              <a:gd name="connsiteY476" fmla="*/ 1036778 h 2824875"/>
              <a:gd name="connsiteX477" fmla="*/ 2262982 w 2846795"/>
              <a:gd name="connsiteY477" fmla="*/ 1022831 h 2824875"/>
              <a:gd name="connsiteX478" fmla="*/ 2194655 w 2846795"/>
              <a:gd name="connsiteY478" fmla="*/ 1035493 h 2824875"/>
              <a:gd name="connsiteX479" fmla="*/ 2144296 w 2846795"/>
              <a:gd name="connsiteY479" fmla="*/ 1081811 h 2824875"/>
              <a:gd name="connsiteX480" fmla="*/ 2106310 w 2846795"/>
              <a:gd name="connsiteY480" fmla="*/ 1120088 h 2824875"/>
              <a:gd name="connsiteX481" fmla="*/ 2043434 w 2846795"/>
              <a:gd name="connsiteY481" fmla="*/ 1152894 h 2824875"/>
              <a:gd name="connsiteX482" fmla="*/ 1998401 w 2846795"/>
              <a:gd name="connsiteY482" fmla="*/ 1194756 h 2824875"/>
              <a:gd name="connsiteX483" fmla="*/ 1991645 w 2846795"/>
              <a:gd name="connsiteY483" fmla="*/ 1239354 h 2824875"/>
              <a:gd name="connsiteX484" fmla="*/ 2014669 w 2846795"/>
              <a:gd name="connsiteY484" fmla="*/ 1279351 h 2824875"/>
              <a:gd name="connsiteX485" fmla="*/ 2051350 w 2846795"/>
              <a:gd name="connsiteY485" fmla="*/ 1309566 h 2824875"/>
              <a:gd name="connsiteX486" fmla="*/ 2064157 w 2846795"/>
              <a:gd name="connsiteY486" fmla="*/ 1331865 h 2824875"/>
              <a:gd name="connsiteX487" fmla="*/ 2053505 w 2846795"/>
              <a:gd name="connsiteY487" fmla="*/ 1376173 h 2824875"/>
              <a:gd name="connsiteX488" fmla="*/ 2057671 w 2846795"/>
              <a:gd name="connsiteY488" fmla="*/ 1437598 h 2824875"/>
              <a:gd name="connsiteX489" fmla="*/ 2084715 w 2846795"/>
              <a:gd name="connsiteY489" fmla="*/ 1526939 h 2824875"/>
              <a:gd name="connsiteX490" fmla="*/ 2142556 w 2846795"/>
              <a:gd name="connsiteY490" fmla="*/ 1590374 h 2824875"/>
              <a:gd name="connsiteX491" fmla="*/ 2188583 w 2846795"/>
              <a:gd name="connsiteY491" fmla="*/ 1652525 h 2824875"/>
              <a:gd name="connsiteX492" fmla="*/ 2211753 w 2846795"/>
              <a:gd name="connsiteY492" fmla="*/ 1709350 h 2824875"/>
              <a:gd name="connsiteX493" fmla="*/ 2213038 w 2846795"/>
              <a:gd name="connsiteY493" fmla="*/ 1751502 h 2824875"/>
              <a:gd name="connsiteX494" fmla="*/ 2193619 w 2846795"/>
              <a:gd name="connsiteY494" fmla="*/ 1786463 h 2824875"/>
              <a:gd name="connsiteX495" fmla="*/ 2145416 w 2846795"/>
              <a:gd name="connsiteY495" fmla="*/ 1826170 h 2824875"/>
              <a:gd name="connsiteX496" fmla="*/ 2094062 w 2846795"/>
              <a:gd name="connsiteY496" fmla="*/ 1865877 h 2824875"/>
              <a:gd name="connsiteX497" fmla="*/ 2067452 w 2846795"/>
              <a:gd name="connsiteY497" fmla="*/ 1897668 h 2824875"/>
              <a:gd name="connsiteX498" fmla="*/ 2076654 w 2846795"/>
              <a:gd name="connsiteY498" fmla="*/ 1913791 h 2824875"/>
              <a:gd name="connsiteX499" fmla="*/ 2097668 w 2846795"/>
              <a:gd name="connsiteY499" fmla="*/ 1937955 h 2824875"/>
              <a:gd name="connsiteX500" fmla="*/ 2095077 w 2846795"/>
              <a:gd name="connsiteY500" fmla="*/ 2004416 h 2824875"/>
              <a:gd name="connsiteX501" fmla="*/ 2059391 w 2846795"/>
              <a:gd name="connsiteY501" fmla="*/ 2109155 h 2824875"/>
              <a:gd name="connsiteX502" fmla="*/ 1969325 w 2846795"/>
              <a:gd name="connsiteY502" fmla="*/ 2331853 h 2824875"/>
              <a:gd name="connsiteX503" fmla="*/ 1904584 w 2846795"/>
              <a:gd name="connsiteY503" fmla="*/ 2574405 h 2824875"/>
              <a:gd name="connsiteX504" fmla="*/ 1892502 w 2846795"/>
              <a:gd name="connsiteY504" fmla="*/ 2764443 h 2824875"/>
              <a:gd name="connsiteX505" fmla="*/ 2038812 w 2846795"/>
              <a:gd name="connsiteY505" fmla="*/ 2824874 h 2824875"/>
              <a:gd name="connsiteX0" fmla="*/ 1241953 w 2846793"/>
              <a:gd name="connsiteY0" fmla="*/ 2360975 h 2784234"/>
              <a:gd name="connsiteX1" fmla="*/ 1209568 w 2846793"/>
              <a:gd name="connsiteY1" fmla="*/ 2270448 h 2784234"/>
              <a:gd name="connsiteX2" fmla="*/ 1120808 w 2846793"/>
              <a:gd name="connsiteY2" fmla="*/ 2115662 h 2784234"/>
              <a:gd name="connsiteX3" fmla="*/ 1030182 w 2846793"/>
              <a:gd name="connsiteY3" fmla="*/ 1957124 h 2784234"/>
              <a:gd name="connsiteX4" fmla="*/ 963576 w 2846793"/>
              <a:gd name="connsiteY4" fmla="*/ 1924173 h 2784234"/>
              <a:gd name="connsiteX5" fmla="*/ 805764 w 2846793"/>
              <a:gd name="connsiteY5" fmla="*/ 1954244 h 2784234"/>
              <a:gd name="connsiteX6" fmla="*/ 604929 w 2846793"/>
              <a:gd name="connsiteY6" fmla="*/ 1989060 h 2784234"/>
              <a:gd name="connsiteX7" fmla="*/ 477332 w 2846793"/>
              <a:gd name="connsiteY7" fmla="*/ 1993661 h 2784234"/>
              <a:gd name="connsiteX8" fmla="*/ 361672 w 2846793"/>
              <a:gd name="connsiteY8" fmla="*/ 2000852 h 2784234"/>
              <a:gd name="connsiteX9" fmla="*/ 98687 w 2846793"/>
              <a:gd name="connsiteY9" fmla="*/ 2062567 h 2784234"/>
              <a:gd name="connsiteX10" fmla="*/ 3316 w 2846793"/>
              <a:gd name="connsiteY10" fmla="*/ 2090047 h 2784234"/>
              <a:gd name="connsiteX11" fmla="*/ 45468 w 2846793"/>
              <a:gd name="connsiteY11" fmla="*/ 2164135 h 2784234"/>
              <a:gd name="connsiteX12" fmla="*/ 243277 w 2846793"/>
              <a:gd name="connsiteY12" fmla="*/ 2417629 h 2784234"/>
              <a:gd name="connsiteX13" fmla="*/ 343270 w 2846793"/>
              <a:gd name="connsiteY13" fmla="*/ 2553723 h 2784234"/>
              <a:gd name="connsiteX14" fmla="*/ 396634 w 2846793"/>
              <a:gd name="connsiteY14" fmla="*/ 2608392 h 2784234"/>
              <a:gd name="connsiteX15" fmla="*/ 442102 w 2846793"/>
              <a:gd name="connsiteY15" fmla="*/ 2644348 h 2784234"/>
              <a:gd name="connsiteX16" fmla="*/ 450018 w 2846793"/>
              <a:gd name="connsiteY16" fmla="*/ 2670108 h 2784234"/>
              <a:gd name="connsiteX17" fmla="*/ 431180 w 2846793"/>
              <a:gd name="connsiteY17" fmla="*/ 2687516 h 2784234"/>
              <a:gd name="connsiteX18" fmla="*/ 385007 w 2846793"/>
              <a:gd name="connsiteY18" fmla="*/ 2665507 h 2784234"/>
              <a:gd name="connsiteX19" fmla="*/ 320266 w 2846793"/>
              <a:gd name="connsiteY19" fmla="*/ 2569991 h 2784234"/>
              <a:gd name="connsiteX20" fmla="*/ 307459 w 2846793"/>
              <a:gd name="connsiteY20" fmla="*/ 2513166 h 2784234"/>
              <a:gd name="connsiteX21" fmla="*/ 319396 w 2846793"/>
              <a:gd name="connsiteY21" fmla="*/ 2499923 h 2784234"/>
              <a:gd name="connsiteX22" fmla="*/ 348015 w 2846793"/>
              <a:gd name="connsiteY22" fmla="*/ 2524378 h 2784234"/>
              <a:gd name="connsiteX23" fmla="*/ 378086 w 2846793"/>
              <a:gd name="connsiteY23" fmla="*/ 2562364 h 2784234"/>
              <a:gd name="connsiteX24" fmla="*/ 409731 w 2846793"/>
              <a:gd name="connsiteY24" fmla="*/ 2581348 h 2784234"/>
              <a:gd name="connsiteX25" fmla="*/ 431740 w 2846793"/>
              <a:gd name="connsiteY25" fmla="*/ 2604372 h 2784234"/>
              <a:gd name="connsiteX26" fmla="*/ 455323 w 2846793"/>
              <a:gd name="connsiteY26" fmla="*/ 2623645 h 2784234"/>
              <a:gd name="connsiteX27" fmla="*/ 472006 w 2846793"/>
              <a:gd name="connsiteY27" fmla="*/ 2654005 h 2784234"/>
              <a:gd name="connsiteX28" fmla="*/ 483798 w 2846793"/>
              <a:gd name="connsiteY28" fmla="*/ 2705649 h 2784234"/>
              <a:gd name="connsiteX29" fmla="*/ 515029 w 2846793"/>
              <a:gd name="connsiteY29" fmla="*/ 2761707 h 2784234"/>
              <a:gd name="connsiteX30" fmla="*/ 593924 w 2846793"/>
              <a:gd name="connsiteY30" fmla="*/ 2781975 h 2784234"/>
              <a:gd name="connsiteX31" fmla="*/ 917921 w 2846793"/>
              <a:gd name="connsiteY31" fmla="*/ 2784234 h 2784234"/>
              <a:gd name="connsiteX32" fmla="*/ 1481859 w 2846793"/>
              <a:gd name="connsiteY32" fmla="*/ 2784234 h 2784234"/>
              <a:gd name="connsiteX33" fmla="*/ 1611175 w 2846793"/>
              <a:gd name="connsiteY33" fmla="*/ 2760402 h 2784234"/>
              <a:gd name="connsiteX34" fmla="*/ 1530415 w 2846793"/>
              <a:gd name="connsiteY34" fmla="*/ 2653819 h 2784234"/>
              <a:gd name="connsiteX35" fmla="*/ 1485506 w 2846793"/>
              <a:gd name="connsiteY35" fmla="*/ 2582508 h 2784234"/>
              <a:gd name="connsiteX36" fmla="*/ 1444639 w 2846793"/>
              <a:gd name="connsiteY36" fmla="*/ 2563380 h 2784234"/>
              <a:gd name="connsiteX37" fmla="*/ 1360914 w 2846793"/>
              <a:gd name="connsiteY37" fmla="*/ 2569701 h 2784234"/>
              <a:gd name="connsiteX38" fmla="*/ 1305374 w 2846793"/>
              <a:gd name="connsiteY38" fmla="*/ 2561204 h 2784234"/>
              <a:gd name="connsiteX39" fmla="*/ 1259906 w 2846793"/>
              <a:gd name="connsiteY39" fmla="*/ 2517187 h 2784234"/>
              <a:gd name="connsiteX40" fmla="*/ 1228551 w 2846793"/>
              <a:gd name="connsiteY40" fmla="*/ 2442519 h 2784234"/>
              <a:gd name="connsiteX41" fmla="*/ 1227121 w 2846793"/>
              <a:gd name="connsiteY41" fmla="*/ 2364680 h 2784234"/>
              <a:gd name="connsiteX42" fmla="*/ 1271139 w 2846793"/>
              <a:gd name="connsiteY42" fmla="*/ 2317491 h 2784234"/>
              <a:gd name="connsiteX43" fmla="*/ 1254021 w 2846793"/>
              <a:gd name="connsiteY43" fmla="*/ 2254201 h 2784234"/>
              <a:gd name="connsiteX44" fmla="*/ 1118217 w 2846793"/>
              <a:gd name="connsiteY44" fmla="*/ 2041429 h 2784234"/>
              <a:gd name="connsiteX45" fmla="*/ 1021105 w 2846793"/>
              <a:gd name="connsiteY45" fmla="*/ 1888363 h 2784234"/>
              <a:gd name="connsiteX46" fmla="*/ 969171 w 2846793"/>
              <a:gd name="connsiteY46" fmla="*/ 1865338 h 2784234"/>
              <a:gd name="connsiteX47" fmla="*/ 890048 w 2846793"/>
              <a:gd name="connsiteY47" fmla="*/ 1886477 h 2784234"/>
              <a:gd name="connsiteX48" fmla="*/ 773808 w 2846793"/>
              <a:gd name="connsiteY48" fmla="*/ 1916837 h 2784234"/>
              <a:gd name="connsiteX49" fmla="*/ 552974 w 2846793"/>
              <a:gd name="connsiteY49" fmla="*/ 1960565 h 2784234"/>
              <a:gd name="connsiteX50" fmla="*/ 460463 w 2846793"/>
              <a:gd name="connsiteY50" fmla="*/ 1968771 h 2784234"/>
              <a:gd name="connsiteX51" fmla="*/ 390251 w 2846793"/>
              <a:gd name="connsiteY51" fmla="*/ 1936110 h 2784234"/>
              <a:gd name="connsiteX52" fmla="*/ 237329 w 2846793"/>
              <a:gd name="connsiteY52" fmla="*/ 1817280 h 2784234"/>
              <a:gd name="connsiteX53" fmla="*/ 148859 w 2846793"/>
              <a:gd name="connsiteY53" fmla="*/ 1724478 h 2784234"/>
              <a:gd name="connsiteX54" fmla="*/ 135326 w 2846793"/>
              <a:gd name="connsiteY54" fmla="*/ 1660753 h 2784234"/>
              <a:gd name="connsiteX55" fmla="*/ 160361 w 2846793"/>
              <a:gd name="connsiteY55" fmla="*/ 1619326 h 2784234"/>
              <a:gd name="connsiteX56" fmla="*/ 206534 w 2846793"/>
              <a:gd name="connsiteY56" fmla="*/ 1610829 h 2784234"/>
              <a:gd name="connsiteX57" fmla="*/ 299894 w 2846793"/>
              <a:gd name="connsiteY57" fmla="*/ 1646370 h 2784234"/>
              <a:gd name="connsiteX58" fmla="*/ 372552 w 2846793"/>
              <a:gd name="connsiteY58" fmla="*/ 1668959 h 2784234"/>
              <a:gd name="connsiteX59" fmla="*/ 375723 w 2846793"/>
              <a:gd name="connsiteY59" fmla="*/ 1692688 h 2784234"/>
              <a:gd name="connsiteX60" fmla="*/ 313282 w 2846793"/>
              <a:gd name="connsiteY60" fmla="*/ 1712832 h 2784234"/>
              <a:gd name="connsiteX61" fmla="*/ 211134 w 2846793"/>
              <a:gd name="connsiteY61" fmla="*/ 1685787 h 2784234"/>
              <a:gd name="connsiteX62" fmla="*/ 161356 w 2846793"/>
              <a:gd name="connsiteY62" fmla="*/ 1648235 h 2784234"/>
              <a:gd name="connsiteX63" fmla="*/ 166391 w 2846793"/>
              <a:gd name="connsiteY63" fmla="*/ 1605586 h 2784234"/>
              <a:gd name="connsiteX64" fmla="*/ 200192 w 2846793"/>
              <a:gd name="connsiteY64" fmla="*/ 1577816 h 2784234"/>
              <a:gd name="connsiteX65" fmla="*/ 287232 w 2846793"/>
              <a:gd name="connsiteY65" fmla="*/ 1590830 h 2784234"/>
              <a:gd name="connsiteX66" fmla="*/ 369009 w 2846793"/>
              <a:gd name="connsiteY66" fmla="*/ 1618953 h 2784234"/>
              <a:gd name="connsiteX67" fmla="*/ 419927 w 2846793"/>
              <a:gd name="connsiteY67" fmla="*/ 1621046 h 2784234"/>
              <a:gd name="connsiteX68" fmla="*/ 508625 w 2846793"/>
              <a:gd name="connsiteY68" fmla="*/ 1559682 h 2784234"/>
              <a:gd name="connsiteX69" fmla="*/ 603872 w 2846793"/>
              <a:gd name="connsiteY69" fmla="*/ 1496164 h 2784234"/>
              <a:gd name="connsiteX70" fmla="*/ 672489 w 2846793"/>
              <a:gd name="connsiteY70" fmla="*/ 1469699 h 2784234"/>
              <a:gd name="connsiteX71" fmla="*/ 740318 w 2846793"/>
              <a:gd name="connsiteY71" fmla="*/ 1459835 h 2784234"/>
              <a:gd name="connsiteX72" fmla="*/ 810675 w 2846793"/>
              <a:gd name="connsiteY72" fmla="*/ 1421288 h 2784234"/>
              <a:gd name="connsiteX73" fmla="*/ 854631 w 2846793"/>
              <a:gd name="connsiteY73" fmla="*/ 1394969 h 2784234"/>
              <a:gd name="connsiteX74" fmla="*/ 862982 w 2846793"/>
              <a:gd name="connsiteY74" fmla="*/ 1380214 h 2784234"/>
              <a:gd name="connsiteX75" fmla="*/ 851688 w 2846793"/>
              <a:gd name="connsiteY75" fmla="*/ 1366412 h 2784234"/>
              <a:gd name="connsiteX76" fmla="*/ 827524 w 2846793"/>
              <a:gd name="connsiteY76" fmla="*/ 1363614 h 2784234"/>
              <a:gd name="connsiteX77" fmla="*/ 824291 w 2846793"/>
              <a:gd name="connsiteY77" fmla="*/ 1354910 h 2784234"/>
              <a:gd name="connsiteX78" fmla="*/ 846652 w 2846793"/>
              <a:gd name="connsiteY78" fmla="*/ 1340030 h 2784234"/>
              <a:gd name="connsiteX79" fmla="*/ 880308 w 2846793"/>
              <a:gd name="connsiteY79" fmla="*/ 1319161 h 2784234"/>
              <a:gd name="connsiteX80" fmla="*/ 897363 w 2846793"/>
              <a:gd name="connsiteY80" fmla="*/ 1302831 h 2784234"/>
              <a:gd name="connsiteX81" fmla="*/ 886794 w 2846793"/>
              <a:gd name="connsiteY81" fmla="*/ 1295930 h 2784234"/>
              <a:gd name="connsiteX82" fmla="*/ 844642 w 2846793"/>
              <a:gd name="connsiteY82" fmla="*/ 1306934 h 2784234"/>
              <a:gd name="connsiteX83" fmla="*/ 809536 w 2846793"/>
              <a:gd name="connsiteY83" fmla="*/ 1335347 h 2784234"/>
              <a:gd name="connsiteX84" fmla="*/ 787029 w 2846793"/>
              <a:gd name="connsiteY84" fmla="*/ 1349667 h 2784234"/>
              <a:gd name="connsiteX85" fmla="*/ 782139 w 2846793"/>
              <a:gd name="connsiteY85" fmla="*/ 1343346 h 2784234"/>
              <a:gd name="connsiteX86" fmla="*/ 804583 w 2846793"/>
              <a:gd name="connsiteY86" fmla="*/ 1325296 h 2784234"/>
              <a:gd name="connsiteX87" fmla="*/ 816810 w 2846793"/>
              <a:gd name="connsiteY87" fmla="*/ 1307743 h 2784234"/>
              <a:gd name="connsiteX88" fmla="*/ 811276 w 2846793"/>
              <a:gd name="connsiteY88" fmla="*/ 1290977 h 2784234"/>
              <a:gd name="connsiteX89" fmla="*/ 791713 w 2846793"/>
              <a:gd name="connsiteY89" fmla="*/ 1290832 h 2784234"/>
              <a:gd name="connsiteX90" fmla="*/ 761933 w 2846793"/>
              <a:gd name="connsiteY90" fmla="*/ 1313856 h 2784234"/>
              <a:gd name="connsiteX91" fmla="*/ 742515 w 2846793"/>
              <a:gd name="connsiteY91" fmla="*/ 1324218 h 2784234"/>
              <a:gd name="connsiteX92" fmla="*/ 739862 w 2846793"/>
              <a:gd name="connsiteY92" fmla="*/ 1318457 h 2784234"/>
              <a:gd name="connsiteX93" fmla="*/ 752296 w 2846793"/>
              <a:gd name="connsiteY93" fmla="*/ 1300406 h 2784234"/>
              <a:gd name="connsiteX94" fmla="*/ 772585 w 2846793"/>
              <a:gd name="connsiteY94" fmla="*/ 1280615 h 2784234"/>
              <a:gd name="connsiteX95" fmla="*/ 776108 w 2846793"/>
              <a:gd name="connsiteY95" fmla="*/ 1263994 h 2784234"/>
              <a:gd name="connsiteX96" fmla="*/ 761083 w 2846793"/>
              <a:gd name="connsiteY96" fmla="*/ 1258026 h 2784234"/>
              <a:gd name="connsiteX97" fmla="*/ 718869 w 2846793"/>
              <a:gd name="connsiteY97" fmla="*/ 1273051 h 2784234"/>
              <a:gd name="connsiteX98" fmla="*/ 639600 w 2846793"/>
              <a:gd name="connsiteY98" fmla="*/ 1331181 h 2784234"/>
              <a:gd name="connsiteX99" fmla="*/ 569678 w 2846793"/>
              <a:gd name="connsiteY99" fmla="*/ 1382100 h 2784234"/>
              <a:gd name="connsiteX100" fmla="*/ 456173 w 2846793"/>
              <a:gd name="connsiteY100" fmla="*/ 1442530 h 2784234"/>
              <a:gd name="connsiteX101" fmla="*/ 325406 w 2846793"/>
              <a:gd name="connsiteY101" fmla="*/ 1515188 h 2784234"/>
              <a:gd name="connsiteX102" fmla="*/ 239526 w 2846793"/>
              <a:gd name="connsiteY102" fmla="*/ 1551144 h 2784234"/>
              <a:gd name="connsiteX103" fmla="*/ 218388 w 2846793"/>
              <a:gd name="connsiteY103" fmla="*/ 1575453 h 2784234"/>
              <a:gd name="connsiteX104" fmla="*/ 272912 w 2846793"/>
              <a:gd name="connsiteY104" fmla="*/ 1602208 h 2784234"/>
              <a:gd name="connsiteX105" fmla="*/ 357797 w 2846793"/>
              <a:gd name="connsiteY105" fmla="*/ 1635863 h 2784234"/>
              <a:gd name="connsiteX106" fmla="*/ 403410 w 2846793"/>
              <a:gd name="connsiteY106" fmla="*/ 1653271 h 2784234"/>
              <a:gd name="connsiteX107" fmla="*/ 416073 w 2846793"/>
              <a:gd name="connsiteY107" fmla="*/ 1682036 h 2784234"/>
              <a:gd name="connsiteX108" fmla="*/ 440817 w 2846793"/>
              <a:gd name="connsiteY108" fmla="*/ 1705060 h 2784234"/>
              <a:gd name="connsiteX109" fmla="*/ 514469 w 2846793"/>
              <a:gd name="connsiteY109" fmla="*/ 1733680 h 2784234"/>
              <a:gd name="connsiteX110" fmla="*/ 651288 w 2846793"/>
              <a:gd name="connsiteY110" fmla="*/ 1765905 h 2784234"/>
              <a:gd name="connsiteX111" fmla="*/ 768109 w 2846793"/>
              <a:gd name="connsiteY111" fmla="*/ 1785179 h 2784234"/>
              <a:gd name="connsiteX112" fmla="*/ 837306 w 2846793"/>
              <a:gd name="connsiteY112" fmla="*/ 1824740 h 2784234"/>
              <a:gd name="connsiteX113" fmla="*/ 840621 w 2846793"/>
              <a:gd name="connsiteY113" fmla="*/ 1854666 h 2784234"/>
              <a:gd name="connsiteX114" fmla="*/ 790843 w 2846793"/>
              <a:gd name="connsiteY114" fmla="*/ 1883430 h 2784234"/>
              <a:gd name="connsiteX115" fmla="*/ 713874 w 2846793"/>
              <a:gd name="connsiteY115" fmla="*/ 1902413 h 2784234"/>
              <a:gd name="connsiteX116" fmla="*/ 703367 w 2846793"/>
              <a:gd name="connsiteY116" fmla="*/ 1887741 h 2784234"/>
              <a:gd name="connsiteX117" fmla="*/ 735158 w 2846793"/>
              <a:gd name="connsiteY117" fmla="*/ 1840843 h 2784234"/>
              <a:gd name="connsiteX118" fmla="*/ 785662 w 2846793"/>
              <a:gd name="connsiteY118" fmla="*/ 1808037 h 2784234"/>
              <a:gd name="connsiteX119" fmla="*/ 864640 w 2846793"/>
              <a:gd name="connsiteY119" fmla="*/ 1809757 h 2784234"/>
              <a:gd name="connsiteX120" fmla="*/ 904637 w 2846793"/>
              <a:gd name="connsiteY120" fmla="*/ 1789468 h 2784234"/>
              <a:gd name="connsiteX121" fmla="*/ 916284 w 2846793"/>
              <a:gd name="connsiteY121" fmla="*/ 1745161 h 2784234"/>
              <a:gd name="connsiteX122" fmla="*/ 912119 w 2846793"/>
              <a:gd name="connsiteY122" fmla="*/ 1675238 h 2784234"/>
              <a:gd name="connsiteX123" fmla="*/ 918025 w 2846793"/>
              <a:gd name="connsiteY123" fmla="*/ 1647904 h 2784234"/>
              <a:gd name="connsiteX124" fmla="*/ 946230 w 2846793"/>
              <a:gd name="connsiteY124" fmla="*/ 1644588 h 2784234"/>
              <a:gd name="connsiteX125" fmla="*/ 993128 w 2846793"/>
              <a:gd name="connsiteY125" fmla="*/ 1664587 h 2784234"/>
              <a:gd name="connsiteX126" fmla="*/ 1043632 w 2846793"/>
              <a:gd name="connsiteY126" fmla="*/ 1685455 h 2784234"/>
              <a:gd name="connsiteX127" fmla="*/ 1091110 w 2846793"/>
              <a:gd name="connsiteY127" fmla="*/ 1667032 h 2784234"/>
              <a:gd name="connsiteX128" fmla="*/ 1113844 w 2846793"/>
              <a:gd name="connsiteY128" fmla="*/ 1609046 h 2784234"/>
              <a:gd name="connsiteX129" fmla="*/ 1137573 w 2846793"/>
              <a:gd name="connsiteY129" fmla="*/ 1536244 h 2784234"/>
              <a:gd name="connsiteX130" fmla="*/ 1175270 w 2846793"/>
              <a:gd name="connsiteY130" fmla="*/ 1484165 h 2784234"/>
              <a:gd name="connsiteX131" fmla="*/ 1215847 w 2846793"/>
              <a:gd name="connsiteY131" fmla="*/ 1437702 h 2784234"/>
              <a:gd name="connsiteX132" fmla="*/ 1213837 w 2846793"/>
              <a:gd name="connsiteY132" fmla="*/ 1405911 h 2784234"/>
              <a:gd name="connsiteX133" fmla="*/ 1160743 w 2846793"/>
              <a:gd name="connsiteY133" fmla="*/ 1359449 h 2784234"/>
              <a:gd name="connsiteX134" fmla="*/ 1072273 w 2846793"/>
              <a:gd name="connsiteY134" fmla="*/ 1326207 h 2784234"/>
              <a:gd name="connsiteX135" fmla="*/ 969420 w 2846793"/>
              <a:gd name="connsiteY135" fmla="*/ 1337709 h 2784234"/>
              <a:gd name="connsiteX136" fmla="*/ 912160 w 2846793"/>
              <a:gd name="connsiteY136" fmla="*/ 1380152 h 2784234"/>
              <a:gd name="connsiteX137" fmla="*/ 896327 w 2846793"/>
              <a:gd name="connsiteY137" fmla="*/ 1448333 h 2784234"/>
              <a:gd name="connsiteX138" fmla="*/ 877489 w 2846793"/>
              <a:gd name="connsiteY138" fmla="*/ 1512784 h 2784234"/>
              <a:gd name="connsiteX139" fmla="*/ 860806 w 2846793"/>
              <a:gd name="connsiteY139" fmla="*/ 1564138 h 2784234"/>
              <a:gd name="connsiteX140" fmla="*/ 859936 w 2846793"/>
              <a:gd name="connsiteY140" fmla="*/ 1636216 h 2784234"/>
              <a:gd name="connsiteX141" fmla="*/ 882670 w 2846793"/>
              <a:gd name="connsiteY141" fmla="*/ 1693040 h 2784234"/>
              <a:gd name="connsiteX142" fmla="*/ 939930 w 2846793"/>
              <a:gd name="connsiteY142" fmla="*/ 1728001 h 2784234"/>
              <a:gd name="connsiteX143" fmla="*/ 1032856 w 2846793"/>
              <a:gd name="connsiteY143" fmla="*/ 1733618 h 2784234"/>
              <a:gd name="connsiteX144" fmla="*/ 1121326 w 2846793"/>
              <a:gd name="connsiteY144" fmla="*/ 1688440 h 2784234"/>
              <a:gd name="connsiteX145" fmla="*/ 1171830 w 2846793"/>
              <a:gd name="connsiteY145" fmla="*/ 1627304 h 2784234"/>
              <a:gd name="connsiteX146" fmla="*/ 1192263 w 2846793"/>
              <a:gd name="connsiteY146" fmla="*/ 1592343 h 2784234"/>
              <a:gd name="connsiteX147" fmla="*/ 1215433 w 2846793"/>
              <a:gd name="connsiteY147" fmla="*/ 1590478 h 2784234"/>
              <a:gd name="connsiteX148" fmla="*/ 1223059 w 2846793"/>
              <a:gd name="connsiteY148" fmla="*/ 1624569 h 2784234"/>
              <a:gd name="connsiteX149" fmla="*/ 1193569 w 2846793"/>
              <a:gd name="connsiteY149" fmla="*/ 1655219 h 2784234"/>
              <a:gd name="connsiteX150" fmla="*/ 1160328 w 2846793"/>
              <a:gd name="connsiteY150" fmla="*/ 1650909 h 2784234"/>
              <a:gd name="connsiteX151" fmla="*/ 1152121 w 2846793"/>
              <a:gd name="connsiteY151" fmla="*/ 1619844 h 2784234"/>
              <a:gd name="connsiteX152" fmla="*/ 1169239 w 2846793"/>
              <a:gd name="connsiteY152" fmla="*/ 1577836 h 2784234"/>
              <a:gd name="connsiteX153" fmla="*/ 1208511 w 2846793"/>
              <a:gd name="connsiteY153" fmla="*/ 1555683 h 2784234"/>
              <a:gd name="connsiteX154" fmla="*/ 1223039 w 2846793"/>
              <a:gd name="connsiteY154" fmla="*/ 1534814 h 2784234"/>
              <a:gd name="connsiteX155" fmla="*/ 1221173 w 2846793"/>
              <a:gd name="connsiteY155" fmla="*/ 1493822 h 2784234"/>
              <a:gd name="connsiteX156" fmla="*/ 1192263 w 2846793"/>
              <a:gd name="connsiteY156" fmla="*/ 1435837 h 2784234"/>
              <a:gd name="connsiteX157" fmla="*/ 1126527 w 2846793"/>
              <a:gd name="connsiteY157" fmla="*/ 1373105 h 2784234"/>
              <a:gd name="connsiteX158" fmla="*/ 1015178 w 2846793"/>
              <a:gd name="connsiteY158" fmla="*/ 1361604 h 2784234"/>
              <a:gd name="connsiteX159" fmla="*/ 929299 w 2846793"/>
              <a:gd name="connsiteY159" fmla="*/ 1399591 h 2784234"/>
              <a:gd name="connsiteX160" fmla="*/ 891312 w 2846793"/>
              <a:gd name="connsiteY160" fmla="*/ 1413683 h 2784234"/>
              <a:gd name="connsiteX161" fmla="*/ 880805 w 2846793"/>
              <a:gd name="connsiteY161" fmla="*/ 1385623 h 2784234"/>
              <a:gd name="connsiteX162" fmla="*/ 887271 w 2846793"/>
              <a:gd name="connsiteY162" fmla="*/ 1343035 h 2784234"/>
              <a:gd name="connsiteX163" fmla="*/ 919351 w 2846793"/>
              <a:gd name="connsiteY163" fmla="*/ 1314270 h 2784234"/>
              <a:gd name="connsiteX164" fmla="*/ 976031 w 2846793"/>
              <a:gd name="connsiteY164" fmla="*/ 1293402 h 2784234"/>
              <a:gd name="connsiteX165" fmla="*/ 1018183 w 2846793"/>
              <a:gd name="connsiteY165" fmla="*/ 1281900 h 2784234"/>
              <a:gd name="connsiteX166" fmla="*/ 1050844 w 2846793"/>
              <a:gd name="connsiteY166" fmla="*/ 1268947 h 2784234"/>
              <a:gd name="connsiteX167" fmla="*/ 1109244 w 2846793"/>
              <a:gd name="connsiteY167" fmla="*/ 1272118 h 2784234"/>
              <a:gd name="connsiteX168" fmla="*/ 1183622 w 2846793"/>
              <a:gd name="connsiteY168" fmla="*/ 1306209 h 2784234"/>
              <a:gd name="connsiteX169" fmla="*/ 1247202 w 2846793"/>
              <a:gd name="connsiteY169" fmla="*/ 1382017 h 2784234"/>
              <a:gd name="connsiteX170" fmla="*/ 1276983 w 2846793"/>
              <a:gd name="connsiteY170" fmla="*/ 1470777 h 2784234"/>
              <a:gd name="connsiteX171" fmla="*/ 1290785 w 2846793"/>
              <a:gd name="connsiteY171" fmla="*/ 1538959 h 2784234"/>
              <a:gd name="connsiteX172" fmla="*/ 1286184 w 2846793"/>
              <a:gd name="connsiteY172" fmla="*/ 1598664 h 2784234"/>
              <a:gd name="connsiteX173" fmla="*/ 1251223 w 2846793"/>
              <a:gd name="connsiteY173" fmla="*/ 1657789 h 2784234"/>
              <a:gd name="connsiteX174" fmla="*/ 1190792 w 2846793"/>
              <a:gd name="connsiteY174" fmla="*/ 1692460 h 2784234"/>
              <a:gd name="connsiteX175" fmla="*/ 1155396 w 2846793"/>
              <a:gd name="connsiteY175" fmla="*/ 1717349 h 2784234"/>
              <a:gd name="connsiteX176" fmla="*/ 1128786 w 2846793"/>
              <a:gd name="connsiteY176" fmla="*/ 1768848 h 2784234"/>
              <a:gd name="connsiteX177" fmla="*/ 1124766 w 2846793"/>
              <a:gd name="connsiteY177" fmla="*/ 1813156 h 2784234"/>
              <a:gd name="connsiteX178" fmla="*/ 1143459 w 2846793"/>
              <a:gd name="connsiteY178" fmla="*/ 1838045 h 2784234"/>
              <a:gd name="connsiteX179" fmla="*/ 1176700 w 2846793"/>
              <a:gd name="connsiteY179" fmla="*/ 1874581 h 2784234"/>
              <a:gd name="connsiteX180" fmla="*/ 1211951 w 2846793"/>
              <a:gd name="connsiteY180" fmla="*/ 1930971 h 2784234"/>
              <a:gd name="connsiteX181" fmla="*/ 1269791 w 2846793"/>
              <a:gd name="connsiteY181" fmla="*/ 1970678 h 2784234"/>
              <a:gd name="connsiteX182" fmla="*/ 1289790 w 2846793"/>
              <a:gd name="connsiteY182" fmla="*/ 2016996 h 2784234"/>
              <a:gd name="connsiteX183" fmla="*/ 1236696 w 2846793"/>
              <a:gd name="connsiteY183" fmla="*/ 2105031 h 2784234"/>
              <a:gd name="connsiteX184" fmla="*/ 1189362 w 2846793"/>
              <a:gd name="connsiteY184" fmla="*/ 2099269 h 2784234"/>
              <a:gd name="connsiteX185" fmla="*/ 1126921 w 2846793"/>
              <a:gd name="connsiteY185" fmla="*/ 1994386 h 2784234"/>
              <a:gd name="connsiteX186" fmla="*/ 1124621 w 2846793"/>
              <a:gd name="connsiteY186" fmla="*/ 1948773 h 2784234"/>
              <a:gd name="connsiteX187" fmla="*/ 1178855 w 2846793"/>
              <a:gd name="connsiteY187" fmla="*/ 1910226 h 2784234"/>
              <a:gd name="connsiteX188" fmla="*/ 1235245 w 2846793"/>
              <a:gd name="connsiteY188" fmla="*/ 1918288 h 2784234"/>
              <a:gd name="connsiteX189" fmla="*/ 1332792 w 2846793"/>
              <a:gd name="connsiteY189" fmla="*/ 1988065 h 2784234"/>
              <a:gd name="connsiteX190" fmla="*/ 1387316 w 2846793"/>
              <a:gd name="connsiteY190" fmla="*/ 2070650 h 2784234"/>
              <a:gd name="connsiteX191" fmla="*/ 1383710 w 2846793"/>
              <a:gd name="connsiteY191" fmla="*/ 2126190 h 2784234"/>
              <a:gd name="connsiteX192" fmla="*/ 1348459 w 2846793"/>
              <a:gd name="connsiteY192" fmla="*/ 2203448 h 2784234"/>
              <a:gd name="connsiteX193" fmla="*/ 1311923 w 2846793"/>
              <a:gd name="connsiteY193" fmla="*/ 2248771 h 2784234"/>
              <a:gd name="connsiteX194" fmla="*/ 1270786 w 2846793"/>
              <a:gd name="connsiteY194" fmla="*/ 2226907 h 2784234"/>
              <a:gd name="connsiteX195" fmla="*/ 1256694 w 2846793"/>
              <a:gd name="connsiteY195" fmla="*/ 2197417 h 2784234"/>
              <a:gd name="connsiteX196" fmla="*/ 1262745 w 2846793"/>
              <a:gd name="connsiteY196" fmla="*/ 2172093 h 2784234"/>
              <a:gd name="connsiteX197" fmla="*/ 1299427 w 2846793"/>
              <a:gd name="connsiteY197" fmla="*/ 2127640 h 2784234"/>
              <a:gd name="connsiteX198" fmla="*/ 1357826 w 2846793"/>
              <a:gd name="connsiteY198" fmla="*/ 2086068 h 2784234"/>
              <a:gd name="connsiteX199" fmla="*/ 1403999 w 2846793"/>
              <a:gd name="connsiteY199" fmla="*/ 2048372 h 2784234"/>
              <a:gd name="connsiteX200" fmla="*/ 1428453 w 2846793"/>
              <a:gd name="connsiteY200" fmla="*/ 2028228 h 2784234"/>
              <a:gd name="connsiteX201" fmla="*/ 1435644 w 2846793"/>
              <a:gd name="connsiteY201" fmla="*/ 2043481 h 2784234"/>
              <a:gd name="connsiteX202" fmla="*/ 1439375 w 2846793"/>
              <a:gd name="connsiteY202" fmla="*/ 2107062 h 2784234"/>
              <a:gd name="connsiteX203" fmla="*/ 1432039 w 2846793"/>
              <a:gd name="connsiteY203" fmla="*/ 2164902 h 2784234"/>
              <a:gd name="connsiteX204" fmla="*/ 1405864 w 2846793"/>
              <a:gd name="connsiteY204" fmla="*/ 2266469 h 2784234"/>
              <a:gd name="connsiteX205" fmla="*/ 1412765 w 2846793"/>
              <a:gd name="connsiteY205" fmla="*/ 2328330 h 2784234"/>
              <a:gd name="connsiteX206" fmla="*/ 1440245 w 2846793"/>
              <a:gd name="connsiteY206" fmla="*/ 2353074 h 2784234"/>
              <a:gd name="connsiteX207" fmla="*/ 1475932 w 2846793"/>
              <a:gd name="connsiteY207" fmla="*/ 2367457 h 2784234"/>
              <a:gd name="connsiteX208" fmla="*/ 1511038 w 2846793"/>
              <a:gd name="connsiteY208" fmla="*/ 2382710 h 2784234"/>
              <a:gd name="connsiteX209" fmla="*/ 1536217 w 2846793"/>
              <a:gd name="connsiteY209" fmla="*/ 2415225 h 2784234"/>
              <a:gd name="connsiteX210" fmla="*/ 1543408 w 2846793"/>
              <a:gd name="connsiteY210" fmla="*/ 2463843 h 2784234"/>
              <a:gd name="connsiteX211" fmla="*/ 1512758 w 2846793"/>
              <a:gd name="connsiteY211" fmla="*/ 2507156 h 2784234"/>
              <a:gd name="connsiteX212" fmla="*/ 1467083 w 2846793"/>
              <a:gd name="connsiteY212" fmla="*/ 2522844 h 2784234"/>
              <a:gd name="connsiteX213" fmla="*/ 1422195 w 2846793"/>
              <a:gd name="connsiteY213" fmla="*/ 2523860 h 2784234"/>
              <a:gd name="connsiteX214" fmla="*/ 1366738 w 2846793"/>
              <a:gd name="connsiteY214" fmla="*/ 2540832 h 2784234"/>
              <a:gd name="connsiteX215" fmla="*/ 1320420 w 2846793"/>
              <a:gd name="connsiteY215" fmla="*/ 2536667 h 2784234"/>
              <a:gd name="connsiteX216" fmla="*/ 1321788 w 2846793"/>
              <a:gd name="connsiteY216" fmla="*/ 2519549 h 2784234"/>
              <a:gd name="connsiteX217" fmla="*/ 1369846 w 2846793"/>
              <a:gd name="connsiteY217" fmla="*/ 2497893 h 2784234"/>
              <a:gd name="connsiteX218" fmla="*/ 1396891 w 2846793"/>
              <a:gd name="connsiteY218" fmla="*/ 2480277 h 2784234"/>
              <a:gd name="connsiteX219" fmla="*/ 1381286 w 2846793"/>
              <a:gd name="connsiteY219" fmla="*/ 2474102 h 2784234"/>
              <a:gd name="connsiteX220" fmla="*/ 1307986 w 2846793"/>
              <a:gd name="connsiteY220" fmla="*/ 2503094 h 2784234"/>
              <a:gd name="connsiteX221" fmla="*/ 1275760 w 2846793"/>
              <a:gd name="connsiteY221" fmla="*/ 2503820 h 2784234"/>
              <a:gd name="connsiteX222" fmla="*/ 1277190 w 2846793"/>
              <a:gd name="connsiteY222" fmla="*/ 2490515 h 2784234"/>
              <a:gd name="connsiteX223" fmla="*/ 1302287 w 2846793"/>
              <a:gd name="connsiteY223" fmla="*/ 2478495 h 2784234"/>
              <a:gd name="connsiteX224" fmla="*/ 1350407 w 2846793"/>
              <a:gd name="connsiteY224" fmla="*/ 2445109 h 2784234"/>
              <a:gd name="connsiteX225" fmla="*/ 1346946 w 2846793"/>
              <a:gd name="connsiteY225" fmla="*/ 2435120 h 2784234"/>
              <a:gd name="connsiteX226" fmla="*/ 1292774 w 2846793"/>
              <a:gd name="connsiteY226" fmla="*/ 2461812 h 2784234"/>
              <a:gd name="connsiteX227" fmla="*/ 1261834 w 2846793"/>
              <a:gd name="connsiteY227" fmla="*/ 2459719 h 2784234"/>
              <a:gd name="connsiteX228" fmla="*/ 1265149 w 2846793"/>
              <a:gd name="connsiteY228" fmla="*/ 2438933 h 2784234"/>
              <a:gd name="connsiteX229" fmla="*/ 1303053 w 2846793"/>
              <a:gd name="connsiteY229" fmla="*/ 2411308 h 2784234"/>
              <a:gd name="connsiteX230" fmla="*/ 1318513 w 2846793"/>
              <a:gd name="connsiteY230" fmla="*/ 2393175 h 2784234"/>
              <a:gd name="connsiteX231" fmla="*/ 1306783 w 2846793"/>
              <a:gd name="connsiteY231" fmla="*/ 2385984 h 2784234"/>
              <a:gd name="connsiteX232" fmla="*/ 1268590 w 2846793"/>
              <a:gd name="connsiteY232" fmla="*/ 2403392 h 2784234"/>
              <a:gd name="connsiteX233" fmla="*/ 1243410 w 2846793"/>
              <a:gd name="connsiteY233" fmla="*/ 2405257 h 2784234"/>
              <a:gd name="connsiteX234" fmla="*/ 1242685 w 2846793"/>
              <a:gd name="connsiteY234" fmla="*/ 2382461 h 2784234"/>
              <a:gd name="connsiteX235" fmla="*/ 1284402 w 2846793"/>
              <a:gd name="connsiteY235" fmla="*/ 2341469 h 2784234"/>
              <a:gd name="connsiteX236" fmla="*/ 1360935 w 2846793"/>
              <a:gd name="connsiteY236" fmla="*/ 2306218 h 2784234"/>
              <a:gd name="connsiteX237" fmla="*/ 1411004 w 2846793"/>
              <a:gd name="connsiteY237" fmla="*/ 2303047 h 2784234"/>
              <a:gd name="connsiteX238" fmla="*/ 1438484 w 2846793"/>
              <a:gd name="connsiteY238" fmla="*/ 2295131 h 2784234"/>
              <a:gd name="connsiteX239" fmla="*/ 1468409 w 2846793"/>
              <a:gd name="connsiteY239" fmla="*/ 2243777 h 2784234"/>
              <a:gd name="connsiteX240" fmla="*/ 1532570 w 2846793"/>
              <a:gd name="connsiteY240" fmla="*/ 2156301 h 2784234"/>
              <a:gd name="connsiteX241" fmla="*/ 1610761 w 2846793"/>
              <a:gd name="connsiteY241" fmla="*/ 2074152 h 2784234"/>
              <a:gd name="connsiteX242" fmla="*/ 1628957 w 2846793"/>
              <a:gd name="connsiteY242" fmla="*/ 2041864 h 2784234"/>
              <a:gd name="connsiteX243" fmla="*/ 1628604 w 2846793"/>
              <a:gd name="connsiteY243" fmla="*/ 2021078 h 2784234"/>
              <a:gd name="connsiteX244" fmla="*/ 1642841 w 2846793"/>
              <a:gd name="connsiteY244" fmla="*/ 2001308 h 2784234"/>
              <a:gd name="connsiteX245" fmla="*/ 1697863 w 2846793"/>
              <a:gd name="connsiteY245" fmla="*/ 1963611 h 2784234"/>
              <a:gd name="connsiteX246" fmla="*/ 1768718 w 2846793"/>
              <a:gd name="connsiteY246" fmla="*/ 1914703 h 2784234"/>
              <a:gd name="connsiteX247" fmla="*/ 1816549 w 2846793"/>
              <a:gd name="connsiteY247" fmla="*/ 1881109 h 2784234"/>
              <a:gd name="connsiteX248" fmla="*/ 1846039 w 2846793"/>
              <a:gd name="connsiteY248" fmla="*/ 1836221 h 2784234"/>
              <a:gd name="connsiteX249" fmla="*/ 1863882 w 2846793"/>
              <a:gd name="connsiteY249" fmla="*/ 1739400 h 2784234"/>
              <a:gd name="connsiteX250" fmla="*/ 1862162 w 2846793"/>
              <a:gd name="connsiteY250" fmla="*/ 1654225 h 2784234"/>
              <a:gd name="connsiteX251" fmla="*/ 1849355 w 2846793"/>
              <a:gd name="connsiteY251" fmla="*/ 1586312 h 2784234"/>
              <a:gd name="connsiteX252" fmla="*/ 1804322 w 2846793"/>
              <a:gd name="connsiteY252" fmla="*/ 1511499 h 2784234"/>
              <a:gd name="connsiteX253" fmla="*/ 1748512 w 2846793"/>
              <a:gd name="connsiteY253" fmla="*/ 1463296 h 2784234"/>
              <a:gd name="connsiteX254" fmla="*/ 1688662 w 2846793"/>
              <a:gd name="connsiteY254" fmla="*/ 1445017 h 2784234"/>
              <a:gd name="connsiteX255" fmla="*/ 1629682 w 2846793"/>
              <a:gd name="connsiteY255" fmla="*/ 1434655 h 2784234"/>
              <a:gd name="connsiteX256" fmla="*/ 1565521 w 2846793"/>
              <a:gd name="connsiteY256" fmla="*/ 1420708 h 2784234"/>
              <a:gd name="connsiteX257" fmla="*/ 1482377 w 2846793"/>
              <a:gd name="connsiteY257" fmla="*/ 1428044 h 2784234"/>
              <a:gd name="connsiteX258" fmla="*/ 1425117 w 2846793"/>
              <a:gd name="connsiteY258" fmla="*/ 1469036 h 2784234"/>
              <a:gd name="connsiteX259" fmla="*/ 1416910 w 2846793"/>
              <a:gd name="connsiteY259" fmla="*/ 1533923 h 2784234"/>
              <a:gd name="connsiteX260" fmla="*/ 1436618 w 2846793"/>
              <a:gd name="connsiteY260" fmla="*/ 1580240 h 2784234"/>
              <a:gd name="connsiteX261" fmla="*/ 1448265 w 2846793"/>
              <a:gd name="connsiteY261" fmla="*/ 1638081 h 2784234"/>
              <a:gd name="connsiteX262" fmla="*/ 1432577 w 2846793"/>
              <a:gd name="connsiteY262" fmla="*/ 1733037 h 2784234"/>
              <a:gd name="connsiteX263" fmla="*/ 1436598 w 2846793"/>
              <a:gd name="connsiteY263" fmla="*/ 1799063 h 2784234"/>
              <a:gd name="connsiteX264" fmla="*/ 1493568 w 2846793"/>
              <a:gd name="connsiteY264" fmla="*/ 1841216 h 2784234"/>
              <a:gd name="connsiteX265" fmla="*/ 1619299 w 2846793"/>
              <a:gd name="connsiteY265" fmla="*/ 1854168 h 2784234"/>
              <a:gd name="connsiteX266" fmla="*/ 1704039 w 2846793"/>
              <a:gd name="connsiteY266" fmla="*/ 1837050 h 2784234"/>
              <a:gd name="connsiteX267" fmla="*/ 1739290 w 2846793"/>
              <a:gd name="connsiteY267" fmla="*/ 1788577 h 2784234"/>
              <a:gd name="connsiteX268" fmla="*/ 1754108 w 2846793"/>
              <a:gd name="connsiteY268" fmla="*/ 1758507 h 2784234"/>
              <a:gd name="connsiteX269" fmla="*/ 1769071 w 2846793"/>
              <a:gd name="connsiteY269" fmla="*/ 1758507 h 2784234"/>
              <a:gd name="connsiteX270" fmla="*/ 1773526 w 2846793"/>
              <a:gd name="connsiteY270" fmla="*/ 1787562 h 2784234"/>
              <a:gd name="connsiteX271" fmla="*/ 1747621 w 2846793"/>
              <a:gd name="connsiteY271" fmla="*/ 1819497 h 2784234"/>
              <a:gd name="connsiteX272" fmla="*/ 1719271 w 2846793"/>
              <a:gd name="connsiteY272" fmla="*/ 1806110 h 2784234"/>
              <a:gd name="connsiteX273" fmla="*/ 1727478 w 2846793"/>
              <a:gd name="connsiteY273" fmla="*/ 1762092 h 2784234"/>
              <a:gd name="connsiteX274" fmla="*/ 1757258 w 2846793"/>
              <a:gd name="connsiteY274" fmla="*/ 1731297 h 2784234"/>
              <a:gd name="connsiteX275" fmla="*/ 1781857 w 2846793"/>
              <a:gd name="connsiteY275" fmla="*/ 1696626 h 2784234"/>
              <a:gd name="connsiteX276" fmla="*/ 1759123 w 2846793"/>
              <a:gd name="connsiteY276" fmla="*/ 1625563 h 2784234"/>
              <a:gd name="connsiteX277" fmla="*/ 1710650 w 2846793"/>
              <a:gd name="connsiteY277" fmla="*/ 1549175 h 2784234"/>
              <a:gd name="connsiteX278" fmla="*/ 1628065 w 2846793"/>
              <a:gd name="connsiteY278" fmla="*/ 1512349 h 2784234"/>
              <a:gd name="connsiteX279" fmla="*/ 1535989 w 2846793"/>
              <a:gd name="connsiteY279" fmla="*/ 1521260 h 2784234"/>
              <a:gd name="connsiteX280" fmla="*/ 1469528 w 2846793"/>
              <a:gd name="connsiteY280" fmla="*/ 1574624 h 2784234"/>
              <a:gd name="connsiteX281" fmla="*/ 1448100 w 2846793"/>
              <a:gd name="connsiteY281" fmla="*/ 1608280 h 2784234"/>
              <a:gd name="connsiteX282" fmla="*/ 1425946 w 2846793"/>
              <a:gd name="connsiteY282" fmla="*/ 1663384 h 2784234"/>
              <a:gd name="connsiteX283" fmla="*/ 1406527 w 2846793"/>
              <a:gd name="connsiteY283" fmla="*/ 1760351 h 2784234"/>
              <a:gd name="connsiteX284" fmla="*/ 1422215 w 2846793"/>
              <a:gd name="connsiteY284" fmla="*/ 1829693 h 2784234"/>
              <a:gd name="connsiteX285" fmla="*/ 1452866 w 2846793"/>
              <a:gd name="connsiteY285" fmla="*/ 1880115 h 2784234"/>
              <a:gd name="connsiteX286" fmla="*/ 1472139 w 2846793"/>
              <a:gd name="connsiteY286" fmla="*/ 1939737 h 2784234"/>
              <a:gd name="connsiteX287" fmla="*/ 1476885 w 2846793"/>
              <a:gd name="connsiteY287" fmla="*/ 1996769 h 2784234"/>
              <a:gd name="connsiteX288" fmla="*/ 1459332 w 2846793"/>
              <a:gd name="connsiteY288" fmla="*/ 2060205 h 2784234"/>
              <a:gd name="connsiteX289" fmla="*/ 1462212 w 2846793"/>
              <a:gd name="connsiteY289" fmla="*/ 2092430 h 2784234"/>
              <a:gd name="connsiteX290" fmla="*/ 1501339 w 2846793"/>
              <a:gd name="connsiteY290" fmla="*/ 2073157 h 2784234"/>
              <a:gd name="connsiteX291" fmla="*/ 1597083 w 2846793"/>
              <a:gd name="connsiteY291" fmla="*/ 2002592 h 2784234"/>
              <a:gd name="connsiteX292" fmla="*/ 1667586 w 2846793"/>
              <a:gd name="connsiteY292" fmla="*/ 1957705 h 2784234"/>
              <a:gd name="connsiteX293" fmla="*/ 1726856 w 2846793"/>
              <a:gd name="connsiteY293" fmla="*/ 1927987 h 2784234"/>
              <a:gd name="connsiteX294" fmla="*/ 1753258 w 2846793"/>
              <a:gd name="connsiteY294" fmla="*/ 1933520 h 2784234"/>
              <a:gd name="connsiteX295" fmla="*/ 1781816 w 2846793"/>
              <a:gd name="connsiteY295" fmla="*/ 1986034 h 2784234"/>
              <a:gd name="connsiteX296" fmla="*/ 1823616 w 2846793"/>
              <a:gd name="connsiteY296" fmla="*/ 2024809 h 2784234"/>
              <a:gd name="connsiteX297" fmla="*/ 1853044 w 2846793"/>
              <a:gd name="connsiteY297" fmla="*/ 2039129 h 2784234"/>
              <a:gd name="connsiteX298" fmla="*/ 1845417 w 2846793"/>
              <a:gd name="connsiteY298" fmla="*/ 2056392 h 2784234"/>
              <a:gd name="connsiteX299" fmla="*/ 1802685 w 2846793"/>
              <a:gd name="connsiteY299" fmla="*/ 2090420 h 2784234"/>
              <a:gd name="connsiteX300" fmla="*/ 1764283 w 2846793"/>
              <a:gd name="connsiteY300" fmla="*/ 2152281 h 2784234"/>
              <a:gd name="connsiteX301" fmla="*/ 1702132 w 2846793"/>
              <a:gd name="connsiteY301" fmla="*/ 2291753 h 2784234"/>
              <a:gd name="connsiteX302" fmla="*/ 1672207 w 2846793"/>
              <a:gd name="connsiteY302" fmla="*/ 2356639 h 2784234"/>
              <a:gd name="connsiteX303" fmla="*/ 1654654 w 2846793"/>
              <a:gd name="connsiteY303" fmla="*/ 2363043 h 2784234"/>
              <a:gd name="connsiteX304" fmla="*/ 1613082 w 2846793"/>
              <a:gd name="connsiteY304" fmla="*/ 2345054 h 2784234"/>
              <a:gd name="connsiteX305" fmla="*/ 1559925 w 2846793"/>
              <a:gd name="connsiteY305" fmla="*/ 2330174 h 2784234"/>
              <a:gd name="connsiteX306" fmla="*/ 1518498 w 2846793"/>
              <a:gd name="connsiteY306" fmla="*/ 2333345 h 2784234"/>
              <a:gd name="connsiteX307" fmla="*/ 1485112 w 2846793"/>
              <a:gd name="connsiteY307" fmla="*/ 2345075 h 2784234"/>
              <a:gd name="connsiteX308" fmla="*/ 1462813 w 2846793"/>
              <a:gd name="connsiteY308" fmla="*/ 2341759 h 2784234"/>
              <a:gd name="connsiteX309" fmla="*/ 1462523 w 2846793"/>
              <a:gd name="connsiteY309" fmla="*/ 2316435 h 2784234"/>
              <a:gd name="connsiteX310" fmla="*/ 1514022 w 2846793"/>
              <a:gd name="connsiteY310" fmla="*/ 2230907 h 2784234"/>
              <a:gd name="connsiteX311" fmla="*/ 1633868 w 2846793"/>
              <a:gd name="connsiteY311" fmla="*/ 2086462 h 2784234"/>
              <a:gd name="connsiteX312" fmla="*/ 1761050 w 2846793"/>
              <a:gd name="connsiteY312" fmla="*/ 2009494 h 2784234"/>
              <a:gd name="connsiteX313" fmla="*/ 1835718 w 2846793"/>
              <a:gd name="connsiteY313" fmla="*/ 2007773 h 2784234"/>
              <a:gd name="connsiteX314" fmla="*/ 1915422 w 2846793"/>
              <a:gd name="connsiteY314" fmla="*/ 2040579 h 2784234"/>
              <a:gd name="connsiteX315" fmla="*/ 1956414 w 2846793"/>
              <a:gd name="connsiteY315" fmla="*/ 2094378 h 2784234"/>
              <a:gd name="connsiteX316" fmla="*/ 1981593 w 2846793"/>
              <a:gd name="connsiteY316" fmla="*/ 2161420 h 2784234"/>
              <a:gd name="connsiteX317" fmla="*/ 1998421 w 2846793"/>
              <a:gd name="connsiteY317" fmla="*/ 2191781 h 2784234"/>
              <a:gd name="connsiteX318" fmla="*/ 2004473 w 2846793"/>
              <a:gd name="connsiteY318" fmla="*/ 2185874 h 2784234"/>
              <a:gd name="connsiteX319" fmla="*/ 1997717 w 2846793"/>
              <a:gd name="connsiteY319" fmla="*/ 2138106 h 2784234"/>
              <a:gd name="connsiteX320" fmla="*/ 1965781 w 2846793"/>
              <a:gd name="connsiteY320" fmla="*/ 2073364 h 2784234"/>
              <a:gd name="connsiteX321" fmla="*/ 1892688 w 2846793"/>
              <a:gd name="connsiteY321" fmla="*/ 2059127 h 2784234"/>
              <a:gd name="connsiteX322" fmla="*/ 1816155 w 2846793"/>
              <a:gd name="connsiteY322" fmla="*/ 2115517 h 2784234"/>
              <a:gd name="connsiteX323" fmla="*/ 1767682 w 2846793"/>
              <a:gd name="connsiteY323" fmla="*/ 2216504 h 2784234"/>
              <a:gd name="connsiteX324" fmla="*/ 1756740 w 2846793"/>
              <a:gd name="connsiteY324" fmla="*/ 2315771 h 2784234"/>
              <a:gd name="connsiteX325" fmla="*/ 1733280 w 2846793"/>
              <a:gd name="connsiteY325" fmla="*/ 2398211 h 2784234"/>
              <a:gd name="connsiteX326" fmla="*/ 1632148 w 2846793"/>
              <a:gd name="connsiteY326" fmla="*/ 2384554 h 2784234"/>
              <a:gd name="connsiteX327" fmla="*/ 1539637 w 2846793"/>
              <a:gd name="connsiteY327" fmla="*/ 2352183 h 2784234"/>
              <a:gd name="connsiteX328" fmla="*/ 1522519 w 2846793"/>
              <a:gd name="connsiteY328" fmla="*/ 2359229 h 2784234"/>
              <a:gd name="connsiteX329" fmla="*/ 1543947 w 2846793"/>
              <a:gd name="connsiteY329" fmla="*/ 2385549 h 2784234"/>
              <a:gd name="connsiteX330" fmla="*/ 1564381 w 2846793"/>
              <a:gd name="connsiteY330" fmla="*/ 2430727 h 2784234"/>
              <a:gd name="connsiteX331" fmla="*/ 1559200 w 2846793"/>
              <a:gd name="connsiteY331" fmla="*/ 2486412 h 2784234"/>
              <a:gd name="connsiteX332" fmla="*/ 1529710 w 2846793"/>
              <a:gd name="connsiteY332" fmla="*/ 2562364 h 2784234"/>
              <a:gd name="connsiteX333" fmla="*/ 1544963 w 2846793"/>
              <a:gd name="connsiteY333" fmla="*/ 2634587 h 2784234"/>
              <a:gd name="connsiteX334" fmla="*/ 1609124 w 2846793"/>
              <a:gd name="connsiteY334" fmla="*/ 2669984 h 2784234"/>
              <a:gd name="connsiteX335" fmla="*/ 1709821 w 2846793"/>
              <a:gd name="connsiteY335" fmla="*/ 2685526 h 2784234"/>
              <a:gd name="connsiteX336" fmla="*/ 1825481 w 2846793"/>
              <a:gd name="connsiteY336" fmla="*/ 2710706 h 2784234"/>
              <a:gd name="connsiteX337" fmla="*/ 1849666 w 2846793"/>
              <a:gd name="connsiteY337" fmla="*/ 2737274 h 2784234"/>
              <a:gd name="connsiteX338" fmla="*/ 1827284 w 2846793"/>
              <a:gd name="connsiteY338" fmla="*/ 2775385 h 2784234"/>
              <a:gd name="connsiteX339" fmla="*/ 1859468 w 2846793"/>
              <a:gd name="connsiteY339" fmla="*/ 2784130 h 2784234"/>
              <a:gd name="connsiteX340" fmla="*/ 2089565 w 2846793"/>
              <a:gd name="connsiteY340" fmla="*/ 2784130 h 2784234"/>
              <a:gd name="connsiteX341" fmla="*/ 2566897 w 2846793"/>
              <a:gd name="connsiteY341" fmla="*/ 2782162 h 2784234"/>
              <a:gd name="connsiteX342" fmla="*/ 2687966 w 2846793"/>
              <a:gd name="connsiteY342" fmla="*/ 2759884 h 2784234"/>
              <a:gd name="connsiteX343" fmla="*/ 2680464 w 2846793"/>
              <a:gd name="connsiteY343" fmla="*/ 2692303 h 2784234"/>
              <a:gd name="connsiteX344" fmla="*/ 2633566 w 2846793"/>
              <a:gd name="connsiteY344" fmla="*/ 2631872 h 2784234"/>
              <a:gd name="connsiteX345" fmla="*/ 2492291 w 2846793"/>
              <a:gd name="connsiteY345" fmla="*/ 2565701 h 2784234"/>
              <a:gd name="connsiteX346" fmla="*/ 2424110 w 2846793"/>
              <a:gd name="connsiteY346" fmla="*/ 2476651 h 2784234"/>
              <a:gd name="connsiteX347" fmla="*/ 2465247 w 2846793"/>
              <a:gd name="connsiteY347" fmla="*/ 2186330 h 2784234"/>
              <a:gd name="connsiteX348" fmla="*/ 2494592 w 2846793"/>
              <a:gd name="connsiteY348" fmla="*/ 1978159 h 2784234"/>
              <a:gd name="connsiteX349" fmla="*/ 2532289 w 2846793"/>
              <a:gd name="connsiteY349" fmla="*/ 1883202 h 2784234"/>
              <a:gd name="connsiteX350" fmla="*/ 2600200 w 2846793"/>
              <a:gd name="connsiteY350" fmla="*/ 1837175 h 2784234"/>
              <a:gd name="connsiteX351" fmla="*/ 2643928 w 2846793"/>
              <a:gd name="connsiteY351" fmla="*/ 1758051 h 2784234"/>
              <a:gd name="connsiteX352" fmla="*/ 2671553 w 2846793"/>
              <a:gd name="connsiteY352" fmla="*/ 1632029 h 2784234"/>
              <a:gd name="connsiteX353" fmla="*/ 2694577 w 2846793"/>
              <a:gd name="connsiteY353" fmla="*/ 1561817 h 2784234"/>
              <a:gd name="connsiteX354" fmla="*/ 2707239 w 2846793"/>
              <a:gd name="connsiteY354" fmla="*/ 1548305 h 2784234"/>
              <a:gd name="connsiteX355" fmla="*/ 2696877 w 2846793"/>
              <a:gd name="connsiteY355" fmla="*/ 1616217 h 2784234"/>
              <a:gd name="connsiteX356" fmla="*/ 2656300 w 2846793"/>
              <a:gd name="connsiteY356" fmla="*/ 1792308 h 2784234"/>
              <a:gd name="connsiteX357" fmla="*/ 2576306 w 2846793"/>
              <a:gd name="connsiteY357" fmla="*/ 1905377 h 2784234"/>
              <a:gd name="connsiteX358" fmla="*/ 2484810 w 2846793"/>
              <a:gd name="connsiteY358" fmla="*/ 1918329 h 2784234"/>
              <a:gd name="connsiteX359" fmla="*/ 2405251 w 2846793"/>
              <a:gd name="connsiteY359" fmla="*/ 1822813 h 2784234"/>
              <a:gd name="connsiteX360" fmla="*/ 2384113 w 2846793"/>
              <a:gd name="connsiteY360" fmla="*/ 1673912 h 2784234"/>
              <a:gd name="connsiteX361" fmla="*/ 2378642 w 2846793"/>
              <a:gd name="connsiteY361" fmla="*/ 1541984 h 2784234"/>
              <a:gd name="connsiteX362" fmla="*/ 2373751 w 2846793"/>
              <a:gd name="connsiteY362" fmla="*/ 1415527 h 2784234"/>
              <a:gd name="connsiteX363" fmla="*/ 2347141 w 2846793"/>
              <a:gd name="connsiteY363" fmla="*/ 1246918 h 2784234"/>
              <a:gd name="connsiteX364" fmla="*/ 2334769 w 2846793"/>
              <a:gd name="connsiteY364" fmla="*/ 1142615 h 2784234"/>
              <a:gd name="connsiteX365" fmla="*/ 2329153 w 2846793"/>
              <a:gd name="connsiteY365" fmla="*/ 1065211 h 2784234"/>
              <a:gd name="connsiteX366" fmla="*/ 2304554 w 2846793"/>
              <a:gd name="connsiteY366" fmla="*/ 939335 h 2784234"/>
              <a:gd name="connsiteX367" fmla="*/ 2256641 w 2846793"/>
              <a:gd name="connsiteY367" fmla="*/ 796630 h 2784234"/>
              <a:gd name="connsiteX368" fmla="*/ 2230736 w 2846793"/>
              <a:gd name="connsiteY368" fmla="*/ 692327 h 2784234"/>
              <a:gd name="connsiteX369" fmla="*/ 2239502 w 2846793"/>
              <a:gd name="connsiteY369" fmla="*/ 643564 h 2784234"/>
              <a:gd name="connsiteX370" fmla="*/ 2294026 w 2846793"/>
              <a:gd name="connsiteY370" fmla="*/ 635647 h 2784234"/>
              <a:gd name="connsiteX371" fmla="*/ 2342789 w 2846793"/>
              <a:gd name="connsiteY371" fmla="*/ 621700 h 2784234"/>
              <a:gd name="connsiteX372" fmla="*/ 2378621 w 2846793"/>
              <a:gd name="connsiteY372" fmla="*/ 587174 h 2784234"/>
              <a:gd name="connsiteX373" fmla="*/ 2391283 w 2846793"/>
              <a:gd name="connsiteY373" fmla="*/ 534080 h 2784234"/>
              <a:gd name="connsiteX374" fmla="*/ 2374601 w 2846793"/>
              <a:gd name="connsiteY374" fmla="*/ 480426 h 2784234"/>
              <a:gd name="connsiteX375" fmla="*/ 2310004 w 2846793"/>
              <a:gd name="connsiteY375" fmla="*/ 360020 h 2784234"/>
              <a:gd name="connsiteX376" fmla="*/ 2266567 w 2846793"/>
              <a:gd name="connsiteY376" fmla="*/ 280171 h 2784234"/>
              <a:gd name="connsiteX377" fmla="*/ 2203691 w 2846793"/>
              <a:gd name="connsiteY377" fmla="*/ 213564 h 2784234"/>
              <a:gd name="connsiteX378" fmla="*/ 2153622 w 2846793"/>
              <a:gd name="connsiteY378" fmla="*/ 194291 h 2784234"/>
              <a:gd name="connsiteX379" fmla="*/ 2109315 w 2846793"/>
              <a:gd name="connsiteY379" fmla="*/ 218310 h 2784234"/>
              <a:gd name="connsiteX380" fmla="*/ 2085731 w 2846793"/>
              <a:gd name="connsiteY380" fmla="*/ 264214 h 2784234"/>
              <a:gd name="connsiteX381" fmla="*/ 2085006 w 2846793"/>
              <a:gd name="connsiteY381" fmla="*/ 308666 h 2784234"/>
              <a:gd name="connsiteX382" fmla="*/ 2107595 w 2846793"/>
              <a:gd name="connsiteY382" fmla="*/ 327794 h 2784234"/>
              <a:gd name="connsiteX383" fmla="*/ 2138245 w 2846793"/>
              <a:gd name="connsiteY383" fmla="*/ 329660 h 2784234"/>
              <a:gd name="connsiteX384" fmla="*/ 2151343 w 2846793"/>
              <a:gd name="connsiteY384" fmla="*/ 299299 h 2784234"/>
              <a:gd name="connsiteX385" fmla="*/ 2155508 w 2846793"/>
              <a:gd name="connsiteY385" fmla="*/ 263053 h 2784234"/>
              <a:gd name="connsiteX386" fmla="*/ 2173641 w 2846793"/>
              <a:gd name="connsiteY386" fmla="*/ 251261 h 2784234"/>
              <a:gd name="connsiteX387" fmla="*/ 2215068 w 2846793"/>
              <a:gd name="connsiteY387" fmla="*/ 262058 h 2784234"/>
              <a:gd name="connsiteX388" fmla="*/ 2248019 w 2846793"/>
              <a:gd name="connsiteY388" fmla="*/ 269975 h 2784234"/>
              <a:gd name="connsiteX389" fmla="*/ 2262257 w 2846793"/>
              <a:gd name="connsiteY389" fmla="*/ 259903 h 2784234"/>
              <a:gd name="connsiteX390" fmla="*/ 2259749 w 2846793"/>
              <a:gd name="connsiteY390" fmla="*/ 230993 h 2784234"/>
              <a:gd name="connsiteX391" fmla="*/ 2231337 w 2846793"/>
              <a:gd name="connsiteY391" fmla="*/ 190851 h 2784234"/>
              <a:gd name="connsiteX392" fmla="*/ 2181351 w 2846793"/>
              <a:gd name="connsiteY392" fmla="*/ 163309 h 2784234"/>
              <a:gd name="connsiteX393" fmla="*/ 2141354 w 2846793"/>
              <a:gd name="connsiteY393" fmla="*/ 157548 h 2784234"/>
              <a:gd name="connsiteX394" fmla="*/ 2113377 w 2846793"/>
              <a:gd name="connsiteY394" fmla="*/ 169485 h 2784234"/>
              <a:gd name="connsiteX395" fmla="*/ 2082726 w 2846793"/>
              <a:gd name="connsiteY395" fmla="*/ 176469 h 2784234"/>
              <a:gd name="connsiteX396" fmla="*/ 2031870 w 2846793"/>
              <a:gd name="connsiteY396" fmla="*/ 162086 h 2784234"/>
              <a:gd name="connsiteX397" fmla="*/ 1991955 w 2846793"/>
              <a:gd name="connsiteY397" fmla="*/ 137280 h 2784234"/>
              <a:gd name="connsiteX398" fmla="*/ 1950528 w 2846793"/>
              <a:gd name="connsiteY398" fmla="*/ 77222 h 2784234"/>
              <a:gd name="connsiteX399" fmla="*/ 1938737 w 2846793"/>
              <a:gd name="connsiteY399" fmla="*/ 27008 h 2784234"/>
              <a:gd name="connsiteX400" fmla="*/ 1947669 w 2846793"/>
              <a:gd name="connsiteY400" fmla="*/ 1725 h 2784234"/>
              <a:gd name="connsiteX401" fmla="*/ 1970755 w 2846793"/>
              <a:gd name="connsiteY401" fmla="*/ 8461 h 2784234"/>
              <a:gd name="connsiteX402" fmla="*/ 2009260 w 2846793"/>
              <a:gd name="connsiteY402" fmla="*/ 49494 h 2784234"/>
              <a:gd name="connsiteX403" fmla="*/ 2058292 w 2846793"/>
              <a:gd name="connsiteY403" fmla="*/ 104412 h 2784234"/>
              <a:gd name="connsiteX404" fmla="*/ 2093544 w 2846793"/>
              <a:gd name="connsiteY404" fmla="*/ 149010 h 2784234"/>
              <a:gd name="connsiteX405" fmla="*/ 2084487 w 2846793"/>
              <a:gd name="connsiteY405" fmla="*/ 165837 h 2784234"/>
              <a:gd name="connsiteX406" fmla="*/ 2039599 w 2846793"/>
              <a:gd name="connsiteY406" fmla="*/ 172593 h 2784234"/>
              <a:gd name="connsiteX407" fmla="*/ 2028657 w 2846793"/>
              <a:gd name="connsiteY407" fmla="*/ 186976 h 2784234"/>
              <a:gd name="connsiteX408" fmla="*/ 2037424 w 2846793"/>
              <a:gd name="connsiteY408" fmla="*/ 210435 h 2784234"/>
              <a:gd name="connsiteX409" fmla="*/ 2052531 w 2846793"/>
              <a:gd name="connsiteY409" fmla="*/ 240360 h 2784234"/>
              <a:gd name="connsiteX410" fmla="*/ 2063183 w 2846793"/>
              <a:gd name="connsiteY410" fmla="*/ 276606 h 2784234"/>
              <a:gd name="connsiteX411" fmla="*/ 2061173 w 2846793"/>
              <a:gd name="connsiteY411" fmla="*/ 308832 h 2784234"/>
              <a:gd name="connsiteX412" fmla="*/ 2047226 w 2846793"/>
              <a:gd name="connsiteY412" fmla="*/ 318324 h 2784234"/>
              <a:gd name="connsiteX413" fmla="*/ 2037009 w 2846793"/>
              <a:gd name="connsiteY413" fmla="*/ 303216 h 2784234"/>
              <a:gd name="connsiteX414" fmla="*/ 2039890 w 2846793"/>
              <a:gd name="connsiteY414" fmla="*/ 281932 h 2784234"/>
              <a:gd name="connsiteX415" fmla="*/ 2037589 w 2846793"/>
              <a:gd name="connsiteY415" fmla="*/ 253168 h 2784234"/>
              <a:gd name="connsiteX416" fmla="*/ 2017301 w 2846793"/>
              <a:gd name="connsiteY416" fmla="*/ 238640 h 2784234"/>
              <a:gd name="connsiteX417" fmla="*/ 1980039 w 2846793"/>
              <a:gd name="connsiteY417" fmla="*/ 250142 h 2784234"/>
              <a:gd name="connsiteX418" fmla="*/ 1965367 w 2846793"/>
              <a:gd name="connsiteY418" fmla="*/ 281207 h 2784234"/>
              <a:gd name="connsiteX419" fmla="*/ 1979604 w 2846793"/>
              <a:gd name="connsiteY419" fmla="*/ 326820 h 2784234"/>
              <a:gd name="connsiteX420" fmla="*/ 2042625 w 2846793"/>
              <a:gd name="connsiteY420" fmla="*/ 396598 h 2784234"/>
              <a:gd name="connsiteX421" fmla="*/ 2145208 w 2846793"/>
              <a:gd name="connsiteY421" fmla="*/ 455288 h 2784234"/>
              <a:gd name="connsiteX422" fmla="*/ 2223752 w 2846793"/>
              <a:gd name="connsiteY422" fmla="*/ 542183 h 2784234"/>
              <a:gd name="connsiteX423" fmla="*/ 2264889 w 2846793"/>
              <a:gd name="connsiteY423" fmla="*/ 604624 h 2784234"/>
              <a:gd name="connsiteX424" fmla="*/ 2331640 w 2846793"/>
              <a:gd name="connsiteY424" fmla="*/ 595132 h 2784234"/>
              <a:gd name="connsiteX425" fmla="*/ 2408753 w 2846793"/>
              <a:gd name="connsiteY425" fmla="*/ 561746 h 2784234"/>
              <a:gd name="connsiteX426" fmla="*/ 2486157 w 2846793"/>
              <a:gd name="connsiteY426" fmla="*/ 631088 h 2784234"/>
              <a:gd name="connsiteX427" fmla="*/ 2597797 w 2846793"/>
              <a:gd name="connsiteY427" fmla="*/ 831052 h 2784234"/>
              <a:gd name="connsiteX428" fmla="*/ 2689292 w 2846793"/>
              <a:gd name="connsiteY428" fmla="*/ 1008013 h 2784234"/>
              <a:gd name="connsiteX429" fmla="*/ 2728999 w 2846793"/>
              <a:gd name="connsiteY429" fmla="*/ 1141081 h 2784234"/>
              <a:gd name="connsiteX430" fmla="*/ 2722098 w 2846793"/>
              <a:gd name="connsiteY430" fmla="*/ 1265963 h 2784234"/>
              <a:gd name="connsiteX431" fmla="*/ 2726409 w 2846793"/>
              <a:gd name="connsiteY431" fmla="*/ 1370556 h 2784234"/>
              <a:gd name="connsiteX432" fmla="*/ 2748998 w 2846793"/>
              <a:gd name="connsiteY432" fmla="*/ 1502194 h 2784234"/>
              <a:gd name="connsiteX433" fmla="*/ 2793596 w 2846793"/>
              <a:gd name="connsiteY433" fmla="*/ 1683756 h 2784234"/>
              <a:gd name="connsiteX434" fmla="*/ 2841924 w 2846793"/>
              <a:gd name="connsiteY434" fmla="*/ 1899699 h 2784234"/>
              <a:gd name="connsiteX435" fmla="*/ 2835872 w 2846793"/>
              <a:gd name="connsiteY435" fmla="*/ 2160094 h 2784234"/>
              <a:gd name="connsiteX436" fmla="*/ 2789119 w 2846793"/>
              <a:gd name="connsiteY436" fmla="*/ 2458476 h 2784234"/>
              <a:gd name="connsiteX437" fmla="*/ 2737620 w 2846793"/>
              <a:gd name="connsiteY437" fmla="*/ 2693547 h 2784234"/>
              <a:gd name="connsiteX438" fmla="*/ 2657626 w 2846793"/>
              <a:gd name="connsiteY438" fmla="*/ 2723762 h 2784234"/>
              <a:gd name="connsiteX439" fmla="*/ 2479816 w 2846793"/>
              <a:gd name="connsiteY439" fmla="*/ 2656720 h 2784234"/>
              <a:gd name="connsiteX440" fmla="*/ 2254237 w 2846793"/>
              <a:gd name="connsiteY440" fmla="*/ 2611832 h 2784234"/>
              <a:gd name="connsiteX441" fmla="*/ 2082166 w 2846793"/>
              <a:gd name="connsiteY441" fmla="*/ 2636287 h 2784234"/>
              <a:gd name="connsiteX442" fmla="*/ 1994401 w 2846793"/>
              <a:gd name="connsiteY442" fmla="*/ 2663621 h 2784234"/>
              <a:gd name="connsiteX443" fmla="*/ 1965346 w 2846793"/>
              <a:gd name="connsiteY443" fmla="*/ 2610382 h 2784234"/>
              <a:gd name="connsiteX444" fmla="*/ 1972537 w 2846793"/>
              <a:gd name="connsiteY444" fmla="*/ 2529538 h 2784234"/>
              <a:gd name="connsiteX445" fmla="*/ 2001302 w 2846793"/>
              <a:gd name="connsiteY445" fmla="*/ 2410127 h 2784234"/>
              <a:gd name="connsiteX446" fmla="*/ 2065173 w 2846793"/>
              <a:gd name="connsiteY446" fmla="*/ 2234762 h 2784234"/>
              <a:gd name="connsiteX447" fmla="*/ 2185164 w 2846793"/>
              <a:gd name="connsiteY447" fmla="*/ 1982428 h 2784234"/>
              <a:gd name="connsiteX448" fmla="*/ 2272639 w 2846793"/>
              <a:gd name="connsiteY448" fmla="*/ 1790940 h 2784234"/>
              <a:gd name="connsiteX449" fmla="*/ 2341691 w 2846793"/>
              <a:gd name="connsiteY449" fmla="*/ 1698284 h 2784234"/>
              <a:gd name="connsiteX450" fmla="*/ 2369026 w 2846793"/>
              <a:gd name="connsiteY450" fmla="*/ 1632962 h 2784234"/>
              <a:gd name="connsiteX451" fmla="*/ 2351473 w 2846793"/>
              <a:gd name="connsiteY451" fmla="*/ 1607927 h 2784234"/>
              <a:gd name="connsiteX452" fmla="*/ 2270774 w 2846793"/>
              <a:gd name="connsiteY452" fmla="*/ 1653541 h 2784234"/>
              <a:gd name="connsiteX453" fmla="*/ 2210343 w 2846793"/>
              <a:gd name="connsiteY453" fmla="*/ 1626206 h 2784234"/>
              <a:gd name="connsiteX454" fmla="*/ 2164585 w 2846793"/>
              <a:gd name="connsiteY454" fmla="*/ 1571972 h 2784234"/>
              <a:gd name="connsiteX455" fmla="*/ 2149623 w 2846793"/>
              <a:gd name="connsiteY455" fmla="*/ 1525364 h 2784234"/>
              <a:gd name="connsiteX456" fmla="*/ 2171776 w 2846793"/>
              <a:gd name="connsiteY456" fmla="*/ 1480476 h 2784234"/>
              <a:gd name="connsiteX457" fmla="*/ 2219690 w 2846793"/>
              <a:gd name="connsiteY457" fmla="*/ 1471710 h 2784234"/>
              <a:gd name="connsiteX458" fmla="*/ 2304575 w 2846793"/>
              <a:gd name="connsiteY458" fmla="*/ 1491128 h 2784234"/>
              <a:gd name="connsiteX459" fmla="*/ 2357939 w 2846793"/>
              <a:gd name="connsiteY459" fmla="*/ 1495148 h 2784234"/>
              <a:gd name="connsiteX460" fmla="*/ 2365130 w 2846793"/>
              <a:gd name="connsiteY460" fmla="*/ 1468539 h 2784234"/>
              <a:gd name="connsiteX461" fmla="*/ 2343411 w 2846793"/>
              <a:gd name="connsiteY461" fmla="*/ 1383509 h 2784234"/>
              <a:gd name="connsiteX462" fmla="*/ 2328594 w 2846793"/>
              <a:gd name="connsiteY462" fmla="*/ 1282957 h 2784234"/>
              <a:gd name="connsiteX463" fmla="*/ 2324428 w 2846793"/>
              <a:gd name="connsiteY463" fmla="*/ 1207999 h 2784234"/>
              <a:gd name="connsiteX464" fmla="*/ 2305735 w 2846793"/>
              <a:gd name="connsiteY464" fmla="*/ 1175628 h 2784234"/>
              <a:gd name="connsiteX465" fmla="*/ 2240559 w 2846793"/>
              <a:gd name="connsiteY465" fmla="*/ 1175918 h 2784234"/>
              <a:gd name="connsiteX466" fmla="*/ 2155964 w 2846793"/>
              <a:gd name="connsiteY466" fmla="*/ 1209574 h 2784234"/>
              <a:gd name="connsiteX467" fmla="*/ 2105750 w 2846793"/>
              <a:gd name="connsiteY467" fmla="*/ 1260223 h 2784234"/>
              <a:gd name="connsiteX468" fmla="*/ 2085171 w 2846793"/>
              <a:gd name="connsiteY468" fmla="*/ 1297774 h 2784234"/>
              <a:gd name="connsiteX469" fmla="*/ 2074664 w 2846793"/>
              <a:gd name="connsiteY469" fmla="*/ 1286977 h 2784234"/>
              <a:gd name="connsiteX470" fmla="*/ 2069918 w 2846793"/>
              <a:gd name="connsiteY470" fmla="*/ 1234028 h 2784234"/>
              <a:gd name="connsiteX471" fmla="*/ 2108050 w 2846793"/>
              <a:gd name="connsiteY471" fmla="*/ 1171587 h 2784234"/>
              <a:gd name="connsiteX472" fmla="*/ 2189910 w 2846793"/>
              <a:gd name="connsiteY472" fmla="*/ 1136045 h 2784234"/>
              <a:gd name="connsiteX473" fmla="*/ 2269759 w 2846793"/>
              <a:gd name="connsiteY473" fmla="*/ 1132294 h 2784234"/>
              <a:gd name="connsiteX474" fmla="*/ 2308450 w 2846793"/>
              <a:gd name="connsiteY474" fmla="*/ 1125683 h 2784234"/>
              <a:gd name="connsiteX475" fmla="*/ 2307290 w 2846793"/>
              <a:gd name="connsiteY475" fmla="*/ 1074765 h 2784234"/>
              <a:gd name="connsiteX476" fmla="*/ 2297653 w 2846793"/>
              <a:gd name="connsiteY476" fmla="*/ 1036778 h 2784234"/>
              <a:gd name="connsiteX477" fmla="*/ 2262982 w 2846793"/>
              <a:gd name="connsiteY477" fmla="*/ 1022831 h 2784234"/>
              <a:gd name="connsiteX478" fmla="*/ 2194655 w 2846793"/>
              <a:gd name="connsiteY478" fmla="*/ 1035493 h 2784234"/>
              <a:gd name="connsiteX479" fmla="*/ 2144296 w 2846793"/>
              <a:gd name="connsiteY479" fmla="*/ 1081811 h 2784234"/>
              <a:gd name="connsiteX480" fmla="*/ 2106310 w 2846793"/>
              <a:gd name="connsiteY480" fmla="*/ 1120088 h 2784234"/>
              <a:gd name="connsiteX481" fmla="*/ 2043434 w 2846793"/>
              <a:gd name="connsiteY481" fmla="*/ 1152894 h 2784234"/>
              <a:gd name="connsiteX482" fmla="*/ 1998401 w 2846793"/>
              <a:gd name="connsiteY482" fmla="*/ 1194756 h 2784234"/>
              <a:gd name="connsiteX483" fmla="*/ 1991645 w 2846793"/>
              <a:gd name="connsiteY483" fmla="*/ 1239354 h 2784234"/>
              <a:gd name="connsiteX484" fmla="*/ 2014669 w 2846793"/>
              <a:gd name="connsiteY484" fmla="*/ 1279351 h 2784234"/>
              <a:gd name="connsiteX485" fmla="*/ 2051350 w 2846793"/>
              <a:gd name="connsiteY485" fmla="*/ 1309566 h 2784234"/>
              <a:gd name="connsiteX486" fmla="*/ 2064157 w 2846793"/>
              <a:gd name="connsiteY486" fmla="*/ 1331865 h 2784234"/>
              <a:gd name="connsiteX487" fmla="*/ 2053505 w 2846793"/>
              <a:gd name="connsiteY487" fmla="*/ 1376173 h 2784234"/>
              <a:gd name="connsiteX488" fmla="*/ 2057671 w 2846793"/>
              <a:gd name="connsiteY488" fmla="*/ 1437598 h 2784234"/>
              <a:gd name="connsiteX489" fmla="*/ 2084715 w 2846793"/>
              <a:gd name="connsiteY489" fmla="*/ 1526939 h 2784234"/>
              <a:gd name="connsiteX490" fmla="*/ 2142556 w 2846793"/>
              <a:gd name="connsiteY490" fmla="*/ 1590374 h 2784234"/>
              <a:gd name="connsiteX491" fmla="*/ 2188583 w 2846793"/>
              <a:gd name="connsiteY491" fmla="*/ 1652525 h 2784234"/>
              <a:gd name="connsiteX492" fmla="*/ 2211753 w 2846793"/>
              <a:gd name="connsiteY492" fmla="*/ 1709350 h 2784234"/>
              <a:gd name="connsiteX493" fmla="*/ 2213038 w 2846793"/>
              <a:gd name="connsiteY493" fmla="*/ 1751502 h 2784234"/>
              <a:gd name="connsiteX494" fmla="*/ 2193619 w 2846793"/>
              <a:gd name="connsiteY494" fmla="*/ 1786463 h 2784234"/>
              <a:gd name="connsiteX495" fmla="*/ 2145416 w 2846793"/>
              <a:gd name="connsiteY495" fmla="*/ 1826170 h 2784234"/>
              <a:gd name="connsiteX496" fmla="*/ 2094062 w 2846793"/>
              <a:gd name="connsiteY496" fmla="*/ 1865877 h 2784234"/>
              <a:gd name="connsiteX497" fmla="*/ 2067452 w 2846793"/>
              <a:gd name="connsiteY497" fmla="*/ 1897668 h 2784234"/>
              <a:gd name="connsiteX498" fmla="*/ 2076654 w 2846793"/>
              <a:gd name="connsiteY498" fmla="*/ 1913791 h 2784234"/>
              <a:gd name="connsiteX499" fmla="*/ 2097668 w 2846793"/>
              <a:gd name="connsiteY499" fmla="*/ 1937955 h 2784234"/>
              <a:gd name="connsiteX500" fmla="*/ 2095077 w 2846793"/>
              <a:gd name="connsiteY500" fmla="*/ 2004416 h 2784234"/>
              <a:gd name="connsiteX501" fmla="*/ 2059391 w 2846793"/>
              <a:gd name="connsiteY501" fmla="*/ 2109155 h 2784234"/>
              <a:gd name="connsiteX502" fmla="*/ 1969325 w 2846793"/>
              <a:gd name="connsiteY502" fmla="*/ 2331853 h 2784234"/>
              <a:gd name="connsiteX503" fmla="*/ 1904584 w 2846793"/>
              <a:gd name="connsiteY503" fmla="*/ 2574405 h 2784234"/>
              <a:gd name="connsiteX504" fmla="*/ 1892502 w 2846793"/>
              <a:gd name="connsiteY504" fmla="*/ 2764443 h 2784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Lst>
            <a:rect l="l" t="t" r="r" b="b"/>
            <a:pathLst>
              <a:path w="2846793" h="2784234">
                <a:moveTo>
                  <a:pt x="1241953" y="2360975"/>
                </a:moveTo>
                <a:cubicBezTo>
                  <a:pt x="1249869" y="2349474"/>
                  <a:pt x="1229759" y="2311333"/>
                  <a:pt x="1209568" y="2270448"/>
                </a:cubicBezTo>
                <a:cubicBezTo>
                  <a:pt x="1189377" y="2229563"/>
                  <a:pt x="1156059" y="2177377"/>
                  <a:pt x="1120808" y="2115662"/>
                </a:cubicBezTo>
                <a:cubicBezTo>
                  <a:pt x="1085556" y="2053946"/>
                  <a:pt x="1052191" y="1990635"/>
                  <a:pt x="1030182" y="1957124"/>
                </a:cubicBezTo>
                <a:cubicBezTo>
                  <a:pt x="1008174" y="1923614"/>
                  <a:pt x="997522" y="1919863"/>
                  <a:pt x="963576" y="1924173"/>
                </a:cubicBezTo>
                <a:cubicBezTo>
                  <a:pt x="929630" y="1928484"/>
                  <a:pt x="872370" y="1940856"/>
                  <a:pt x="805764" y="1954244"/>
                </a:cubicBezTo>
                <a:cubicBezTo>
                  <a:pt x="739157" y="1967631"/>
                  <a:pt x="663204" y="1982014"/>
                  <a:pt x="604929" y="1989060"/>
                </a:cubicBezTo>
                <a:cubicBezTo>
                  <a:pt x="546674" y="1996106"/>
                  <a:pt x="506097" y="1995816"/>
                  <a:pt x="477332" y="1993661"/>
                </a:cubicBezTo>
                <a:cubicBezTo>
                  <a:pt x="448567" y="1991505"/>
                  <a:pt x="431574" y="1987464"/>
                  <a:pt x="361672" y="2000852"/>
                </a:cubicBezTo>
                <a:cubicBezTo>
                  <a:pt x="291750" y="2014239"/>
                  <a:pt x="168899" y="2045014"/>
                  <a:pt x="98687" y="2062567"/>
                </a:cubicBezTo>
                <a:cubicBezTo>
                  <a:pt x="28474" y="2080120"/>
                  <a:pt x="10921" y="2084431"/>
                  <a:pt x="3316" y="2090047"/>
                </a:cubicBezTo>
                <a:cubicBezTo>
                  <a:pt x="-4311" y="2095663"/>
                  <a:pt x="-2011" y="2102564"/>
                  <a:pt x="45468" y="2164135"/>
                </a:cubicBezTo>
                <a:cubicBezTo>
                  <a:pt x="92946" y="2225706"/>
                  <a:pt x="185582" y="2341946"/>
                  <a:pt x="243277" y="2417629"/>
                </a:cubicBezTo>
                <a:cubicBezTo>
                  <a:pt x="300972" y="2493292"/>
                  <a:pt x="323706" y="2528398"/>
                  <a:pt x="343270" y="2553723"/>
                </a:cubicBezTo>
                <a:cubicBezTo>
                  <a:pt x="362833" y="2579047"/>
                  <a:pt x="379225" y="2594569"/>
                  <a:pt x="396634" y="2608392"/>
                </a:cubicBezTo>
                <a:cubicBezTo>
                  <a:pt x="414041" y="2622194"/>
                  <a:pt x="432465" y="2634297"/>
                  <a:pt x="442102" y="2644348"/>
                </a:cubicBezTo>
                <a:cubicBezTo>
                  <a:pt x="451738" y="2654420"/>
                  <a:pt x="452609" y="2662482"/>
                  <a:pt x="450018" y="2670108"/>
                </a:cubicBezTo>
                <a:cubicBezTo>
                  <a:pt x="447428" y="2677734"/>
                  <a:pt x="441376" y="2684925"/>
                  <a:pt x="431180" y="2687516"/>
                </a:cubicBezTo>
                <a:cubicBezTo>
                  <a:pt x="420963" y="2690106"/>
                  <a:pt x="406581" y="2688096"/>
                  <a:pt x="385007" y="2665507"/>
                </a:cubicBezTo>
                <a:cubicBezTo>
                  <a:pt x="363434" y="2642918"/>
                  <a:pt x="334648" y="2599771"/>
                  <a:pt x="320266" y="2569991"/>
                </a:cubicBezTo>
                <a:cubicBezTo>
                  <a:pt x="305884" y="2540211"/>
                  <a:pt x="305884" y="2523818"/>
                  <a:pt x="307459" y="2513166"/>
                </a:cubicBezTo>
                <a:cubicBezTo>
                  <a:pt x="309034" y="2502514"/>
                  <a:pt x="312204" y="2497623"/>
                  <a:pt x="319396" y="2499923"/>
                </a:cubicBezTo>
                <a:cubicBezTo>
                  <a:pt x="326587" y="2502224"/>
                  <a:pt x="337819" y="2511715"/>
                  <a:pt x="348015" y="2524378"/>
                </a:cubicBezTo>
                <a:cubicBezTo>
                  <a:pt x="358232" y="2537040"/>
                  <a:pt x="367434" y="2552852"/>
                  <a:pt x="378086" y="2562364"/>
                </a:cubicBezTo>
                <a:cubicBezTo>
                  <a:pt x="388738" y="2571856"/>
                  <a:pt x="400820" y="2575027"/>
                  <a:pt x="409731" y="2581348"/>
                </a:cubicBezTo>
                <a:cubicBezTo>
                  <a:pt x="418642" y="2587668"/>
                  <a:pt x="424403" y="2597181"/>
                  <a:pt x="431740" y="2604372"/>
                </a:cubicBezTo>
                <a:cubicBezTo>
                  <a:pt x="439076" y="2611563"/>
                  <a:pt x="447987" y="2616454"/>
                  <a:pt x="455323" y="2623645"/>
                </a:cubicBezTo>
                <a:cubicBezTo>
                  <a:pt x="462660" y="2630836"/>
                  <a:pt x="468421" y="2640328"/>
                  <a:pt x="472006" y="2654005"/>
                </a:cubicBezTo>
                <a:cubicBezTo>
                  <a:pt x="475612" y="2667662"/>
                  <a:pt x="477042" y="2685506"/>
                  <a:pt x="483798" y="2705649"/>
                </a:cubicBezTo>
                <a:cubicBezTo>
                  <a:pt x="490554" y="2725793"/>
                  <a:pt x="502636" y="2748237"/>
                  <a:pt x="515029" y="2761707"/>
                </a:cubicBezTo>
                <a:cubicBezTo>
                  <a:pt x="527422" y="2775199"/>
                  <a:pt x="540105" y="2779716"/>
                  <a:pt x="593924" y="2781975"/>
                </a:cubicBezTo>
                <a:cubicBezTo>
                  <a:pt x="647744" y="2784234"/>
                  <a:pt x="742701" y="2784234"/>
                  <a:pt x="917921" y="2784234"/>
                </a:cubicBezTo>
                <a:lnTo>
                  <a:pt x="1481859" y="2784234"/>
                </a:lnTo>
                <a:cubicBezTo>
                  <a:pt x="1615071" y="2784234"/>
                  <a:pt x="1626014" y="2784234"/>
                  <a:pt x="1611175" y="2760402"/>
                </a:cubicBezTo>
                <a:cubicBezTo>
                  <a:pt x="1596337" y="2736569"/>
                  <a:pt x="1555739" y="2688884"/>
                  <a:pt x="1530415" y="2653819"/>
                </a:cubicBezTo>
                <a:cubicBezTo>
                  <a:pt x="1505069" y="2618754"/>
                  <a:pt x="1495018" y="2596310"/>
                  <a:pt x="1485506" y="2582508"/>
                </a:cubicBezTo>
                <a:cubicBezTo>
                  <a:pt x="1476014" y="2568706"/>
                  <a:pt x="1467083" y="2563525"/>
                  <a:pt x="1444639" y="2563380"/>
                </a:cubicBezTo>
                <a:cubicBezTo>
                  <a:pt x="1422195" y="2563235"/>
                  <a:pt x="1386239" y="2568126"/>
                  <a:pt x="1360914" y="2569701"/>
                </a:cubicBezTo>
                <a:cubicBezTo>
                  <a:pt x="1335590" y="2571276"/>
                  <a:pt x="1320917" y="2569556"/>
                  <a:pt x="1305374" y="2561204"/>
                </a:cubicBezTo>
                <a:cubicBezTo>
                  <a:pt x="1289832" y="2552852"/>
                  <a:pt x="1273439" y="2537890"/>
                  <a:pt x="1259906" y="2517187"/>
                </a:cubicBezTo>
                <a:cubicBezTo>
                  <a:pt x="1246374" y="2496463"/>
                  <a:pt x="1235742" y="2469998"/>
                  <a:pt x="1228551" y="2442519"/>
                </a:cubicBezTo>
                <a:cubicBezTo>
                  <a:pt x="1221360" y="2415039"/>
                  <a:pt x="1217609" y="2386564"/>
                  <a:pt x="1227121" y="2364680"/>
                </a:cubicBezTo>
                <a:cubicBezTo>
                  <a:pt x="1236613" y="2342816"/>
                  <a:pt x="1259347" y="2327563"/>
                  <a:pt x="1271139" y="2317491"/>
                </a:cubicBezTo>
                <a:cubicBezTo>
                  <a:pt x="1282930" y="2307420"/>
                  <a:pt x="1283801" y="2302529"/>
                  <a:pt x="1254021" y="2254201"/>
                </a:cubicBezTo>
                <a:cubicBezTo>
                  <a:pt x="1224240" y="2205873"/>
                  <a:pt x="1163810" y="2114087"/>
                  <a:pt x="1118217" y="2041429"/>
                </a:cubicBezTo>
                <a:cubicBezTo>
                  <a:pt x="1072604" y="1968771"/>
                  <a:pt x="1041829" y="1915262"/>
                  <a:pt x="1021105" y="1888363"/>
                </a:cubicBezTo>
                <a:cubicBezTo>
                  <a:pt x="1000381" y="1861463"/>
                  <a:pt x="989750" y="1861173"/>
                  <a:pt x="969171" y="1865338"/>
                </a:cubicBezTo>
                <a:cubicBezTo>
                  <a:pt x="948593" y="1869504"/>
                  <a:pt x="918108" y="1878146"/>
                  <a:pt x="890048" y="1886477"/>
                </a:cubicBezTo>
                <a:cubicBezTo>
                  <a:pt x="861987" y="1894828"/>
                  <a:pt x="836394" y="1902869"/>
                  <a:pt x="773808" y="1916837"/>
                </a:cubicBezTo>
                <a:cubicBezTo>
                  <a:pt x="711221" y="1930784"/>
                  <a:pt x="611664" y="1950638"/>
                  <a:pt x="552974" y="1960565"/>
                </a:cubicBezTo>
                <a:cubicBezTo>
                  <a:pt x="494284" y="1970491"/>
                  <a:pt x="476441" y="1970491"/>
                  <a:pt x="460463" y="1968771"/>
                </a:cubicBezTo>
                <a:cubicBezTo>
                  <a:pt x="444485" y="1967051"/>
                  <a:pt x="430393" y="1963590"/>
                  <a:pt x="390251" y="1936110"/>
                </a:cubicBezTo>
                <a:cubicBezTo>
                  <a:pt x="350108" y="1908631"/>
                  <a:pt x="283937" y="1857132"/>
                  <a:pt x="237329" y="1817280"/>
                </a:cubicBezTo>
                <a:cubicBezTo>
                  <a:pt x="190721" y="1777428"/>
                  <a:pt x="163677" y="1749223"/>
                  <a:pt x="148859" y="1724478"/>
                </a:cubicBezTo>
                <a:cubicBezTo>
                  <a:pt x="134042" y="1699734"/>
                  <a:pt x="131451" y="1678451"/>
                  <a:pt x="135326" y="1660753"/>
                </a:cubicBezTo>
                <a:cubicBezTo>
                  <a:pt x="139202" y="1643054"/>
                  <a:pt x="149564" y="1628962"/>
                  <a:pt x="160361" y="1619326"/>
                </a:cubicBezTo>
                <a:cubicBezTo>
                  <a:pt x="171158" y="1609689"/>
                  <a:pt x="182370" y="1604508"/>
                  <a:pt x="206534" y="1610829"/>
                </a:cubicBezTo>
                <a:cubicBezTo>
                  <a:pt x="230698" y="1617150"/>
                  <a:pt x="267814" y="1634993"/>
                  <a:pt x="299894" y="1646370"/>
                </a:cubicBezTo>
                <a:cubicBezTo>
                  <a:pt x="331975" y="1657727"/>
                  <a:pt x="359020" y="1662618"/>
                  <a:pt x="372552" y="1668959"/>
                </a:cubicBezTo>
                <a:cubicBezTo>
                  <a:pt x="386085" y="1675280"/>
                  <a:pt x="386085" y="1683051"/>
                  <a:pt x="375723" y="1692688"/>
                </a:cubicBezTo>
                <a:cubicBezTo>
                  <a:pt x="365361" y="1702325"/>
                  <a:pt x="344658" y="1713826"/>
                  <a:pt x="313282" y="1712832"/>
                </a:cubicBezTo>
                <a:cubicBezTo>
                  <a:pt x="281927" y="1711816"/>
                  <a:pt x="239920" y="1698304"/>
                  <a:pt x="211134" y="1685787"/>
                </a:cubicBezTo>
                <a:cubicBezTo>
                  <a:pt x="182349" y="1673270"/>
                  <a:pt x="166827" y="1661768"/>
                  <a:pt x="161356" y="1648235"/>
                </a:cubicBezTo>
                <a:cubicBezTo>
                  <a:pt x="155884" y="1634703"/>
                  <a:pt x="160485" y="1619180"/>
                  <a:pt x="166391" y="1605586"/>
                </a:cubicBezTo>
                <a:cubicBezTo>
                  <a:pt x="172298" y="1591991"/>
                  <a:pt x="179489" y="1580344"/>
                  <a:pt x="200192" y="1577816"/>
                </a:cubicBezTo>
                <a:cubicBezTo>
                  <a:pt x="220916" y="1575287"/>
                  <a:pt x="255152" y="1581919"/>
                  <a:pt x="287232" y="1590830"/>
                </a:cubicBezTo>
                <a:cubicBezTo>
                  <a:pt x="319313" y="1599741"/>
                  <a:pt x="349238" y="1610974"/>
                  <a:pt x="369009" y="1618953"/>
                </a:cubicBezTo>
                <a:cubicBezTo>
                  <a:pt x="388800" y="1626931"/>
                  <a:pt x="398436" y="1631677"/>
                  <a:pt x="419927" y="1621046"/>
                </a:cubicBezTo>
                <a:cubicBezTo>
                  <a:pt x="441438" y="1610394"/>
                  <a:pt x="474804" y="1584364"/>
                  <a:pt x="508625" y="1559682"/>
                </a:cubicBezTo>
                <a:cubicBezTo>
                  <a:pt x="542426" y="1535000"/>
                  <a:pt x="576682" y="1511707"/>
                  <a:pt x="603872" y="1496164"/>
                </a:cubicBezTo>
                <a:cubicBezTo>
                  <a:pt x="631062" y="1480621"/>
                  <a:pt x="651205" y="1472849"/>
                  <a:pt x="672489" y="1469699"/>
                </a:cubicBezTo>
                <a:cubicBezTo>
                  <a:pt x="693772" y="1466529"/>
                  <a:pt x="716216" y="1467979"/>
                  <a:pt x="740318" y="1459835"/>
                </a:cubicBezTo>
                <a:cubicBezTo>
                  <a:pt x="764420" y="1451711"/>
                  <a:pt x="790159" y="1434013"/>
                  <a:pt x="810675" y="1421288"/>
                </a:cubicBezTo>
                <a:cubicBezTo>
                  <a:pt x="831171" y="1408564"/>
                  <a:pt x="846424" y="1400793"/>
                  <a:pt x="854631" y="1394969"/>
                </a:cubicBezTo>
                <a:cubicBezTo>
                  <a:pt x="862837" y="1389146"/>
                  <a:pt x="863977" y="1385250"/>
                  <a:pt x="862982" y="1380214"/>
                </a:cubicBezTo>
                <a:cubicBezTo>
                  <a:pt x="861967" y="1375178"/>
                  <a:pt x="858817" y="1369002"/>
                  <a:pt x="851688" y="1366412"/>
                </a:cubicBezTo>
                <a:cubicBezTo>
                  <a:pt x="844559" y="1363821"/>
                  <a:pt x="833492" y="1364837"/>
                  <a:pt x="827524" y="1363614"/>
                </a:cubicBezTo>
                <a:cubicBezTo>
                  <a:pt x="821555" y="1362391"/>
                  <a:pt x="820685" y="1358930"/>
                  <a:pt x="824291" y="1354910"/>
                </a:cubicBezTo>
                <a:cubicBezTo>
                  <a:pt x="827897" y="1350890"/>
                  <a:pt x="835938" y="1346268"/>
                  <a:pt x="846652" y="1340030"/>
                </a:cubicBezTo>
                <a:cubicBezTo>
                  <a:pt x="857366" y="1333772"/>
                  <a:pt x="870754" y="1325855"/>
                  <a:pt x="880308" y="1319161"/>
                </a:cubicBezTo>
                <a:cubicBezTo>
                  <a:pt x="889882" y="1312467"/>
                  <a:pt x="895622" y="1306996"/>
                  <a:pt x="897363" y="1302831"/>
                </a:cubicBezTo>
                <a:cubicBezTo>
                  <a:pt x="899083" y="1298665"/>
                  <a:pt x="896783" y="1295785"/>
                  <a:pt x="886794" y="1295930"/>
                </a:cubicBezTo>
                <a:cubicBezTo>
                  <a:pt x="876805" y="1296075"/>
                  <a:pt x="859107" y="1299246"/>
                  <a:pt x="844642" y="1306934"/>
                </a:cubicBezTo>
                <a:cubicBezTo>
                  <a:pt x="830176" y="1314623"/>
                  <a:pt x="818965" y="1326850"/>
                  <a:pt x="809536" y="1335347"/>
                </a:cubicBezTo>
                <a:cubicBezTo>
                  <a:pt x="800106" y="1343843"/>
                  <a:pt x="792480" y="1348589"/>
                  <a:pt x="787029" y="1349667"/>
                </a:cubicBezTo>
                <a:cubicBezTo>
                  <a:pt x="781558" y="1350744"/>
                  <a:pt x="778263" y="1348154"/>
                  <a:pt x="782139" y="1343346"/>
                </a:cubicBezTo>
                <a:cubicBezTo>
                  <a:pt x="786014" y="1338517"/>
                  <a:pt x="797101" y="1331471"/>
                  <a:pt x="804583" y="1325296"/>
                </a:cubicBezTo>
                <a:cubicBezTo>
                  <a:pt x="812064" y="1319099"/>
                  <a:pt x="815939" y="1313794"/>
                  <a:pt x="816810" y="1307743"/>
                </a:cubicBezTo>
                <a:cubicBezTo>
                  <a:pt x="817680" y="1301691"/>
                  <a:pt x="815504" y="1294935"/>
                  <a:pt x="811276" y="1290977"/>
                </a:cubicBezTo>
                <a:cubicBezTo>
                  <a:pt x="807028" y="1287019"/>
                  <a:pt x="800707" y="1285879"/>
                  <a:pt x="791713" y="1290832"/>
                </a:cubicBezTo>
                <a:cubicBezTo>
                  <a:pt x="782719" y="1295785"/>
                  <a:pt x="771072" y="1306872"/>
                  <a:pt x="761933" y="1313856"/>
                </a:cubicBezTo>
                <a:cubicBezTo>
                  <a:pt x="752794" y="1320840"/>
                  <a:pt x="746183" y="1323700"/>
                  <a:pt x="742515" y="1324218"/>
                </a:cubicBezTo>
                <a:cubicBezTo>
                  <a:pt x="738847" y="1324715"/>
                  <a:pt x="738121" y="1322850"/>
                  <a:pt x="739862" y="1318457"/>
                </a:cubicBezTo>
                <a:cubicBezTo>
                  <a:pt x="741582" y="1314063"/>
                  <a:pt x="745768" y="1307162"/>
                  <a:pt x="752296" y="1300406"/>
                </a:cubicBezTo>
                <a:cubicBezTo>
                  <a:pt x="758824" y="1293650"/>
                  <a:pt x="767756" y="1287019"/>
                  <a:pt x="772585" y="1280615"/>
                </a:cubicBezTo>
                <a:cubicBezTo>
                  <a:pt x="777414" y="1274211"/>
                  <a:pt x="778118" y="1268036"/>
                  <a:pt x="776108" y="1263994"/>
                </a:cubicBezTo>
                <a:cubicBezTo>
                  <a:pt x="774098" y="1259974"/>
                  <a:pt x="769352" y="1258088"/>
                  <a:pt x="761083" y="1258026"/>
                </a:cubicBezTo>
                <a:cubicBezTo>
                  <a:pt x="752814" y="1257964"/>
                  <a:pt x="741022" y="1259684"/>
                  <a:pt x="718869" y="1273051"/>
                </a:cubicBezTo>
                <a:cubicBezTo>
                  <a:pt x="696715" y="1286438"/>
                  <a:pt x="664199" y="1311452"/>
                  <a:pt x="639600" y="1331181"/>
                </a:cubicBezTo>
                <a:cubicBezTo>
                  <a:pt x="615001" y="1350890"/>
                  <a:pt x="598318" y="1365272"/>
                  <a:pt x="569678" y="1382100"/>
                </a:cubicBezTo>
                <a:cubicBezTo>
                  <a:pt x="541058" y="1398927"/>
                  <a:pt x="500481" y="1418201"/>
                  <a:pt x="456173" y="1442530"/>
                </a:cubicBezTo>
                <a:cubicBezTo>
                  <a:pt x="411866" y="1466839"/>
                  <a:pt x="363807" y="1496184"/>
                  <a:pt x="325406" y="1515188"/>
                </a:cubicBezTo>
                <a:cubicBezTo>
                  <a:pt x="287004" y="1534171"/>
                  <a:pt x="258219" y="1542813"/>
                  <a:pt x="239526" y="1551144"/>
                </a:cubicBezTo>
                <a:cubicBezTo>
                  <a:pt x="220833" y="1559496"/>
                  <a:pt x="212191" y="1567537"/>
                  <a:pt x="218388" y="1575453"/>
                </a:cubicBezTo>
                <a:cubicBezTo>
                  <a:pt x="224563" y="1583370"/>
                  <a:pt x="245577" y="1591141"/>
                  <a:pt x="272912" y="1602208"/>
                </a:cubicBezTo>
                <a:cubicBezTo>
                  <a:pt x="300247" y="1613295"/>
                  <a:pt x="333902" y="1627677"/>
                  <a:pt x="357797" y="1635863"/>
                </a:cubicBezTo>
                <a:cubicBezTo>
                  <a:pt x="381671" y="1644070"/>
                  <a:pt x="395784" y="1646080"/>
                  <a:pt x="403410" y="1653271"/>
                </a:cubicBezTo>
                <a:cubicBezTo>
                  <a:pt x="411037" y="1660462"/>
                  <a:pt x="412176" y="1672835"/>
                  <a:pt x="416073" y="1682036"/>
                </a:cubicBezTo>
                <a:cubicBezTo>
                  <a:pt x="419948" y="1691237"/>
                  <a:pt x="426579" y="1697289"/>
                  <a:pt x="440817" y="1705060"/>
                </a:cubicBezTo>
                <a:cubicBezTo>
                  <a:pt x="455054" y="1712832"/>
                  <a:pt x="476918" y="1722323"/>
                  <a:pt x="514469" y="1733680"/>
                </a:cubicBezTo>
                <a:cubicBezTo>
                  <a:pt x="552021" y="1745037"/>
                  <a:pt x="605240" y="1758279"/>
                  <a:pt x="651288" y="1765905"/>
                </a:cubicBezTo>
                <a:cubicBezTo>
                  <a:pt x="697316" y="1773532"/>
                  <a:pt x="736173" y="1775542"/>
                  <a:pt x="768109" y="1785179"/>
                </a:cubicBezTo>
                <a:cubicBezTo>
                  <a:pt x="800044" y="1794815"/>
                  <a:pt x="825078" y="1812078"/>
                  <a:pt x="837306" y="1824740"/>
                </a:cubicBezTo>
                <a:cubicBezTo>
                  <a:pt x="849532" y="1837403"/>
                  <a:pt x="848952" y="1845464"/>
                  <a:pt x="840621" y="1854666"/>
                </a:cubicBezTo>
                <a:cubicBezTo>
                  <a:pt x="832270" y="1863867"/>
                  <a:pt x="816167" y="1874229"/>
                  <a:pt x="790843" y="1883430"/>
                </a:cubicBezTo>
                <a:cubicBezTo>
                  <a:pt x="765518" y="1892632"/>
                  <a:pt x="730992" y="1900693"/>
                  <a:pt x="713874" y="1902413"/>
                </a:cubicBezTo>
                <a:cubicBezTo>
                  <a:pt x="696756" y="1904133"/>
                  <a:pt x="697046" y="1899533"/>
                  <a:pt x="703367" y="1887741"/>
                </a:cubicBezTo>
                <a:cubicBezTo>
                  <a:pt x="709688" y="1875949"/>
                  <a:pt x="722060" y="1856945"/>
                  <a:pt x="735158" y="1840843"/>
                </a:cubicBezTo>
                <a:cubicBezTo>
                  <a:pt x="748255" y="1824740"/>
                  <a:pt x="762057" y="1811498"/>
                  <a:pt x="785662" y="1808037"/>
                </a:cubicBezTo>
                <a:cubicBezTo>
                  <a:pt x="809245" y="1804576"/>
                  <a:pt x="842631" y="1810918"/>
                  <a:pt x="864640" y="1809757"/>
                </a:cubicBezTo>
                <a:cubicBezTo>
                  <a:pt x="886649" y="1808597"/>
                  <a:pt x="897301" y="1799975"/>
                  <a:pt x="904637" y="1789468"/>
                </a:cubicBezTo>
                <a:cubicBezTo>
                  <a:pt x="911973" y="1778961"/>
                  <a:pt x="915994" y="1766589"/>
                  <a:pt x="916284" y="1745161"/>
                </a:cubicBezTo>
                <a:cubicBezTo>
                  <a:pt x="916574" y="1723732"/>
                  <a:pt x="913113" y="1693227"/>
                  <a:pt x="912119" y="1675238"/>
                </a:cubicBezTo>
                <a:cubicBezTo>
                  <a:pt x="911103" y="1657250"/>
                  <a:pt x="912554" y="1651779"/>
                  <a:pt x="918025" y="1647904"/>
                </a:cubicBezTo>
                <a:cubicBezTo>
                  <a:pt x="923496" y="1644028"/>
                  <a:pt x="932987" y="1641707"/>
                  <a:pt x="946230" y="1644588"/>
                </a:cubicBezTo>
                <a:cubicBezTo>
                  <a:pt x="959473" y="1647469"/>
                  <a:pt x="976446" y="1655530"/>
                  <a:pt x="993128" y="1664587"/>
                </a:cubicBezTo>
                <a:cubicBezTo>
                  <a:pt x="1009811" y="1673643"/>
                  <a:pt x="1026224" y="1683715"/>
                  <a:pt x="1043632" y="1685455"/>
                </a:cubicBezTo>
                <a:cubicBezTo>
                  <a:pt x="1061040" y="1687175"/>
                  <a:pt x="1079464" y="1680565"/>
                  <a:pt x="1091110" y="1667032"/>
                </a:cubicBezTo>
                <a:cubicBezTo>
                  <a:pt x="1102757" y="1653499"/>
                  <a:pt x="1107648" y="1633086"/>
                  <a:pt x="1113844" y="1609046"/>
                </a:cubicBezTo>
                <a:cubicBezTo>
                  <a:pt x="1120041" y="1585028"/>
                  <a:pt x="1127522" y="1557403"/>
                  <a:pt x="1137573" y="1536244"/>
                </a:cubicBezTo>
                <a:cubicBezTo>
                  <a:pt x="1147645" y="1515105"/>
                  <a:pt x="1160307" y="1500412"/>
                  <a:pt x="1175270" y="1484165"/>
                </a:cubicBezTo>
                <a:cubicBezTo>
                  <a:pt x="1190233" y="1467917"/>
                  <a:pt x="1207496" y="1450074"/>
                  <a:pt x="1215847" y="1437702"/>
                </a:cubicBezTo>
                <a:cubicBezTo>
                  <a:pt x="1224199" y="1425330"/>
                  <a:pt x="1223619" y="1418429"/>
                  <a:pt x="1213837" y="1405911"/>
                </a:cubicBezTo>
                <a:cubicBezTo>
                  <a:pt x="1204055" y="1393394"/>
                  <a:pt x="1185072" y="1375261"/>
                  <a:pt x="1160743" y="1359449"/>
                </a:cubicBezTo>
                <a:cubicBezTo>
                  <a:pt x="1136434" y="1343615"/>
                  <a:pt x="1106798" y="1330103"/>
                  <a:pt x="1072273" y="1326207"/>
                </a:cubicBezTo>
                <a:cubicBezTo>
                  <a:pt x="1037747" y="1322332"/>
                  <a:pt x="998330" y="1328073"/>
                  <a:pt x="969420" y="1337709"/>
                </a:cubicBezTo>
                <a:cubicBezTo>
                  <a:pt x="940510" y="1347346"/>
                  <a:pt x="922087" y="1360878"/>
                  <a:pt x="912160" y="1380152"/>
                </a:cubicBezTo>
                <a:cubicBezTo>
                  <a:pt x="902233" y="1399425"/>
                  <a:pt x="900803" y="1424459"/>
                  <a:pt x="896327" y="1448333"/>
                </a:cubicBezTo>
                <a:cubicBezTo>
                  <a:pt x="891871" y="1472207"/>
                  <a:pt x="884390" y="1494941"/>
                  <a:pt x="877489" y="1512784"/>
                </a:cubicBezTo>
                <a:cubicBezTo>
                  <a:pt x="870588" y="1530628"/>
                  <a:pt x="864247" y="1543580"/>
                  <a:pt x="860806" y="1564138"/>
                </a:cubicBezTo>
                <a:cubicBezTo>
                  <a:pt x="857345" y="1584717"/>
                  <a:pt x="856786" y="1612901"/>
                  <a:pt x="859936" y="1636216"/>
                </a:cubicBezTo>
                <a:cubicBezTo>
                  <a:pt x="863107" y="1659530"/>
                  <a:pt x="870008" y="1677933"/>
                  <a:pt x="882670" y="1693040"/>
                </a:cubicBezTo>
                <a:cubicBezTo>
                  <a:pt x="895332" y="1708148"/>
                  <a:pt x="913735" y="1719940"/>
                  <a:pt x="939930" y="1728001"/>
                </a:cubicBezTo>
                <a:cubicBezTo>
                  <a:pt x="966104" y="1736063"/>
                  <a:pt x="1000070" y="1740374"/>
                  <a:pt x="1032856" y="1733618"/>
                </a:cubicBezTo>
                <a:cubicBezTo>
                  <a:pt x="1065662" y="1726862"/>
                  <a:pt x="1097307" y="1709018"/>
                  <a:pt x="1121326" y="1688440"/>
                </a:cubicBezTo>
                <a:cubicBezTo>
                  <a:pt x="1145345" y="1667861"/>
                  <a:pt x="1161758" y="1644567"/>
                  <a:pt x="1171830" y="1627304"/>
                </a:cubicBezTo>
                <a:cubicBezTo>
                  <a:pt x="1181902" y="1610041"/>
                  <a:pt x="1185632" y="1598830"/>
                  <a:pt x="1192263" y="1592343"/>
                </a:cubicBezTo>
                <a:cubicBezTo>
                  <a:pt x="1198874" y="1585877"/>
                  <a:pt x="1208387" y="1584137"/>
                  <a:pt x="1215433" y="1590478"/>
                </a:cubicBezTo>
                <a:cubicBezTo>
                  <a:pt x="1222479" y="1596819"/>
                  <a:pt x="1227080" y="1611202"/>
                  <a:pt x="1223059" y="1624569"/>
                </a:cubicBezTo>
                <a:cubicBezTo>
                  <a:pt x="1219039" y="1637956"/>
                  <a:pt x="1206377" y="1650328"/>
                  <a:pt x="1193569" y="1655219"/>
                </a:cubicBezTo>
                <a:cubicBezTo>
                  <a:pt x="1180762" y="1660110"/>
                  <a:pt x="1167809" y="1657520"/>
                  <a:pt x="1160328" y="1650909"/>
                </a:cubicBezTo>
                <a:cubicBezTo>
                  <a:pt x="1152847" y="1644298"/>
                  <a:pt x="1150837" y="1633646"/>
                  <a:pt x="1152121" y="1619844"/>
                </a:cubicBezTo>
                <a:cubicBezTo>
                  <a:pt x="1153406" y="1606042"/>
                  <a:pt x="1158028" y="1589048"/>
                  <a:pt x="1169239" y="1577836"/>
                </a:cubicBezTo>
                <a:cubicBezTo>
                  <a:pt x="1180451" y="1566625"/>
                  <a:pt x="1198294" y="1561154"/>
                  <a:pt x="1208511" y="1555683"/>
                </a:cubicBezTo>
                <a:cubicBezTo>
                  <a:pt x="1218728" y="1550212"/>
                  <a:pt x="1221318" y="1544740"/>
                  <a:pt x="1223039" y="1534814"/>
                </a:cubicBezTo>
                <a:cubicBezTo>
                  <a:pt x="1224759" y="1524887"/>
                  <a:pt x="1225629" y="1510505"/>
                  <a:pt x="1221173" y="1493822"/>
                </a:cubicBezTo>
                <a:cubicBezTo>
                  <a:pt x="1216718" y="1477139"/>
                  <a:pt x="1206936" y="1458136"/>
                  <a:pt x="1192263" y="1435837"/>
                </a:cubicBezTo>
                <a:cubicBezTo>
                  <a:pt x="1177591" y="1413538"/>
                  <a:pt x="1158028" y="1387923"/>
                  <a:pt x="1126527" y="1373105"/>
                </a:cubicBezTo>
                <a:cubicBezTo>
                  <a:pt x="1095027" y="1358288"/>
                  <a:pt x="1051569" y="1354268"/>
                  <a:pt x="1015178" y="1361604"/>
                </a:cubicBezTo>
                <a:cubicBezTo>
                  <a:pt x="978787" y="1368940"/>
                  <a:pt x="949442" y="1387633"/>
                  <a:pt x="929299" y="1399591"/>
                </a:cubicBezTo>
                <a:cubicBezTo>
                  <a:pt x="909155" y="1411527"/>
                  <a:pt x="898233" y="1416708"/>
                  <a:pt x="891312" y="1413683"/>
                </a:cubicBezTo>
                <a:cubicBezTo>
                  <a:pt x="884411" y="1410657"/>
                  <a:pt x="881530" y="1399446"/>
                  <a:pt x="880805" y="1385623"/>
                </a:cubicBezTo>
                <a:cubicBezTo>
                  <a:pt x="880080" y="1371821"/>
                  <a:pt x="881530" y="1355407"/>
                  <a:pt x="887271" y="1343035"/>
                </a:cubicBezTo>
                <a:cubicBezTo>
                  <a:pt x="893032" y="1330663"/>
                  <a:pt x="903104" y="1322311"/>
                  <a:pt x="919351" y="1314270"/>
                </a:cubicBezTo>
                <a:cubicBezTo>
                  <a:pt x="935599" y="1306209"/>
                  <a:pt x="958043" y="1298438"/>
                  <a:pt x="976031" y="1293402"/>
                </a:cubicBezTo>
                <a:cubicBezTo>
                  <a:pt x="994019" y="1288366"/>
                  <a:pt x="1007531" y="1286065"/>
                  <a:pt x="1018183" y="1281900"/>
                </a:cubicBezTo>
                <a:cubicBezTo>
                  <a:pt x="1028835" y="1277734"/>
                  <a:pt x="1036607" y="1271683"/>
                  <a:pt x="1050844" y="1268947"/>
                </a:cubicBezTo>
                <a:cubicBezTo>
                  <a:pt x="1065081" y="1266212"/>
                  <a:pt x="1085805" y="1266792"/>
                  <a:pt x="1109244" y="1272118"/>
                </a:cubicBezTo>
                <a:cubicBezTo>
                  <a:pt x="1132703" y="1277444"/>
                  <a:pt x="1158877" y="1287516"/>
                  <a:pt x="1183622" y="1306209"/>
                </a:cubicBezTo>
                <a:cubicBezTo>
                  <a:pt x="1208366" y="1324902"/>
                  <a:pt x="1231680" y="1352237"/>
                  <a:pt x="1247202" y="1382017"/>
                </a:cubicBezTo>
                <a:cubicBezTo>
                  <a:pt x="1262745" y="1411797"/>
                  <a:pt x="1270517" y="1444023"/>
                  <a:pt x="1276983" y="1470777"/>
                </a:cubicBezTo>
                <a:cubicBezTo>
                  <a:pt x="1283448" y="1497531"/>
                  <a:pt x="1288629" y="1518836"/>
                  <a:pt x="1290785" y="1538959"/>
                </a:cubicBezTo>
                <a:cubicBezTo>
                  <a:pt x="1292940" y="1559102"/>
                  <a:pt x="1292070" y="1578085"/>
                  <a:pt x="1286184" y="1598664"/>
                </a:cubicBezTo>
                <a:cubicBezTo>
                  <a:pt x="1280278" y="1619243"/>
                  <a:pt x="1269356" y="1641397"/>
                  <a:pt x="1251223" y="1657789"/>
                </a:cubicBezTo>
                <a:cubicBezTo>
                  <a:pt x="1233090" y="1674182"/>
                  <a:pt x="1207786" y="1684834"/>
                  <a:pt x="1190792" y="1692460"/>
                </a:cubicBezTo>
                <a:cubicBezTo>
                  <a:pt x="1173819" y="1700086"/>
                  <a:pt x="1165177" y="1704687"/>
                  <a:pt x="1155396" y="1717349"/>
                </a:cubicBezTo>
                <a:cubicBezTo>
                  <a:pt x="1145614" y="1730012"/>
                  <a:pt x="1134672" y="1750736"/>
                  <a:pt x="1128786" y="1768848"/>
                </a:cubicBezTo>
                <a:cubicBezTo>
                  <a:pt x="1122880" y="1786982"/>
                  <a:pt x="1122031" y="1802504"/>
                  <a:pt x="1124766" y="1813156"/>
                </a:cubicBezTo>
                <a:cubicBezTo>
                  <a:pt x="1127501" y="1823808"/>
                  <a:pt x="1133822" y="1829548"/>
                  <a:pt x="1143459" y="1838045"/>
                </a:cubicBezTo>
                <a:cubicBezTo>
                  <a:pt x="1153096" y="1846542"/>
                  <a:pt x="1166048" y="1857753"/>
                  <a:pt x="1176700" y="1874581"/>
                </a:cubicBezTo>
                <a:cubicBezTo>
                  <a:pt x="1187352" y="1891409"/>
                  <a:pt x="1195683" y="1913853"/>
                  <a:pt x="1211951" y="1930971"/>
                </a:cubicBezTo>
                <a:cubicBezTo>
                  <a:pt x="1228199" y="1948089"/>
                  <a:pt x="1252383" y="1959881"/>
                  <a:pt x="1269791" y="1970678"/>
                </a:cubicBezTo>
                <a:cubicBezTo>
                  <a:pt x="1287200" y="1981475"/>
                  <a:pt x="1297852" y="1991257"/>
                  <a:pt x="1289790" y="2016996"/>
                </a:cubicBezTo>
                <a:cubicBezTo>
                  <a:pt x="1281728" y="2042755"/>
                  <a:pt x="1254974" y="2084472"/>
                  <a:pt x="1236696" y="2105031"/>
                </a:cubicBezTo>
                <a:cubicBezTo>
                  <a:pt x="1218417" y="2125609"/>
                  <a:pt x="1208635" y="2125029"/>
                  <a:pt x="1189362" y="2099269"/>
                </a:cubicBezTo>
                <a:cubicBezTo>
                  <a:pt x="1170089" y="2073510"/>
                  <a:pt x="1141304" y="2022591"/>
                  <a:pt x="1126921" y="1994386"/>
                </a:cubicBezTo>
                <a:cubicBezTo>
                  <a:pt x="1112539" y="1966181"/>
                  <a:pt x="1112539" y="1960730"/>
                  <a:pt x="1124621" y="1948773"/>
                </a:cubicBezTo>
                <a:cubicBezTo>
                  <a:pt x="1136703" y="1936836"/>
                  <a:pt x="1160867" y="1918412"/>
                  <a:pt x="1178855" y="1910226"/>
                </a:cubicBezTo>
                <a:cubicBezTo>
                  <a:pt x="1196844" y="1902020"/>
                  <a:pt x="1208635" y="1904030"/>
                  <a:pt x="1235245" y="1918288"/>
                </a:cubicBezTo>
                <a:cubicBezTo>
                  <a:pt x="1261854" y="1932546"/>
                  <a:pt x="1303302" y="1959010"/>
                  <a:pt x="1332792" y="1988065"/>
                </a:cubicBezTo>
                <a:cubicBezTo>
                  <a:pt x="1362282" y="2017120"/>
                  <a:pt x="1379835" y="2048765"/>
                  <a:pt x="1387316" y="2070650"/>
                </a:cubicBezTo>
                <a:cubicBezTo>
                  <a:pt x="1394798" y="2092513"/>
                  <a:pt x="1392207" y="2104595"/>
                  <a:pt x="1383710" y="2126190"/>
                </a:cubicBezTo>
                <a:cubicBezTo>
                  <a:pt x="1375214" y="2147763"/>
                  <a:pt x="1360831" y="2178849"/>
                  <a:pt x="1348459" y="2203448"/>
                </a:cubicBezTo>
                <a:cubicBezTo>
                  <a:pt x="1336087" y="2228047"/>
                  <a:pt x="1325725" y="2246181"/>
                  <a:pt x="1311923" y="2248771"/>
                </a:cubicBezTo>
                <a:cubicBezTo>
                  <a:pt x="1298121" y="2251362"/>
                  <a:pt x="1280858" y="2238409"/>
                  <a:pt x="1270786" y="2226907"/>
                </a:cubicBezTo>
                <a:cubicBezTo>
                  <a:pt x="1260714" y="2215406"/>
                  <a:pt x="1257834" y="2205334"/>
                  <a:pt x="1256694" y="2197417"/>
                </a:cubicBezTo>
                <a:cubicBezTo>
                  <a:pt x="1255533" y="2189501"/>
                  <a:pt x="1256114" y="2183761"/>
                  <a:pt x="1262745" y="2172093"/>
                </a:cubicBezTo>
                <a:cubicBezTo>
                  <a:pt x="1269356" y="2160446"/>
                  <a:pt x="1282019" y="2142893"/>
                  <a:pt x="1299427" y="2127640"/>
                </a:cubicBezTo>
                <a:cubicBezTo>
                  <a:pt x="1316835" y="2112387"/>
                  <a:pt x="1338988" y="2099435"/>
                  <a:pt x="1357826" y="2086068"/>
                </a:cubicBezTo>
                <a:cubicBezTo>
                  <a:pt x="1376664" y="2072681"/>
                  <a:pt x="1392207" y="2058879"/>
                  <a:pt x="1403999" y="2048372"/>
                </a:cubicBezTo>
                <a:cubicBezTo>
                  <a:pt x="1415791" y="2037865"/>
                  <a:pt x="1423852" y="2030673"/>
                  <a:pt x="1428453" y="2028228"/>
                </a:cubicBezTo>
                <a:cubicBezTo>
                  <a:pt x="1433054" y="2025782"/>
                  <a:pt x="1434214" y="2028083"/>
                  <a:pt x="1435644" y="2043481"/>
                </a:cubicBezTo>
                <a:cubicBezTo>
                  <a:pt x="1437074" y="2058879"/>
                  <a:pt x="1438815" y="2087353"/>
                  <a:pt x="1439375" y="2107062"/>
                </a:cubicBezTo>
                <a:cubicBezTo>
                  <a:pt x="1439955" y="2126770"/>
                  <a:pt x="1439375" y="2137712"/>
                  <a:pt x="1432039" y="2164902"/>
                </a:cubicBezTo>
                <a:cubicBezTo>
                  <a:pt x="1424702" y="2192092"/>
                  <a:pt x="1410610" y="2235529"/>
                  <a:pt x="1405864" y="2266469"/>
                </a:cubicBezTo>
                <a:cubicBezTo>
                  <a:pt x="1401118" y="2297410"/>
                  <a:pt x="1405719" y="2315813"/>
                  <a:pt x="1412765" y="2328330"/>
                </a:cubicBezTo>
                <a:cubicBezTo>
                  <a:pt x="1419811" y="2340847"/>
                  <a:pt x="1429303" y="2347458"/>
                  <a:pt x="1440245" y="2353074"/>
                </a:cubicBezTo>
                <a:cubicBezTo>
                  <a:pt x="1451187" y="2358690"/>
                  <a:pt x="1463559" y="2363291"/>
                  <a:pt x="1475932" y="2367457"/>
                </a:cubicBezTo>
                <a:cubicBezTo>
                  <a:pt x="1488304" y="2371622"/>
                  <a:pt x="1500676" y="2375373"/>
                  <a:pt x="1511038" y="2382710"/>
                </a:cubicBezTo>
                <a:cubicBezTo>
                  <a:pt x="1521400" y="2390046"/>
                  <a:pt x="1529752" y="2400988"/>
                  <a:pt x="1536217" y="2415225"/>
                </a:cubicBezTo>
                <a:cubicBezTo>
                  <a:pt x="1542683" y="2429462"/>
                  <a:pt x="1547305" y="2447015"/>
                  <a:pt x="1543408" y="2463843"/>
                </a:cubicBezTo>
                <a:cubicBezTo>
                  <a:pt x="1539533" y="2480671"/>
                  <a:pt x="1527161" y="2496794"/>
                  <a:pt x="1512758" y="2507156"/>
                </a:cubicBezTo>
                <a:cubicBezTo>
                  <a:pt x="1498376" y="2517518"/>
                  <a:pt x="1481962" y="2522119"/>
                  <a:pt x="1467083" y="2522844"/>
                </a:cubicBezTo>
                <a:cubicBezTo>
                  <a:pt x="1452203" y="2523569"/>
                  <a:pt x="1438815" y="2520399"/>
                  <a:pt x="1422195" y="2523860"/>
                </a:cubicBezTo>
                <a:cubicBezTo>
                  <a:pt x="1405574" y="2527320"/>
                  <a:pt x="1385721" y="2537392"/>
                  <a:pt x="1366738" y="2540832"/>
                </a:cubicBezTo>
                <a:cubicBezTo>
                  <a:pt x="1347755" y="2544293"/>
                  <a:pt x="1329621" y="2541123"/>
                  <a:pt x="1320420" y="2536667"/>
                </a:cubicBezTo>
                <a:cubicBezTo>
                  <a:pt x="1311218" y="2532211"/>
                  <a:pt x="1310928" y="2526450"/>
                  <a:pt x="1321788" y="2519549"/>
                </a:cubicBezTo>
                <a:cubicBezTo>
                  <a:pt x="1332647" y="2512648"/>
                  <a:pt x="1354656" y="2504586"/>
                  <a:pt x="1369846" y="2497893"/>
                </a:cubicBezTo>
                <a:cubicBezTo>
                  <a:pt x="1385016" y="2491199"/>
                  <a:pt x="1393368" y="2485873"/>
                  <a:pt x="1396891" y="2480277"/>
                </a:cubicBezTo>
                <a:cubicBezTo>
                  <a:pt x="1400414" y="2474661"/>
                  <a:pt x="1399129" y="2468775"/>
                  <a:pt x="1381286" y="2474102"/>
                </a:cubicBezTo>
                <a:cubicBezTo>
                  <a:pt x="1363443" y="2479428"/>
                  <a:pt x="1329062" y="2495965"/>
                  <a:pt x="1307986" y="2503094"/>
                </a:cubicBezTo>
                <a:cubicBezTo>
                  <a:pt x="1286909" y="2510223"/>
                  <a:pt x="1279138" y="2507923"/>
                  <a:pt x="1275760" y="2503820"/>
                </a:cubicBezTo>
                <a:cubicBezTo>
                  <a:pt x="1272382" y="2499716"/>
                  <a:pt x="1273377" y="2493831"/>
                  <a:pt x="1277190" y="2490515"/>
                </a:cubicBezTo>
                <a:cubicBezTo>
                  <a:pt x="1281003" y="2487199"/>
                  <a:pt x="1287614" y="2486494"/>
                  <a:pt x="1302287" y="2478495"/>
                </a:cubicBezTo>
                <a:cubicBezTo>
                  <a:pt x="1316959" y="2470516"/>
                  <a:pt x="1339693" y="2455264"/>
                  <a:pt x="1350407" y="2445109"/>
                </a:cubicBezTo>
                <a:cubicBezTo>
                  <a:pt x="1361122" y="2434975"/>
                  <a:pt x="1359837" y="2429939"/>
                  <a:pt x="1346946" y="2435120"/>
                </a:cubicBezTo>
                <a:cubicBezTo>
                  <a:pt x="1334077" y="2440301"/>
                  <a:pt x="1309623" y="2455699"/>
                  <a:pt x="1292774" y="2461812"/>
                </a:cubicBezTo>
                <a:cubicBezTo>
                  <a:pt x="1275946" y="2467926"/>
                  <a:pt x="1266745" y="2464755"/>
                  <a:pt x="1261834" y="2459719"/>
                </a:cubicBezTo>
                <a:cubicBezTo>
                  <a:pt x="1256943" y="2454683"/>
                  <a:pt x="1256362" y="2447782"/>
                  <a:pt x="1265149" y="2438933"/>
                </a:cubicBezTo>
                <a:cubicBezTo>
                  <a:pt x="1273915" y="2430084"/>
                  <a:pt x="1292049" y="2419287"/>
                  <a:pt x="1303053" y="2411308"/>
                </a:cubicBezTo>
                <a:cubicBezTo>
                  <a:pt x="1314058" y="2403330"/>
                  <a:pt x="1317954" y="2398149"/>
                  <a:pt x="1318513" y="2393175"/>
                </a:cubicBezTo>
                <a:cubicBezTo>
                  <a:pt x="1319094" y="2388222"/>
                  <a:pt x="1316358" y="2383456"/>
                  <a:pt x="1306783" y="2385984"/>
                </a:cubicBezTo>
                <a:cubicBezTo>
                  <a:pt x="1297209" y="2388491"/>
                  <a:pt x="1280817" y="2398294"/>
                  <a:pt x="1268590" y="2403392"/>
                </a:cubicBezTo>
                <a:cubicBezTo>
                  <a:pt x="1256362" y="2408490"/>
                  <a:pt x="1248301" y="2408925"/>
                  <a:pt x="1243410" y="2405257"/>
                </a:cubicBezTo>
                <a:cubicBezTo>
                  <a:pt x="1238519" y="2401589"/>
                  <a:pt x="1236799" y="2393817"/>
                  <a:pt x="1242685" y="2382461"/>
                </a:cubicBezTo>
                <a:cubicBezTo>
                  <a:pt x="1248591" y="2371104"/>
                  <a:pt x="1262103" y="2356141"/>
                  <a:pt x="1284402" y="2341469"/>
                </a:cubicBezTo>
                <a:cubicBezTo>
                  <a:pt x="1306701" y="2326797"/>
                  <a:pt x="1337766" y="2312414"/>
                  <a:pt x="1360935" y="2306218"/>
                </a:cubicBezTo>
                <a:cubicBezTo>
                  <a:pt x="1384104" y="2300021"/>
                  <a:pt x="1399357" y="2302052"/>
                  <a:pt x="1411004" y="2303047"/>
                </a:cubicBezTo>
                <a:cubicBezTo>
                  <a:pt x="1422651" y="2304062"/>
                  <a:pt x="1430712" y="2304062"/>
                  <a:pt x="1438484" y="2295131"/>
                </a:cubicBezTo>
                <a:cubicBezTo>
                  <a:pt x="1446255" y="2286219"/>
                  <a:pt x="1453736" y="2268376"/>
                  <a:pt x="1468409" y="2243777"/>
                </a:cubicBezTo>
                <a:cubicBezTo>
                  <a:pt x="1483081" y="2219178"/>
                  <a:pt x="1504945" y="2187822"/>
                  <a:pt x="1532570" y="2156301"/>
                </a:cubicBezTo>
                <a:cubicBezTo>
                  <a:pt x="1560195" y="2124801"/>
                  <a:pt x="1593560" y="2093156"/>
                  <a:pt x="1610761" y="2074152"/>
                </a:cubicBezTo>
                <a:cubicBezTo>
                  <a:pt x="1627962" y="2055169"/>
                  <a:pt x="1628957" y="2048827"/>
                  <a:pt x="1628957" y="2041864"/>
                </a:cubicBezTo>
                <a:cubicBezTo>
                  <a:pt x="1628957" y="2034901"/>
                  <a:pt x="1627941" y="2027254"/>
                  <a:pt x="1628604" y="2021078"/>
                </a:cubicBezTo>
                <a:cubicBezTo>
                  <a:pt x="1629247" y="2014902"/>
                  <a:pt x="1631547" y="2010136"/>
                  <a:pt x="1642841" y="2001308"/>
                </a:cubicBezTo>
                <a:cubicBezTo>
                  <a:pt x="1654136" y="1992479"/>
                  <a:pt x="1674425" y="1979506"/>
                  <a:pt x="1697863" y="1963611"/>
                </a:cubicBezTo>
                <a:cubicBezTo>
                  <a:pt x="1721323" y="1947716"/>
                  <a:pt x="1747932" y="1928878"/>
                  <a:pt x="1768718" y="1914703"/>
                </a:cubicBezTo>
                <a:cubicBezTo>
                  <a:pt x="1789504" y="1900528"/>
                  <a:pt x="1804467" y="1891036"/>
                  <a:pt x="1816549" y="1881109"/>
                </a:cubicBezTo>
                <a:cubicBezTo>
                  <a:pt x="1828631" y="1871183"/>
                  <a:pt x="1837832" y="1860821"/>
                  <a:pt x="1846039" y="1836221"/>
                </a:cubicBezTo>
                <a:cubicBezTo>
                  <a:pt x="1854245" y="1811622"/>
                  <a:pt x="1861437" y="1772786"/>
                  <a:pt x="1863882" y="1739400"/>
                </a:cubicBezTo>
                <a:cubicBezTo>
                  <a:pt x="1866327" y="1706013"/>
                  <a:pt x="1864027" y="1678119"/>
                  <a:pt x="1862162" y="1654225"/>
                </a:cubicBezTo>
                <a:cubicBezTo>
                  <a:pt x="1860297" y="1630351"/>
                  <a:pt x="1858846" y="1610497"/>
                  <a:pt x="1849355" y="1586312"/>
                </a:cubicBezTo>
                <a:cubicBezTo>
                  <a:pt x="1839863" y="1562149"/>
                  <a:pt x="1822310" y="1533653"/>
                  <a:pt x="1804322" y="1511499"/>
                </a:cubicBezTo>
                <a:cubicBezTo>
                  <a:pt x="1786333" y="1489346"/>
                  <a:pt x="1767931" y="1473513"/>
                  <a:pt x="1748512" y="1463296"/>
                </a:cubicBezTo>
                <a:cubicBezTo>
                  <a:pt x="1729094" y="1453079"/>
                  <a:pt x="1708660" y="1448478"/>
                  <a:pt x="1688662" y="1445017"/>
                </a:cubicBezTo>
                <a:cubicBezTo>
                  <a:pt x="1668663" y="1441556"/>
                  <a:pt x="1649100" y="1439256"/>
                  <a:pt x="1629682" y="1434655"/>
                </a:cubicBezTo>
                <a:cubicBezTo>
                  <a:pt x="1610264" y="1430055"/>
                  <a:pt x="1590990" y="1423154"/>
                  <a:pt x="1565521" y="1420708"/>
                </a:cubicBezTo>
                <a:cubicBezTo>
                  <a:pt x="1540051" y="1418263"/>
                  <a:pt x="1508406" y="1420273"/>
                  <a:pt x="1482377" y="1428044"/>
                </a:cubicBezTo>
                <a:cubicBezTo>
                  <a:pt x="1456348" y="1435816"/>
                  <a:pt x="1435914" y="1449328"/>
                  <a:pt x="1425117" y="1469036"/>
                </a:cubicBezTo>
                <a:cubicBezTo>
                  <a:pt x="1414320" y="1488745"/>
                  <a:pt x="1413180" y="1514649"/>
                  <a:pt x="1416910" y="1533923"/>
                </a:cubicBezTo>
                <a:cubicBezTo>
                  <a:pt x="1420661" y="1553196"/>
                  <a:pt x="1429282" y="1565858"/>
                  <a:pt x="1436618" y="1580240"/>
                </a:cubicBezTo>
                <a:cubicBezTo>
                  <a:pt x="1443955" y="1594623"/>
                  <a:pt x="1450006" y="1610746"/>
                  <a:pt x="1448265" y="1638081"/>
                </a:cubicBezTo>
                <a:cubicBezTo>
                  <a:pt x="1446545" y="1665415"/>
                  <a:pt x="1437054" y="1703962"/>
                  <a:pt x="1432577" y="1733037"/>
                </a:cubicBezTo>
                <a:cubicBezTo>
                  <a:pt x="1428122" y="1762092"/>
                  <a:pt x="1428702" y="1781656"/>
                  <a:pt x="1436598" y="1799063"/>
                </a:cubicBezTo>
                <a:cubicBezTo>
                  <a:pt x="1444514" y="1816472"/>
                  <a:pt x="1459767" y="1831724"/>
                  <a:pt x="1493568" y="1841216"/>
                </a:cubicBezTo>
                <a:cubicBezTo>
                  <a:pt x="1527368" y="1850707"/>
                  <a:pt x="1579737" y="1854458"/>
                  <a:pt x="1619299" y="1854168"/>
                </a:cubicBezTo>
                <a:cubicBezTo>
                  <a:pt x="1658861" y="1853878"/>
                  <a:pt x="1685616" y="1849568"/>
                  <a:pt x="1704039" y="1837050"/>
                </a:cubicBezTo>
                <a:cubicBezTo>
                  <a:pt x="1722463" y="1824533"/>
                  <a:pt x="1732514" y="1803809"/>
                  <a:pt x="1739290" y="1788577"/>
                </a:cubicBezTo>
                <a:cubicBezTo>
                  <a:pt x="1746046" y="1773324"/>
                  <a:pt x="1749507" y="1763543"/>
                  <a:pt x="1754108" y="1758507"/>
                </a:cubicBezTo>
                <a:cubicBezTo>
                  <a:pt x="1758709" y="1753471"/>
                  <a:pt x="1764470" y="1753181"/>
                  <a:pt x="1769071" y="1758507"/>
                </a:cubicBezTo>
                <a:cubicBezTo>
                  <a:pt x="1773671" y="1763833"/>
                  <a:pt x="1777132" y="1774754"/>
                  <a:pt x="1773526" y="1787562"/>
                </a:cubicBezTo>
                <a:cubicBezTo>
                  <a:pt x="1769920" y="1800369"/>
                  <a:pt x="1759289" y="1815042"/>
                  <a:pt x="1747621" y="1819497"/>
                </a:cubicBezTo>
                <a:cubicBezTo>
                  <a:pt x="1735975" y="1823953"/>
                  <a:pt x="1723312" y="1818212"/>
                  <a:pt x="1719271" y="1806110"/>
                </a:cubicBezTo>
                <a:cubicBezTo>
                  <a:pt x="1715251" y="1794028"/>
                  <a:pt x="1719851" y="1775604"/>
                  <a:pt x="1727478" y="1762092"/>
                </a:cubicBezTo>
                <a:cubicBezTo>
                  <a:pt x="1735104" y="1748559"/>
                  <a:pt x="1745756" y="1739938"/>
                  <a:pt x="1757258" y="1731297"/>
                </a:cubicBezTo>
                <a:cubicBezTo>
                  <a:pt x="1768760" y="1722655"/>
                  <a:pt x="1781132" y="1714034"/>
                  <a:pt x="1781857" y="1696626"/>
                </a:cubicBezTo>
                <a:cubicBezTo>
                  <a:pt x="1782583" y="1679218"/>
                  <a:pt x="1771640" y="1653043"/>
                  <a:pt x="1759123" y="1625563"/>
                </a:cubicBezTo>
                <a:cubicBezTo>
                  <a:pt x="1746606" y="1598084"/>
                  <a:pt x="1732514" y="1569319"/>
                  <a:pt x="1710650" y="1549175"/>
                </a:cubicBezTo>
                <a:cubicBezTo>
                  <a:pt x="1688786" y="1529032"/>
                  <a:pt x="1659151" y="1517530"/>
                  <a:pt x="1628065" y="1512349"/>
                </a:cubicBezTo>
                <a:cubicBezTo>
                  <a:pt x="1597000" y="1507168"/>
                  <a:pt x="1564485" y="1508329"/>
                  <a:pt x="1535989" y="1521260"/>
                </a:cubicBezTo>
                <a:cubicBezTo>
                  <a:pt x="1507515" y="1534213"/>
                  <a:pt x="1483040" y="1558957"/>
                  <a:pt x="1469528" y="1574624"/>
                </a:cubicBezTo>
                <a:cubicBezTo>
                  <a:pt x="1455995" y="1590312"/>
                  <a:pt x="1453425" y="1596923"/>
                  <a:pt x="1448100" y="1608280"/>
                </a:cubicBezTo>
                <a:cubicBezTo>
                  <a:pt x="1442773" y="1619636"/>
                  <a:pt x="1434712" y="1635760"/>
                  <a:pt x="1425946" y="1663384"/>
                </a:cubicBezTo>
                <a:cubicBezTo>
                  <a:pt x="1417179" y="1691009"/>
                  <a:pt x="1407667" y="1730136"/>
                  <a:pt x="1406527" y="1760351"/>
                </a:cubicBezTo>
                <a:cubicBezTo>
                  <a:pt x="1405367" y="1790567"/>
                  <a:pt x="1412579" y="1811850"/>
                  <a:pt x="1422215" y="1829693"/>
                </a:cubicBezTo>
                <a:cubicBezTo>
                  <a:pt x="1431852" y="1847537"/>
                  <a:pt x="1443934" y="1861919"/>
                  <a:pt x="1452866" y="1880115"/>
                </a:cubicBezTo>
                <a:cubicBezTo>
                  <a:pt x="1461777" y="1898310"/>
                  <a:pt x="1467539" y="1920319"/>
                  <a:pt x="1472139" y="1939737"/>
                </a:cubicBezTo>
                <a:cubicBezTo>
                  <a:pt x="1476740" y="1959155"/>
                  <a:pt x="1480201" y="1975983"/>
                  <a:pt x="1476885" y="1996769"/>
                </a:cubicBezTo>
                <a:cubicBezTo>
                  <a:pt x="1473569" y="2017555"/>
                  <a:pt x="1463497" y="2042299"/>
                  <a:pt x="1459332" y="2060205"/>
                </a:cubicBezTo>
                <a:cubicBezTo>
                  <a:pt x="1455166" y="2078110"/>
                  <a:pt x="1456886" y="2089197"/>
                  <a:pt x="1462212" y="2092430"/>
                </a:cubicBezTo>
                <a:cubicBezTo>
                  <a:pt x="1467539" y="2095663"/>
                  <a:pt x="1476450" y="2091063"/>
                  <a:pt x="1501339" y="2073157"/>
                </a:cubicBezTo>
                <a:cubicBezTo>
                  <a:pt x="1526228" y="2055252"/>
                  <a:pt x="1567075" y="2024021"/>
                  <a:pt x="1597083" y="2002592"/>
                </a:cubicBezTo>
                <a:cubicBezTo>
                  <a:pt x="1627071" y="1981164"/>
                  <a:pt x="1646219" y="1969497"/>
                  <a:pt x="1667586" y="1957705"/>
                </a:cubicBezTo>
                <a:cubicBezTo>
                  <a:pt x="1688952" y="1945913"/>
                  <a:pt x="1712536" y="1933976"/>
                  <a:pt x="1726856" y="1927987"/>
                </a:cubicBezTo>
                <a:cubicBezTo>
                  <a:pt x="1741176" y="1922018"/>
                  <a:pt x="1746212" y="1922018"/>
                  <a:pt x="1753258" y="1933520"/>
                </a:cubicBezTo>
                <a:cubicBezTo>
                  <a:pt x="1760304" y="1945022"/>
                  <a:pt x="1769361" y="1968046"/>
                  <a:pt x="1781816" y="1986034"/>
                </a:cubicBezTo>
                <a:cubicBezTo>
                  <a:pt x="1794271" y="2004022"/>
                  <a:pt x="1810083" y="2016954"/>
                  <a:pt x="1823616" y="2024809"/>
                </a:cubicBezTo>
                <a:cubicBezTo>
                  <a:pt x="1837148" y="2032642"/>
                  <a:pt x="1848360" y="2035378"/>
                  <a:pt x="1853044" y="2039129"/>
                </a:cubicBezTo>
                <a:cubicBezTo>
                  <a:pt x="1857727" y="2042880"/>
                  <a:pt x="1855841" y="2047625"/>
                  <a:pt x="1845417" y="2056392"/>
                </a:cubicBezTo>
                <a:cubicBezTo>
                  <a:pt x="1834993" y="2065158"/>
                  <a:pt x="1815989" y="2077965"/>
                  <a:pt x="1802685" y="2090420"/>
                </a:cubicBezTo>
                <a:cubicBezTo>
                  <a:pt x="1789380" y="2102855"/>
                  <a:pt x="1781754" y="2114957"/>
                  <a:pt x="1764283" y="2152281"/>
                </a:cubicBezTo>
                <a:cubicBezTo>
                  <a:pt x="1746813" y="2189605"/>
                  <a:pt x="1719478" y="2252191"/>
                  <a:pt x="1702132" y="2291753"/>
                </a:cubicBezTo>
                <a:cubicBezTo>
                  <a:pt x="1684807" y="2331314"/>
                  <a:pt x="1677450" y="2347852"/>
                  <a:pt x="1672207" y="2356639"/>
                </a:cubicBezTo>
                <a:cubicBezTo>
                  <a:pt x="1666964" y="2365405"/>
                  <a:pt x="1663793" y="2366421"/>
                  <a:pt x="1654654" y="2363043"/>
                </a:cubicBezTo>
                <a:cubicBezTo>
                  <a:pt x="1645515" y="2359665"/>
                  <a:pt x="1630407" y="2351893"/>
                  <a:pt x="1613082" y="2345054"/>
                </a:cubicBezTo>
                <a:cubicBezTo>
                  <a:pt x="1595757" y="2338215"/>
                  <a:pt x="1576173" y="2332330"/>
                  <a:pt x="1559925" y="2330174"/>
                </a:cubicBezTo>
                <a:cubicBezTo>
                  <a:pt x="1543678" y="2328019"/>
                  <a:pt x="1530726" y="2329594"/>
                  <a:pt x="1518498" y="2333345"/>
                </a:cubicBezTo>
                <a:cubicBezTo>
                  <a:pt x="1506271" y="2337096"/>
                  <a:pt x="1494770" y="2342982"/>
                  <a:pt x="1485112" y="2345075"/>
                </a:cubicBezTo>
                <a:cubicBezTo>
                  <a:pt x="1475476" y="2347168"/>
                  <a:pt x="1467704" y="2345427"/>
                  <a:pt x="1462813" y="2341759"/>
                </a:cubicBezTo>
                <a:cubicBezTo>
                  <a:pt x="1457923" y="2338091"/>
                  <a:pt x="1455912" y="2332475"/>
                  <a:pt x="1462523" y="2316435"/>
                </a:cubicBezTo>
                <a:cubicBezTo>
                  <a:pt x="1469134" y="2300394"/>
                  <a:pt x="1484387" y="2273930"/>
                  <a:pt x="1514022" y="2230907"/>
                </a:cubicBezTo>
                <a:cubicBezTo>
                  <a:pt x="1543657" y="2187885"/>
                  <a:pt x="1587675" y="2128324"/>
                  <a:pt x="1633868" y="2086462"/>
                </a:cubicBezTo>
                <a:cubicBezTo>
                  <a:pt x="1680041" y="2044600"/>
                  <a:pt x="1728390" y="2020436"/>
                  <a:pt x="1761050" y="2009494"/>
                </a:cubicBezTo>
                <a:cubicBezTo>
                  <a:pt x="1793711" y="1998551"/>
                  <a:pt x="1810684" y="2000852"/>
                  <a:pt x="1835718" y="2007773"/>
                </a:cubicBezTo>
                <a:cubicBezTo>
                  <a:pt x="1860753" y="2014675"/>
                  <a:pt x="1893849" y="2026197"/>
                  <a:pt x="1915422" y="2040579"/>
                </a:cubicBezTo>
                <a:cubicBezTo>
                  <a:pt x="1936996" y="2054962"/>
                  <a:pt x="1947068" y="2072225"/>
                  <a:pt x="1956414" y="2094378"/>
                </a:cubicBezTo>
                <a:cubicBezTo>
                  <a:pt x="1965761" y="2116532"/>
                  <a:pt x="1974402" y="2143577"/>
                  <a:pt x="1981593" y="2161420"/>
                </a:cubicBezTo>
                <a:cubicBezTo>
                  <a:pt x="1988785" y="2179263"/>
                  <a:pt x="1994546" y="2187885"/>
                  <a:pt x="1998421" y="2191781"/>
                </a:cubicBezTo>
                <a:cubicBezTo>
                  <a:pt x="2002297" y="2195656"/>
                  <a:pt x="2004328" y="2194806"/>
                  <a:pt x="2004473" y="2185874"/>
                </a:cubicBezTo>
                <a:cubicBezTo>
                  <a:pt x="2004618" y="2176963"/>
                  <a:pt x="2002898" y="2159970"/>
                  <a:pt x="1997717" y="2138106"/>
                </a:cubicBezTo>
                <a:cubicBezTo>
                  <a:pt x="1992536" y="2116242"/>
                  <a:pt x="1983915" y="2089488"/>
                  <a:pt x="1965781" y="2073364"/>
                </a:cubicBezTo>
                <a:cubicBezTo>
                  <a:pt x="1947648" y="2057262"/>
                  <a:pt x="1920023" y="2051791"/>
                  <a:pt x="1892688" y="2059127"/>
                </a:cubicBezTo>
                <a:cubicBezTo>
                  <a:pt x="1865353" y="2066463"/>
                  <a:pt x="1838309" y="2086607"/>
                  <a:pt x="1816155" y="2115517"/>
                </a:cubicBezTo>
                <a:cubicBezTo>
                  <a:pt x="1794001" y="2144427"/>
                  <a:pt x="1776738" y="2182123"/>
                  <a:pt x="1767682" y="2216504"/>
                </a:cubicBezTo>
                <a:cubicBezTo>
                  <a:pt x="1758626" y="2250885"/>
                  <a:pt x="1757755" y="2281971"/>
                  <a:pt x="1756740" y="2315771"/>
                </a:cubicBezTo>
                <a:cubicBezTo>
                  <a:pt x="1755724" y="2349572"/>
                  <a:pt x="1754585" y="2386129"/>
                  <a:pt x="1733280" y="2398211"/>
                </a:cubicBezTo>
                <a:cubicBezTo>
                  <a:pt x="1711997" y="2410293"/>
                  <a:pt x="1670549" y="2397921"/>
                  <a:pt x="1632148" y="2384554"/>
                </a:cubicBezTo>
                <a:cubicBezTo>
                  <a:pt x="1593747" y="2371187"/>
                  <a:pt x="1558350" y="2356784"/>
                  <a:pt x="1539637" y="2352183"/>
                </a:cubicBezTo>
                <a:cubicBezTo>
                  <a:pt x="1520944" y="2347582"/>
                  <a:pt x="1518913" y="2352763"/>
                  <a:pt x="1522519" y="2359229"/>
                </a:cubicBezTo>
                <a:cubicBezTo>
                  <a:pt x="1526125" y="2365695"/>
                  <a:pt x="1535326" y="2373467"/>
                  <a:pt x="1543947" y="2385549"/>
                </a:cubicBezTo>
                <a:cubicBezTo>
                  <a:pt x="1552589" y="2397631"/>
                  <a:pt x="1560630" y="2414023"/>
                  <a:pt x="1564381" y="2430727"/>
                </a:cubicBezTo>
                <a:cubicBezTo>
                  <a:pt x="1568111" y="2447409"/>
                  <a:pt x="1567552" y="2464382"/>
                  <a:pt x="1559200" y="2486412"/>
                </a:cubicBezTo>
                <a:cubicBezTo>
                  <a:pt x="1550848" y="2508420"/>
                  <a:pt x="1534746" y="2535465"/>
                  <a:pt x="1529710" y="2562364"/>
                </a:cubicBezTo>
                <a:cubicBezTo>
                  <a:pt x="1524674" y="2589264"/>
                  <a:pt x="1530726" y="2616019"/>
                  <a:pt x="1544963" y="2634587"/>
                </a:cubicBezTo>
                <a:cubicBezTo>
                  <a:pt x="1559200" y="2653156"/>
                  <a:pt x="1581644" y="2663497"/>
                  <a:pt x="1609124" y="2669984"/>
                </a:cubicBezTo>
                <a:cubicBezTo>
                  <a:pt x="1636604" y="2676449"/>
                  <a:pt x="1669119" y="2679040"/>
                  <a:pt x="1709821" y="2685526"/>
                </a:cubicBezTo>
                <a:cubicBezTo>
                  <a:pt x="1750543" y="2691992"/>
                  <a:pt x="1799452" y="2702354"/>
                  <a:pt x="1825481" y="2710706"/>
                </a:cubicBezTo>
                <a:cubicBezTo>
                  <a:pt x="1851510" y="2719057"/>
                  <a:pt x="1854681" y="2725378"/>
                  <a:pt x="1849666" y="2737274"/>
                </a:cubicBezTo>
                <a:cubicBezTo>
                  <a:pt x="1844650" y="2749169"/>
                  <a:pt x="1831449" y="2766640"/>
                  <a:pt x="1827284" y="2775385"/>
                </a:cubicBezTo>
                <a:cubicBezTo>
                  <a:pt x="1823118" y="2784130"/>
                  <a:pt x="1827968" y="2784130"/>
                  <a:pt x="1859468" y="2784130"/>
                </a:cubicBezTo>
                <a:lnTo>
                  <a:pt x="2089565" y="2784130"/>
                </a:lnTo>
                <a:lnTo>
                  <a:pt x="2566897" y="2782162"/>
                </a:lnTo>
                <a:cubicBezTo>
                  <a:pt x="2681106" y="2780193"/>
                  <a:pt x="2686826" y="2776235"/>
                  <a:pt x="2687966" y="2759884"/>
                </a:cubicBezTo>
                <a:cubicBezTo>
                  <a:pt x="2689106" y="2743532"/>
                  <a:pt x="2685645" y="2714747"/>
                  <a:pt x="2680464" y="2692303"/>
                </a:cubicBezTo>
                <a:cubicBezTo>
                  <a:pt x="2675283" y="2669859"/>
                  <a:pt x="2668382" y="2653757"/>
                  <a:pt x="2633566" y="2631872"/>
                </a:cubicBezTo>
                <a:cubicBezTo>
                  <a:pt x="2598750" y="2610009"/>
                  <a:pt x="2536019" y="2582384"/>
                  <a:pt x="2492291" y="2565701"/>
                </a:cubicBezTo>
                <a:cubicBezTo>
                  <a:pt x="2448564" y="2549018"/>
                  <a:pt x="2423820" y="2543257"/>
                  <a:pt x="2424110" y="2476651"/>
                </a:cubicBezTo>
                <a:cubicBezTo>
                  <a:pt x="2424400" y="2410044"/>
                  <a:pt x="2449725" y="2282572"/>
                  <a:pt x="2465247" y="2186330"/>
                </a:cubicBezTo>
                <a:cubicBezTo>
                  <a:pt x="2480790" y="2090089"/>
                  <a:pt x="2486530" y="2025057"/>
                  <a:pt x="2494592" y="1978159"/>
                </a:cubicBezTo>
                <a:cubicBezTo>
                  <a:pt x="2502653" y="1931261"/>
                  <a:pt x="2513015" y="1902496"/>
                  <a:pt x="2532289" y="1883202"/>
                </a:cubicBezTo>
                <a:cubicBezTo>
                  <a:pt x="2551562" y="1863929"/>
                  <a:pt x="2579767" y="1854148"/>
                  <a:pt x="2600200" y="1837175"/>
                </a:cubicBezTo>
                <a:cubicBezTo>
                  <a:pt x="2620634" y="1820202"/>
                  <a:pt x="2633297" y="1796038"/>
                  <a:pt x="2643928" y="1758051"/>
                </a:cubicBezTo>
                <a:cubicBezTo>
                  <a:pt x="2654580" y="1720064"/>
                  <a:pt x="2663201" y="1668275"/>
                  <a:pt x="2671553" y="1632029"/>
                </a:cubicBezTo>
                <a:cubicBezTo>
                  <a:pt x="2679904" y="1595783"/>
                  <a:pt x="2687945" y="1575059"/>
                  <a:pt x="2694577" y="1561817"/>
                </a:cubicBezTo>
                <a:cubicBezTo>
                  <a:pt x="2701188" y="1548574"/>
                  <a:pt x="2706369" y="1542834"/>
                  <a:pt x="2707239" y="1548305"/>
                </a:cubicBezTo>
                <a:cubicBezTo>
                  <a:pt x="2708110" y="1553776"/>
                  <a:pt x="2704649" y="1570459"/>
                  <a:pt x="2696877" y="1616217"/>
                </a:cubicBezTo>
                <a:cubicBezTo>
                  <a:pt x="2689106" y="1661975"/>
                  <a:pt x="2677024" y="1736768"/>
                  <a:pt x="2656300" y="1792308"/>
                </a:cubicBezTo>
                <a:cubicBezTo>
                  <a:pt x="2635576" y="1847848"/>
                  <a:pt x="2606231" y="1884094"/>
                  <a:pt x="2576306" y="1905377"/>
                </a:cubicBezTo>
                <a:cubicBezTo>
                  <a:pt x="2546381" y="1926660"/>
                  <a:pt x="2515875" y="1933002"/>
                  <a:pt x="2484810" y="1918329"/>
                </a:cubicBezTo>
                <a:cubicBezTo>
                  <a:pt x="2453745" y="1903657"/>
                  <a:pt x="2422079" y="1867970"/>
                  <a:pt x="2405251" y="1822813"/>
                </a:cubicBezTo>
                <a:cubicBezTo>
                  <a:pt x="2388423" y="1777635"/>
                  <a:pt x="2386413" y="1722966"/>
                  <a:pt x="2384113" y="1673912"/>
                </a:cubicBezTo>
                <a:cubicBezTo>
                  <a:pt x="2381812" y="1624859"/>
                  <a:pt x="2379222" y="1581401"/>
                  <a:pt x="2378642" y="1541984"/>
                </a:cubicBezTo>
                <a:cubicBezTo>
                  <a:pt x="2378062" y="1502567"/>
                  <a:pt x="2379512" y="1467171"/>
                  <a:pt x="2373751" y="1415527"/>
                </a:cubicBezTo>
                <a:cubicBezTo>
                  <a:pt x="2367990" y="1363883"/>
                  <a:pt x="2355058" y="1295971"/>
                  <a:pt x="2347141" y="1246918"/>
                </a:cubicBezTo>
                <a:cubicBezTo>
                  <a:pt x="2339225" y="1197865"/>
                  <a:pt x="2336344" y="1167649"/>
                  <a:pt x="2334769" y="1142615"/>
                </a:cubicBezTo>
                <a:cubicBezTo>
                  <a:pt x="2333194" y="1117580"/>
                  <a:pt x="2332904" y="1097727"/>
                  <a:pt x="2329153" y="1065211"/>
                </a:cubicBezTo>
                <a:cubicBezTo>
                  <a:pt x="2325423" y="1032695"/>
                  <a:pt x="2318211" y="987517"/>
                  <a:pt x="2304554" y="939335"/>
                </a:cubicBezTo>
                <a:cubicBezTo>
                  <a:pt x="2290897" y="891131"/>
                  <a:pt x="2270753" y="839922"/>
                  <a:pt x="2256641" y="796630"/>
                </a:cubicBezTo>
                <a:cubicBezTo>
                  <a:pt x="2242548" y="753317"/>
                  <a:pt x="2234487" y="717942"/>
                  <a:pt x="2230736" y="692327"/>
                </a:cubicBezTo>
                <a:cubicBezTo>
                  <a:pt x="2227005" y="666712"/>
                  <a:pt x="2227565" y="650900"/>
                  <a:pt x="2239502" y="643564"/>
                </a:cubicBezTo>
                <a:cubicBezTo>
                  <a:pt x="2251439" y="636227"/>
                  <a:pt x="2274753" y="637388"/>
                  <a:pt x="2294026" y="635647"/>
                </a:cubicBezTo>
                <a:cubicBezTo>
                  <a:pt x="2313299" y="633927"/>
                  <a:pt x="2328552" y="629326"/>
                  <a:pt x="2342789" y="621700"/>
                </a:cubicBezTo>
                <a:cubicBezTo>
                  <a:pt x="2357027" y="614074"/>
                  <a:pt x="2370269" y="603422"/>
                  <a:pt x="2378621" y="587174"/>
                </a:cubicBezTo>
                <a:cubicBezTo>
                  <a:pt x="2386973" y="570927"/>
                  <a:pt x="2390413" y="549042"/>
                  <a:pt x="2391283" y="534080"/>
                </a:cubicBezTo>
                <a:cubicBezTo>
                  <a:pt x="2392154" y="519117"/>
                  <a:pt x="2390413" y="511055"/>
                  <a:pt x="2374601" y="480426"/>
                </a:cubicBezTo>
                <a:cubicBezTo>
                  <a:pt x="2358768" y="449775"/>
                  <a:pt x="2328842" y="396556"/>
                  <a:pt x="2310004" y="360020"/>
                </a:cubicBezTo>
                <a:cubicBezTo>
                  <a:pt x="2291166" y="323484"/>
                  <a:pt x="2283395" y="303630"/>
                  <a:pt x="2266567" y="280171"/>
                </a:cubicBezTo>
                <a:cubicBezTo>
                  <a:pt x="2249739" y="256712"/>
                  <a:pt x="2223835" y="229667"/>
                  <a:pt x="2203691" y="213564"/>
                </a:cubicBezTo>
                <a:cubicBezTo>
                  <a:pt x="2183548" y="197441"/>
                  <a:pt x="2169165" y="192281"/>
                  <a:pt x="2153622" y="194291"/>
                </a:cubicBezTo>
                <a:cubicBezTo>
                  <a:pt x="2138079" y="196302"/>
                  <a:pt x="2121397" y="205503"/>
                  <a:pt x="2109315" y="218310"/>
                </a:cubicBezTo>
                <a:cubicBezTo>
                  <a:pt x="2097233" y="231118"/>
                  <a:pt x="2089751" y="247510"/>
                  <a:pt x="2085731" y="264214"/>
                </a:cubicBezTo>
                <a:cubicBezTo>
                  <a:pt x="2081710" y="280896"/>
                  <a:pt x="2081130" y="297869"/>
                  <a:pt x="2085006" y="308666"/>
                </a:cubicBezTo>
                <a:cubicBezTo>
                  <a:pt x="2088881" y="319463"/>
                  <a:pt x="2097233" y="324064"/>
                  <a:pt x="2107595" y="327794"/>
                </a:cubicBezTo>
                <a:cubicBezTo>
                  <a:pt x="2117956" y="331525"/>
                  <a:pt x="2130329" y="334405"/>
                  <a:pt x="2138245" y="329660"/>
                </a:cubicBezTo>
                <a:cubicBezTo>
                  <a:pt x="2146162" y="324914"/>
                  <a:pt x="2149602" y="312542"/>
                  <a:pt x="2151343" y="299299"/>
                </a:cubicBezTo>
                <a:cubicBezTo>
                  <a:pt x="2153063" y="286057"/>
                  <a:pt x="2153063" y="271964"/>
                  <a:pt x="2155508" y="263053"/>
                </a:cubicBezTo>
                <a:cubicBezTo>
                  <a:pt x="2157954" y="254142"/>
                  <a:pt x="2162844" y="250391"/>
                  <a:pt x="2173641" y="251261"/>
                </a:cubicBezTo>
                <a:cubicBezTo>
                  <a:pt x="2184438" y="252132"/>
                  <a:pt x="2201121" y="257582"/>
                  <a:pt x="2215068" y="262058"/>
                </a:cubicBezTo>
                <a:cubicBezTo>
                  <a:pt x="2229016" y="266514"/>
                  <a:pt x="2240248" y="269975"/>
                  <a:pt x="2248019" y="269975"/>
                </a:cubicBezTo>
                <a:cubicBezTo>
                  <a:pt x="2255791" y="269975"/>
                  <a:pt x="2260101" y="266514"/>
                  <a:pt x="2262257" y="259903"/>
                </a:cubicBezTo>
                <a:cubicBezTo>
                  <a:pt x="2264412" y="253292"/>
                  <a:pt x="2264412" y="243510"/>
                  <a:pt x="2259749" y="230993"/>
                </a:cubicBezTo>
                <a:cubicBezTo>
                  <a:pt x="2255066" y="218476"/>
                  <a:pt x="2245719" y="203223"/>
                  <a:pt x="2231337" y="190851"/>
                </a:cubicBezTo>
                <a:cubicBezTo>
                  <a:pt x="2216954" y="178479"/>
                  <a:pt x="2197536" y="168987"/>
                  <a:pt x="2181351" y="163309"/>
                </a:cubicBezTo>
                <a:cubicBezTo>
                  <a:pt x="2165165" y="157631"/>
                  <a:pt x="2152213" y="155766"/>
                  <a:pt x="2141354" y="157548"/>
                </a:cubicBezTo>
                <a:cubicBezTo>
                  <a:pt x="2130495" y="159330"/>
                  <a:pt x="2121708" y="164822"/>
                  <a:pt x="2113377" y="169485"/>
                </a:cubicBezTo>
                <a:cubicBezTo>
                  <a:pt x="2105046" y="174148"/>
                  <a:pt x="2097129" y="178044"/>
                  <a:pt x="2082726" y="176469"/>
                </a:cubicBezTo>
                <a:cubicBezTo>
                  <a:pt x="2068344" y="174894"/>
                  <a:pt x="2047475" y="167827"/>
                  <a:pt x="2031870" y="162086"/>
                </a:cubicBezTo>
                <a:cubicBezTo>
                  <a:pt x="2016265" y="156325"/>
                  <a:pt x="2005903" y="151870"/>
                  <a:pt x="1991955" y="137280"/>
                </a:cubicBezTo>
                <a:cubicBezTo>
                  <a:pt x="1978008" y="122670"/>
                  <a:pt x="1960455" y="97925"/>
                  <a:pt x="1950528" y="77222"/>
                </a:cubicBezTo>
                <a:cubicBezTo>
                  <a:pt x="1940602" y="56498"/>
                  <a:pt x="1938302" y="39816"/>
                  <a:pt x="1938737" y="27008"/>
                </a:cubicBezTo>
                <a:cubicBezTo>
                  <a:pt x="1939172" y="14201"/>
                  <a:pt x="1942343" y="5290"/>
                  <a:pt x="1947669" y="1725"/>
                </a:cubicBezTo>
                <a:cubicBezTo>
                  <a:pt x="1952995" y="-1839"/>
                  <a:pt x="1960538" y="-16"/>
                  <a:pt x="1970755" y="8461"/>
                </a:cubicBezTo>
                <a:cubicBezTo>
                  <a:pt x="1980972" y="16957"/>
                  <a:pt x="1993883" y="32127"/>
                  <a:pt x="2009260" y="49494"/>
                </a:cubicBezTo>
                <a:lnTo>
                  <a:pt x="2058292" y="104412"/>
                </a:lnTo>
                <a:cubicBezTo>
                  <a:pt x="2074125" y="122400"/>
                  <a:pt x="2087928" y="138793"/>
                  <a:pt x="2093544" y="149010"/>
                </a:cubicBezTo>
                <a:cubicBezTo>
                  <a:pt x="2099160" y="159227"/>
                  <a:pt x="2096570" y="163247"/>
                  <a:pt x="2084487" y="165837"/>
                </a:cubicBezTo>
                <a:cubicBezTo>
                  <a:pt x="2072405" y="168428"/>
                  <a:pt x="2050832" y="169568"/>
                  <a:pt x="2039599" y="172593"/>
                </a:cubicBezTo>
                <a:cubicBezTo>
                  <a:pt x="2028388" y="175619"/>
                  <a:pt x="2027518" y="180510"/>
                  <a:pt x="2028657" y="186976"/>
                </a:cubicBezTo>
                <a:cubicBezTo>
                  <a:pt x="2029818" y="193442"/>
                  <a:pt x="2032968" y="201503"/>
                  <a:pt x="2037424" y="210435"/>
                </a:cubicBezTo>
                <a:cubicBezTo>
                  <a:pt x="2041879" y="219367"/>
                  <a:pt x="2047640" y="229128"/>
                  <a:pt x="2052531" y="240360"/>
                </a:cubicBezTo>
                <a:cubicBezTo>
                  <a:pt x="2057422" y="251572"/>
                  <a:pt x="2061442" y="264234"/>
                  <a:pt x="2063183" y="276606"/>
                </a:cubicBezTo>
                <a:cubicBezTo>
                  <a:pt x="2064903" y="288979"/>
                  <a:pt x="2064344" y="301061"/>
                  <a:pt x="2061173" y="308832"/>
                </a:cubicBezTo>
                <a:cubicBezTo>
                  <a:pt x="2058002" y="316604"/>
                  <a:pt x="2052262" y="320044"/>
                  <a:pt x="2047226" y="318324"/>
                </a:cubicBezTo>
                <a:cubicBezTo>
                  <a:pt x="2042190" y="316604"/>
                  <a:pt x="2037879" y="309682"/>
                  <a:pt x="2037009" y="303216"/>
                </a:cubicBezTo>
                <a:cubicBezTo>
                  <a:pt x="2036139" y="296750"/>
                  <a:pt x="2038729" y="290699"/>
                  <a:pt x="2039890" y="281932"/>
                </a:cubicBezTo>
                <a:cubicBezTo>
                  <a:pt x="2041050" y="273166"/>
                  <a:pt x="2040760" y="261644"/>
                  <a:pt x="2037589" y="253168"/>
                </a:cubicBezTo>
                <a:cubicBezTo>
                  <a:pt x="2034419" y="244671"/>
                  <a:pt x="2028388" y="239221"/>
                  <a:pt x="2017301" y="238640"/>
                </a:cubicBezTo>
                <a:cubicBezTo>
                  <a:pt x="2006213" y="238060"/>
                  <a:pt x="1990111" y="242371"/>
                  <a:pt x="1980039" y="250142"/>
                </a:cubicBezTo>
                <a:cubicBezTo>
                  <a:pt x="1969967" y="257914"/>
                  <a:pt x="1965947" y="269125"/>
                  <a:pt x="1965367" y="281207"/>
                </a:cubicBezTo>
                <a:cubicBezTo>
                  <a:pt x="1964786" y="293289"/>
                  <a:pt x="1967667" y="306242"/>
                  <a:pt x="1979604" y="326820"/>
                </a:cubicBezTo>
                <a:cubicBezTo>
                  <a:pt x="1991541" y="347399"/>
                  <a:pt x="2012555" y="375584"/>
                  <a:pt x="2042625" y="396598"/>
                </a:cubicBezTo>
                <a:cubicBezTo>
                  <a:pt x="2072696" y="417612"/>
                  <a:pt x="2111822" y="431414"/>
                  <a:pt x="2145208" y="455288"/>
                </a:cubicBezTo>
                <a:cubicBezTo>
                  <a:pt x="2178594" y="479161"/>
                  <a:pt x="2206199" y="513128"/>
                  <a:pt x="2223752" y="542183"/>
                </a:cubicBezTo>
                <a:cubicBezTo>
                  <a:pt x="2241305" y="571237"/>
                  <a:pt x="2248786" y="595422"/>
                  <a:pt x="2264889" y="604624"/>
                </a:cubicBezTo>
                <a:cubicBezTo>
                  <a:pt x="2281012" y="613825"/>
                  <a:pt x="2305756" y="608084"/>
                  <a:pt x="2331640" y="595132"/>
                </a:cubicBezTo>
                <a:cubicBezTo>
                  <a:pt x="2357545" y="582180"/>
                  <a:pt x="2384590" y="562036"/>
                  <a:pt x="2408753" y="561746"/>
                </a:cubicBezTo>
                <a:cubicBezTo>
                  <a:pt x="2432917" y="561456"/>
                  <a:pt x="2454222" y="581019"/>
                  <a:pt x="2486157" y="631088"/>
                </a:cubicBezTo>
                <a:cubicBezTo>
                  <a:pt x="2518092" y="681157"/>
                  <a:pt x="2560680" y="761710"/>
                  <a:pt x="2597797" y="831052"/>
                </a:cubicBezTo>
                <a:cubicBezTo>
                  <a:pt x="2634913" y="900394"/>
                  <a:pt x="2666558" y="958525"/>
                  <a:pt x="2689292" y="1008013"/>
                </a:cubicBezTo>
                <a:cubicBezTo>
                  <a:pt x="2712026" y="1057502"/>
                  <a:pt x="2725828" y="1098369"/>
                  <a:pt x="2728999" y="1141081"/>
                </a:cubicBezTo>
                <a:cubicBezTo>
                  <a:pt x="2732170" y="1183814"/>
                  <a:pt x="2724689" y="1228412"/>
                  <a:pt x="2722098" y="1265963"/>
                </a:cubicBezTo>
                <a:cubicBezTo>
                  <a:pt x="2719508" y="1303515"/>
                  <a:pt x="2721808" y="1334020"/>
                  <a:pt x="2726409" y="1370556"/>
                </a:cubicBezTo>
                <a:cubicBezTo>
                  <a:pt x="2731009" y="1407093"/>
                  <a:pt x="2737911" y="1449680"/>
                  <a:pt x="2748998" y="1502194"/>
                </a:cubicBezTo>
                <a:cubicBezTo>
                  <a:pt x="2760085" y="1554709"/>
                  <a:pt x="2775317" y="1617150"/>
                  <a:pt x="2793596" y="1683756"/>
                </a:cubicBezTo>
                <a:cubicBezTo>
                  <a:pt x="2811874" y="1750362"/>
                  <a:pt x="2833158" y="1821155"/>
                  <a:pt x="2841924" y="1899699"/>
                </a:cubicBezTo>
                <a:cubicBezTo>
                  <a:pt x="2850711" y="1978242"/>
                  <a:pt x="2846959" y="2064557"/>
                  <a:pt x="2835872" y="2160094"/>
                </a:cubicBezTo>
                <a:cubicBezTo>
                  <a:pt x="2824785" y="2255610"/>
                  <a:pt x="2806382" y="2360348"/>
                  <a:pt x="2789119" y="2458476"/>
                </a:cubicBezTo>
                <a:cubicBezTo>
                  <a:pt x="2771856" y="2556582"/>
                  <a:pt x="2755733" y="2648078"/>
                  <a:pt x="2737620" y="2693547"/>
                </a:cubicBezTo>
                <a:cubicBezTo>
                  <a:pt x="2719487" y="2739015"/>
                  <a:pt x="2699343" y="2738434"/>
                  <a:pt x="2657626" y="2723762"/>
                </a:cubicBezTo>
                <a:cubicBezTo>
                  <a:pt x="2615909" y="2709089"/>
                  <a:pt x="2552598" y="2680325"/>
                  <a:pt x="2479816" y="2656720"/>
                </a:cubicBezTo>
                <a:cubicBezTo>
                  <a:pt x="2407013" y="2633136"/>
                  <a:pt x="2324739" y="2614713"/>
                  <a:pt x="2254237" y="2611832"/>
                </a:cubicBezTo>
                <a:cubicBezTo>
                  <a:pt x="2183734" y="2608952"/>
                  <a:pt x="2125044" y="2621614"/>
                  <a:pt x="2082166" y="2636287"/>
                </a:cubicBezTo>
                <a:cubicBezTo>
                  <a:pt x="2039289" y="2650959"/>
                  <a:pt x="2012244" y="2667642"/>
                  <a:pt x="1994401" y="2663621"/>
                </a:cubicBezTo>
                <a:cubicBezTo>
                  <a:pt x="1976558" y="2659601"/>
                  <a:pt x="1967936" y="2634856"/>
                  <a:pt x="1965346" y="2610382"/>
                </a:cubicBezTo>
                <a:cubicBezTo>
                  <a:pt x="1962756" y="2585927"/>
                  <a:pt x="1966217" y="2561763"/>
                  <a:pt x="1972537" y="2529538"/>
                </a:cubicBezTo>
                <a:cubicBezTo>
                  <a:pt x="1978858" y="2497312"/>
                  <a:pt x="1988080" y="2457025"/>
                  <a:pt x="2001302" y="2410127"/>
                </a:cubicBezTo>
                <a:cubicBezTo>
                  <a:pt x="2014544" y="2363229"/>
                  <a:pt x="2031808" y="2309720"/>
                  <a:pt x="2065173" y="2234762"/>
                </a:cubicBezTo>
                <a:cubicBezTo>
                  <a:pt x="2098559" y="2159804"/>
                  <a:pt x="2148048" y="2063417"/>
                  <a:pt x="2185164" y="1982428"/>
                </a:cubicBezTo>
                <a:cubicBezTo>
                  <a:pt x="2222280" y="1901439"/>
                  <a:pt x="2247025" y="1835828"/>
                  <a:pt x="2272639" y="1790940"/>
                </a:cubicBezTo>
                <a:cubicBezTo>
                  <a:pt x="2298254" y="1746052"/>
                  <a:pt x="2324718" y="1721888"/>
                  <a:pt x="2341691" y="1698284"/>
                </a:cubicBezTo>
                <a:cubicBezTo>
                  <a:pt x="2358664" y="1674700"/>
                  <a:pt x="2366145" y="1651675"/>
                  <a:pt x="2369026" y="1632962"/>
                </a:cubicBezTo>
                <a:cubicBezTo>
                  <a:pt x="2371907" y="1614269"/>
                  <a:pt x="2370186" y="1599866"/>
                  <a:pt x="2351473" y="1607927"/>
                </a:cubicBezTo>
                <a:cubicBezTo>
                  <a:pt x="2332780" y="1615989"/>
                  <a:pt x="2297093" y="1646474"/>
                  <a:pt x="2270774" y="1653541"/>
                </a:cubicBezTo>
                <a:cubicBezTo>
                  <a:pt x="2244455" y="1660587"/>
                  <a:pt x="2227482" y="1644194"/>
                  <a:pt x="2210343" y="1626206"/>
                </a:cubicBezTo>
                <a:cubicBezTo>
                  <a:pt x="2193225" y="1608218"/>
                  <a:pt x="2175963" y="1588654"/>
                  <a:pt x="2164585" y="1571972"/>
                </a:cubicBezTo>
                <a:cubicBezTo>
                  <a:pt x="2153229" y="1555289"/>
                  <a:pt x="2147757" y="1541466"/>
                  <a:pt x="2149623" y="1525364"/>
                </a:cubicBezTo>
                <a:cubicBezTo>
                  <a:pt x="2151488" y="1509261"/>
                  <a:pt x="2160710" y="1490838"/>
                  <a:pt x="2171776" y="1480476"/>
                </a:cubicBezTo>
                <a:cubicBezTo>
                  <a:pt x="2182863" y="1470114"/>
                  <a:pt x="2195795" y="1467814"/>
                  <a:pt x="2219690" y="1471710"/>
                </a:cubicBezTo>
                <a:cubicBezTo>
                  <a:pt x="2243564" y="1475585"/>
                  <a:pt x="2278380" y="1485657"/>
                  <a:pt x="2304575" y="1491128"/>
                </a:cubicBezTo>
                <a:cubicBezTo>
                  <a:pt x="2330749" y="1496599"/>
                  <a:pt x="2348302" y="1497449"/>
                  <a:pt x="2357939" y="1495148"/>
                </a:cubicBezTo>
                <a:cubicBezTo>
                  <a:pt x="2367575" y="1492848"/>
                  <a:pt x="2369295" y="1487377"/>
                  <a:pt x="2365130" y="1468539"/>
                </a:cubicBezTo>
                <a:cubicBezTo>
                  <a:pt x="2360964" y="1449701"/>
                  <a:pt x="2350893" y="1417475"/>
                  <a:pt x="2343411" y="1383509"/>
                </a:cubicBezTo>
                <a:cubicBezTo>
                  <a:pt x="2335930" y="1349563"/>
                  <a:pt x="2331039" y="1313877"/>
                  <a:pt x="2328594" y="1282957"/>
                </a:cubicBezTo>
                <a:cubicBezTo>
                  <a:pt x="2326148" y="1252016"/>
                  <a:pt x="2326148" y="1225842"/>
                  <a:pt x="2324428" y="1207999"/>
                </a:cubicBezTo>
                <a:cubicBezTo>
                  <a:pt x="2322708" y="1190155"/>
                  <a:pt x="2319247" y="1180664"/>
                  <a:pt x="2305735" y="1175628"/>
                </a:cubicBezTo>
                <a:cubicBezTo>
                  <a:pt x="2292203" y="1170592"/>
                  <a:pt x="2268619" y="1170012"/>
                  <a:pt x="2240559" y="1175918"/>
                </a:cubicBezTo>
                <a:cubicBezTo>
                  <a:pt x="2212499" y="1181824"/>
                  <a:pt x="2179983" y="1194196"/>
                  <a:pt x="2155964" y="1209574"/>
                </a:cubicBezTo>
                <a:cubicBezTo>
                  <a:pt x="2131945" y="1224971"/>
                  <a:pt x="2116402" y="1243374"/>
                  <a:pt x="2105750" y="1260223"/>
                </a:cubicBezTo>
                <a:cubicBezTo>
                  <a:pt x="2095098" y="1277071"/>
                  <a:pt x="2089357" y="1292303"/>
                  <a:pt x="2085171" y="1297774"/>
                </a:cubicBezTo>
                <a:cubicBezTo>
                  <a:pt x="2081006" y="1303245"/>
                  <a:pt x="2078415" y="1298935"/>
                  <a:pt x="2074664" y="1286977"/>
                </a:cubicBezTo>
                <a:cubicBezTo>
                  <a:pt x="2070934" y="1275040"/>
                  <a:pt x="2066022" y="1255477"/>
                  <a:pt x="2069918" y="1234028"/>
                </a:cubicBezTo>
                <a:cubicBezTo>
                  <a:pt x="2073794" y="1212599"/>
                  <a:pt x="2086456" y="1189285"/>
                  <a:pt x="2108050" y="1171587"/>
                </a:cubicBezTo>
                <a:cubicBezTo>
                  <a:pt x="2129624" y="1153889"/>
                  <a:pt x="2160129" y="1141807"/>
                  <a:pt x="2189910" y="1136045"/>
                </a:cubicBezTo>
                <a:cubicBezTo>
                  <a:pt x="2219690" y="1130284"/>
                  <a:pt x="2248745" y="1130864"/>
                  <a:pt x="2269759" y="1132294"/>
                </a:cubicBezTo>
                <a:cubicBezTo>
                  <a:pt x="2290773" y="1133724"/>
                  <a:pt x="2303704" y="1136045"/>
                  <a:pt x="2308450" y="1125683"/>
                </a:cubicBezTo>
                <a:cubicBezTo>
                  <a:pt x="2313196" y="1115321"/>
                  <a:pt x="2309735" y="1092297"/>
                  <a:pt x="2307290" y="1074765"/>
                </a:cubicBezTo>
                <a:cubicBezTo>
                  <a:pt x="2304844" y="1057212"/>
                  <a:pt x="2303414" y="1045130"/>
                  <a:pt x="2297653" y="1036778"/>
                </a:cubicBezTo>
                <a:cubicBezTo>
                  <a:pt x="2291892" y="1028426"/>
                  <a:pt x="2281820" y="1023826"/>
                  <a:pt x="2262982" y="1022831"/>
                </a:cubicBezTo>
                <a:cubicBezTo>
                  <a:pt x="2244144" y="1021815"/>
                  <a:pt x="2216519" y="1024406"/>
                  <a:pt x="2194655" y="1035493"/>
                </a:cubicBezTo>
                <a:cubicBezTo>
                  <a:pt x="2172792" y="1046580"/>
                  <a:pt x="2156669" y="1066144"/>
                  <a:pt x="2144296" y="1081811"/>
                </a:cubicBezTo>
                <a:cubicBezTo>
                  <a:pt x="2131924" y="1097499"/>
                  <a:pt x="2123282" y="1109291"/>
                  <a:pt x="2106310" y="1120088"/>
                </a:cubicBezTo>
                <a:cubicBezTo>
                  <a:pt x="2089337" y="1130885"/>
                  <a:pt x="2064012" y="1140667"/>
                  <a:pt x="2043434" y="1152894"/>
                </a:cubicBezTo>
                <a:cubicBezTo>
                  <a:pt x="2022855" y="1165121"/>
                  <a:pt x="2007042" y="1179793"/>
                  <a:pt x="1998401" y="1194756"/>
                </a:cubicBezTo>
                <a:cubicBezTo>
                  <a:pt x="1989780" y="1209719"/>
                  <a:pt x="1988329" y="1224971"/>
                  <a:pt x="1991645" y="1239354"/>
                </a:cubicBezTo>
                <a:cubicBezTo>
                  <a:pt x="1994960" y="1253736"/>
                  <a:pt x="2003001" y="1267269"/>
                  <a:pt x="2014669" y="1279351"/>
                </a:cubicBezTo>
                <a:cubicBezTo>
                  <a:pt x="2026316" y="1291433"/>
                  <a:pt x="2041568" y="1302085"/>
                  <a:pt x="2051350" y="1309566"/>
                </a:cubicBezTo>
                <a:cubicBezTo>
                  <a:pt x="2061132" y="1317047"/>
                  <a:pt x="2065442" y="1321358"/>
                  <a:pt x="2064157" y="1331865"/>
                </a:cubicBezTo>
                <a:cubicBezTo>
                  <a:pt x="2062873" y="1342372"/>
                  <a:pt x="2055951" y="1359055"/>
                  <a:pt x="2053505" y="1376173"/>
                </a:cubicBezTo>
                <a:cubicBezTo>
                  <a:pt x="2051060" y="1393290"/>
                  <a:pt x="2053070" y="1410844"/>
                  <a:pt x="2057671" y="1437598"/>
                </a:cubicBezTo>
                <a:cubicBezTo>
                  <a:pt x="2062271" y="1464353"/>
                  <a:pt x="2069463" y="1500329"/>
                  <a:pt x="2084715" y="1526939"/>
                </a:cubicBezTo>
                <a:cubicBezTo>
                  <a:pt x="2099968" y="1553548"/>
                  <a:pt x="2123262" y="1570811"/>
                  <a:pt x="2142556" y="1590374"/>
                </a:cubicBezTo>
                <a:cubicBezTo>
                  <a:pt x="2161829" y="1609938"/>
                  <a:pt x="2177082" y="1631801"/>
                  <a:pt x="2188583" y="1652525"/>
                </a:cubicBezTo>
                <a:cubicBezTo>
                  <a:pt x="2200085" y="1673249"/>
                  <a:pt x="2207857" y="1692812"/>
                  <a:pt x="2211753" y="1709350"/>
                </a:cubicBezTo>
                <a:cubicBezTo>
                  <a:pt x="2215628" y="1725888"/>
                  <a:pt x="2215628" y="1739420"/>
                  <a:pt x="2213038" y="1751502"/>
                </a:cubicBezTo>
                <a:cubicBezTo>
                  <a:pt x="2210447" y="1763584"/>
                  <a:pt x="2205266" y="1774236"/>
                  <a:pt x="2193619" y="1786463"/>
                </a:cubicBezTo>
                <a:cubicBezTo>
                  <a:pt x="2181972" y="1798690"/>
                  <a:pt x="2163839" y="1812493"/>
                  <a:pt x="2145416" y="1826170"/>
                </a:cubicBezTo>
                <a:cubicBezTo>
                  <a:pt x="2126992" y="1839827"/>
                  <a:pt x="2108299" y="1853360"/>
                  <a:pt x="2094062" y="1865877"/>
                </a:cubicBezTo>
                <a:cubicBezTo>
                  <a:pt x="2079825" y="1878394"/>
                  <a:pt x="2070043" y="1889896"/>
                  <a:pt x="2067452" y="1897668"/>
                </a:cubicBezTo>
                <a:cubicBezTo>
                  <a:pt x="2064862" y="1905439"/>
                  <a:pt x="2069463" y="1909459"/>
                  <a:pt x="2076654" y="1913791"/>
                </a:cubicBezTo>
                <a:cubicBezTo>
                  <a:pt x="2083845" y="1918101"/>
                  <a:pt x="2093627" y="1922702"/>
                  <a:pt x="2097668" y="1937955"/>
                </a:cubicBezTo>
                <a:cubicBezTo>
                  <a:pt x="2101688" y="1953208"/>
                  <a:pt x="2099968" y="1979092"/>
                  <a:pt x="2095077" y="2004416"/>
                </a:cubicBezTo>
                <a:cubicBezTo>
                  <a:pt x="2090186" y="2029741"/>
                  <a:pt x="2082125" y="2054485"/>
                  <a:pt x="2059391" y="2109155"/>
                </a:cubicBezTo>
                <a:cubicBezTo>
                  <a:pt x="2036657" y="2163824"/>
                  <a:pt x="1999250" y="2248419"/>
                  <a:pt x="1969325" y="2331853"/>
                </a:cubicBezTo>
                <a:cubicBezTo>
                  <a:pt x="1939400" y="2415287"/>
                  <a:pt x="1916956" y="2497582"/>
                  <a:pt x="1904584" y="2574405"/>
                </a:cubicBezTo>
                <a:cubicBezTo>
                  <a:pt x="1892211" y="2651228"/>
                  <a:pt x="1889911" y="2722581"/>
                  <a:pt x="1892502" y="2764443"/>
                </a:cubicBezTo>
              </a:path>
            </a:pathLst>
          </a:custGeom>
          <a:noFill/>
          <a:ln w="25400" cap="rnd">
            <a:solidFill>
              <a:schemeClr val="accent1"/>
            </a:solidFill>
            <a:prstDash val="solid"/>
            <a:round/>
          </a:ln>
        </p:spPr>
        <p:txBody>
          <a:bodyPr rtlCol="0" anchor="ctr"/>
          <a:lstStyle/>
          <a:p>
            <a:endParaRPr lang="ja-JP" altLang="en-US"/>
          </a:p>
        </p:txBody>
      </p:sp>
    </p:spTree>
    <p:extLst>
      <p:ext uri="{BB962C8B-B14F-4D97-AF65-F5344CB8AC3E}">
        <p14:creationId xmlns:p14="http://schemas.microsoft.com/office/powerpoint/2010/main" val="33942415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テキスト プレースホルダー 8">
            <a:extLst>
              <a:ext uri="{FF2B5EF4-FFF2-40B4-BE49-F238E27FC236}">
                <a16:creationId xmlns:a16="http://schemas.microsoft.com/office/drawing/2014/main" id="{0A8FF62B-A5B7-17EF-FF2E-461F11B2E62E}"/>
              </a:ext>
            </a:extLst>
          </p:cNvPr>
          <p:cNvSpPr txBox="1">
            <a:spLocks/>
          </p:cNvSpPr>
          <p:nvPr/>
        </p:nvSpPr>
        <p:spPr>
          <a:xfrm>
            <a:off x="2138082" y="2425091"/>
            <a:ext cx="6091518" cy="512434"/>
          </a:xfrm>
          <a:prstGeom prst="rect">
            <a:avLst/>
          </a:prstGeom>
          <a:solidFill>
            <a:schemeClr val="accent2"/>
          </a:solidFill>
          <a:ln>
            <a:noFill/>
          </a:ln>
        </p:spPr>
        <p:txBody>
          <a:bodyPr vert="horz" wrap="square" lIns="216000" tIns="46800" rIns="108000" bIns="4680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kumimoji="1" lang="ja-JP" altLang="en-US" sz="1200" b="1" kern="1200" spc="0" dirty="0">
                <a:solidFill>
                  <a:schemeClr val="tx1"/>
                </a:solidFill>
                <a:latin typeface="+mn-ea"/>
                <a:ea typeface="+mn-ea"/>
                <a:cs typeface="ＭＳ Ｐゴシック"/>
              </a:defRPr>
            </a:lvl1pPr>
            <a:lvl2pPr marL="0" indent="0" algn="l" defTabSz="914400" rtl="0" eaLnBrk="1" latinLnBrk="0" hangingPunct="1">
              <a:lnSpc>
                <a:spcPct val="120000"/>
              </a:lnSpc>
              <a:spcBef>
                <a:spcPts val="500"/>
              </a:spcBef>
              <a:buFont typeface="Arial" panose="020B0604020202020204" pitchFamily="34" charset="0"/>
              <a:buNone/>
              <a:defRPr kumimoji="1" sz="1600" b="1" kern="1200">
                <a:solidFill>
                  <a:schemeClr val="tx1"/>
                </a:solidFill>
                <a:latin typeface="+mn-lt"/>
                <a:ea typeface="+mn-ea"/>
                <a:cs typeface="+mn-cs"/>
              </a:defRPr>
            </a:lvl2pPr>
            <a:lvl3pPr marL="0" indent="0" algn="l" defTabSz="914400" rtl="0" eaLnBrk="1" latinLnBrk="0" hangingPunct="1">
              <a:lnSpc>
                <a:spcPct val="120000"/>
              </a:lnSpc>
              <a:spcBef>
                <a:spcPts val="500"/>
              </a:spcBef>
              <a:buFont typeface="Arial" panose="020B0604020202020204" pitchFamily="34" charset="0"/>
              <a:buNone/>
              <a:defRPr kumimoji="1" sz="12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b="1" i="0" u="none" strike="noStrike" kern="1200" cap="none" spc="0" normalizeH="0" baseline="0" noProof="0">
                <a:ln>
                  <a:noFill/>
                </a:ln>
                <a:solidFill>
                  <a:prstClr val="black"/>
                </a:solidFill>
                <a:effectLst/>
                <a:uLnTx/>
                <a:uFillTx/>
                <a:latin typeface="游ゴシック"/>
                <a:ea typeface="游ゴシック"/>
              </a:rPr>
              <a:t>地域環境・建築用途等を考慮し、使いやすさに重点を置き、お客様が安全・安心してご使用いただけるプランニングを提案させていただきます。</a:t>
            </a:r>
          </a:p>
        </p:txBody>
      </p:sp>
      <p:sp>
        <p:nvSpPr>
          <p:cNvPr id="33" name="テキスト プレースホルダー 8">
            <a:extLst>
              <a:ext uri="{FF2B5EF4-FFF2-40B4-BE49-F238E27FC236}">
                <a16:creationId xmlns:a16="http://schemas.microsoft.com/office/drawing/2014/main" id="{E2D712EC-BE0E-CBF1-415F-95C51E07D053}"/>
              </a:ext>
            </a:extLst>
          </p:cNvPr>
          <p:cNvSpPr txBox="1">
            <a:spLocks/>
          </p:cNvSpPr>
          <p:nvPr/>
        </p:nvSpPr>
        <p:spPr>
          <a:xfrm>
            <a:off x="2138082" y="3011745"/>
            <a:ext cx="6091518" cy="576000"/>
          </a:xfrm>
          <a:prstGeom prst="rect">
            <a:avLst/>
          </a:prstGeom>
          <a:solidFill>
            <a:schemeClr val="accent2"/>
          </a:solidFill>
          <a:ln>
            <a:noFill/>
          </a:ln>
        </p:spPr>
        <p:txBody>
          <a:bodyPr vert="horz" wrap="square" lIns="216000" tIns="46800" rIns="108000" bIns="4680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kumimoji="1" lang="ja-JP" altLang="en-US" sz="1200" b="1" kern="1200" spc="0" dirty="0">
                <a:solidFill>
                  <a:schemeClr val="tx1"/>
                </a:solidFill>
                <a:latin typeface="+mn-ea"/>
                <a:ea typeface="+mn-ea"/>
                <a:cs typeface="ＭＳ Ｐゴシック"/>
              </a:defRPr>
            </a:lvl1pPr>
            <a:lvl2pPr marL="0" indent="0" algn="l" defTabSz="914400" rtl="0" eaLnBrk="1" latinLnBrk="0" hangingPunct="1">
              <a:lnSpc>
                <a:spcPct val="120000"/>
              </a:lnSpc>
              <a:spcBef>
                <a:spcPts val="500"/>
              </a:spcBef>
              <a:buFont typeface="Arial" panose="020B0604020202020204" pitchFamily="34" charset="0"/>
              <a:buNone/>
              <a:defRPr kumimoji="1" sz="1600" b="1" kern="1200">
                <a:solidFill>
                  <a:schemeClr val="tx1"/>
                </a:solidFill>
                <a:latin typeface="+mn-lt"/>
                <a:ea typeface="+mn-ea"/>
                <a:cs typeface="+mn-cs"/>
              </a:defRPr>
            </a:lvl2pPr>
            <a:lvl3pPr marL="0" indent="0" algn="l" defTabSz="914400" rtl="0" eaLnBrk="1" latinLnBrk="0" hangingPunct="1">
              <a:lnSpc>
                <a:spcPct val="120000"/>
              </a:lnSpc>
              <a:spcBef>
                <a:spcPts val="500"/>
              </a:spcBef>
              <a:buFont typeface="Arial" panose="020B0604020202020204" pitchFamily="34" charset="0"/>
              <a:buNone/>
              <a:defRPr kumimoji="1" sz="12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b="1" i="0" u="none" strike="noStrike" kern="1200" cap="none" spc="0" normalizeH="0" baseline="0" noProof="0" dirty="0">
                <a:ln>
                  <a:noFill/>
                </a:ln>
                <a:solidFill>
                  <a:prstClr val="black"/>
                </a:solidFill>
                <a:effectLst/>
                <a:uLnTx/>
                <a:uFillTx/>
                <a:latin typeface="游ゴシック"/>
                <a:ea typeface="游ゴシック"/>
              </a:rPr>
              <a:t>徹底した品質管理、施工管理、行程管理、安全管理、環境管理に務め、新築工事、リニューアル工事等</a:t>
            </a:r>
            <a:r>
              <a:rPr kumimoji="1" lang="ja-JP" altLang="en-US" sz="1000" b="1" i="0" u="none" strike="noStrike" kern="1200" cap="none" spc="0" normalizeH="0" baseline="0" noProof="0" dirty="0" smtClean="0">
                <a:ln>
                  <a:noFill/>
                </a:ln>
                <a:solidFill>
                  <a:prstClr val="black"/>
                </a:solidFill>
                <a:effectLst/>
                <a:uLnTx/>
                <a:uFillTx/>
                <a:latin typeface="游ゴシック"/>
                <a:ea typeface="游ゴシック"/>
              </a:rPr>
              <a:t>を、専門</a:t>
            </a:r>
            <a:r>
              <a:rPr kumimoji="1" lang="ja-JP" altLang="en-US" sz="1000" b="1" i="0" u="none" strike="noStrike" kern="1200" cap="none" spc="0" normalizeH="0" baseline="0" noProof="0" dirty="0">
                <a:ln>
                  <a:noFill/>
                </a:ln>
                <a:solidFill>
                  <a:prstClr val="black"/>
                </a:solidFill>
                <a:effectLst/>
                <a:uLnTx/>
                <a:uFillTx/>
                <a:latin typeface="游ゴシック"/>
                <a:ea typeface="游ゴシック"/>
              </a:rPr>
              <a:t>技術士による施工及び管理までを</a:t>
            </a:r>
            <a:r>
              <a:rPr kumimoji="1" lang="ja-JP" altLang="en-US" sz="1000" b="1" i="0" u="none" strike="noStrike" kern="1200" cap="none" spc="0" normalizeH="0" baseline="0" noProof="0" dirty="0" smtClean="0">
                <a:ln>
                  <a:noFill/>
                </a:ln>
                <a:solidFill>
                  <a:prstClr val="black"/>
                </a:solidFill>
                <a:effectLst/>
                <a:uLnTx/>
                <a:uFillTx/>
                <a:latin typeface="游ゴシック"/>
                <a:ea typeface="游ゴシック"/>
              </a:rPr>
              <a:t>請け負い「</a:t>
            </a:r>
            <a:r>
              <a:rPr kumimoji="1" lang="ja-JP" altLang="en-US" sz="1000" b="1" i="0" u="none" strike="noStrike" kern="1200" cap="none" spc="0" normalizeH="0" baseline="0" noProof="0" dirty="0">
                <a:ln>
                  <a:noFill/>
                </a:ln>
                <a:solidFill>
                  <a:prstClr val="black"/>
                </a:solidFill>
                <a:effectLst/>
                <a:uLnTx/>
                <a:uFillTx/>
                <a:latin typeface="游ゴシック"/>
                <a:ea typeface="游ゴシック"/>
              </a:rPr>
              <a:t>頼んで良かったと云われる工事」をモットーに取り組んでいます。</a:t>
            </a:r>
          </a:p>
        </p:txBody>
      </p:sp>
      <p:sp>
        <p:nvSpPr>
          <p:cNvPr id="35" name="テキスト プレースホルダー 8">
            <a:extLst>
              <a:ext uri="{FF2B5EF4-FFF2-40B4-BE49-F238E27FC236}">
                <a16:creationId xmlns:a16="http://schemas.microsoft.com/office/drawing/2014/main" id="{A49C4752-E338-B5BF-FE6B-E2F9CE4DEA97}"/>
              </a:ext>
            </a:extLst>
          </p:cNvPr>
          <p:cNvSpPr txBox="1">
            <a:spLocks/>
          </p:cNvSpPr>
          <p:nvPr/>
        </p:nvSpPr>
        <p:spPr>
          <a:xfrm>
            <a:off x="2138114" y="3661965"/>
            <a:ext cx="6091488" cy="576000"/>
          </a:xfrm>
          <a:prstGeom prst="rect">
            <a:avLst/>
          </a:prstGeom>
          <a:solidFill>
            <a:schemeClr val="accent2"/>
          </a:solidFill>
          <a:ln>
            <a:noFill/>
          </a:ln>
        </p:spPr>
        <p:txBody>
          <a:bodyPr vert="horz" wrap="square" lIns="216000" tIns="46800" rIns="108000" bIns="4680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kumimoji="1" lang="ja-JP" altLang="en-US" sz="1200" b="1" kern="1200" spc="0" dirty="0">
                <a:solidFill>
                  <a:schemeClr val="tx1"/>
                </a:solidFill>
                <a:latin typeface="+mn-ea"/>
                <a:ea typeface="+mn-ea"/>
                <a:cs typeface="ＭＳ Ｐゴシック"/>
              </a:defRPr>
            </a:lvl1pPr>
            <a:lvl2pPr marL="0" indent="0" algn="l" defTabSz="914400" rtl="0" eaLnBrk="1" latinLnBrk="0" hangingPunct="1">
              <a:lnSpc>
                <a:spcPct val="120000"/>
              </a:lnSpc>
              <a:spcBef>
                <a:spcPts val="500"/>
              </a:spcBef>
              <a:buFont typeface="Arial" panose="020B0604020202020204" pitchFamily="34" charset="0"/>
              <a:buNone/>
              <a:defRPr kumimoji="1" sz="1600" b="1" kern="1200">
                <a:solidFill>
                  <a:schemeClr val="tx1"/>
                </a:solidFill>
                <a:latin typeface="+mn-lt"/>
                <a:ea typeface="+mn-ea"/>
                <a:cs typeface="+mn-cs"/>
              </a:defRPr>
            </a:lvl2pPr>
            <a:lvl3pPr marL="0" indent="0" algn="l" defTabSz="914400" rtl="0" eaLnBrk="1" latinLnBrk="0" hangingPunct="1">
              <a:lnSpc>
                <a:spcPct val="120000"/>
              </a:lnSpc>
              <a:spcBef>
                <a:spcPts val="500"/>
              </a:spcBef>
              <a:buFont typeface="Arial" panose="020B0604020202020204" pitchFamily="34" charset="0"/>
              <a:buNone/>
              <a:defRPr kumimoji="1" sz="12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b="1" i="0" u="none" strike="noStrike" kern="1200" cap="none" spc="0" normalizeH="0" baseline="0" noProof="0">
                <a:ln>
                  <a:noFill/>
                </a:ln>
                <a:solidFill>
                  <a:prstClr val="black"/>
                </a:solidFill>
                <a:effectLst/>
                <a:uLnTx/>
                <a:uFillTx/>
                <a:latin typeface="游ゴシック"/>
                <a:ea typeface="游ゴシック"/>
              </a:rPr>
              <a:t>お客様の希望・要望を取り入れ、パフォーマンスに優れた金額提示に務めさせていただいております。</a:t>
            </a:r>
            <a:r>
              <a:rPr kumimoji="1" lang="en-US" altLang="ja-JP" sz="1000" b="1" i="0" u="none" strike="noStrike" kern="1200" cap="none" spc="0" normalizeH="0" baseline="0" noProof="0">
                <a:ln>
                  <a:noFill/>
                </a:ln>
                <a:solidFill>
                  <a:prstClr val="black"/>
                </a:solidFill>
                <a:effectLst/>
                <a:uLnTx/>
                <a:uFillTx/>
                <a:latin typeface="游ゴシック"/>
                <a:ea typeface="游ゴシック"/>
              </a:rPr>
              <a:t>VE(</a:t>
            </a:r>
            <a:r>
              <a:rPr kumimoji="1" lang="ja-JP" altLang="en-US" sz="1000" b="1" i="0" u="none" strike="noStrike" kern="1200" cap="none" spc="0" normalizeH="0" baseline="0" noProof="0">
                <a:ln>
                  <a:noFill/>
                </a:ln>
                <a:solidFill>
                  <a:prstClr val="black"/>
                </a:solidFill>
                <a:effectLst/>
                <a:uLnTx/>
                <a:uFillTx/>
                <a:latin typeface="游ゴシック"/>
                <a:ea typeface="游ゴシック"/>
              </a:rPr>
              <a:t>バリュー・エンジニアリング</a:t>
            </a:r>
            <a:r>
              <a:rPr kumimoji="1" lang="en-US" altLang="ja-JP" sz="1000" b="1" i="0" u="none" strike="noStrike" kern="1200" cap="none" spc="0" normalizeH="0" baseline="0" noProof="0">
                <a:ln>
                  <a:noFill/>
                </a:ln>
                <a:solidFill>
                  <a:prstClr val="black"/>
                </a:solidFill>
                <a:effectLst/>
                <a:uLnTx/>
                <a:uFillTx/>
                <a:latin typeface="游ゴシック"/>
                <a:ea typeface="游ゴシック"/>
              </a:rPr>
              <a:t>)</a:t>
            </a:r>
            <a:r>
              <a:rPr kumimoji="1" lang="ja-JP" altLang="en-US" sz="1000" b="1" i="0" u="none" strike="noStrike" kern="1200" cap="none" spc="0" normalizeH="0" baseline="0" noProof="0">
                <a:ln>
                  <a:noFill/>
                </a:ln>
                <a:solidFill>
                  <a:prstClr val="black"/>
                </a:solidFill>
                <a:effectLst/>
                <a:uLnTx/>
                <a:uFillTx/>
                <a:latin typeface="游ゴシック"/>
                <a:ea typeface="游ゴシック"/>
              </a:rPr>
              <a:t>等を積極的に取り入れ、ご満足いただけるよう日々努力還元いたしております。</a:t>
            </a:r>
            <a:endParaRPr kumimoji="1" lang="en-US" altLang="ja-JP" sz="1000" b="1" i="0" u="none" strike="noStrike" kern="1200" cap="none" spc="0" normalizeH="0" baseline="0" noProof="0">
              <a:ln>
                <a:noFill/>
              </a:ln>
              <a:solidFill>
                <a:prstClr val="black"/>
              </a:solidFill>
              <a:effectLst/>
              <a:uLnTx/>
              <a:uFillTx/>
              <a:latin typeface="游ゴシック"/>
              <a:ea typeface="游ゴシック"/>
            </a:endParaRPr>
          </a:p>
        </p:txBody>
      </p:sp>
      <p:pic>
        <p:nvPicPr>
          <p:cNvPr id="53" name="図プレースホルダー 9">
            <a:extLst>
              <a:ext uri="{FF2B5EF4-FFF2-40B4-BE49-F238E27FC236}">
                <a16:creationId xmlns:a16="http://schemas.microsoft.com/office/drawing/2014/main" id="{52C2417A-AA0B-B4F5-59D9-DF65AC1AB8D7}"/>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1153213" y="4645296"/>
            <a:ext cx="4090267" cy="1893552"/>
          </a:xfrm>
          <a:prstGeom prst="rect">
            <a:avLst/>
          </a:prstGeom>
        </p:spPr>
      </p:pic>
      <p:sp>
        <p:nvSpPr>
          <p:cNvPr id="3" name="タイトル 2"/>
          <p:cNvSpPr>
            <a:spLocks noGrp="1"/>
          </p:cNvSpPr>
          <p:nvPr>
            <p:ph type="title"/>
          </p:nvPr>
        </p:nvSpPr>
        <p:spPr/>
        <p:txBody>
          <a:bodyPr/>
          <a:lstStyle/>
          <a:p>
            <a:r>
              <a:rPr kumimoji="1" lang="ja-JP" altLang="en-US"/>
              <a:t>食堂施設プラン　シダックスエンジニアリング</a:t>
            </a:r>
          </a:p>
        </p:txBody>
      </p:sp>
      <p:sp>
        <p:nvSpPr>
          <p:cNvPr id="41" name="テキスト プレースホルダー 40">
            <a:extLst>
              <a:ext uri="{FF2B5EF4-FFF2-40B4-BE49-F238E27FC236}">
                <a16:creationId xmlns:a16="http://schemas.microsoft.com/office/drawing/2014/main" id="{121CF5A0-E1C1-4C61-0B12-5F9FA932390A}"/>
              </a:ext>
            </a:extLst>
          </p:cNvPr>
          <p:cNvSpPr>
            <a:spLocks noGrp="1"/>
          </p:cNvSpPr>
          <p:nvPr>
            <p:ph type="body" sz="quarter" idx="13"/>
          </p:nvPr>
        </p:nvSpPr>
        <p:spPr/>
        <p:txBody>
          <a:bodyPr>
            <a:normAutofit/>
          </a:bodyPr>
          <a:lstStyle/>
          <a:p>
            <a:r>
              <a:rPr lang="en-US" altLang="ja-JP"/>
              <a:t>02 </a:t>
            </a:r>
            <a:r>
              <a:rPr lang="ja-JP" altLang="en-US"/>
              <a:t>空間装飾</a:t>
            </a:r>
          </a:p>
        </p:txBody>
      </p:sp>
      <p:pic>
        <p:nvPicPr>
          <p:cNvPr id="37" name="グラフィックス 36">
            <a:extLst>
              <a:ext uri="{FF2B5EF4-FFF2-40B4-BE49-F238E27FC236}">
                <a16:creationId xmlns:a16="http://schemas.microsoft.com/office/drawing/2014/main" id="{98E488A0-B2D8-F536-B3EF-84D7D0014DEF}"/>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8406818" y="210781"/>
            <a:ext cx="1026676" cy="233049"/>
          </a:xfrm>
          <a:prstGeom prst="rect">
            <a:avLst/>
          </a:prstGeom>
        </p:spPr>
      </p:pic>
      <p:sp>
        <p:nvSpPr>
          <p:cNvPr id="27" name="テキスト プレースホルダー 8">
            <a:extLst>
              <a:ext uri="{FF2B5EF4-FFF2-40B4-BE49-F238E27FC236}">
                <a16:creationId xmlns:a16="http://schemas.microsoft.com/office/drawing/2014/main" id="{8A586ADD-AF63-64B3-537B-024B98BDE1A9}"/>
              </a:ext>
            </a:extLst>
          </p:cNvPr>
          <p:cNvSpPr txBox="1">
            <a:spLocks/>
          </p:cNvSpPr>
          <p:nvPr/>
        </p:nvSpPr>
        <p:spPr>
          <a:xfrm>
            <a:off x="453808" y="2425091"/>
            <a:ext cx="1800000" cy="518400"/>
          </a:xfrm>
          <a:prstGeom prst="roundRect">
            <a:avLst>
              <a:gd name="adj" fmla="val 21780"/>
            </a:avLst>
          </a:prstGeom>
          <a:solidFill>
            <a:schemeClr val="bg1"/>
          </a:solidFill>
          <a:ln w="19050">
            <a:solidFill>
              <a:schemeClr val="accent1"/>
            </a:solidFill>
          </a:ln>
        </p:spPr>
        <p:txBody>
          <a:bodyPr vert="horz" wrap="squar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kumimoji="1" lang="ja-JP" altLang="en-US" sz="1200" b="1" kern="1200" spc="0" dirty="0">
                <a:solidFill>
                  <a:schemeClr val="tx1"/>
                </a:solidFill>
                <a:latin typeface="+mn-ea"/>
                <a:ea typeface="+mn-ea"/>
                <a:cs typeface="ＭＳ Ｐゴシック"/>
              </a:defRPr>
            </a:lvl1pPr>
            <a:lvl2pPr marL="0" indent="0" algn="l" defTabSz="914400" rtl="0" eaLnBrk="1" latinLnBrk="0" hangingPunct="1">
              <a:lnSpc>
                <a:spcPct val="120000"/>
              </a:lnSpc>
              <a:spcBef>
                <a:spcPts val="500"/>
              </a:spcBef>
              <a:buFont typeface="Arial" panose="020B0604020202020204" pitchFamily="34" charset="0"/>
              <a:buNone/>
              <a:defRPr kumimoji="1" sz="1600" b="1" kern="1200">
                <a:solidFill>
                  <a:schemeClr val="tx1"/>
                </a:solidFill>
                <a:latin typeface="+mn-lt"/>
                <a:ea typeface="+mn-ea"/>
                <a:cs typeface="+mn-cs"/>
              </a:defRPr>
            </a:lvl2pPr>
            <a:lvl3pPr marL="0" indent="0" algn="l" defTabSz="914400" rtl="0" eaLnBrk="1" latinLnBrk="0" hangingPunct="1">
              <a:lnSpc>
                <a:spcPct val="120000"/>
              </a:lnSpc>
              <a:spcBef>
                <a:spcPts val="500"/>
              </a:spcBef>
              <a:buFont typeface="Arial" panose="020B0604020202020204" pitchFamily="34" charset="0"/>
              <a:buNone/>
              <a:defRPr kumimoji="1" sz="12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1" i="0" u="none" strike="noStrike" kern="1200" cap="none" spc="0" normalizeH="0" baseline="0" noProof="0">
                <a:ln>
                  <a:noFill/>
                </a:ln>
                <a:solidFill>
                  <a:schemeClr val="accent1"/>
                </a:solidFill>
                <a:effectLst/>
                <a:uLnTx/>
                <a:uFillTx/>
                <a:latin typeface="游ゴシック"/>
                <a:ea typeface="游ゴシック"/>
              </a:rPr>
              <a:t>環境に配慮した設計</a:t>
            </a:r>
          </a:p>
        </p:txBody>
      </p:sp>
      <p:sp>
        <p:nvSpPr>
          <p:cNvPr id="29" name="テキスト プレースホルダー 7">
            <a:extLst>
              <a:ext uri="{FF2B5EF4-FFF2-40B4-BE49-F238E27FC236}">
                <a16:creationId xmlns:a16="http://schemas.microsoft.com/office/drawing/2014/main" id="{99DED8AD-6C43-2AB4-9A5D-C65C87C05D76}"/>
              </a:ext>
            </a:extLst>
          </p:cNvPr>
          <p:cNvSpPr txBox="1">
            <a:spLocks/>
          </p:cNvSpPr>
          <p:nvPr/>
        </p:nvSpPr>
        <p:spPr>
          <a:xfrm>
            <a:off x="383811" y="2046056"/>
            <a:ext cx="2693618" cy="216081"/>
          </a:xfrm>
          <a:prstGeom prst="rect">
            <a:avLst/>
          </a:prstGeom>
          <a:noFill/>
        </p:spPr>
        <p:txBody>
          <a:bodyPr vert="horz" wrap="square" lIns="91440" tIns="45720" rIns="91440" bIns="45720" rtlCol="0" anchor="ctr">
            <a:noAutofit/>
          </a:bodyPr>
          <a:lstStyle>
            <a:lvl1pPr marL="0" indent="0" algn="l" defTabSz="914400" rtl="0" eaLnBrk="1" latinLnBrk="0" hangingPunct="1">
              <a:lnSpc>
                <a:spcPct val="120000"/>
              </a:lnSpc>
              <a:spcBef>
                <a:spcPts val="1000"/>
              </a:spcBef>
              <a:buFont typeface="Arial" panose="020B0604020202020204" pitchFamily="34" charset="0"/>
              <a:buNone/>
              <a:defRPr kumimoji="1" lang="ja-JP" altLang="en-US" sz="1800" b="1" kern="1200" dirty="0" smtClean="0">
                <a:solidFill>
                  <a:schemeClr val="tx1"/>
                </a:solidFill>
                <a:latin typeface="+mj-ea"/>
                <a:ea typeface="+mj-ea"/>
                <a:cs typeface="+mn-cs"/>
              </a:defRPr>
            </a:lvl1pPr>
            <a:lvl2pPr marL="0" indent="0" algn="l" defTabSz="914400" rtl="0" eaLnBrk="1" latinLnBrk="0" hangingPunct="1">
              <a:lnSpc>
                <a:spcPct val="120000"/>
              </a:lnSpc>
              <a:spcBef>
                <a:spcPts val="500"/>
              </a:spcBef>
              <a:buFont typeface="Arial" panose="020B0604020202020204" pitchFamily="34" charset="0"/>
              <a:buNone/>
              <a:defRPr kumimoji="1" sz="1600" b="1" kern="1200">
                <a:solidFill>
                  <a:schemeClr val="tx1"/>
                </a:solidFill>
                <a:latin typeface="+mn-lt"/>
                <a:ea typeface="+mn-ea"/>
                <a:cs typeface="+mn-cs"/>
              </a:defRPr>
            </a:lvl2pPr>
            <a:lvl3pPr marL="0" indent="0" algn="l" defTabSz="914400" rtl="0" eaLnBrk="1" latinLnBrk="0" hangingPunct="1">
              <a:lnSpc>
                <a:spcPct val="120000"/>
              </a:lnSpc>
              <a:spcBef>
                <a:spcPts val="500"/>
              </a:spcBef>
              <a:buFont typeface="Arial" panose="020B0604020202020204" pitchFamily="34" charset="0"/>
              <a:buNone/>
              <a:defRPr kumimoji="1" sz="12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kumimoji="1" lang="ja-JP" altLang="en-US" b="1" i="0" u="none" strike="noStrike" kern="1200" cap="none" spc="0" normalizeH="0" baseline="0" noProof="0">
                <a:ln>
                  <a:noFill/>
                </a:ln>
                <a:solidFill>
                  <a:schemeClr val="accent1"/>
                </a:solidFill>
                <a:effectLst/>
                <a:uLnTx/>
                <a:uFillTx/>
                <a:latin typeface="游ゴシック"/>
                <a:ea typeface="游ゴシック"/>
                <a:cs typeface="+mn-cs"/>
              </a:rPr>
              <a:t>建物のクリエイション</a:t>
            </a:r>
          </a:p>
        </p:txBody>
      </p:sp>
      <p:sp>
        <p:nvSpPr>
          <p:cNvPr id="32" name="テキスト プレースホルダー 8">
            <a:extLst>
              <a:ext uri="{FF2B5EF4-FFF2-40B4-BE49-F238E27FC236}">
                <a16:creationId xmlns:a16="http://schemas.microsoft.com/office/drawing/2014/main" id="{F262BE8E-A377-3F77-0C4D-BAFF7229D09F}"/>
              </a:ext>
            </a:extLst>
          </p:cNvPr>
          <p:cNvSpPr txBox="1">
            <a:spLocks/>
          </p:cNvSpPr>
          <p:nvPr/>
        </p:nvSpPr>
        <p:spPr>
          <a:xfrm>
            <a:off x="453808" y="3014728"/>
            <a:ext cx="1800000" cy="576000"/>
          </a:xfrm>
          <a:prstGeom prst="roundRect">
            <a:avLst>
              <a:gd name="adj" fmla="val 18967"/>
            </a:avLst>
          </a:prstGeom>
          <a:solidFill>
            <a:schemeClr val="bg1"/>
          </a:solidFill>
          <a:ln w="19050">
            <a:solidFill>
              <a:schemeClr val="accent1"/>
            </a:solidFill>
          </a:ln>
        </p:spPr>
        <p:txBody>
          <a:bodyPr vert="horz" wrap="squar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kumimoji="1" lang="ja-JP" altLang="en-US" sz="1200" b="1" kern="1200" spc="0" dirty="0">
                <a:solidFill>
                  <a:schemeClr val="tx1"/>
                </a:solidFill>
                <a:latin typeface="+mn-ea"/>
                <a:ea typeface="+mn-ea"/>
                <a:cs typeface="ＭＳ Ｐゴシック"/>
              </a:defRPr>
            </a:lvl1pPr>
            <a:lvl2pPr marL="0" indent="0" algn="l" defTabSz="914400" rtl="0" eaLnBrk="1" latinLnBrk="0" hangingPunct="1">
              <a:lnSpc>
                <a:spcPct val="120000"/>
              </a:lnSpc>
              <a:spcBef>
                <a:spcPts val="500"/>
              </a:spcBef>
              <a:buFont typeface="Arial" panose="020B0604020202020204" pitchFamily="34" charset="0"/>
              <a:buNone/>
              <a:defRPr kumimoji="1" sz="1600" b="1" kern="1200">
                <a:solidFill>
                  <a:schemeClr val="tx1"/>
                </a:solidFill>
                <a:latin typeface="+mn-lt"/>
                <a:ea typeface="+mn-ea"/>
                <a:cs typeface="+mn-cs"/>
              </a:defRPr>
            </a:lvl2pPr>
            <a:lvl3pPr marL="0" indent="0" algn="l" defTabSz="914400" rtl="0" eaLnBrk="1" latinLnBrk="0" hangingPunct="1">
              <a:lnSpc>
                <a:spcPct val="120000"/>
              </a:lnSpc>
              <a:spcBef>
                <a:spcPts val="500"/>
              </a:spcBef>
              <a:buFont typeface="Arial" panose="020B0604020202020204" pitchFamily="34" charset="0"/>
              <a:buNone/>
              <a:defRPr kumimoji="1" sz="12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1" i="0" u="none" strike="noStrike" kern="1200" cap="none" spc="0" normalizeH="0" baseline="0" noProof="0">
                <a:ln>
                  <a:noFill/>
                </a:ln>
                <a:solidFill>
                  <a:schemeClr val="accent1"/>
                </a:solidFill>
                <a:effectLst/>
                <a:uLnTx/>
                <a:uFillTx/>
                <a:latin typeface="游ゴシック"/>
                <a:ea typeface="游ゴシック"/>
              </a:rPr>
              <a:t>喜んでもらえる施工</a:t>
            </a:r>
          </a:p>
        </p:txBody>
      </p:sp>
      <p:sp>
        <p:nvSpPr>
          <p:cNvPr id="34" name="テキスト プレースホルダー 8">
            <a:extLst>
              <a:ext uri="{FF2B5EF4-FFF2-40B4-BE49-F238E27FC236}">
                <a16:creationId xmlns:a16="http://schemas.microsoft.com/office/drawing/2014/main" id="{2058AC95-9361-7FBD-26B4-7B6BF7F00157}"/>
              </a:ext>
            </a:extLst>
          </p:cNvPr>
          <p:cNvSpPr txBox="1">
            <a:spLocks/>
          </p:cNvSpPr>
          <p:nvPr/>
        </p:nvSpPr>
        <p:spPr>
          <a:xfrm>
            <a:off x="453809" y="3661965"/>
            <a:ext cx="1799861" cy="576000"/>
          </a:xfrm>
          <a:prstGeom prst="roundRect">
            <a:avLst>
              <a:gd name="adj" fmla="val 22419"/>
            </a:avLst>
          </a:prstGeom>
          <a:solidFill>
            <a:schemeClr val="bg1"/>
          </a:solidFill>
          <a:ln w="19050">
            <a:solidFill>
              <a:schemeClr val="accent1"/>
            </a:solidFill>
          </a:ln>
        </p:spPr>
        <p:txBody>
          <a:bodyPr vert="horz" wrap="square" lIns="0" tIns="0" rIns="0" bIns="0" rtlCol="0" anchor="ctr">
            <a:noAutofit/>
          </a:bodyPr>
          <a:lstStyle>
            <a:lvl1pPr marL="0" indent="0" algn="l" defTabSz="914400" rtl="0" eaLnBrk="1" latinLnBrk="0" hangingPunct="1">
              <a:lnSpc>
                <a:spcPct val="120000"/>
              </a:lnSpc>
              <a:spcBef>
                <a:spcPts val="0"/>
              </a:spcBef>
              <a:buFont typeface="Arial" panose="020B0604020202020204" pitchFamily="34" charset="0"/>
              <a:buNone/>
              <a:defRPr kumimoji="1" lang="ja-JP" altLang="en-US" sz="1200" b="1" kern="1200" spc="0" dirty="0">
                <a:solidFill>
                  <a:schemeClr val="tx1"/>
                </a:solidFill>
                <a:latin typeface="+mn-ea"/>
                <a:ea typeface="+mn-ea"/>
                <a:cs typeface="ＭＳ Ｐゴシック"/>
              </a:defRPr>
            </a:lvl1pPr>
            <a:lvl2pPr marL="0" indent="0" algn="l" defTabSz="914400" rtl="0" eaLnBrk="1" latinLnBrk="0" hangingPunct="1">
              <a:lnSpc>
                <a:spcPct val="120000"/>
              </a:lnSpc>
              <a:spcBef>
                <a:spcPts val="500"/>
              </a:spcBef>
              <a:buFont typeface="Arial" panose="020B0604020202020204" pitchFamily="34" charset="0"/>
              <a:buNone/>
              <a:defRPr kumimoji="1" sz="1600" b="1" kern="1200">
                <a:solidFill>
                  <a:schemeClr val="tx1"/>
                </a:solidFill>
                <a:latin typeface="+mn-lt"/>
                <a:ea typeface="+mn-ea"/>
                <a:cs typeface="+mn-cs"/>
              </a:defRPr>
            </a:lvl2pPr>
            <a:lvl3pPr marL="0" indent="0" algn="l" defTabSz="914400" rtl="0" eaLnBrk="1" latinLnBrk="0" hangingPunct="1">
              <a:lnSpc>
                <a:spcPct val="120000"/>
              </a:lnSpc>
              <a:spcBef>
                <a:spcPts val="500"/>
              </a:spcBef>
              <a:buFont typeface="Arial" panose="020B0604020202020204" pitchFamily="34" charset="0"/>
              <a:buNone/>
              <a:defRPr kumimoji="1" sz="12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b="1" i="0" u="none" strike="noStrike" kern="1200" cap="none" spc="0" normalizeH="0" baseline="0" noProof="0">
                <a:ln>
                  <a:noFill/>
                </a:ln>
                <a:solidFill>
                  <a:schemeClr val="accent1"/>
                </a:solidFill>
                <a:effectLst/>
                <a:uLnTx/>
                <a:uFillTx/>
                <a:latin typeface="游ゴシック"/>
                <a:ea typeface="游ゴシック"/>
              </a:rPr>
              <a:t>予算にかなった見積り</a:t>
            </a:r>
          </a:p>
        </p:txBody>
      </p:sp>
      <p:grpSp>
        <p:nvGrpSpPr>
          <p:cNvPr id="38" name="グループ化 37">
            <a:extLst>
              <a:ext uri="{FF2B5EF4-FFF2-40B4-BE49-F238E27FC236}">
                <a16:creationId xmlns:a16="http://schemas.microsoft.com/office/drawing/2014/main" id="{5376FAE9-2087-884F-3193-F2577D0D5F71}"/>
              </a:ext>
            </a:extLst>
          </p:cNvPr>
          <p:cNvGrpSpPr/>
          <p:nvPr/>
        </p:nvGrpSpPr>
        <p:grpSpPr>
          <a:xfrm>
            <a:off x="5586092" y="4645296"/>
            <a:ext cx="2643508" cy="1840987"/>
            <a:chOff x="4153109" y="4559813"/>
            <a:chExt cx="2643508" cy="1840987"/>
          </a:xfrm>
        </p:grpSpPr>
        <p:grpSp>
          <p:nvGrpSpPr>
            <p:cNvPr id="39" name="グループ化 38">
              <a:extLst>
                <a:ext uri="{FF2B5EF4-FFF2-40B4-BE49-F238E27FC236}">
                  <a16:creationId xmlns:a16="http://schemas.microsoft.com/office/drawing/2014/main" id="{55223F3F-D7A0-205B-0F13-E9EABE1BEBD4}"/>
                </a:ext>
              </a:extLst>
            </p:cNvPr>
            <p:cNvGrpSpPr/>
            <p:nvPr/>
          </p:nvGrpSpPr>
          <p:grpSpPr>
            <a:xfrm>
              <a:off x="4153109" y="4559813"/>
              <a:ext cx="2643508" cy="1220611"/>
              <a:chOff x="4153109" y="4606568"/>
              <a:chExt cx="2643508" cy="1220611"/>
            </a:xfrm>
          </p:grpSpPr>
          <p:sp>
            <p:nvSpPr>
              <p:cNvPr id="46" name="テキスト プレースホルダー 8">
                <a:extLst>
                  <a:ext uri="{FF2B5EF4-FFF2-40B4-BE49-F238E27FC236}">
                    <a16:creationId xmlns:a16="http://schemas.microsoft.com/office/drawing/2014/main" id="{8ECFAFDF-BF47-19D7-4DAA-1A9AF286EB01}"/>
                  </a:ext>
                </a:extLst>
              </p:cNvPr>
              <p:cNvSpPr txBox="1">
                <a:spLocks/>
              </p:cNvSpPr>
              <p:nvPr/>
            </p:nvSpPr>
            <p:spPr>
              <a:xfrm>
                <a:off x="4279168" y="4856965"/>
                <a:ext cx="1817382" cy="970214"/>
              </a:xfrm>
              <a:prstGeom prst="rect">
                <a:avLst/>
              </a:prstGeom>
            </p:spPr>
            <p:txBody>
              <a:bodyPr vert="horz" wrap="square" lIns="0" tIns="0" rIns="0" bIns="0" rtlCol="0">
                <a:noAutofit/>
              </a:bodyPr>
              <a:lstStyle>
                <a:lvl1pPr marL="0" indent="0" algn="l" defTabSz="914400" rtl="0" eaLnBrk="1" latinLnBrk="0" hangingPunct="1">
                  <a:lnSpc>
                    <a:spcPct val="120000"/>
                  </a:lnSpc>
                  <a:spcBef>
                    <a:spcPts val="0"/>
                  </a:spcBef>
                  <a:buFont typeface="Arial" panose="020B0604020202020204" pitchFamily="34" charset="0"/>
                  <a:buNone/>
                  <a:defRPr kumimoji="1" lang="ja-JP" altLang="en-US" sz="1200" b="1" kern="1200" spc="0" dirty="0">
                    <a:solidFill>
                      <a:schemeClr val="tx1"/>
                    </a:solidFill>
                    <a:latin typeface="+mn-ea"/>
                    <a:ea typeface="+mn-ea"/>
                    <a:cs typeface="ＭＳ Ｐゴシック"/>
                  </a:defRPr>
                </a:lvl1pPr>
                <a:lvl2pPr marL="0" indent="0" algn="l" defTabSz="914400" rtl="0" eaLnBrk="1" latinLnBrk="0" hangingPunct="1">
                  <a:lnSpc>
                    <a:spcPct val="120000"/>
                  </a:lnSpc>
                  <a:spcBef>
                    <a:spcPts val="500"/>
                  </a:spcBef>
                  <a:buFont typeface="Arial" panose="020B0604020202020204" pitchFamily="34" charset="0"/>
                  <a:buNone/>
                  <a:defRPr kumimoji="1" sz="1600" b="1" kern="1200">
                    <a:solidFill>
                      <a:schemeClr val="tx1"/>
                    </a:solidFill>
                    <a:latin typeface="+mn-lt"/>
                    <a:ea typeface="+mn-ea"/>
                    <a:cs typeface="+mn-cs"/>
                  </a:defRPr>
                </a:lvl2pPr>
                <a:lvl3pPr marL="0" indent="0" algn="l" defTabSz="914400" rtl="0" eaLnBrk="1" latinLnBrk="0" hangingPunct="1">
                  <a:lnSpc>
                    <a:spcPct val="120000"/>
                  </a:lnSpc>
                  <a:spcBef>
                    <a:spcPts val="500"/>
                  </a:spcBef>
                  <a:buFont typeface="Arial" panose="020B0604020202020204" pitchFamily="34" charset="0"/>
                  <a:buNone/>
                  <a:defRPr kumimoji="1" sz="12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144000" marR="0" lvl="0"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1" i="0" u="none" strike="noStrike" kern="1200" cap="none" spc="0" normalizeH="0" baseline="0" noProof="0" dirty="0" smtClean="0">
                    <a:ln>
                      <a:noFill/>
                    </a:ln>
                    <a:solidFill>
                      <a:prstClr val="black"/>
                    </a:solidFill>
                    <a:effectLst/>
                    <a:uLnTx/>
                    <a:uFillTx/>
                    <a:latin typeface="游ゴシック"/>
                    <a:ea typeface="游ゴシック"/>
                  </a:rPr>
                  <a:t>住友</a:t>
                </a:r>
                <a:r>
                  <a:rPr kumimoji="1" lang="ja-JP" altLang="en-US" sz="900" b="1" i="0" u="none" strike="noStrike" kern="1200" cap="none" spc="0" normalizeH="0" baseline="0" noProof="0" dirty="0">
                    <a:ln>
                      <a:noFill/>
                    </a:ln>
                    <a:solidFill>
                      <a:prstClr val="black"/>
                    </a:solidFill>
                    <a:effectLst/>
                    <a:uLnTx/>
                    <a:uFillTx/>
                    <a:latin typeface="游ゴシック"/>
                    <a:ea typeface="游ゴシック"/>
                  </a:rPr>
                  <a:t>ベークライト尼崎</a:t>
                </a:r>
                <a:r>
                  <a:rPr kumimoji="1" lang="en-US" altLang="ja-JP" sz="900" b="1" i="0" u="none" strike="noStrike" kern="1200" cap="none" spc="0" normalizeH="0" baseline="0" noProof="0" dirty="0">
                    <a:ln>
                      <a:noFill/>
                    </a:ln>
                    <a:solidFill>
                      <a:prstClr val="black"/>
                    </a:solidFill>
                    <a:effectLst/>
                    <a:uLnTx/>
                    <a:uFillTx/>
                    <a:latin typeface="游ゴシック"/>
                    <a:ea typeface="游ゴシック"/>
                  </a:rPr>
                  <a:t/>
                </a:r>
                <a:br>
                  <a:rPr kumimoji="1" lang="en-US" altLang="ja-JP" sz="900" b="1" i="0" u="none" strike="noStrike" kern="1200" cap="none" spc="0" normalizeH="0" baseline="0" noProof="0" dirty="0">
                    <a:ln>
                      <a:noFill/>
                    </a:ln>
                    <a:solidFill>
                      <a:prstClr val="black"/>
                    </a:solidFill>
                    <a:effectLst/>
                    <a:uLnTx/>
                    <a:uFillTx/>
                    <a:latin typeface="游ゴシック"/>
                    <a:ea typeface="游ゴシック"/>
                  </a:rPr>
                </a:br>
                <a:r>
                  <a:rPr kumimoji="1" lang="en-US" altLang="ja-JP" sz="900" b="1" i="0" u="none" strike="noStrike" kern="1200" cap="none" spc="0" normalizeH="0" baseline="0" noProof="0" dirty="0">
                    <a:ln>
                      <a:noFill/>
                    </a:ln>
                    <a:solidFill>
                      <a:prstClr val="black"/>
                    </a:solidFill>
                    <a:effectLst/>
                    <a:uLnTx/>
                    <a:uFillTx/>
                    <a:latin typeface="游ゴシック"/>
                    <a:ea typeface="游ゴシック"/>
                  </a:rPr>
                  <a:t>(</a:t>
                </a:r>
                <a:r>
                  <a:rPr kumimoji="1" lang="ja-JP" altLang="en-US" sz="900" b="1" i="0" u="none" strike="noStrike" kern="1200" cap="none" spc="0" normalizeH="0" baseline="0" noProof="0" dirty="0">
                    <a:ln>
                      <a:noFill/>
                    </a:ln>
                    <a:solidFill>
                      <a:prstClr val="black"/>
                    </a:solidFill>
                    <a:effectLst/>
                    <a:uLnTx/>
                    <a:uFillTx/>
                    <a:latin typeface="游ゴシック"/>
                    <a:ea typeface="游ゴシック"/>
                  </a:rPr>
                  <a:t>静岡の厚生棟新築工事を含む</a:t>
                </a:r>
                <a:r>
                  <a:rPr kumimoji="1" lang="en-US" altLang="ja-JP" sz="900" b="1" i="0" u="none" strike="noStrike" kern="1200" cap="none" spc="0" normalizeH="0" baseline="0" noProof="0" dirty="0">
                    <a:ln>
                      <a:noFill/>
                    </a:ln>
                    <a:solidFill>
                      <a:prstClr val="black"/>
                    </a:solidFill>
                    <a:effectLst/>
                    <a:uLnTx/>
                    <a:uFillTx/>
                    <a:latin typeface="游ゴシック"/>
                    <a:ea typeface="游ゴシック"/>
                  </a:rPr>
                  <a:t>)</a:t>
                </a:r>
              </a:p>
              <a:p>
                <a:pPr marL="144000" marR="0" lvl="0"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1" i="0" u="none" strike="noStrike" kern="1200" cap="none" spc="0" normalizeH="0" baseline="0" noProof="0" dirty="0">
                    <a:ln>
                      <a:noFill/>
                    </a:ln>
                    <a:solidFill>
                      <a:prstClr val="black"/>
                    </a:solidFill>
                    <a:effectLst/>
                    <a:uLnTx/>
                    <a:uFillTx/>
                    <a:latin typeface="游ゴシック"/>
                    <a:ea typeface="游ゴシック"/>
                  </a:rPr>
                  <a:t>安来市養護老人ホーム鴨来荘</a:t>
                </a:r>
              </a:p>
              <a:p>
                <a:pPr marL="144000" marR="0" lvl="0"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900" b="1" i="0" u="none" strike="noStrike" kern="1200" cap="none" spc="0" normalizeH="0" baseline="0" noProof="0" dirty="0">
                    <a:ln>
                      <a:noFill/>
                    </a:ln>
                    <a:solidFill>
                      <a:prstClr val="black"/>
                    </a:solidFill>
                    <a:effectLst/>
                    <a:uLnTx/>
                    <a:uFillTx/>
                    <a:latin typeface="游ゴシック"/>
                    <a:ea typeface="游ゴシック"/>
                  </a:rPr>
                  <a:t>SUMCO</a:t>
                </a:r>
                <a:r>
                  <a:rPr kumimoji="1" lang="ja-JP" altLang="en-US" sz="900" b="1" i="0" u="none" strike="noStrike" kern="1200" cap="none" spc="0" normalizeH="0" baseline="0" noProof="0" dirty="0">
                    <a:ln>
                      <a:noFill/>
                    </a:ln>
                    <a:solidFill>
                      <a:prstClr val="black"/>
                    </a:solidFill>
                    <a:effectLst/>
                    <a:uLnTx/>
                    <a:uFillTx/>
                    <a:latin typeface="游ゴシック"/>
                    <a:ea typeface="游ゴシック"/>
                  </a:rPr>
                  <a:t>九州</a:t>
                </a:r>
              </a:p>
              <a:p>
                <a:pPr marL="144000" marR="0" lvl="0"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1" i="0" u="none" strike="noStrike" kern="1200" cap="none" spc="0" normalizeH="0" baseline="0" noProof="0" dirty="0">
                    <a:ln>
                      <a:noFill/>
                    </a:ln>
                    <a:solidFill>
                      <a:prstClr val="black"/>
                    </a:solidFill>
                    <a:effectLst/>
                    <a:uLnTx/>
                    <a:uFillTx/>
                    <a:latin typeface="游ゴシック"/>
                    <a:ea typeface="游ゴシック"/>
                  </a:rPr>
                  <a:t>プリマハム鹿児島新工場</a:t>
                </a:r>
              </a:p>
              <a:p>
                <a:pPr marL="144000" marR="0" lvl="0"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900" b="1" i="0" u="none" strike="noStrike" kern="1200" cap="none" spc="0" normalizeH="0" baseline="0" noProof="0" dirty="0">
                    <a:ln>
                      <a:noFill/>
                    </a:ln>
                    <a:solidFill>
                      <a:prstClr val="black"/>
                    </a:solidFill>
                    <a:effectLst/>
                    <a:uLnTx/>
                    <a:uFillTx/>
                    <a:latin typeface="游ゴシック"/>
                    <a:ea typeface="游ゴシック"/>
                  </a:rPr>
                  <a:t>静岡リハビリテーション</a:t>
                </a:r>
                <a:r>
                  <a:rPr kumimoji="1" lang="ja-JP" altLang="en-US" sz="900" b="1" i="0" u="none" strike="noStrike" kern="1200" cap="none" spc="0" normalizeH="0" baseline="0" noProof="0" dirty="0" smtClean="0">
                    <a:ln>
                      <a:noFill/>
                    </a:ln>
                    <a:solidFill>
                      <a:prstClr val="black"/>
                    </a:solidFill>
                    <a:effectLst/>
                    <a:uLnTx/>
                    <a:uFillTx/>
                    <a:latin typeface="游ゴシック"/>
                    <a:ea typeface="游ゴシック"/>
                  </a:rPr>
                  <a:t>病院</a:t>
                </a:r>
                <a:endParaRPr kumimoji="1" lang="en-US" altLang="ja-JP" sz="900" b="1" i="0" u="none" strike="noStrike" kern="1200" cap="none" spc="0" normalizeH="0" baseline="0" noProof="0" dirty="0" smtClean="0">
                  <a:ln>
                    <a:noFill/>
                  </a:ln>
                  <a:solidFill>
                    <a:prstClr val="black"/>
                  </a:solidFill>
                  <a:effectLst/>
                  <a:uLnTx/>
                  <a:uFillTx/>
                  <a:latin typeface="游ゴシック"/>
                  <a:ea typeface="游ゴシック"/>
                </a:endParaRPr>
              </a:p>
              <a:p>
                <a:pPr marL="144000" marR="0" lvl="0" indent="-144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ja-JP" sz="900" dirty="0">
                    <a:solidFill>
                      <a:prstClr val="black"/>
                    </a:solidFill>
                    <a:latin typeface="游ゴシック"/>
                    <a:ea typeface="游ゴシック"/>
                  </a:rPr>
                  <a:t>TS</a:t>
                </a:r>
                <a:r>
                  <a:rPr lang="ja-JP" altLang="en-US" sz="900" dirty="0" smtClean="0">
                    <a:solidFill>
                      <a:prstClr val="black"/>
                    </a:solidFill>
                    <a:latin typeface="游ゴシック"/>
                    <a:ea typeface="游ゴシック"/>
                  </a:rPr>
                  <a:t>テック浜松工場</a:t>
                </a:r>
                <a:endParaRPr kumimoji="1" lang="ja-JP" altLang="en-US" sz="900" b="1" i="0" u="none" strike="noStrike" kern="1200" cap="none" spc="0" normalizeH="0" baseline="0" noProof="0" dirty="0">
                  <a:ln>
                    <a:noFill/>
                  </a:ln>
                  <a:solidFill>
                    <a:prstClr val="black"/>
                  </a:solidFill>
                  <a:effectLst/>
                  <a:uLnTx/>
                  <a:uFillTx/>
                  <a:latin typeface="游ゴシック"/>
                  <a:ea typeface="游ゴシック"/>
                </a:endParaRPr>
              </a:p>
            </p:txBody>
          </p:sp>
          <p:sp>
            <p:nvSpPr>
              <p:cNvPr id="48" name="テキスト プレースホルダー 7">
                <a:extLst>
                  <a:ext uri="{FF2B5EF4-FFF2-40B4-BE49-F238E27FC236}">
                    <a16:creationId xmlns:a16="http://schemas.microsoft.com/office/drawing/2014/main" id="{1A3F90EB-BB90-8F32-C118-290BC525E81B}"/>
                  </a:ext>
                </a:extLst>
              </p:cNvPr>
              <p:cNvSpPr txBox="1">
                <a:spLocks/>
              </p:cNvSpPr>
              <p:nvPr/>
            </p:nvSpPr>
            <p:spPr>
              <a:xfrm>
                <a:off x="4153109" y="4606568"/>
                <a:ext cx="2643508" cy="180000"/>
              </a:xfrm>
              <a:prstGeom prst="rect">
                <a:avLst/>
              </a:prstGeom>
              <a:noFill/>
            </p:spPr>
            <p:txBody>
              <a:bodyPr vert="horz" wrap="square" lIns="91440" tIns="45720" rIns="91440" bIns="45720" rtlCol="0" anchor="ctr">
                <a:noAutofit/>
              </a:bodyPr>
              <a:lstStyle>
                <a:lvl1pPr marL="0" indent="0" algn="l" defTabSz="914400" rtl="0" eaLnBrk="1" latinLnBrk="0" hangingPunct="1">
                  <a:lnSpc>
                    <a:spcPct val="120000"/>
                  </a:lnSpc>
                  <a:spcBef>
                    <a:spcPts val="1000"/>
                  </a:spcBef>
                  <a:buFont typeface="Arial" panose="020B0604020202020204" pitchFamily="34" charset="0"/>
                  <a:buNone/>
                  <a:defRPr kumimoji="1" lang="ja-JP" altLang="en-US" sz="1800" b="1" kern="1200" dirty="0" smtClean="0">
                    <a:solidFill>
                      <a:schemeClr val="tx1"/>
                    </a:solidFill>
                    <a:latin typeface="+mj-ea"/>
                    <a:ea typeface="+mj-ea"/>
                    <a:cs typeface="+mn-cs"/>
                  </a:defRPr>
                </a:lvl1pPr>
                <a:lvl2pPr marL="0" indent="0" algn="l" defTabSz="914400" rtl="0" eaLnBrk="1" latinLnBrk="0" hangingPunct="1">
                  <a:lnSpc>
                    <a:spcPct val="120000"/>
                  </a:lnSpc>
                  <a:spcBef>
                    <a:spcPts val="500"/>
                  </a:spcBef>
                  <a:buFont typeface="Arial" panose="020B0604020202020204" pitchFamily="34" charset="0"/>
                  <a:buNone/>
                  <a:defRPr kumimoji="1" sz="1600" b="1" kern="1200">
                    <a:solidFill>
                      <a:schemeClr val="tx1"/>
                    </a:solidFill>
                    <a:latin typeface="+mn-lt"/>
                    <a:ea typeface="+mn-ea"/>
                    <a:cs typeface="+mn-cs"/>
                  </a:defRPr>
                </a:lvl2pPr>
                <a:lvl3pPr marL="0" indent="0" algn="l" defTabSz="914400" rtl="0" eaLnBrk="1" latinLnBrk="0" hangingPunct="1">
                  <a:lnSpc>
                    <a:spcPct val="120000"/>
                  </a:lnSpc>
                  <a:spcBef>
                    <a:spcPts val="500"/>
                  </a:spcBef>
                  <a:buFont typeface="Arial" panose="020B0604020202020204" pitchFamily="34" charset="0"/>
                  <a:buNone/>
                  <a:defRPr kumimoji="1" sz="12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171450" marR="0" lvl="0" indent="-171450" algn="l" defTabSz="914400" rtl="0" eaLnBrk="1" fontAlgn="auto" latinLnBrk="0" hangingPunct="1">
                  <a:lnSpc>
                    <a:spcPct val="120000"/>
                  </a:lnSpc>
                  <a:spcBef>
                    <a:spcPts val="1000"/>
                  </a:spcBef>
                  <a:spcAft>
                    <a:spcPts val="0"/>
                  </a:spcAft>
                  <a:buClr>
                    <a:schemeClr val="accent1"/>
                  </a:buClr>
                  <a:buSzTx/>
                  <a:buFont typeface="Wingdings" panose="05000000000000000000" pitchFamily="2" charset="2"/>
                  <a:buChar char="l"/>
                  <a:tabLst/>
                  <a:defRPr/>
                </a:pPr>
                <a:r>
                  <a:rPr kumimoji="1" lang="ja-JP" altLang="en-US" sz="1200" b="1" i="0" u="none" strike="noStrike" kern="1200" cap="none" spc="0" normalizeH="0" baseline="0" noProof="0">
                    <a:ln>
                      <a:noFill/>
                    </a:ln>
                    <a:solidFill>
                      <a:schemeClr val="accent1"/>
                    </a:solidFill>
                    <a:effectLst/>
                    <a:uLnTx/>
                    <a:uFillTx/>
                    <a:latin typeface="游ゴシック"/>
                    <a:ea typeface="游ゴシック"/>
                    <a:cs typeface="+mn-cs"/>
                  </a:rPr>
                  <a:t>直近</a:t>
                </a:r>
                <a:r>
                  <a:rPr kumimoji="1" lang="en-US" altLang="ja-JP" sz="1200" b="1" i="0" u="none" strike="noStrike" kern="1200" cap="none" spc="0" normalizeH="0" baseline="0" noProof="0">
                    <a:ln>
                      <a:noFill/>
                    </a:ln>
                    <a:solidFill>
                      <a:schemeClr val="accent1"/>
                    </a:solidFill>
                    <a:effectLst/>
                    <a:uLnTx/>
                    <a:uFillTx/>
                    <a:latin typeface="游ゴシック"/>
                    <a:ea typeface="游ゴシック"/>
                    <a:cs typeface="+mn-cs"/>
                  </a:rPr>
                  <a:t>3</a:t>
                </a:r>
                <a:r>
                  <a:rPr kumimoji="1" lang="ja-JP" altLang="en-US" sz="1200" b="1" i="0" u="none" strike="noStrike" kern="1200" cap="none" spc="0" normalizeH="0" baseline="0" noProof="0">
                    <a:ln>
                      <a:noFill/>
                    </a:ln>
                    <a:solidFill>
                      <a:schemeClr val="accent1"/>
                    </a:solidFill>
                    <a:effectLst/>
                    <a:uLnTx/>
                    <a:uFillTx/>
                    <a:latin typeface="游ゴシック"/>
                    <a:ea typeface="游ゴシック"/>
                    <a:cs typeface="+mn-cs"/>
                  </a:rPr>
                  <a:t>年間の実績 </a:t>
                </a:r>
                <a:r>
                  <a:rPr kumimoji="1" lang="en-US" altLang="ja-JP" sz="1200" b="1" i="0" u="none" strike="noStrike" kern="1200" cap="none" spc="0" normalizeH="0" baseline="0" noProof="0">
                    <a:ln>
                      <a:noFill/>
                    </a:ln>
                    <a:solidFill>
                      <a:schemeClr val="accent1"/>
                    </a:solidFill>
                    <a:effectLst/>
                    <a:uLnTx/>
                    <a:uFillTx/>
                    <a:latin typeface="游ゴシック"/>
                    <a:ea typeface="游ゴシック"/>
                    <a:cs typeface="+mn-cs"/>
                  </a:rPr>
                  <a:t>(</a:t>
                </a:r>
                <a:r>
                  <a:rPr kumimoji="1" lang="ja-JP" altLang="en-US" sz="1200" b="1" i="0" u="none" strike="noStrike" kern="1200" cap="none" spc="0" normalizeH="0" baseline="0" noProof="0">
                    <a:ln>
                      <a:noFill/>
                    </a:ln>
                    <a:solidFill>
                      <a:schemeClr val="accent1"/>
                    </a:solidFill>
                    <a:effectLst/>
                    <a:uLnTx/>
                    <a:uFillTx/>
                    <a:latin typeface="游ゴシック"/>
                    <a:ea typeface="游ゴシック"/>
                    <a:cs typeface="+mn-cs"/>
                  </a:rPr>
                  <a:t>厨房計画業務</a:t>
                </a:r>
                <a:r>
                  <a:rPr kumimoji="1" lang="en-US" altLang="ja-JP" sz="1200" b="1" i="0" u="none" strike="noStrike" kern="1200" cap="none" spc="0" normalizeH="0" baseline="0" noProof="0">
                    <a:ln>
                      <a:noFill/>
                    </a:ln>
                    <a:solidFill>
                      <a:schemeClr val="accent1"/>
                    </a:solidFill>
                    <a:effectLst/>
                    <a:uLnTx/>
                    <a:uFillTx/>
                    <a:latin typeface="游ゴシック"/>
                    <a:ea typeface="游ゴシック"/>
                    <a:cs typeface="+mn-cs"/>
                  </a:rPr>
                  <a:t>)</a:t>
                </a:r>
                <a:endParaRPr kumimoji="1" lang="ja-JP" altLang="en-US" sz="1200" b="1" i="0" u="none" strike="noStrike" kern="1200" cap="none" spc="0" normalizeH="0" baseline="0" noProof="0">
                  <a:ln>
                    <a:noFill/>
                  </a:ln>
                  <a:solidFill>
                    <a:schemeClr val="accent1"/>
                  </a:solidFill>
                  <a:effectLst/>
                  <a:uLnTx/>
                  <a:uFillTx/>
                  <a:latin typeface="游ゴシック"/>
                  <a:ea typeface="游ゴシック"/>
                  <a:cs typeface="+mn-cs"/>
                </a:endParaRPr>
              </a:p>
            </p:txBody>
          </p:sp>
        </p:grpSp>
        <p:grpSp>
          <p:nvGrpSpPr>
            <p:cNvPr id="40" name="グループ化 39">
              <a:extLst>
                <a:ext uri="{FF2B5EF4-FFF2-40B4-BE49-F238E27FC236}">
                  <a16:creationId xmlns:a16="http://schemas.microsoft.com/office/drawing/2014/main" id="{44ED7AE9-5472-2F8D-EB24-8222CD3644D7}"/>
                </a:ext>
              </a:extLst>
            </p:cNvPr>
            <p:cNvGrpSpPr/>
            <p:nvPr/>
          </p:nvGrpSpPr>
          <p:grpSpPr>
            <a:xfrm>
              <a:off x="4153109" y="5883733"/>
              <a:ext cx="2330880" cy="517067"/>
              <a:chOff x="4153109" y="4606568"/>
              <a:chExt cx="2330880" cy="517067"/>
            </a:xfrm>
          </p:grpSpPr>
          <p:sp>
            <p:nvSpPr>
              <p:cNvPr id="42" name="テキスト プレースホルダー 8">
                <a:extLst>
                  <a:ext uri="{FF2B5EF4-FFF2-40B4-BE49-F238E27FC236}">
                    <a16:creationId xmlns:a16="http://schemas.microsoft.com/office/drawing/2014/main" id="{CE502FC7-C271-9C90-A5E0-38EB1229268D}"/>
                  </a:ext>
                </a:extLst>
              </p:cNvPr>
              <p:cNvSpPr txBox="1">
                <a:spLocks/>
              </p:cNvSpPr>
              <p:nvPr/>
            </p:nvSpPr>
            <p:spPr>
              <a:xfrm>
                <a:off x="4285607" y="4856965"/>
                <a:ext cx="2198382" cy="266670"/>
              </a:xfrm>
              <a:prstGeom prst="rect">
                <a:avLst/>
              </a:prstGeom>
            </p:spPr>
            <p:txBody>
              <a:bodyPr vert="horz" wrap="square" lIns="0" tIns="0" rIns="0" bIns="0" rtlCol="0">
                <a:noAutofit/>
              </a:bodyPr>
              <a:lstStyle>
                <a:lvl1pPr marL="0" indent="0" algn="l" defTabSz="914400" rtl="0" eaLnBrk="1" latinLnBrk="0" hangingPunct="1">
                  <a:lnSpc>
                    <a:spcPct val="120000"/>
                  </a:lnSpc>
                  <a:spcBef>
                    <a:spcPts val="0"/>
                  </a:spcBef>
                  <a:buFont typeface="Arial" panose="020B0604020202020204" pitchFamily="34" charset="0"/>
                  <a:buNone/>
                  <a:defRPr kumimoji="1" lang="ja-JP" altLang="en-US" sz="1200" b="1" kern="1200" spc="0" dirty="0">
                    <a:solidFill>
                      <a:schemeClr val="tx1"/>
                    </a:solidFill>
                    <a:latin typeface="+mn-ea"/>
                    <a:ea typeface="+mn-ea"/>
                    <a:cs typeface="ＭＳ Ｐゴシック"/>
                  </a:defRPr>
                </a:lvl1pPr>
                <a:lvl2pPr marL="0" indent="0" algn="l" defTabSz="914400" rtl="0" eaLnBrk="1" latinLnBrk="0" hangingPunct="1">
                  <a:lnSpc>
                    <a:spcPct val="120000"/>
                  </a:lnSpc>
                  <a:spcBef>
                    <a:spcPts val="500"/>
                  </a:spcBef>
                  <a:buFont typeface="Arial" panose="020B0604020202020204" pitchFamily="34" charset="0"/>
                  <a:buNone/>
                  <a:defRPr kumimoji="1" sz="1600" b="1" kern="1200">
                    <a:solidFill>
                      <a:schemeClr val="tx1"/>
                    </a:solidFill>
                    <a:latin typeface="+mn-lt"/>
                    <a:ea typeface="+mn-ea"/>
                    <a:cs typeface="+mn-cs"/>
                  </a:defRPr>
                </a:lvl2pPr>
                <a:lvl3pPr marL="0" indent="0" algn="l" defTabSz="914400" rtl="0" eaLnBrk="1" latinLnBrk="0" hangingPunct="1">
                  <a:lnSpc>
                    <a:spcPct val="120000"/>
                  </a:lnSpc>
                  <a:spcBef>
                    <a:spcPts val="500"/>
                  </a:spcBef>
                  <a:buFont typeface="Arial" panose="020B0604020202020204" pitchFamily="34" charset="0"/>
                  <a:buNone/>
                  <a:defRPr kumimoji="1" sz="12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900" b="1" i="0" u="none" strike="noStrike" kern="1200" cap="none" spc="0" normalizeH="0" baseline="0" noProof="0">
                    <a:ln>
                      <a:noFill/>
                    </a:ln>
                    <a:solidFill>
                      <a:prstClr val="black"/>
                    </a:solidFill>
                    <a:effectLst/>
                    <a:uLnTx/>
                    <a:uFillTx/>
                    <a:latin typeface="游ゴシック"/>
                    <a:ea typeface="游ゴシック"/>
                  </a:rPr>
                  <a:t>サービスエリア、ドックラン、温浴施設、</a:t>
                </a:r>
                <a:r>
                  <a:rPr kumimoji="1" lang="en-US" altLang="ja-JP" sz="900" b="1" i="0" u="none" strike="noStrike" kern="1200" cap="none" spc="0" normalizeH="0" baseline="0" noProof="0">
                    <a:ln>
                      <a:noFill/>
                    </a:ln>
                    <a:solidFill>
                      <a:prstClr val="black"/>
                    </a:solidFill>
                    <a:effectLst/>
                    <a:uLnTx/>
                    <a:uFillTx/>
                    <a:latin typeface="游ゴシック"/>
                    <a:ea typeface="游ゴシック"/>
                  </a:rPr>
                  <a:t/>
                </a:r>
                <a:br>
                  <a:rPr kumimoji="1" lang="en-US" altLang="ja-JP" sz="900" b="1" i="0" u="none" strike="noStrike" kern="1200" cap="none" spc="0" normalizeH="0" baseline="0" noProof="0">
                    <a:ln>
                      <a:noFill/>
                    </a:ln>
                    <a:solidFill>
                      <a:prstClr val="black"/>
                    </a:solidFill>
                    <a:effectLst/>
                    <a:uLnTx/>
                    <a:uFillTx/>
                    <a:latin typeface="游ゴシック"/>
                    <a:ea typeface="游ゴシック"/>
                  </a:rPr>
                </a:br>
                <a:r>
                  <a:rPr kumimoji="1" lang="ja-JP" altLang="en-US" sz="900" b="1" i="0" u="none" strike="noStrike" kern="1200" cap="none" spc="0" normalizeH="0" baseline="0" noProof="0">
                    <a:ln>
                      <a:noFill/>
                    </a:ln>
                    <a:solidFill>
                      <a:prstClr val="black"/>
                    </a:solidFill>
                    <a:effectLst/>
                    <a:uLnTx/>
                    <a:uFillTx/>
                    <a:latin typeface="游ゴシック"/>
                    <a:ea typeface="游ゴシック"/>
                  </a:rPr>
                  <a:t>球場などの飲食施設計画にも携わる</a:t>
                </a:r>
              </a:p>
            </p:txBody>
          </p:sp>
          <p:sp>
            <p:nvSpPr>
              <p:cNvPr id="44" name="テキスト プレースホルダー 7">
                <a:extLst>
                  <a:ext uri="{FF2B5EF4-FFF2-40B4-BE49-F238E27FC236}">
                    <a16:creationId xmlns:a16="http://schemas.microsoft.com/office/drawing/2014/main" id="{07C7EE32-0608-10EC-C608-B62EC791EB89}"/>
                  </a:ext>
                </a:extLst>
              </p:cNvPr>
              <p:cNvSpPr txBox="1">
                <a:spLocks/>
              </p:cNvSpPr>
              <p:nvPr/>
            </p:nvSpPr>
            <p:spPr>
              <a:xfrm>
                <a:off x="4153109" y="4606568"/>
                <a:ext cx="2062234" cy="180000"/>
              </a:xfrm>
              <a:prstGeom prst="rect">
                <a:avLst/>
              </a:prstGeom>
              <a:noFill/>
            </p:spPr>
            <p:txBody>
              <a:bodyPr vert="horz" wrap="square" lIns="91440" tIns="45720" rIns="91440" bIns="45720" rtlCol="0" anchor="ctr">
                <a:noAutofit/>
              </a:bodyPr>
              <a:lstStyle>
                <a:defPPr>
                  <a:defRPr kern="0"/>
                </a:defPPr>
                <a:lvl1pPr marL="171450" marR="0" lvl="0" indent="-171450" algn="l" defTabSz="914400" rtl="0" eaLnBrk="1" fontAlgn="auto" latinLnBrk="0" hangingPunct="1">
                  <a:lnSpc>
                    <a:spcPct val="120000"/>
                  </a:lnSpc>
                  <a:spcBef>
                    <a:spcPts val="1000"/>
                  </a:spcBef>
                  <a:spcAft>
                    <a:spcPts val="0"/>
                  </a:spcAft>
                  <a:buClr>
                    <a:schemeClr val="accent1"/>
                  </a:buClr>
                  <a:buSzTx/>
                  <a:buFont typeface="Wingdings" panose="05000000000000000000" pitchFamily="2" charset="2"/>
                  <a:buChar char="l"/>
                  <a:tabLst/>
                  <a:defRPr kumimoji="1" sz="1200" b="1" i="0" u="none" strike="noStrike" kern="1200" cap="none" spc="0" normalizeH="0" baseline="0">
                    <a:ln>
                      <a:noFill/>
                    </a:ln>
                    <a:solidFill>
                      <a:prstClr val="black"/>
                    </a:solidFill>
                    <a:effectLst/>
                    <a:uLnTx/>
                    <a:uFillTx/>
                    <a:latin typeface="游ゴシック"/>
                    <a:ea typeface="游ゴシック"/>
                    <a:cs typeface="+mn-cs"/>
                  </a:defRPr>
                </a:lvl1pPr>
                <a:lvl2pPr marL="0" indent="0" algn="l" defTabSz="914400" rtl="0" eaLnBrk="1" latinLnBrk="0" hangingPunct="1">
                  <a:lnSpc>
                    <a:spcPct val="120000"/>
                  </a:lnSpc>
                  <a:spcBef>
                    <a:spcPts val="500"/>
                  </a:spcBef>
                  <a:buFont typeface="Arial" panose="020B0604020202020204" pitchFamily="34" charset="0"/>
                  <a:buNone/>
                  <a:defRPr kumimoji="1" sz="1600" b="1" kern="1200">
                    <a:solidFill>
                      <a:schemeClr val="tx1"/>
                    </a:solidFill>
                    <a:latin typeface="+mn-lt"/>
                    <a:ea typeface="+mn-ea"/>
                    <a:cs typeface="+mn-cs"/>
                  </a:defRPr>
                </a:lvl2pPr>
                <a:lvl3pPr marL="0" indent="0" algn="l" defTabSz="914400" rtl="0" eaLnBrk="1" latinLnBrk="0" hangingPunct="1">
                  <a:lnSpc>
                    <a:spcPct val="120000"/>
                  </a:lnSpc>
                  <a:spcBef>
                    <a:spcPts val="500"/>
                  </a:spcBef>
                  <a:buFont typeface="Arial" panose="020B0604020202020204" pitchFamily="34" charset="0"/>
                  <a:buNone/>
                  <a:defRPr kumimoji="1" sz="1200" b="1"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a:solidFill>
                      <a:schemeClr val="accent1"/>
                    </a:solidFill>
                  </a:rPr>
                  <a:t>その他業務</a:t>
                </a:r>
              </a:p>
            </p:txBody>
          </p:sp>
        </p:grpSp>
      </p:grpSp>
      <p:pic>
        <p:nvPicPr>
          <p:cNvPr id="50" name="図 49">
            <a:extLst>
              <a:ext uri="{FF2B5EF4-FFF2-40B4-BE49-F238E27FC236}">
                <a16:creationId xmlns:a16="http://schemas.microsoft.com/office/drawing/2014/main" id="{09ECB409-1D28-C88D-3CF8-95AAD77DB0C5}"/>
              </a:ext>
            </a:extLst>
          </p:cNvPr>
          <p:cNvPicPr>
            <a:picLocks noChangeAspect="1"/>
          </p:cNvPicPr>
          <p:nvPr/>
        </p:nvPicPr>
        <p:blipFill rotWithShape="1">
          <a:blip r:embed="rId5" cstate="hqprint">
            <a:extLst>
              <a:ext uri="{BEBA8EAE-BF5A-486C-A8C5-ECC9F3942E4B}">
                <a14:imgProps xmlns:a14="http://schemas.microsoft.com/office/drawing/2010/main">
                  <a14:imgLayer r:embed="rId6">
                    <a14:imgEffect>
                      <a14:saturation sat="105000"/>
                    </a14:imgEffect>
                    <a14:imgEffect>
                      <a14:brightnessContrast bright="26000" contrast="6000"/>
                    </a14:imgEffect>
                  </a14:imgLayer>
                </a14:imgProps>
              </a:ext>
              <a:ext uri="{28A0092B-C50C-407E-A947-70E740481C1C}">
                <a14:useLocalDpi xmlns:a14="http://schemas.microsoft.com/office/drawing/2010/main"/>
              </a:ext>
            </a:extLst>
          </a:blip>
          <a:srcRect/>
          <a:stretch/>
        </p:blipFill>
        <p:spPr>
          <a:xfrm>
            <a:off x="8293185" y="2424224"/>
            <a:ext cx="1164644" cy="1820333"/>
          </a:xfrm>
          <a:prstGeom prst="rect">
            <a:avLst/>
          </a:prstGeom>
        </p:spPr>
      </p:pic>
      <p:sp>
        <p:nvSpPr>
          <p:cNvPr id="52" name="Text Box 8"/>
          <p:cNvSpPr txBox="1">
            <a:spLocks noChangeArrowheads="1"/>
          </p:cNvSpPr>
          <p:nvPr/>
        </p:nvSpPr>
        <p:spPr bwMode="auto">
          <a:xfrm>
            <a:off x="347694" y="1027149"/>
            <a:ext cx="9277569" cy="812530"/>
          </a:xfrm>
          <a:prstGeom prst="rect">
            <a:avLst/>
          </a:prstGeom>
          <a:noFill/>
        </p:spPr>
        <p:txBody>
          <a:bodyPr wrap="square" rtlCol="0">
            <a:spAutoFit/>
          </a:bodyPr>
          <a:lstStyle>
            <a:defPPr>
              <a:defRPr kern="0"/>
            </a:defPPr>
            <a:lvl1pPr>
              <a:lnSpc>
                <a:spcPct val="130000"/>
              </a:lnSpc>
              <a:buClr>
                <a:srgbClr val="FF0000"/>
              </a:buClr>
              <a:defRPr sz="1200" b="1">
                <a:latin typeface="+mn-ea"/>
                <a:ea typeface="+mn-ea"/>
                <a:cs typeface="メイリオ" pitchFamily="50" charset="-128"/>
              </a:defRPr>
            </a:lvl1pPr>
          </a:lstStyle>
          <a:p>
            <a:r>
              <a:rPr lang="ja-JP" altLang="en-US" dirty="0" smtClean="0"/>
              <a:t>シダックスグループの“厨房</a:t>
            </a:r>
            <a:r>
              <a:rPr lang="ja-JP" altLang="en-US" dirty="0"/>
              <a:t>設計コンサルティング</a:t>
            </a:r>
            <a:r>
              <a:rPr lang="ja-JP" altLang="en-US" dirty="0" smtClean="0"/>
              <a:t>事業”を担う「シダックスエンジニアリング」は</a:t>
            </a:r>
            <a:r>
              <a:rPr lang="ja-JP" altLang="en-US" dirty="0"/>
              <a:t>、</a:t>
            </a:r>
            <a:r>
              <a:rPr lang="en-US" altLang="ja-JP" dirty="0"/>
              <a:t>1971</a:t>
            </a:r>
            <a:r>
              <a:rPr lang="ja-JP" altLang="en-US" dirty="0"/>
              <a:t>年にシダックスグループの設計を担う部署として設立</a:t>
            </a:r>
            <a:r>
              <a:rPr lang="ja-JP" altLang="en-US" dirty="0" smtClean="0"/>
              <a:t>。</a:t>
            </a:r>
            <a:endParaRPr lang="en-US" altLang="ja-JP" dirty="0" smtClean="0"/>
          </a:p>
          <a:p>
            <a:r>
              <a:rPr lang="ja-JP" altLang="en-US" dirty="0" smtClean="0"/>
              <a:t>長年</a:t>
            </a:r>
            <a:r>
              <a:rPr lang="ja-JP" altLang="en-US" dirty="0"/>
              <a:t>培った給食</a:t>
            </a:r>
            <a:r>
              <a:rPr lang="ja-JP" altLang="en-US" dirty="0" smtClean="0"/>
              <a:t>ノウハウをベースにして、</a:t>
            </a:r>
            <a:r>
              <a:rPr lang="ja-JP" altLang="en-US" dirty="0"/>
              <a:t>外食レストランの厨房設計、施工、メンテナンスを</a:t>
            </a:r>
            <a:r>
              <a:rPr lang="ja-JP" altLang="en-US" dirty="0" smtClean="0"/>
              <a:t>多数行っております</a:t>
            </a:r>
            <a:r>
              <a:rPr lang="ja-JP" altLang="en-US" dirty="0"/>
              <a:t>。</a:t>
            </a:r>
          </a:p>
        </p:txBody>
      </p:sp>
      <p:sp>
        <p:nvSpPr>
          <p:cNvPr id="5" name="スライド番号プレースホルダー 4">
            <a:extLst>
              <a:ext uri="{FF2B5EF4-FFF2-40B4-BE49-F238E27FC236}">
                <a16:creationId xmlns:a16="http://schemas.microsoft.com/office/drawing/2014/main" id="{6650879A-1121-673E-294F-EFEA0056ECB4}"/>
              </a:ext>
            </a:extLst>
          </p:cNvPr>
          <p:cNvSpPr>
            <a:spLocks noGrp="1"/>
          </p:cNvSpPr>
          <p:nvPr>
            <p:ph type="sldNum" sz="quarter" idx="12"/>
          </p:nvPr>
        </p:nvSpPr>
        <p:spPr/>
        <p:txBody>
          <a:bodyPr/>
          <a:lstStyle/>
          <a:p>
            <a:fld id="{3DB74C4F-4DC2-4C31-8D08-159129179147}" type="slidenum">
              <a:rPr kumimoji="1" lang="ja-JP" altLang="en-US" smtClean="0"/>
              <a:pPr/>
              <a:t>1</a:t>
            </a:fld>
            <a:endParaRPr kumimoji="1" lang="ja-JP" altLang="en-US"/>
          </a:p>
        </p:txBody>
      </p:sp>
    </p:spTree>
    <p:extLst>
      <p:ext uri="{BB962C8B-B14F-4D97-AF65-F5344CB8AC3E}">
        <p14:creationId xmlns:p14="http://schemas.microsoft.com/office/powerpoint/2010/main" val="20238305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8FD99221-5A8E-22ED-F58B-47A1F893B084}"/>
              </a:ext>
            </a:extLst>
          </p:cNvPr>
          <p:cNvSpPr>
            <a:spLocks noGrp="1"/>
          </p:cNvSpPr>
          <p:nvPr>
            <p:ph type="sldNum" sz="quarter" idx="12"/>
          </p:nvPr>
        </p:nvSpPr>
        <p:spPr/>
        <p:txBody>
          <a:bodyPr/>
          <a:lstStyle/>
          <a:p>
            <a:fld id="{3DB74C4F-4DC2-4C31-8D08-159129179147}" type="slidenum">
              <a:rPr kumimoji="1" lang="ja-JP" altLang="en-US" smtClean="0"/>
              <a:pPr/>
              <a:t>2</a:t>
            </a:fld>
            <a:endParaRPr kumimoji="1" lang="ja-JP" altLang="en-US"/>
          </a:p>
        </p:txBody>
      </p:sp>
      <p:pic>
        <p:nvPicPr>
          <p:cNvPr id="37" name="グラフィックス 36">
            <a:extLst>
              <a:ext uri="{FF2B5EF4-FFF2-40B4-BE49-F238E27FC236}">
                <a16:creationId xmlns:a16="http://schemas.microsoft.com/office/drawing/2014/main" id="{98E488A0-B2D8-F536-B3EF-84D7D0014DEF}"/>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8406818" y="210781"/>
            <a:ext cx="1026676" cy="233049"/>
          </a:xfrm>
          <a:prstGeom prst="rect">
            <a:avLst/>
          </a:prstGeom>
        </p:spPr>
      </p:pic>
      <p:sp>
        <p:nvSpPr>
          <p:cNvPr id="3" name="タイトル 2"/>
          <p:cNvSpPr>
            <a:spLocks noGrp="1"/>
          </p:cNvSpPr>
          <p:nvPr>
            <p:ph type="title"/>
          </p:nvPr>
        </p:nvSpPr>
        <p:spPr/>
        <p:txBody>
          <a:bodyPr/>
          <a:lstStyle/>
          <a:p>
            <a:r>
              <a:rPr kumimoji="1" lang="ja-JP" altLang="en-US" dirty="0" smtClean="0"/>
              <a:t>食堂イメージパース</a:t>
            </a:r>
            <a:endParaRPr kumimoji="1" lang="ja-JP" altLang="en-US" dirty="0"/>
          </a:p>
        </p:txBody>
      </p:sp>
      <p:sp>
        <p:nvSpPr>
          <p:cNvPr id="40" name="テキスト プレースホルダー 40">
            <a:extLst>
              <a:ext uri="{FF2B5EF4-FFF2-40B4-BE49-F238E27FC236}">
                <a16:creationId xmlns:a16="http://schemas.microsoft.com/office/drawing/2014/main" id="{121CF5A0-E1C1-4C61-0B12-5F9FA932390A}"/>
              </a:ext>
            </a:extLst>
          </p:cNvPr>
          <p:cNvSpPr>
            <a:spLocks noGrp="1"/>
          </p:cNvSpPr>
          <p:nvPr>
            <p:ph type="body" sz="quarter" idx="13"/>
          </p:nvPr>
        </p:nvSpPr>
        <p:spPr>
          <a:xfrm>
            <a:off x="383811" y="212725"/>
            <a:ext cx="2228495" cy="259815"/>
          </a:xfrm>
        </p:spPr>
        <p:txBody>
          <a:bodyPr>
            <a:normAutofit/>
          </a:bodyPr>
          <a:lstStyle/>
          <a:p>
            <a:r>
              <a:rPr lang="en-US" altLang="ja-JP" dirty="0"/>
              <a:t>02 </a:t>
            </a:r>
            <a:r>
              <a:rPr lang="ja-JP" altLang="en-US" dirty="0"/>
              <a:t>空間装飾</a:t>
            </a:r>
          </a:p>
        </p:txBody>
      </p:sp>
      <p:pic>
        <p:nvPicPr>
          <p:cNvPr id="12" name="図 11"/>
          <p:cNvPicPr>
            <a:picLocks noChangeAspect="1"/>
          </p:cNvPicPr>
          <p:nvPr/>
        </p:nvPicPr>
        <p:blipFill>
          <a:blip r:embed="rId4"/>
          <a:stretch>
            <a:fillRect/>
          </a:stretch>
        </p:blipFill>
        <p:spPr>
          <a:xfrm>
            <a:off x="1167577" y="1912620"/>
            <a:ext cx="7998903" cy="4776938"/>
          </a:xfrm>
          <a:prstGeom prst="rect">
            <a:avLst/>
          </a:prstGeom>
        </p:spPr>
      </p:pic>
      <p:sp>
        <p:nvSpPr>
          <p:cNvPr id="16" name="Text Box 8"/>
          <p:cNvSpPr txBox="1">
            <a:spLocks noChangeArrowheads="1"/>
          </p:cNvSpPr>
          <p:nvPr/>
        </p:nvSpPr>
        <p:spPr bwMode="auto">
          <a:xfrm>
            <a:off x="347694" y="1027149"/>
            <a:ext cx="8991599" cy="812530"/>
          </a:xfrm>
          <a:prstGeom prst="rect">
            <a:avLst/>
          </a:prstGeom>
          <a:noFill/>
        </p:spPr>
        <p:txBody>
          <a:bodyPr wrap="square" rtlCol="0">
            <a:spAutoFit/>
          </a:bodyPr>
          <a:lstStyle>
            <a:defPPr>
              <a:defRPr kern="0"/>
            </a:defPPr>
            <a:lvl1pPr>
              <a:lnSpc>
                <a:spcPct val="130000"/>
              </a:lnSpc>
              <a:buClr>
                <a:srgbClr val="FF0000"/>
              </a:buClr>
              <a:defRPr sz="1200" b="1">
                <a:latin typeface="+mn-ea"/>
                <a:ea typeface="+mn-ea"/>
                <a:cs typeface="メイリオ" pitchFamily="50" charset="-128"/>
              </a:defRPr>
            </a:lvl1pPr>
          </a:lstStyle>
          <a:p>
            <a:r>
              <a:rPr lang="ja-JP" altLang="en-US" dirty="0"/>
              <a:t>木目調の素材が創り出す落ち着いた雰囲気と和みを感じるこげ茶色調で</a:t>
            </a:r>
            <a:r>
              <a:rPr lang="ja-JP" altLang="en-US" dirty="0" smtClean="0"/>
              <a:t>まとめられた食堂デザインは、モダン</a:t>
            </a:r>
            <a:r>
              <a:rPr lang="ja-JP" altLang="en-US" dirty="0"/>
              <a:t>でありながら</a:t>
            </a:r>
            <a:r>
              <a:rPr lang="ja-JP" altLang="en-US" dirty="0" smtClean="0"/>
              <a:t>も　落ち着き</a:t>
            </a:r>
            <a:r>
              <a:rPr lang="ja-JP" altLang="en-US" dirty="0"/>
              <a:t>を兼ね備えた空間</a:t>
            </a:r>
            <a:r>
              <a:rPr lang="ja-JP" altLang="en-US" dirty="0" smtClean="0"/>
              <a:t>デザインとなります。すっきり</a:t>
            </a:r>
            <a:r>
              <a:rPr lang="ja-JP" altLang="en-US" dirty="0"/>
              <a:t>とした木目調</a:t>
            </a:r>
            <a:r>
              <a:rPr lang="ja-JP" altLang="en-US" dirty="0" smtClean="0"/>
              <a:t>のデザインが</a:t>
            </a:r>
            <a:r>
              <a:rPr lang="ja-JP" altLang="en-US" dirty="0"/>
              <a:t>ナチュラルさを引き立てます</a:t>
            </a:r>
            <a:r>
              <a:rPr lang="ja-JP" altLang="en-US" dirty="0" smtClean="0"/>
              <a:t>。　　　　　この</a:t>
            </a:r>
            <a:r>
              <a:rPr lang="ja-JP" altLang="en-US" dirty="0"/>
              <a:t>デザインは、働きながらも自然を感じることができる一方で、勤務時には気持ちを</a:t>
            </a:r>
            <a:r>
              <a:rPr lang="ja-JP" altLang="en-US" dirty="0" smtClean="0"/>
              <a:t>リラックスいただく効果を発揮します。</a:t>
            </a:r>
            <a:endParaRPr lang="ja-JP" altLang="en-US" dirty="0"/>
          </a:p>
        </p:txBody>
      </p:sp>
      <p:sp>
        <p:nvSpPr>
          <p:cNvPr id="9" name="Freeform 6"/>
          <p:cNvSpPr/>
          <p:nvPr/>
        </p:nvSpPr>
        <p:spPr>
          <a:xfrm>
            <a:off x="2723129" y="3940368"/>
            <a:ext cx="449441" cy="1371104"/>
          </a:xfrm>
          <a:custGeom>
            <a:avLst/>
            <a:gdLst/>
            <a:ahLst/>
            <a:cxnLst/>
            <a:rect l="l" t="t" r="r" b="b"/>
            <a:pathLst>
              <a:path w="1242753" h="4114800">
                <a:moveTo>
                  <a:pt x="0" y="0"/>
                </a:moveTo>
                <a:lnTo>
                  <a:pt x="1242753" y="0"/>
                </a:lnTo>
                <a:lnTo>
                  <a:pt x="1242753" y="4114800"/>
                </a:lnTo>
                <a:lnTo>
                  <a:pt x="0" y="4114800"/>
                </a:lnTo>
                <a:lnTo>
                  <a:pt x="0" y="0"/>
                </a:lnTo>
                <a:close/>
              </a:path>
            </a:pathLst>
          </a:custGeom>
          <a:blipFill>
            <a:blip r:embed="rId5">
              <a:alphaModFix amt="38000"/>
              <a:extLst>
                <a:ext uri="{96DAC541-7B7A-43D3-8B79-37D633B846F1}">
                  <asvg:svgBlip xmlns:asvg="http://schemas.microsoft.com/office/drawing/2016/SVG/main" xmlns="" r:embed="rId11"/>
                </a:ext>
              </a:extLst>
            </a:blip>
            <a:stretch>
              <a:fillRect/>
            </a:stretch>
          </a:blipFill>
        </p:spPr>
      </p:sp>
      <p:sp>
        <p:nvSpPr>
          <p:cNvPr id="11" name="Freeform 2"/>
          <p:cNvSpPr/>
          <p:nvPr/>
        </p:nvSpPr>
        <p:spPr>
          <a:xfrm>
            <a:off x="443955" y="2743200"/>
            <a:ext cx="2021395" cy="4114800"/>
          </a:xfrm>
          <a:custGeom>
            <a:avLst/>
            <a:gdLst/>
            <a:ahLst/>
            <a:cxnLst/>
            <a:rect l="l" t="t" r="r" b="b"/>
            <a:pathLst>
              <a:path w="2021395" h="4114800">
                <a:moveTo>
                  <a:pt x="0" y="0"/>
                </a:moveTo>
                <a:lnTo>
                  <a:pt x="2021396" y="0"/>
                </a:lnTo>
                <a:lnTo>
                  <a:pt x="2021396" y="4114800"/>
                </a:lnTo>
                <a:lnTo>
                  <a:pt x="0" y="4114800"/>
                </a:lnTo>
                <a:lnTo>
                  <a:pt x="0" y="0"/>
                </a:lnTo>
                <a:close/>
              </a:path>
            </a:pathLst>
          </a:custGeom>
          <a:blipFill>
            <a:blip r:embed="rId12">
              <a:alphaModFix amt="53000"/>
              <a:extLst>
                <a:ext uri="{96DAC541-7B7A-43D3-8B79-37D633B846F1}">
                  <asvg:svgBlip xmlns:asvg="http://schemas.microsoft.com/office/drawing/2016/SVG/main" xmlns="" r:embed="rId13"/>
                </a:ext>
              </a:extLst>
            </a:blip>
            <a:stretch>
              <a:fillRect/>
            </a:stretch>
          </a:blipFill>
        </p:spPr>
      </p:sp>
      <p:pic>
        <p:nvPicPr>
          <p:cNvPr id="5" name="図 4"/>
          <p:cNvPicPr>
            <a:picLocks noChangeAspect="1"/>
          </p:cNvPicPr>
          <p:nvPr/>
        </p:nvPicPr>
        <p:blipFill>
          <a:blip r:embed="rId14"/>
          <a:stretch>
            <a:fillRect/>
          </a:stretch>
        </p:blipFill>
        <p:spPr>
          <a:xfrm>
            <a:off x="5933537" y="3940369"/>
            <a:ext cx="514971" cy="1601868"/>
          </a:xfrm>
          <a:prstGeom prst="rect">
            <a:avLst/>
          </a:prstGeom>
        </p:spPr>
      </p:pic>
      <p:sp>
        <p:nvSpPr>
          <p:cNvPr id="4" name="テキスト ボックス 3"/>
          <p:cNvSpPr txBox="1"/>
          <p:nvPr/>
        </p:nvSpPr>
        <p:spPr>
          <a:xfrm>
            <a:off x="8123743" y="4736268"/>
            <a:ext cx="2069431" cy="707886"/>
          </a:xfrm>
          <a:prstGeom prst="rect">
            <a:avLst/>
          </a:prstGeom>
          <a:noFill/>
        </p:spPr>
        <p:txBody>
          <a:bodyPr wrap="square" rtlCol="0">
            <a:spAutoFit/>
          </a:bodyPr>
          <a:lstStyle/>
          <a:p>
            <a:pPr algn="l"/>
            <a:r>
              <a:rPr kumimoji="1" lang="ja-JP" altLang="en-US" sz="1000" dirty="0" smtClean="0">
                <a:latin typeface="+mn-ea"/>
                <a:ea typeface="+mn-ea"/>
              </a:rPr>
              <a:t>概算費用：</a:t>
            </a:r>
            <a:r>
              <a:rPr kumimoji="1" lang="en-US" altLang="ja-JP" sz="1000" dirty="0" smtClean="0">
                <a:latin typeface="+mn-ea"/>
                <a:ea typeface="+mn-ea"/>
              </a:rPr>
              <a:t>700,000</a:t>
            </a:r>
            <a:r>
              <a:rPr kumimoji="1" lang="ja-JP" altLang="en-US" sz="1000" dirty="0" smtClean="0">
                <a:latin typeface="+mn-ea"/>
                <a:ea typeface="+mn-ea"/>
              </a:rPr>
              <a:t>円（税別）</a:t>
            </a:r>
            <a:endParaRPr kumimoji="1" lang="en-US" altLang="ja-JP" sz="1000" dirty="0" smtClean="0">
              <a:latin typeface="+mn-ea"/>
              <a:ea typeface="+mn-ea"/>
            </a:endParaRPr>
          </a:p>
          <a:p>
            <a:pPr algn="l"/>
            <a:r>
              <a:rPr kumimoji="1" lang="ja-JP" altLang="en-US" sz="1000" dirty="0" smtClean="0">
                <a:latin typeface="+mn-ea"/>
                <a:ea typeface="+mn-ea"/>
              </a:rPr>
              <a:t>ご下命後に弊社設計部にて</a:t>
            </a:r>
            <a:endParaRPr kumimoji="1" lang="en-US" altLang="ja-JP" sz="1000" dirty="0" smtClean="0">
              <a:latin typeface="+mn-ea"/>
              <a:ea typeface="+mn-ea"/>
            </a:endParaRPr>
          </a:p>
          <a:p>
            <a:pPr algn="l"/>
            <a:r>
              <a:rPr kumimoji="1" lang="ja-JP" altLang="en-US" sz="1000" dirty="0" smtClean="0">
                <a:latin typeface="+mn-ea"/>
                <a:ea typeface="+mn-ea"/>
              </a:rPr>
              <a:t>現地調査を行い改めて</a:t>
            </a:r>
            <a:endParaRPr kumimoji="1" lang="en-US" altLang="ja-JP" sz="1000" dirty="0" smtClean="0">
              <a:latin typeface="+mn-ea"/>
              <a:ea typeface="+mn-ea"/>
            </a:endParaRPr>
          </a:p>
          <a:p>
            <a:pPr algn="l"/>
            <a:r>
              <a:rPr kumimoji="1" lang="ja-JP" altLang="en-US" sz="1000" dirty="0" smtClean="0">
                <a:latin typeface="+mn-ea"/>
                <a:ea typeface="+mn-ea"/>
              </a:rPr>
              <a:t>再</a:t>
            </a:r>
            <a:r>
              <a:rPr kumimoji="1" lang="ja-JP" altLang="en-US" sz="1000" dirty="0">
                <a:latin typeface="+mn-ea"/>
                <a:ea typeface="+mn-ea"/>
              </a:rPr>
              <a:t>御見積</a:t>
            </a:r>
            <a:r>
              <a:rPr kumimoji="1" lang="ja-JP" altLang="en-US" sz="1000" dirty="0" smtClean="0">
                <a:latin typeface="+mn-ea"/>
                <a:ea typeface="+mn-ea"/>
              </a:rPr>
              <a:t>をさせて頂きます</a:t>
            </a:r>
            <a:r>
              <a:rPr kumimoji="1" lang="ja-JP" altLang="en-US" sz="1000" dirty="0">
                <a:latin typeface="+mn-ea"/>
                <a:ea typeface="+mn-ea"/>
              </a:rPr>
              <a:t>。</a:t>
            </a:r>
            <a:endParaRPr kumimoji="1" lang="en-US" altLang="ja-JP" sz="1000" dirty="0" smtClean="0">
              <a:latin typeface="+mn-ea"/>
              <a:ea typeface="+mn-ea"/>
            </a:endParaRPr>
          </a:p>
        </p:txBody>
      </p:sp>
    </p:spTree>
    <p:extLst>
      <p:ext uri="{BB962C8B-B14F-4D97-AF65-F5344CB8AC3E}">
        <p14:creationId xmlns:p14="http://schemas.microsoft.com/office/powerpoint/2010/main" val="30115034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楕円 13">
            <a:extLst>
              <a:ext uri="{FF2B5EF4-FFF2-40B4-BE49-F238E27FC236}">
                <a16:creationId xmlns:a16="http://schemas.microsoft.com/office/drawing/2014/main" id="{2D33072B-737D-1862-EA4B-B3974008D0C5}"/>
              </a:ext>
            </a:extLst>
          </p:cNvPr>
          <p:cNvSpPr/>
          <p:nvPr/>
        </p:nvSpPr>
        <p:spPr>
          <a:xfrm>
            <a:off x="814686" y="1803029"/>
            <a:ext cx="1721478" cy="17214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テキスト ボックス 21">
            <a:extLst>
              <a:ext uri="{FF2B5EF4-FFF2-40B4-BE49-F238E27FC236}">
                <a16:creationId xmlns:a16="http://schemas.microsoft.com/office/drawing/2014/main" id="{361A6F49-7707-195F-16B4-AEB5EEF4ECC2}"/>
              </a:ext>
            </a:extLst>
          </p:cNvPr>
          <p:cNvSpPr txBox="1"/>
          <p:nvPr/>
        </p:nvSpPr>
        <p:spPr>
          <a:xfrm>
            <a:off x="993130" y="2250669"/>
            <a:ext cx="1448625" cy="830997"/>
          </a:xfrm>
          <a:prstGeom prst="rect">
            <a:avLst/>
          </a:prstGeom>
          <a:noFill/>
        </p:spPr>
        <p:txBody>
          <a:bodyPr wrap="square" rtlCol="0">
            <a:spAutoFit/>
          </a:bodyPr>
          <a:lstStyle>
            <a:defPPr>
              <a:defRPr kern="0"/>
            </a:defPPr>
          </a:lstStyle>
          <a:p>
            <a:pPr algn="l"/>
            <a:r>
              <a:rPr kumimoji="1" lang="ja-JP" altLang="en-US" sz="1600" b="1">
                <a:solidFill>
                  <a:schemeClr val="accent1"/>
                </a:solidFill>
                <a:latin typeface="+mn-ea"/>
                <a:ea typeface="+mn-ea"/>
              </a:rPr>
              <a:t>カフェテリアメニューの</a:t>
            </a:r>
            <a:r>
              <a:rPr kumimoji="1" lang="en-US" altLang="ja-JP" sz="1600" b="1">
                <a:solidFill>
                  <a:schemeClr val="accent1"/>
                </a:solidFill>
                <a:latin typeface="+mn-ea"/>
                <a:ea typeface="+mn-ea"/>
              </a:rPr>
              <a:t/>
            </a:r>
            <a:br>
              <a:rPr kumimoji="1" lang="en-US" altLang="ja-JP" sz="1600" b="1">
                <a:solidFill>
                  <a:schemeClr val="accent1"/>
                </a:solidFill>
                <a:latin typeface="+mn-ea"/>
                <a:ea typeface="+mn-ea"/>
              </a:rPr>
            </a:br>
            <a:r>
              <a:rPr kumimoji="1" lang="ja-JP" altLang="en-US" sz="1600" b="1">
                <a:solidFill>
                  <a:schemeClr val="accent1"/>
                </a:solidFill>
                <a:latin typeface="+mn-ea"/>
                <a:ea typeface="+mn-ea"/>
              </a:rPr>
              <a:t>一覧イメージ</a:t>
            </a:r>
          </a:p>
        </p:txBody>
      </p:sp>
      <p:sp>
        <p:nvSpPr>
          <p:cNvPr id="2" name="スライド番号プレースホルダー 1">
            <a:extLst>
              <a:ext uri="{FF2B5EF4-FFF2-40B4-BE49-F238E27FC236}">
                <a16:creationId xmlns:a16="http://schemas.microsoft.com/office/drawing/2014/main" id="{8FD99221-5A8E-22ED-F58B-47A1F893B084}"/>
              </a:ext>
            </a:extLst>
          </p:cNvPr>
          <p:cNvSpPr>
            <a:spLocks noGrp="1"/>
          </p:cNvSpPr>
          <p:nvPr>
            <p:ph type="sldNum" sz="quarter" idx="12"/>
          </p:nvPr>
        </p:nvSpPr>
        <p:spPr/>
        <p:txBody>
          <a:bodyPr/>
          <a:lstStyle/>
          <a:p>
            <a:fld id="{3DB74C4F-4DC2-4C31-8D08-159129179147}" type="slidenum">
              <a:rPr kumimoji="1" lang="ja-JP" altLang="en-US" smtClean="0"/>
              <a:pPr/>
              <a:t>3</a:t>
            </a:fld>
            <a:endParaRPr kumimoji="1" lang="ja-JP" altLang="en-US"/>
          </a:p>
        </p:txBody>
      </p:sp>
      <p:sp>
        <p:nvSpPr>
          <p:cNvPr id="3" name="タイトル 2"/>
          <p:cNvSpPr>
            <a:spLocks noGrp="1"/>
          </p:cNvSpPr>
          <p:nvPr>
            <p:ph type="title"/>
          </p:nvPr>
        </p:nvSpPr>
        <p:spPr/>
        <p:txBody>
          <a:bodyPr/>
          <a:lstStyle/>
          <a:p>
            <a:r>
              <a:rPr kumimoji="1" lang="ja-JP" altLang="en-US"/>
              <a:t>デジタルサイネージ</a:t>
            </a:r>
          </a:p>
        </p:txBody>
      </p:sp>
      <p:sp>
        <p:nvSpPr>
          <p:cNvPr id="57" name="テキスト プレースホルダー 40">
            <a:extLst>
              <a:ext uri="{FF2B5EF4-FFF2-40B4-BE49-F238E27FC236}">
                <a16:creationId xmlns:a16="http://schemas.microsoft.com/office/drawing/2014/main" id="{121CF5A0-E1C1-4C61-0B12-5F9FA932390A}"/>
              </a:ext>
            </a:extLst>
          </p:cNvPr>
          <p:cNvSpPr>
            <a:spLocks noGrp="1"/>
          </p:cNvSpPr>
          <p:nvPr>
            <p:ph type="body" sz="quarter" idx="13"/>
          </p:nvPr>
        </p:nvSpPr>
        <p:spPr/>
        <p:txBody>
          <a:bodyPr>
            <a:normAutofit/>
          </a:bodyPr>
          <a:lstStyle/>
          <a:p>
            <a:r>
              <a:rPr lang="en-US" altLang="ja-JP"/>
              <a:t>02 </a:t>
            </a:r>
            <a:r>
              <a:rPr lang="ja-JP" altLang="en-US"/>
              <a:t>空間装飾</a:t>
            </a:r>
          </a:p>
        </p:txBody>
      </p:sp>
      <p:pic>
        <p:nvPicPr>
          <p:cNvPr id="37" name="グラフィックス 36">
            <a:extLst>
              <a:ext uri="{FF2B5EF4-FFF2-40B4-BE49-F238E27FC236}">
                <a16:creationId xmlns:a16="http://schemas.microsoft.com/office/drawing/2014/main" id="{98E488A0-B2D8-F536-B3EF-84D7D0014DEF}"/>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8406818" y="210781"/>
            <a:ext cx="1026676" cy="233049"/>
          </a:xfrm>
          <a:prstGeom prst="rect">
            <a:avLst/>
          </a:prstGeom>
        </p:spPr>
      </p:pic>
      <p:sp>
        <p:nvSpPr>
          <p:cNvPr id="19" name="テキスト プレースホルダー 8">
            <a:extLst>
              <a:ext uri="{FF2B5EF4-FFF2-40B4-BE49-F238E27FC236}">
                <a16:creationId xmlns:a16="http://schemas.microsoft.com/office/drawing/2014/main" id="{1E86627F-3B0E-ED2A-76F4-E5D9F4CECFB3}"/>
              </a:ext>
            </a:extLst>
          </p:cNvPr>
          <p:cNvSpPr txBox="1">
            <a:spLocks/>
          </p:cNvSpPr>
          <p:nvPr/>
        </p:nvSpPr>
        <p:spPr>
          <a:xfrm>
            <a:off x="355236" y="1030841"/>
            <a:ext cx="8975348" cy="572464"/>
          </a:xfrm>
          <a:prstGeom prst="rect">
            <a:avLst/>
          </a:prstGeom>
          <a:noFill/>
        </p:spPr>
        <p:txBody>
          <a:bodyPr wrap="square" rtlCol="0">
            <a:spAutoFit/>
          </a:bodyPr>
          <a:lstStyle>
            <a:defPPr>
              <a:defRPr kern="0"/>
            </a:defPPr>
            <a:lvl1pPr>
              <a:lnSpc>
                <a:spcPct val="130000"/>
              </a:lnSpc>
              <a:buClr>
                <a:srgbClr val="FF0000"/>
              </a:buClr>
              <a:defRPr sz="1200" b="1">
                <a:latin typeface="+mn-ea"/>
                <a:ea typeface="+mn-ea"/>
                <a:cs typeface="メイリオ" pitchFamily="50" charset="-128"/>
              </a:defRPr>
            </a:lvl1pPr>
            <a:lvl2pPr marL="457200" indent="0" algn="l" defTabSz="914400" rtl="0" eaLnBrk="1" latinLnBrk="0" hangingPunct="1">
              <a:lnSpc>
                <a:spcPct val="90000"/>
              </a:lnSpc>
              <a:spcBef>
                <a:spcPts val="500"/>
              </a:spcBef>
              <a:buFontTx/>
              <a:buNone/>
              <a:defRPr kumimoji="1"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kumimoji="1"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kumimoji="1"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dirty="0"/>
              <a:t>レストランやカフェ運営で培った“魅せる演出方法”。デジタルサイネージを活用し、当日のメニューやフェアのご案内、その他食堂に関する情報を分かりやすく表示することで食堂入り口での混雑を回避します。</a:t>
            </a:r>
          </a:p>
        </p:txBody>
      </p:sp>
      <p:pic>
        <p:nvPicPr>
          <p:cNvPr id="24" name="図 23">
            <a:extLst>
              <a:ext uri="{FF2B5EF4-FFF2-40B4-BE49-F238E27FC236}">
                <a16:creationId xmlns:a16="http://schemas.microsoft.com/office/drawing/2014/main" id="{698B1AD2-D08C-ECD7-F48A-BD025C6C6828}"/>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5455959" y="1899273"/>
            <a:ext cx="3594856" cy="1529727"/>
          </a:xfrm>
          <a:prstGeom prst="roundRect">
            <a:avLst>
              <a:gd name="adj" fmla="val 8248"/>
            </a:avLst>
          </a:prstGeom>
        </p:spPr>
      </p:pic>
      <p:pic>
        <p:nvPicPr>
          <p:cNvPr id="39" name="図 38">
            <a:extLst>
              <a:ext uri="{FF2B5EF4-FFF2-40B4-BE49-F238E27FC236}">
                <a16:creationId xmlns:a16="http://schemas.microsoft.com/office/drawing/2014/main" id="{4CC3A945-7C25-28E6-7AD1-87407F96CC4A}"/>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7344473" y="4217519"/>
            <a:ext cx="1741375" cy="1231553"/>
          </a:xfrm>
          <a:prstGeom prst="roundRect">
            <a:avLst>
              <a:gd name="adj" fmla="val 8301"/>
            </a:avLst>
          </a:prstGeom>
          <a:ln>
            <a:solidFill>
              <a:schemeClr val="bg1">
                <a:lumMod val="85000"/>
              </a:schemeClr>
            </a:solidFill>
          </a:ln>
          <a:effectLst/>
        </p:spPr>
      </p:pic>
      <p:pic>
        <p:nvPicPr>
          <p:cNvPr id="40" name="図 39">
            <a:extLst>
              <a:ext uri="{FF2B5EF4-FFF2-40B4-BE49-F238E27FC236}">
                <a16:creationId xmlns:a16="http://schemas.microsoft.com/office/drawing/2014/main" id="{65BAF5B9-4A34-5F32-4C7C-A5B3055BA337}"/>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5489685" y="4217519"/>
            <a:ext cx="1742080" cy="1230872"/>
          </a:xfrm>
          <a:prstGeom prst="roundRect">
            <a:avLst>
              <a:gd name="adj" fmla="val 10389"/>
            </a:avLst>
          </a:prstGeom>
          <a:ln>
            <a:solidFill>
              <a:schemeClr val="bg1">
                <a:lumMod val="85000"/>
              </a:schemeClr>
            </a:solidFill>
          </a:ln>
          <a:effectLst/>
        </p:spPr>
      </p:pic>
      <p:sp>
        <p:nvSpPr>
          <p:cNvPr id="42" name="テキスト ボックス 21">
            <a:extLst>
              <a:ext uri="{FF2B5EF4-FFF2-40B4-BE49-F238E27FC236}">
                <a16:creationId xmlns:a16="http://schemas.microsoft.com/office/drawing/2014/main" id="{5E020C21-76FF-ABC6-A30F-330097A6A329}"/>
              </a:ext>
            </a:extLst>
          </p:cNvPr>
          <p:cNvSpPr txBox="1"/>
          <p:nvPr/>
        </p:nvSpPr>
        <p:spPr>
          <a:xfrm>
            <a:off x="5455959" y="3472145"/>
            <a:ext cx="3634004" cy="522964"/>
          </a:xfrm>
          <a:prstGeom prst="rect">
            <a:avLst/>
          </a:prstGeom>
          <a:noFill/>
        </p:spPr>
        <p:txBody>
          <a:bodyPr wrap="square" lIns="0" rtlCol="0">
            <a:spAutoFit/>
          </a:bodyPr>
          <a:lstStyle>
            <a:defPPr>
              <a:defRPr kern="0"/>
            </a:defPPr>
          </a:lstStyle>
          <a:p>
            <a:pPr marL="171450" indent="-171450" algn="l">
              <a:lnSpc>
                <a:spcPct val="120000"/>
              </a:lnSpc>
              <a:buClr>
                <a:schemeClr val="accent1"/>
              </a:buClr>
              <a:buFont typeface="游ゴシック" panose="020B0400000000000000" pitchFamily="50" charset="-128"/>
              <a:buChar char="▲"/>
            </a:pPr>
            <a:r>
              <a:rPr kumimoji="1" lang="ja-JP" altLang="en-US" sz="1200" b="1">
                <a:solidFill>
                  <a:schemeClr val="tx1"/>
                </a:solidFill>
                <a:latin typeface="+mn-ea"/>
                <a:ea typeface="+mn-ea"/>
              </a:rPr>
              <a:t>提供カウンター上にもデジタルサイネージを設置し、メニューの視認性を高めることも可能です。</a:t>
            </a:r>
          </a:p>
        </p:txBody>
      </p:sp>
      <p:grpSp>
        <p:nvGrpSpPr>
          <p:cNvPr id="44" name="グループ化 43">
            <a:extLst>
              <a:ext uri="{FF2B5EF4-FFF2-40B4-BE49-F238E27FC236}">
                <a16:creationId xmlns:a16="http://schemas.microsoft.com/office/drawing/2014/main" id="{95835B3D-D92E-31E2-3448-FAD30C30D558}"/>
              </a:ext>
            </a:extLst>
          </p:cNvPr>
          <p:cNvGrpSpPr/>
          <p:nvPr/>
        </p:nvGrpSpPr>
        <p:grpSpPr>
          <a:xfrm>
            <a:off x="1798694" y="1832836"/>
            <a:ext cx="3383366" cy="4060042"/>
            <a:chOff x="336330" y="2283524"/>
            <a:chExt cx="2688071" cy="3225687"/>
          </a:xfrm>
        </p:grpSpPr>
        <p:pic>
          <p:nvPicPr>
            <p:cNvPr id="48" name="図 47" descr="食堂メニュー表示システム ChoicEat（チョイスイート）の一覧を表示したイメージ">
              <a:extLst>
                <a:ext uri="{FF2B5EF4-FFF2-40B4-BE49-F238E27FC236}">
                  <a16:creationId xmlns:a16="http://schemas.microsoft.com/office/drawing/2014/main" id="{DF83F1A5-1410-547E-3BC2-9C7454673089}"/>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36330" y="2283524"/>
              <a:ext cx="2688071" cy="3225687"/>
            </a:xfrm>
            <a:prstGeom prst="rect">
              <a:avLst/>
            </a:prstGeom>
            <a:noFill/>
            <a:extLst>
              <a:ext uri="{909E8E84-426E-40DD-AFC4-6F175D3DCCD1}">
                <a14:hiddenFill xmlns:a14="http://schemas.microsoft.com/office/drawing/2010/main">
                  <a:solidFill>
                    <a:srgbClr val="FFFFFF"/>
                  </a:solidFill>
                </a14:hiddenFill>
              </a:ext>
            </a:extLst>
          </p:spPr>
        </p:pic>
        <p:sp>
          <p:nvSpPr>
            <p:cNvPr id="49" name="正方形/長方形 48">
              <a:extLst>
                <a:ext uri="{FF2B5EF4-FFF2-40B4-BE49-F238E27FC236}">
                  <a16:creationId xmlns:a16="http://schemas.microsoft.com/office/drawing/2014/main" id="{80A03B81-A65E-5E6A-FB07-10FEBDCB259D}"/>
                </a:ext>
              </a:extLst>
            </p:cNvPr>
            <p:cNvSpPr/>
            <p:nvPr/>
          </p:nvSpPr>
          <p:spPr>
            <a:xfrm>
              <a:off x="696552" y="5105405"/>
              <a:ext cx="1132248" cy="152392"/>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 name="四角形: 角を丸くする 3">
            <a:extLst>
              <a:ext uri="{FF2B5EF4-FFF2-40B4-BE49-F238E27FC236}">
                <a16:creationId xmlns:a16="http://schemas.microsoft.com/office/drawing/2014/main" id="{274A965C-ABE2-2BD5-C6FC-12F53CF661AB}"/>
              </a:ext>
            </a:extLst>
          </p:cNvPr>
          <p:cNvSpPr/>
          <p:nvPr/>
        </p:nvSpPr>
        <p:spPr>
          <a:xfrm>
            <a:off x="2178647" y="5661992"/>
            <a:ext cx="7286532" cy="935658"/>
          </a:xfrm>
          <a:prstGeom prst="roundRect">
            <a:avLst>
              <a:gd name="adj" fmla="val 12873"/>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 name="グループ化 5">
            <a:extLst>
              <a:ext uri="{FF2B5EF4-FFF2-40B4-BE49-F238E27FC236}">
                <a16:creationId xmlns:a16="http://schemas.microsoft.com/office/drawing/2014/main" id="{5241BB36-A868-E896-B05F-0C62FD64EA37}"/>
              </a:ext>
            </a:extLst>
          </p:cNvPr>
          <p:cNvGrpSpPr/>
          <p:nvPr/>
        </p:nvGrpSpPr>
        <p:grpSpPr>
          <a:xfrm>
            <a:off x="657799" y="5866259"/>
            <a:ext cx="1731673" cy="782671"/>
            <a:chOff x="751511" y="5932571"/>
            <a:chExt cx="1731673" cy="782671"/>
          </a:xfrm>
        </p:grpSpPr>
        <p:sp>
          <p:nvSpPr>
            <p:cNvPr id="7" name="テキスト ボックス 6">
              <a:extLst>
                <a:ext uri="{FF2B5EF4-FFF2-40B4-BE49-F238E27FC236}">
                  <a16:creationId xmlns:a16="http://schemas.microsoft.com/office/drawing/2014/main" id="{7711DE74-7522-6EB4-7421-182A49B099EB}"/>
                </a:ext>
              </a:extLst>
            </p:cNvPr>
            <p:cNvSpPr txBox="1"/>
            <p:nvPr/>
          </p:nvSpPr>
          <p:spPr>
            <a:xfrm>
              <a:off x="1005876" y="6002700"/>
              <a:ext cx="1477308" cy="360000"/>
            </a:xfrm>
            <a:prstGeom prst="rect">
              <a:avLst/>
            </a:prstGeom>
            <a:noFill/>
            <a:ln w="25400">
              <a:noFill/>
            </a:ln>
          </p:spPr>
          <p:txBody>
            <a:bodyPr wrap="square" lIns="0" tIns="0" rIns="0" bIns="0" anchor="ctr">
              <a:noAutofit/>
            </a:bodyPr>
            <a:lstStyle>
              <a:defPPr>
                <a:defRPr kern="0"/>
              </a:defPPr>
              <a:lvl1pPr>
                <a:lnSpc>
                  <a:spcPct val="130000"/>
                </a:lnSpc>
                <a:defRPr sz="1200" b="1">
                  <a:latin typeface="+mn-ea"/>
                  <a:ea typeface="+mn-ea"/>
                </a:defRPr>
              </a:lvl1pPr>
            </a:lstStyle>
            <a:p>
              <a:pPr algn="ctr">
                <a:lnSpc>
                  <a:spcPct val="120000"/>
                </a:lnSpc>
                <a:spcBef>
                  <a:spcPts val="600"/>
                </a:spcBef>
              </a:pPr>
              <a:r>
                <a:rPr lang="ja-JP" altLang="en-US" sz="1600">
                  <a:solidFill>
                    <a:schemeClr val="accent1"/>
                  </a:solidFill>
                </a:rPr>
                <a:t>ポイント</a:t>
              </a:r>
              <a:endParaRPr lang="ja-JP" altLang="en-US" sz="1100">
                <a:solidFill>
                  <a:schemeClr val="accent1"/>
                </a:solidFill>
              </a:endParaRPr>
            </a:p>
          </p:txBody>
        </p:sp>
        <p:sp>
          <p:nvSpPr>
            <p:cNvPr id="8" name="グラフィックス 15">
              <a:extLst>
                <a:ext uri="{FF2B5EF4-FFF2-40B4-BE49-F238E27FC236}">
                  <a16:creationId xmlns:a16="http://schemas.microsoft.com/office/drawing/2014/main" id="{690A136B-C4F1-76BA-88CD-13F59953886D}"/>
                </a:ext>
              </a:extLst>
            </p:cNvPr>
            <p:cNvSpPr/>
            <p:nvPr/>
          </p:nvSpPr>
          <p:spPr>
            <a:xfrm rot="1149703">
              <a:off x="803454" y="5932571"/>
              <a:ext cx="1376415" cy="782671"/>
            </a:xfrm>
            <a:custGeom>
              <a:avLst/>
              <a:gdLst>
                <a:gd name="connsiteX0" fmla="*/ 10501911 w 10501910"/>
                <a:gd name="connsiteY0" fmla="*/ 0 h 5971706"/>
                <a:gd name="connsiteX1" fmla="*/ 10483416 w 10501910"/>
                <a:gd name="connsiteY1" fmla="*/ 259321 h 5971706"/>
                <a:gd name="connsiteX2" fmla="*/ 9174037 w 10501910"/>
                <a:gd name="connsiteY2" fmla="*/ 2345600 h 5971706"/>
                <a:gd name="connsiteX3" fmla="*/ 4761053 w 10501910"/>
                <a:gd name="connsiteY3" fmla="*/ 3982025 h 5971706"/>
                <a:gd name="connsiteX4" fmla="*/ 1717853 w 10501910"/>
                <a:gd name="connsiteY4" fmla="*/ 4850199 h 5971706"/>
                <a:gd name="connsiteX5" fmla="*/ 0 w 10501910"/>
                <a:gd name="connsiteY5" fmla="*/ 5971707 h 5971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01910" h="5971706">
                  <a:moveTo>
                    <a:pt x="10501911" y="0"/>
                  </a:moveTo>
                  <a:lnTo>
                    <a:pt x="10483416" y="259321"/>
                  </a:lnTo>
                  <a:cubicBezTo>
                    <a:pt x="10370055" y="1105142"/>
                    <a:pt x="9896384" y="1868603"/>
                    <a:pt x="9174037" y="2345600"/>
                  </a:cubicBezTo>
                  <a:cubicBezTo>
                    <a:pt x="9174037" y="2345600"/>
                    <a:pt x="7983874" y="3268592"/>
                    <a:pt x="4761053" y="3982025"/>
                  </a:cubicBezTo>
                  <a:cubicBezTo>
                    <a:pt x="3728691" y="4204490"/>
                    <a:pt x="2712162" y="4494547"/>
                    <a:pt x="1717853" y="4850199"/>
                  </a:cubicBezTo>
                  <a:cubicBezTo>
                    <a:pt x="1241788" y="5054569"/>
                    <a:pt x="567739" y="5323603"/>
                    <a:pt x="0" y="5971707"/>
                  </a:cubicBezTo>
                </a:path>
              </a:pathLst>
            </a:custGeom>
            <a:noFill/>
            <a:ln w="19050" cap="rnd">
              <a:solidFill>
                <a:schemeClr val="accent1"/>
              </a:solidFill>
              <a:prstDash val="solid"/>
              <a:miter/>
            </a:ln>
          </p:spPr>
          <p:txBody>
            <a:bodyPr rtlCol="0" anchor="ctr"/>
            <a:lstStyle/>
            <a:p>
              <a:endParaRPr lang="ja-JP" altLang="en-US"/>
            </a:p>
          </p:txBody>
        </p:sp>
        <p:pic>
          <p:nvPicPr>
            <p:cNvPr id="10" name="グラフィックス 9">
              <a:extLst>
                <a:ext uri="{FF2B5EF4-FFF2-40B4-BE49-F238E27FC236}">
                  <a16:creationId xmlns:a16="http://schemas.microsoft.com/office/drawing/2014/main" id="{75690B69-4A2F-F6B6-5939-AC1DD637015E}"/>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rot="16200000">
              <a:off x="772126" y="5924578"/>
              <a:ext cx="435136" cy="476366"/>
            </a:xfrm>
            <a:prstGeom prst="rect">
              <a:avLst/>
            </a:prstGeom>
          </p:spPr>
        </p:pic>
      </p:grpSp>
      <p:grpSp>
        <p:nvGrpSpPr>
          <p:cNvPr id="52" name="グループ化 51">
            <a:extLst>
              <a:ext uri="{FF2B5EF4-FFF2-40B4-BE49-F238E27FC236}">
                <a16:creationId xmlns:a16="http://schemas.microsoft.com/office/drawing/2014/main" id="{ACF86518-0865-48FF-9E0C-D455B9806320}"/>
              </a:ext>
            </a:extLst>
          </p:cNvPr>
          <p:cNvGrpSpPr/>
          <p:nvPr/>
        </p:nvGrpSpPr>
        <p:grpSpPr>
          <a:xfrm>
            <a:off x="2252091" y="5731100"/>
            <a:ext cx="6330600" cy="992661"/>
            <a:chOff x="1610377" y="5773593"/>
            <a:chExt cx="6330600" cy="992661"/>
          </a:xfrm>
        </p:grpSpPr>
        <p:sp>
          <p:nvSpPr>
            <p:cNvPr id="53" name="正方形/長方形 52">
              <a:extLst>
                <a:ext uri="{FF2B5EF4-FFF2-40B4-BE49-F238E27FC236}">
                  <a16:creationId xmlns:a16="http://schemas.microsoft.com/office/drawing/2014/main" id="{34A5D8DC-9E5C-38E1-97B9-F6F8AD509C00}"/>
                </a:ext>
              </a:extLst>
            </p:cNvPr>
            <p:cNvSpPr/>
            <p:nvPr/>
          </p:nvSpPr>
          <p:spPr>
            <a:xfrm>
              <a:off x="1610377" y="5773593"/>
              <a:ext cx="6330600" cy="438569"/>
            </a:xfrm>
            <a:prstGeom prst="rect">
              <a:avLst/>
            </a:prstGeom>
          </p:spPr>
          <p:txBody>
            <a:bodyPr wrap="square">
              <a:noAutofit/>
            </a:bodyPr>
            <a:lstStyle/>
            <a:p>
              <a:pPr marL="6350">
                <a:buClr>
                  <a:schemeClr val="tx1"/>
                </a:buClr>
              </a:pPr>
              <a:r>
                <a:rPr lang="ja-JP" altLang="en-US" sz="1200" b="1" dirty="0">
                  <a:solidFill>
                    <a:schemeClr val="accent1"/>
                  </a:solidFill>
                  <a:latin typeface="游ゴシック" panose="020B0400000000000000" pitchFamily="50" charset="-128"/>
                  <a:ea typeface="游ゴシック" panose="020B0400000000000000" pitchFamily="50" charset="-128"/>
                </a:rPr>
                <a:t>　生サンプルからデジタルサイネージにすることで食品ロスの削減が可能です。</a:t>
              </a:r>
              <a:r>
                <a:rPr lang="en-US" altLang="ja-JP" sz="1200" b="1" dirty="0">
                  <a:solidFill>
                    <a:schemeClr val="tx1"/>
                  </a:solidFill>
                  <a:latin typeface="游ゴシック" panose="020B0400000000000000" pitchFamily="50" charset="-128"/>
                  <a:ea typeface="游ゴシック" panose="020B0400000000000000" pitchFamily="50" charset="-128"/>
                </a:rPr>
                <a:t/>
              </a:r>
              <a:br>
                <a:rPr lang="en-US" altLang="ja-JP" sz="1200" b="1" dirty="0">
                  <a:solidFill>
                    <a:schemeClr val="tx1"/>
                  </a:solidFill>
                  <a:latin typeface="游ゴシック" panose="020B0400000000000000" pitchFamily="50" charset="-128"/>
                  <a:ea typeface="游ゴシック" panose="020B0400000000000000" pitchFamily="50" charset="-128"/>
                </a:rPr>
              </a:br>
              <a:r>
                <a:rPr lang="ja-JP" altLang="en-US" sz="1200" b="1" dirty="0">
                  <a:solidFill>
                    <a:schemeClr val="tx1"/>
                  </a:solidFill>
                  <a:latin typeface="游ゴシック" panose="020B0400000000000000" pitchFamily="50" charset="-128"/>
                  <a:ea typeface="游ゴシック" panose="020B0400000000000000" pitchFamily="50" charset="-128"/>
                </a:rPr>
                <a:t>　例えばサンプル</a:t>
              </a:r>
              <a:r>
                <a:rPr lang="en-US" altLang="ja-JP" sz="1200" b="1" dirty="0">
                  <a:solidFill>
                    <a:schemeClr val="tx1"/>
                  </a:solidFill>
                  <a:latin typeface="游ゴシック" panose="020B0400000000000000" pitchFamily="50" charset="-128"/>
                  <a:ea typeface="游ゴシック" panose="020B0400000000000000" pitchFamily="50" charset="-128"/>
                </a:rPr>
                <a:t>200</a:t>
              </a:r>
              <a:r>
                <a:rPr lang="ja-JP" altLang="en-US" sz="1200" b="1" dirty="0" err="1">
                  <a:solidFill>
                    <a:schemeClr val="tx1"/>
                  </a:solidFill>
                  <a:latin typeface="游ゴシック" panose="020B0400000000000000" pitchFamily="50" charset="-128"/>
                  <a:ea typeface="游ゴシック" panose="020B0400000000000000" pitchFamily="50" charset="-128"/>
                </a:rPr>
                <a:t>ｇ</a:t>
              </a:r>
              <a:r>
                <a:rPr lang="en-US" altLang="ja-JP" sz="1200" b="1" dirty="0">
                  <a:solidFill>
                    <a:schemeClr val="tx1"/>
                  </a:solidFill>
                  <a:latin typeface="游ゴシック" panose="020B0400000000000000" pitchFamily="50" charset="-128"/>
                  <a:ea typeface="游ゴシック" panose="020B0400000000000000" pitchFamily="50" charset="-128"/>
                </a:rPr>
                <a:t>×5</a:t>
              </a:r>
              <a:r>
                <a:rPr lang="ja-JP" altLang="en-US" sz="1200" b="1" dirty="0">
                  <a:solidFill>
                    <a:schemeClr val="tx1"/>
                  </a:solidFill>
                  <a:latin typeface="游ゴシック" panose="020B0400000000000000" pitchFamily="50" charset="-128"/>
                  <a:ea typeface="游ゴシック" panose="020B0400000000000000" pitchFamily="50" charset="-128"/>
                </a:rPr>
                <a:t>メニューで</a:t>
              </a:r>
              <a:r>
                <a:rPr lang="en-US" altLang="ja-JP" sz="1200" b="1" dirty="0">
                  <a:solidFill>
                    <a:schemeClr val="tx1"/>
                  </a:solidFill>
                  <a:latin typeface="游ゴシック" panose="020B0400000000000000" pitchFamily="50" charset="-128"/>
                  <a:ea typeface="游ゴシック" panose="020B0400000000000000" pitchFamily="50" charset="-128"/>
                </a:rPr>
                <a:t>1</a:t>
              </a:r>
              <a:r>
                <a:rPr lang="ja-JP" altLang="en-US" sz="1200" b="1" dirty="0">
                  <a:solidFill>
                    <a:schemeClr val="tx1"/>
                  </a:solidFill>
                  <a:latin typeface="游ゴシック" panose="020B0400000000000000" pitchFamily="50" charset="-128"/>
                  <a:ea typeface="游ゴシック" panose="020B0400000000000000" pitchFamily="50" charset="-128"/>
                </a:rPr>
                <a:t>日</a:t>
              </a:r>
              <a:r>
                <a:rPr lang="en-US" altLang="ja-JP" sz="1200" b="1" dirty="0">
                  <a:solidFill>
                    <a:schemeClr val="tx1"/>
                  </a:solidFill>
                  <a:latin typeface="游ゴシック" panose="020B0400000000000000" pitchFamily="50" charset="-128"/>
                  <a:ea typeface="游ゴシック" panose="020B0400000000000000" pitchFamily="50" charset="-128"/>
                </a:rPr>
                <a:t>1</a:t>
              </a:r>
              <a:r>
                <a:rPr lang="ja-JP" altLang="en-US" sz="1200" b="1" dirty="0">
                  <a:solidFill>
                    <a:schemeClr val="tx1"/>
                  </a:solidFill>
                  <a:latin typeface="游ゴシック" panose="020B0400000000000000" pitchFamily="50" charset="-128"/>
                  <a:ea typeface="游ゴシック" panose="020B0400000000000000" pitchFamily="50" charset="-128"/>
                </a:rPr>
                <a:t>㎏の食品ロス（年間では約</a:t>
              </a:r>
              <a:r>
                <a:rPr lang="en-US" altLang="ja-JP" sz="1200" b="1" dirty="0">
                  <a:solidFill>
                    <a:schemeClr val="tx1"/>
                  </a:solidFill>
                  <a:latin typeface="游ゴシック" panose="020B0400000000000000" pitchFamily="50" charset="-128"/>
                  <a:ea typeface="游ゴシック" panose="020B0400000000000000" pitchFamily="50" charset="-128"/>
                </a:rPr>
                <a:t>240</a:t>
              </a:r>
              <a:r>
                <a:rPr lang="ja-JP" altLang="en-US" sz="1200" b="1" dirty="0">
                  <a:solidFill>
                    <a:schemeClr val="tx1"/>
                  </a:solidFill>
                  <a:latin typeface="游ゴシック" panose="020B0400000000000000" pitchFamily="50" charset="-128"/>
                  <a:ea typeface="游ゴシック" panose="020B0400000000000000" pitchFamily="50" charset="-128"/>
                </a:rPr>
                <a:t>㎏）の</a:t>
              </a:r>
              <a:endParaRPr lang="en-US" altLang="ja-JP" sz="1200" b="1" dirty="0">
                <a:solidFill>
                  <a:schemeClr val="tx1"/>
                </a:solidFill>
                <a:latin typeface="游ゴシック" panose="020B0400000000000000" pitchFamily="50" charset="-128"/>
                <a:ea typeface="游ゴシック" panose="020B0400000000000000" pitchFamily="50" charset="-128"/>
              </a:endParaRPr>
            </a:p>
            <a:p>
              <a:pPr marL="6350">
                <a:buClr>
                  <a:schemeClr val="tx1"/>
                </a:buClr>
              </a:pPr>
              <a:r>
                <a:rPr lang="ja-JP" altLang="en-US" sz="1200" b="1" dirty="0" smtClean="0">
                  <a:solidFill>
                    <a:schemeClr val="tx1"/>
                  </a:solidFill>
                  <a:latin typeface="游ゴシック" panose="020B0400000000000000" pitchFamily="50" charset="-128"/>
                  <a:ea typeface="游ゴシック" panose="020B0400000000000000" pitchFamily="50" charset="-128"/>
                </a:rPr>
                <a:t>　削減</a:t>
              </a:r>
              <a:r>
                <a:rPr lang="ja-JP" altLang="en-US" sz="1200" b="1" dirty="0">
                  <a:solidFill>
                    <a:schemeClr val="tx1"/>
                  </a:solidFill>
                  <a:latin typeface="游ゴシック" panose="020B0400000000000000" pitchFamily="50" charset="-128"/>
                  <a:ea typeface="游ゴシック" panose="020B0400000000000000" pitchFamily="50" charset="-128"/>
                </a:rPr>
                <a:t>効果が見込まれます。</a:t>
              </a:r>
              <a:endParaRPr lang="en-US" altLang="ja-JP" sz="1200" b="1" dirty="0">
                <a:solidFill>
                  <a:schemeClr val="tx1"/>
                </a:solidFill>
                <a:latin typeface="游ゴシック" panose="020B0400000000000000" pitchFamily="50" charset="-128"/>
                <a:ea typeface="游ゴシック" panose="020B0400000000000000" pitchFamily="50" charset="-128"/>
              </a:endParaRPr>
            </a:p>
            <a:p>
              <a:pPr marL="6350">
                <a:buClr>
                  <a:schemeClr val="tx1"/>
                </a:buClr>
              </a:pPr>
              <a:r>
                <a:rPr lang="ja-JP" altLang="en-US" sz="1200" b="1" dirty="0">
                  <a:solidFill>
                    <a:schemeClr val="tx1"/>
                  </a:solidFill>
                  <a:latin typeface="游ゴシック" panose="020B0400000000000000" pitchFamily="50" charset="-128"/>
                  <a:ea typeface="游ゴシック" panose="020B0400000000000000" pitchFamily="50" charset="-128"/>
                </a:rPr>
                <a:t>　</a:t>
              </a:r>
              <a:r>
                <a:rPr lang="en-US" altLang="ja-JP" sz="1200" b="1" dirty="0">
                  <a:solidFill>
                    <a:schemeClr val="tx1"/>
                  </a:solidFill>
                  <a:latin typeface="游ゴシック" panose="020B0400000000000000" pitchFamily="50" charset="-128"/>
                  <a:ea typeface="游ゴシック" panose="020B0400000000000000" pitchFamily="50" charset="-128"/>
                </a:rPr>
                <a:t>※ </a:t>
              </a:r>
              <a:r>
                <a:rPr lang="ja-JP" altLang="en-US" sz="1200" b="1" dirty="0">
                  <a:solidFill>
                    <a:schemeClr val="tx1"/>
                  </a:solidFill>
                  <a:latin typeface="游ゴシック" panose="020B0400000000000000" pitchFamily="50" charset="-128"/>
                  <a:ea typeface="游ゴシック" panose="020B0400000000000000" pitchFamily="50" charset="-128"/>
                </a:rPr>
                <a:t>導入位置や費用などは貴社と協議のうえ、決めさせていただきます。</a:t>
              </a:r>
              <a:endParaRPr lang="en-US" altLang="ja-JP" sz="1200" b="1" dirty="0">
                <a:solidFill>
                  <a:schemeClr val="tx1"/>
                </a:solidFill>
                <a:latin typeface="游ゴシック" panose="020B0400000000000000" pitchFamily="50" charset="-128"/>
                <a:ea typeface="游ゴシック" panose="020B0400000000000000" pitchFamily="50" charset="-128"/>
              </a:endParaRPr>
            </a:p>
            <a:p>
              <a:pPr marL="6350">
                <a:buClr>
                  <a:schemeClr val="tx1"/>
                </a:buClr>
              </a:pPr>
              <a:endParaRPr lang="ja-JP" altLang="en-US" sz="1200" dirty="0">
                <a:solidFill>
                  <a:schemeClr val="tx1"/>
                </a:solidFill>
                <a:latin typeface="游ゴシック" panose="020B0400000000000000" pitchFamily="50" charset="-128"/>
                <a:ea typeface="游ゴシック" panose="020B0400000000000000" pitchFamily="50" charset="-128"/>
              </a:endParaRPr>
            </a:p>
          </p:txBody>
        </p:sp>
        <p:sp>
          <p:nvSpPr>
            <p:cNvPr id="54" name="正方形/長方形 53">
              <a:extLst>
                <a:ext uri="{FF2B5EF4-FFF2-40B4-BE49-F238E27FC236}">
                  <a16:creationId xmlns:a16="http://schemas.microsoft.com/office/drawing/2014/main" id="{BE74C4D5-3425-8E38-D4E7-12BE4DF76E42}"/>
                </a:ext>
              </a:extLst>
            </p:cNvPr>
            <p:cNvSpPr/>
            <p:nvPr/>
          </p:nvSpPr>
          <p:spPr>
            <a:xfrm>
              <a:off x="2620446" y="6531176"/>
              <a:ext cx="4953000" cy="235078"/>
            </a:xfrm>
            <a:prstGeom prst="rect">
              <a:avLst/>
            </a:prstGeom>
          </p:spPr>
          <p:txBody>
            <a:bodyPr lIns="0">
              <a:noAutofit/>
            </a:bodyPr>
            <a:lstStyle/>
            <a:p>
              <a:endParaRPr lang="en-US" altLang="ja-JP" sz="1200" b="1">
                <a:solidFill>
                  <a:schemeClr val="tx1"/>
                </a:solidFill>
                <a:latin typeface="游ゴシック" panose="020B0400000000000000" pitchFamily="50" charset="-128"/>
                <a:ea typeface="游ゴシック" panose="020B0400000000000000" pitchFamily="50" charset="-128"/>
              </a:endParaRPr>
            </a:p>
          </p:txBody>
        </p:sp>
      </p:grpSp>
      <p:pic>
        <p:nvPicPr>
          <p:cNvPr id="51" name="図 50">
            <a:extLst>
              <a:ext uri="{FF2B5EF4-FFF2-40B4-BE49-F238E27FC236}">
                <a16:creationId xmlns:a16="http://schemas.microsoft.com/office/drawing/2014/main" id="{31A65C50-E034-CA4C-5B02-10515F1FFF3C}"/>
              </a:ext>
            </a:extLst>
          </p:cNvPr>
          <p:cNvPicPr>
            <a:picLocks noChangeAspect="1"/>
          </p:cNvPicPr>
          <p:nvPr/>
        </p:nvPicPr>
        <p:blipFill>
          <a:blip r:embed="rId10" cstate="hqprint">
            <a:extLst>
              <a:ext uri="{BEBA8EAE-BF5A-486C-A8C5-ECC9F3942E4B}">
                <a14:imgProps xmlns:a14="http://schemas.microsoft.com/office/drawing/2010/main">
                  <a14:imgLayer r:embed="rId11">
                    <a14:imgEffect>
                      <a14:backgroundRemoval t="3939" b="98182" l="1746" r="89776">
                        <a14:foregroundMark x1="59102" y1="64848" x2="65586" y2="63333"/>
                        <a14:foregroundMark x1="71571" y1="66970" x2="71571" y2="66970"/>
                        <a14:foregroundMark x1="48130" y1="70303" x2="65586" y2="77879"/>
                        <a14:foregroundMark x1="54115" y1="93030" x2="54115" y2="93030"/>
                        <a14:foregroundMark x1="56110" y1="98182" x2="56110" y2="98182"/>
                        <a14:foregroundMark x1="29177" y1="39091" x2="39900" y2="40000"/>
                        <a14:foregroundMark x1="18703" y1="63333" x2="31172" y2="63030"/>
                        <a14:foregroundMark x1="7232" y1="37576" x2="15711" y2="40000"/>
                        <a14:foregroundMark x1="9476" y1="17576" x2="17456" y2="17879"/>
                        <a14:foregroundMark x1="53367" y1="11515" x2="76060" y2="23030"/>
                        <a14:foregroundMark x1="60848" y1="6364" x2="60848" y2="6364"/>
                        <a14:foregroundMark x1="64838" y1="59697" x2="73067" y2="76061"/>
                        <a14:foregroundMark x1="46633" y1="72121" x2="57855" y2="81818"/>
                        <a14:foregroundMark x1="65586" y1="57273" x2="76060" y2="75152"/>
                        <a14:foregroundMark x1="37656" y1="4545" x2="37656" y2="4545"/>
                        <a14:foregroundMark x1="32918" y1="6364" x2="32918" y2="6364"/>
                        <a14:foregroundMark x1="28928" y1="7273" x2="37905" y2="6970"/>
                        <a14:foregroundMark x1="12718" y1="40909" x2="7232" y2="41212"/>
                        <a14:foregroundMark x1="15960" y1="15152" x2="11471" y2="15152"/>
                        <a14:foregroundMark x1="27681" y1="61818" x2="23192" y2="63030"/>
                        <a14:foregroundMark x1="57107" y1="64848" x2="50623" y2="60000"/>
                        <a14:foregroundMark x1="20200" y1="20303" x2="7980" y2="17576"/>
                        <a14:foregroundMark x1="21696" y1="20303" x2="21696" y2="20303"/>
                        <a14:foregroundMark x1="11471" y1="22424" x2="11471" y2="22424"/>
                        <a14:foregroundMark x1="7232" y1="17879" x2="7232" y2="17879"/>
                        <a14:foregroundMark x1="5736" y1="21515" x2="5736" y2="21515"/>
                        <a14:foregroundMark x1="1746" y1="40000" x2="1746" y2="41212"/>
                      </a14:backgroundRemoval>
                    </a14:imgEffect>
                  </a14:imgLayer>
                </a14:imgProps>
              </a:ext>
              <a:ext uri="{28A0092B-C50C-407E-A947-70E740481C1C}">
                <a14:useLocalDpi xmlns:a14="http://schemas.microsoft.com/office/drawing/2010/main"/>
              </a:ext>
            </a:extLst>
          </a:blip>
          <a:stretch>
            <a:fillRect/>
          </a:stretch>
        </p:blipFill>
        <p:spPr>
          <a:xfrm>
            <a:off x="8371639" y="5697387"/>
            <a:ext cx="1061855" cy="873846"/>
          </a:xfrm>
          <a:prstGeom prst="rect">
            <a:avLst/>
          </a:prstGeom>
        </p:spPr>
      </p:pic>
      <p:sp>
        <p:nvSpPr>
          <p:cNvPr id="18" name="グラフィックス 10">
            <a:extLst>
              <a:ext uri="{FF2B5EF4-FFF2-40B4-BE49-F238E27FC236}">
                <a16:creationId xmlns:a16="http://schemas.microsoft.com/office/drawing/2014/main" id="{4885FC38-E8FA-CAB5-CD2A-89BBCA74674E}"/>
              </a:ext>
            </a:extLst>
          </p:cNvPr>
          <p:cNvSpPr/>
          <p:nvPr/>
        </p:nvSpPr>
        <p:spPr>
          <a:xfrm>
            <a:off x="437536" y="5673897"/>
            <a:ext cx="666675" cy="652025"/>
          </a:xfrm>
          <a:custGeom>
            <a:avLst/>
            <a:gdLst>
              <a:gd name="connsiteX0" fmla="*/ 0 w 4953849"/>
              <a:gd name="connsiteY0" fmla="*/ 2755096 h 2831069"/>
              <a:gd name="connsiteX1" fmla="*/ 2383347 w 4953849"/>
              <a:gd name="connsiteY1" fmla="*/ 2755096 h 2831069"/>
              <a:gd name="connsiteX2" fmla="*/ 2915639 w 4953849"/>
              <a:gd name="connsiteY2" fmla="*/ 2751076 h 2831069"/>
              <a:gd name="connsiteX3" fmla="*/ 2997353 w 4953849"/>
              <a:gd name="connsiteY3" fmla="*/ 2717420 h 2831069"/>
              <a:gd name="connsiteX4" fmla="*/ 2933192 w 4953849"/>
              <a:gd name="connsiteY4" fmla="*/ 2641468 h 2831069"/>
              <a:gd name="connsiteX5" fmla="*/ 2839105 w 4953849"/>
              <a:gd name="connsiteY5" fmla="*/ 2615293 h 2831069"/>
              <a:gd name="connsiteX6" fmla="*/ 2759982 w 4953849"/>
              <a:gd name="connsiteY6" fmla="*/ 2592559 h 2831069"/>
              <a:gd name="connsiteX7" fmla="*/ 2695095 w 4953849"/>
              <a:gd name="connsiteY7" fmla="*/ 2517746 h 2831069"/>
              <a:gd name="connsiteX8" fmla="*/ 2666476 w 4953849"/>
              <a:gd name="connsiteY8" fmla="*/ 2427970 h 2831069"/>
              <a:gd name="connsiteX9" fmla="*/ 2668631 w 4953849"/>
              <a:gd name="connsiteY9" fmla="*/ 2366980 h 2831069"/>
              <a:gd name="connsiteX10" fmla="*/ 2693956 w 4953849"/>
              <a:gd name="connsiteY10" fmla="*/ 2320662 h 2831069"/>
              <a:gd name="connsiteX11" fmla="*/ 2689790 w 4953849"/>
              <a:gd name="connsiteY11" fmla="*/ 2270448 h 2831069"/>
              <a:gd name="connsiteX12" fmla="*/ 2601030 w 4953849"/>
              <a:gd name="connsiteY12" fmla="*/ 2115662 h 2831069"/>
              <a:gd name="connsiteX13" fmla="*/ 2510404 w 4953849"/>
              <a:gd name="connsiteY13" fmla="*/ 1957124 h 2831069"/>
              <a:gd name="connsiteX14" fmla="*/ 2443798 w 4953849"/>
              <a:gd name="connsiteY14" fmla="*/ 1924173 h 2831069"/>
              <a:gd name="connsiteX15" fmla="*/ 2285986 w 4953849"/>
              <a:gd name="connsiteY15" fmla="*/ 1954244 h 2831069"/>
              <a:gd name="connsiteX16" fmla="*/ 2085151 w 4953849"/>
              <a:gd name="connsiteY16" fmla="*/ 1989060 h 2831069"/>
              <a:gd name="connsiteX17" fmla="*/ 1957554 w 4953849"/>
              <a:gd name="connsiteY17" fmla="*/ 1993661 h 2831069"/>
              <a:gd name="connsiteX18" fmla="*/ 1841894 w 4953849"/>
              <a:gd name="connsiteY18" fmla="*/ 2000852 h 2831069"/>
              <a:gd name="connsiteX19" fmla="*/ 1578909 w 4953849"/>
              <a:gd name="connsiteY19" fmla="*/ 2062567 h 2831069"/>
              <a:gd name="connsiteX20" fmla="*/ 1483538 w 4953849"/>
              <a:gd name="connsiteY20" fmla="*/ 2090047 h 2831069"/>
              <a:gd name="connsiteX21" fmla="*/ 1525690 w 4953849"/>
              <a:gd name="connsiteY21" fmla="*/ 2164135 h 2831069"/>
              <a:gd name="connsiteX22" fmla="*/ 1723499 w 4953849"/>
              <a:gd name="connsiteY22" fmla="*/ 2417629 h 2831069"/>
              <a:gd name="connsiteX23" fmla="*/ 1823492 w 4953849"/>
              <a:gd name="connsiteY23" fmla="*/ 2553723 h 2831069"/>
              <a:gd name="connsiteX24" fmla="*/ 1876856 w 4953849"/>
              <a:gd name="connsiteY24" fmla="*/ 2608392 h 2831069"/>
              <a:gd name="connsiteX25" fmla="*/ 1922324 w 4953849"/>
              <a:gd name="connsiteY25" fmla="*/ 2644348 h 2831069"/>
              <a:gd name="connsiteX26" fmla="*/ 1930240 w 4953849"/>
              <a:gd name="connsiteY26" fmla="*/ 2670108 h 2831069"/>
              <a:gd name="connsiteX27" fmla="*/ 1911402 w 4953849"/>
              <a:gd name="connsiteY27" fmla="*/ 2687516 h 2831069"/>
              <a:gd name="connsiteX28" fmla="*/ 1865229 w 4953849"/>
              <a:gd name="connsiteY28" fmla="*/ 2665507 h 2831069"/>
              <a:gd name="connsiteX29" fmla="*/ 1800488 w 4953849"/>
              <a:gd name="connsiteY29" fmla="*/ 2569991 h 2831069"/>
              <a:gd name="connsiteX30" fmla="*/ 1787681 w 4953849"/>
              <a:gd name="connsiteY30" fmla="*/ 2513166 h 2831069"/>
              <a:gd name="connsiteX31" fmla="*/ 1799618 w 4953849"/>
              <a:gd name="connsiteY31" fmla="*/ 2499923 h 2831069"/>
              <a:gd name="connsiteX32" fmla="*/ 1828237 w 4953849"/>
              <a:gd name="connsiteY32" fmla="*/ 2524378 h 2831069"/>
              <a:gd name="connsiteX33" fmla="*/ 1858308 w 4953849"/>
              <a:gd name="connsiteY33" fmla="*/ 2562364 h 2831069"/>
              <a:gd name="connsiteX34" fmla="*/ 1889953 w 4953849"/>
              <a:gd name="connsiteY34" fmla="*/ 2581348 h 2831069"/>
              <a:gd name="connsiteX35" fmla="*/ 1911962 w 4953849"/>
              <a:gd name="connsiteY35" fmla="*/ 2604372 h 2831069"/>
              <a:gd name="connsiteX36" fmla="*/ 1935545 w 4953849"/>
              <a:gd name="connsiteY36" fmla="*/ 2623645 h 2831069"/>
              <a:gd name="connsiteX37" fmla="*/ 1952228 w 4953849"/>
              <a:gd name="connsiteY37" fmla="*/ 2654005 h 2831069"/>
              <a:gd name="connsiteX38" fmla="*/ 1964020 w 4953849"/>
              <a:gd name="connsiteY38" fmla="*/ 2705649 h 2831069"/>
              <a:gd name="connsiteX39" fmla="*/ 1995251 w 4953849"/>
              <a:gd name="connsiteY39" fmla="*/ 2761707 h 2831069"/>
              <a:gd name="connsiteX40" fmla="*/ 2074146 w 4953849"/>
              <a:gd name="connsiteY40" fmla="*/ 2781975 h 2831069"/>
              <a:gd name="connsiteX41" fmla="*/ 2398143 w 4953849"/>
              <a:gd name="connsiteY41" fmla="*/ 2784234 h 2831069"/>
              <a:gd name="connsiteX42" fmla="*/ 2962081 w 4953849"/>
              <a:gd name="connsiteY42" fmla="*/ 2784234 h 2831069"/>
              <a:gd name="connsiteX43" fmla="*/ 3091397 w 4953849"/>
              <a:gd name="connsiteY43" fmla="*/ 2760402 h 2831069"/>
              <a:gd name="connsiteX44" fmla="*/ 3010637 w 4953849"/>
              <a:gd name="connsiteY44" fmla="*/ 2653819 h 2831069"/>
              <a:gd name="connsiteX45" fmla="*/ 2965728 w 4953849"/>
              <a:gd name="connsiteY45" fmla="*/ 2582508 h 2831069"/>
              <a:gd name="connsiteX46" fmla="*/ 2924861 w 4953849"/>
              <a:gd name="connsiteY46" fmla="*/ 2563380 h 2831069"/>
              <a:gd name="connsiteX47" fmla="*/ 2841136 w 4953849"/>
              <a:gd name="connsiteY47" fmla="*/ 2569701 h 2831069"/>
              <a:gd name="connsiteX48" fmla="*/ 2785596 w 4953849"/>
              <a:gd name="connsiteY48" fmla="*/ 2561204 h 2831069"/>
              <a:gd name="connsiteX49" fmla="*/ 2740128 w 4953849"/>
              <a:gd name="connsiteY49" fmla="*/ 2517187 h 2831069"/>
              <a:gd name="connsiteX50" fmla="*/ 2708773 w 4953849"/>
              <a:gd name="connsiteY50" fmla="*/ 2442519 h 2831069"/>
              <a:gd name="connsiteX51" fmla="*/ 2707343 w 4953849"/>
              <a:gd name="connsiteY51" fmla="*/ 2364680 h 2831069"/>
              <a:gd name="connsiteX52" fmla="*/ 2751361 w 4953849"/>
              <a:gd name="connsiteY52" fmla="*/ 2317491 h 2831069"/>
              <a:gd name="connsiteX53" fmla="*/ 2734243 w 4953849"/>
              <a:gd name="connsiteY53" fmla="*/ 2254201 h 2831069"/>
              <a:gd name="connsiteX54" fmla="*/ 2598439 w 4953849"/>
              <a:gd name="connsiteY54" fmla="*/ 2041429 h 2831069"/>
              <a:gd name="connsiteX55" fmla="*/ 2501327 w 4953849"/>
              <a:gd name="connsiteY55" fmla="*/ 1888363 h 2831069"/>
              <a:gd name="connsiteX56" fmla="*/ 2449393 w 4953849"/>
              <a:gd name="connsiteY56" fmla="*/ 1865338 h 2831069"/>
              <a:gd name="connsiteX57" fmla="*/ 2370270 w 4953849"/>
              <a:gd name="connsiteY57" fmla="*/ 1886477 h 2831069"/>
              <a:gd name="connsiteX58" fmla="*/ 2254030 w 4953849"/>
              <a:gd name="connsiteY58" fmla="*/ 1916837 h 2831069"/>
              <a:gd name="connsiteX59" fmla="*/ 2033196 w 4953849"/>
              <a:gd name="connsiteY59" fmla="*/ 1960565 h 2831069"/>
              <a:gd name="connsiteX60" fmla="*/ 1940685 w 4953849"/>
              <a:gd name="connsiteY60" fmla="*/ 1968771 h 2831069"/>
              <a:gd name="connsiteX61" fmla="*/ 1870473 w 4953849"/>
              <a:gd name="connsiteY61" fmla="*/ 1936110 h 2831069"/>
              <a:gd name="connsiteX62" fmla="*/ 1717551 w 4953849"/>
              <a:gd name="connsiteY62" fmla="*/ 1817280 h 2831069"/>
              <a:gd name="connsiteX63" fmla="*/ 1629081 w 4953849"/>
              <a:gd name="connsiteY63" fmla="*/ 1724478 h 2831069"/>
              <a:gd name="connsiteX64" fmla="*/ 1615548 w 4953849"/>
              <a:gd name="connsiteY64" fmla="*/ 1660753 h 2831069"/>
              <a:gd name="connsiteX65" fmla="*/ 1640583 w 4953849"/>
              <a:gd name="connsiteY65" fmla="*/ 1619326 h 2831069"/>
              <a:gd name="connsiteX66" fmla="*/ 1686756 w 4953849"/>
              <a:gd name="connsiteY66" fmla="*/ 1610829 h 2831069"/>
              <a:gd name="connsiteX67" fmla="*/ 1780116 w 4953849"/>
              <a:gd name="connsiteY67" fmla="*/ 1646370 h 2831069"/>
              <a:gd name="connsiteX68" fmla="*/ 1852774 w 4953849"/>
              <a:gd name="connsiteY68" fmla="*/ 1668959 h 2831069"/>
              <a:gd name="connsiteX69" fmla="*/ 1855945 w 4953849"/>
              <a:gd name="connsiteY69" fmla="*/ 1692688 h 2831069"/>
              <a:gd name="connsiteX70" fmla="*/ 1793504 w 4953849"/>
              <a:gd name="connsiteY70" fmla="*/ 1712832 h 2831069"/>
              <a:gd name="connsiteX71" fmla="*/ 1691356 w 4953849"/>
              <a:gd name="connsiteY71" fmla="*/ 1685787 h 2831069"/>
              <a:gd name="connsiteX72" fmla="*/ 1641578 w 4953849"/>
              <a:gd name="connsiteY72" fmla="*/ 1648235 h 2831069"/>
              <a:gd name="connsiteX73" fmla="*/ 1646613 w 4953849"/>
              <a:gd name="connsiteY73" fmla="*/ 1605586 h 2831069"/>
              <a:gd name="connsiteX74" fmla="*/ 1680414 w 4953849"/>
              <a:gd name="connsiteY74" fmla="*/ 1577816 h 2831069"/>
              <a:gd name="connsiteX75" fmla="*/ 1767454 w 4953849"/>
              <a:gd name="connsiteY75" fmla="*/ 1590830 h 2831069"/>
              <a:gd name="connsiteX76" fmla="*/ 1849231 w 4953849"/>
              <a:gd name="connsiteY76" fmla="*/ 1618953 h 2831069"/>
              <a:gd name="connsiteX77" fmla="*/ 1900149 w 4953849"/>
              <a:gd name="connsiteY77" fmla="*/ 1621046 h 2831069"/>
              <a:gd name="connsiteX78" fmla="*/ 1988847 w 4953849"/>
              <a:gd name="connsiteY78" fmla="*/ 1559682 h 2831069"/>
              <a:gd name="connsiteX79" fmla="*/ 2084094 w 4953849"/>
              <a:gd name="connsiteY79" fmla="*/ 1496164 h 2831069"/>
              <a:gd name="connsiteX80" fmla="*/ 2152711 w 4953849"/>
              <a:gd name="connsiteY80" fmla="*/ 1469699 h 2831069"/>
              <a:gd name="connsiteX81" fmla="*/ 2220540 w 4953849"/>
              <a:gd name="connsiteY81" fmla="*/ 1459835 h 2831069"/>
              <a:gd name="connsiteX82" fmla="*/ 2290897 w 4953849"/>
              <a:gd name="connsiteY82" fmla="*/ 1421288 h 2831069"/>
              <a:gd name="connsiteX83" fmla="*/ 2334853 w 4953849"/>
              <a:gd name="connsiteY83" fmla="*/ 1394969 h 2831069"/>
              <a:gd name="connsiteX84" fmla="*/ 2343204 w 4953849"/>
              <a:gd name="connsiteY84" fmla="*/ 1380214 h 2831069"/>
              <a:gd name="connsiteX85" fmla="*/ 2331910 w 4953849"/>
              <a:gd name="connsiteY85" fmla="*/ 1366412 h 2831069"/>
              <a:gd name="connsiteX86" fmla="*/ 2307746 w 4953849"/>
              <a:gd name="connsiteY86" fmla="*/ 1363614 h 2831069"/>
              <a:gd name="connsiteX87" fmla="*/ 2304513 w 4953849"/>
              <a:gd name="connsiteY87" fmla="*/ 1354910 h 2831069"/>
              <a:gd name="connsiteX88" fmla="*/ 2326874 w 4953849"/>
              <a:gd name="connsiteY88" fmla="*/ 1340030 h 2831069"/>
              <a:gd name="connsiteX89" fmla="*/ 2360530 w 4953849"/>
              <a:gd name="connsiteY89" fmla="*/ 1319161 h 2831069"/>
              <a:gd name="connsiteX90" fmla="*/ 2377585 w 4953849"/>
              <a:gd name="connsiteY90" fmla="*/ 1302831 h 2831069"/>
              <a:gd name="connsiteX91" fmla="*/ 2367016 w 4953849"/>
              <a:gd name="connsiteY91" fmla="*/ 1295930 h 2831069"/>
              <a:gd name="connsiteX92" fmla="*/ 2324864 w 4953849"/>
              <a:gd name="connsiteY92" fmla="*/ 1306934 h 2831069"/>
              <a:gd name="connsiteX93" fmla="*/ 2289758 w 4953849"/>
              <a:gd name="connsiteY93" fmla="*/ 1335347 h 2831069"/>
              <a:gd name="connsiteX94" fmla="*/ 2267251 w 4953849"/>
              <a:gd name="connsiteY94" fmla="*/ 1349667 h 2831069"/>
              <a:gd name="connsiteX95" fmla="*/ 2262361 w 4953849"/>
              <a:gd name="connsiteY95" fmla="*/ 1343346 h 2831069"/>
              <a:gd name="connsiteX96" fmla="*/ 2284805 w 4953849"/>
              <a:gd name="connsiteY96" fmla="*/ 1325296 h 2831069"/>
              <a:gd name="connsiteX97" fmla="*/ 2297032 w 4953849"/>
              <a:gd name="connsiteY97" fmla="*/ 1307743 h 2831069"/>
              <a:gd name="connsiteX98" fmla="*/ 2291498 w 4953849"/>
              <a:gd name="connsiteY98" fmla="*/ 1290977 h 2831069"/>
              <a:gd name="connsiteX99" fmla="*/ 2271935 w 4953849"/>
              <a:gd name="connsiteY99" fmla="*/ 1290832 h 2831069"/>
              <a:gd name="connsiteX100" fmla="*/ 2242155 w 4953849"/>
              <a:gd name="connsiteY100" fmla="*/ 1313856 h 2831069"/>
              <a:gd name="connsiteX101" fmla="*/ 2222737 w 4953849"/>
              <a:gd name="connsiteY101" fmla="*/ 1324218 h 2831069"/>
              <a:gd name="connsiteX102" fmla="*/ 2220084 w 4953849"/>
              <a:gd name="connsiteY102" fmla="*/ 1318457 h 2831069"/>
              <a:gd name="connsiteX103" fmla="*/ 2232518 w 4953849"/>
              <a:gd name="connsiteY103" fmla="*/ 1300406 h 2831069"/>
              <a:gd name="connsiteX104" fmla="*/ 2252807 w 4953849"/>
              <a:gd name="connsiteY104" fmla="*/ 1280615 h 2831069"/>
              <a:gd name="connsiteX105" fmla="*/ 2256330 w 4953849"/>
              <a:gd name="connsiteY105" fmla="*/ 1263994 h 2831069"/>
              <a:gd name="connsiteX106" fmla="*/ 2241305 w 4953849"/>
              <a:gd name="connsiteY106" fmla="*/ 1258026 h 2831069"/>
              <a:gd name="connsiteX107" fmla="*/ 2199091 w 4953849"/>
              <a:gd name="connsiteY107" fmla="*/ 1273051 h 2831069"/>
              <a:gd name="connsiteX108" fmla="*/ 2119822 w 4953849"/>
              <a:gd name="connsiteY108" fmla="*/ 1331181 h 2831069"/>
              <a:gd name="connsiteX109" fmla="*/ 2049900 w 4953849"/>
              <a:gd name="connsiteY109" fmla="*/ 1382100 h 2831069"/>
              <a:gd name="connsiteX110" fmla="*/ 1936395 w 4953849"/>
              <a:gd name="connsiteY110" fmla="*/ 1442530 h 2831069"/>
              <a:gd name="connsiteX111" fmla="*/ 1805628 w 4953849"/>
              <a:gd name="connsiteY111" fmla="*/ 1515188 h 2831069"/>
              <a:gd name="connsiteX112" fmla="*/ 1719748 w 4953849"/>
              <a:gd name="connsiteY112" fmla="*/ 1551144 h 2831069"/>
              <a:gd name="connsiteX113" fmla="*/ 1698610 w 4953849"/>
              <a:gd name="connsiteY113" fmla="*/ 1575453 h 2831069"/>
              <a:gd name="connsiteX114" fmla="*/ 1753134 w 4953849"/>
              <a:gd name="connsiteY114" fmla="*/ 1602208 h 2831069"/>
              <a:gd name="connsiteX115" fmla="*/ 1838019 w 4953849"/>
              <a:gd name="connsiteY115" fmla="*/ 1635863 h 2831069"/>
              <a:gd name="connsiteX116" fmla="*/ 1883632 w 4953849"/>
              <a:gd name="connsiteY116" fmla="*/ 1653271 h 2831069"/>
              <a:gd name="connsiteX117" fmla="*/ 1896295 w 4953849"/>
              <a:gd name="connsiteY117" fmla="*/ 1682036 h 2831069"/>
              <a:gd name="connsiteX118" fmla="*/ 1921039 w 4953849"/>
              <a:gd name="connsiteY118" fmla="*/ 1705060 h 2831069"/>
              <a:gd name="connsiteX119" fmla="*/ 1994691 w 4953849"/>
              <a:gd name="connsiteY119" fmla="*/ 1733680 h 2831069"/>
              <a:gd name="connsiteX120" fmla="*/ 2131510 w 4953849"/>
              <a:gd name="connsiteY120" fmla="*/ 1765905 h 2831069"/>
              <a:gd name="connsiteX121" fmla="*/ 2248331 w 4953849"/>
              <a:gd name="connsiteY121" fmla="*/ 1785179 h 2831069"/>
              <a:gd name="connsiteX122" fmla="*/ 2317528 w 4953849"/>
              <a:gd name="connsiteY122" fmla="*/ 1824740 h 2831069"/>
              <a:gd name="connsiteX123" fmla="*/ 2320843 w 4953849"/>
              <a:gd name="connsiteY123" fmla="*/ 1854666 h 2831069"/>
              <a:gd name="connsiteX124" fmla="*/ 2271065 w 4953849"/>
              <a:gd name="connsiteY124" fmla="*/ 1883430 h 2831069"/>
              <a:gd name="connsiteX125" fmla="*/ 2194096 w 4953849"/>
              <a:gd name="connsiteY125" fmla="*/ 1902413 h 2831069"/>
              <a:gd name="connsiteX126" fmla="*/ 2183589 w 4953849"/>
              <a:gd name="connsiteY126" fmla="*/ 1887741 h 2831069"/>
              <a:gd name="connsiteX127" fmla="*/ 2215380 w 4953849"/>
              <a:gd name="connsiteY127" fmla="*/ 1840843 h 2831069"/>
              <a:gd name="connsiteX128" fmla="*/ 2265884 w 4953849"/>
              <a:gd name="connsiteY128" fmla="*/ 1808037 h 2831069"/>
              <a:gd name="connsiteX129" fmla="*/ 2344862 w 4953849"/>
              <a:gd name="connsiteY129" fmla="*/ 1809757 h 2831069"/>
              <a:gd name="connsiteX130" fmla="*/ 2384859 w 4953849"/>
              <a:gd name="connsiteY130" fmla="*/ 1789468 h 2831069"/>
              <a:gd name="connsiteX131" fmla="*/ 2396506 w 4953849"/>
              <a:gd name="connsiteY131" fmla="*/ 1745161 h 2831069"/>
              <a:gd name="connsiteX132" fmla="*/ 2392341 w 4953849"/>
              <a:gd name="connsiteY132" fmla="*/ 1675238 h 2831069"/>
              <a:gd name="connsiteX133" fmla="*/ 2398247 w 4953849"/>
              <a:gd name="connsiteY133" fmla="*/ 1647904 h 2831069"/>
              <a:gd name="connsiteX134" fmla="*/ 2426452 w 4953849"/>
              <a:gd name="connsiteY134" fmla="*/ 1644588 h 2831069"/>
              <a:gd name="connsiteX135" fmla="*/ 2473350 w 4953849"/>
              <a:gd name="connsiteY135" fmla="*/ 1664587 h 2831069"/>
              <a:gd name="connsiteX136" fmla="*/ 2523854 w 4953849"/>
              <a:gd name="connsiteY136" fmla="*/ 1685455 h 2831069"/>
              <a:gd name="connsiteX137" fmla="*/ 2571332 w 4953849"/>
              <a:gd name="connsiteY137" fmla="*/ 1667032 h 2831069"/>
              <a:gd name="connsiteX138" fmla="*/ 2594066 w 4953849"/>
              <a:gd name="connsiteY138" fmla="*/ 1609046 h 2831069"/>
              <a:gd name="connsiteX139" fmla="*/ 2617795 w 4953849"/>
              <a:gd name="connsiteY139" fmla="*/ 1536244 h 2831069"/>
              <a:gd name="connsiteX140" fmla="*/ 2655492 w 4953849"/>
              <a:gd name="connsiteY140" fmla="*/ 1484165 h 2831069"/>
              <a:gd name="connsiteX141" fmla="*/ 2696069 w 4953849"/>
              <a:gd name="connsiteY141" fmla="*/ 1437702 h 2831069"/>
              <a:gd name="connsiteX142" fmla="*/ 2694059 w 4953849"/>
              <a:gd name="connsiteY142" fmla="*/ 1405911 h 2831069"/>
              <a:gd name="connsiteX143" fmla="*/ 2640965 w 4953849"/>
              <a:gd name="connsiteY143" fmla="*/ 1359449 h 2831069"/>
              <a:gd name="connsiteX144" fmla="*/ 2552495 w 4953849"/>
              <a:gd name="connsiteY144" fmla="*/ 1326207 h 2831069"/>
              <a:gd name="connsiteX145" fmla="*/ 2449642 w 4953849"/>
              <a:gd name="connsiteY145" fmla="*/ 1337709 h 2831069"/>
              <a:gd name="connsiteX146" fmla="*/ 2392382 w 4953849"/>
              <a:gd name="connsiteY146" fmla="*/ 1380152 h 2831069"/>
              <a:gd name="connsiteX147" fmla="*/ 2376549 w 4953849"/>
              <a:gd name="connsiteY147" fmla="*/ 1448333 h 2831069"/>
              <a:gd name="connsiteX148" fmla="*/ 2357711 w 4953849"/>
              <a:gd name="connsiteY148" fmla="*/ 1512784 h 2831069"/>
              <a:gd name="connsiteX149" fmla="*/ 2341028 w 4953849"/>
              <a:gd name="connsiteY149" fmla="*/ 1564138 h 2831069"/>
              <a:gd name="connsiteX150" fmla="*/ 2340158 w 4953849"/>
              <a:gd name="connsiteY150" fmla="*/ 1636216 h 2831069"/>
              <a:gd name="connsiteX151" fmla="*/ 2362892 w 4953849"/>
              <a:gd name="connsiteY151" fmla="*/ 1693040 h 2831069"/>
              <a:gd name="connsiteX152" fmla="*/ 2420152 w 4953849"/>
              <a:gd name="connsiteY152" fmla="*/ 1728001 h 2831069"/>
              <a:gd name="connsiteX153" fmla="*/ 2513078 w 4953849"/>
              <a:gd name="connsiteY153" fmla="*/ 1733618 h 2831069"/>
              <a:gd name="connsiteX154" fmla="*/ 2601548 w 4953849"/>
              <a:gd name="connsiteY154" fmla="*/ 1688440 h 2831069"/>
              <a:gd name="connsiteX155" fmla="*/ 2652052 w 4953849"/>
              <a:gd name="connsiteY155" fmla="*/ 1627304 h 2831069"/>
              <a:gd name="connsiteX156" fmla="*/ 2672485 w 4953849"/>
              <a:gd name="connsiteY156" fmla="*/ 1592343 h 2831069"/>
              <a:gd name="connsiteX157" fmla="*/ 2695655 w 4953849"/>
              <a:gd name="connsiteY157" fmla="*/ 1590478 h 2831069"/>
              <a:gd name="connsiteX158" fmla="*/ 2703281 w 4953849"/>
              <a:gd name="connsiteY158" fmla="*/ 1624569 h 2831069"/>
              <a:gd name="connsiteX159" fmla="*/ 2673791 w 4953849"/>
              <a:gd name="connsiteY159" fmla="*/ 1655219 h 2831069"/>
              <a:gd name="connsiteX160" fmla="*/ 2640550 w 4953849"/>
              <a:gd name="connsiteY160" fmla="*/ 1650909 h 2831069"/>
              <a:gd name="connsiteX161" fmla="*/ 2632343 w 4953849"/>
              <a:gd name="connsiteY161" fmla="*/ 1619844 h 2831069"/>
              <a:gd name="connsiteX162" fmla="*/ 2649461 w 4953849"/>
              <a:gd name="connsiteY162" fmla="*/ 1577836 h 2831069"/>
              <a:gd name="connsiteX163" fmla="*/ 2688733 w 4953849"/>
              <a:gd name="connsiteY163" fmla="*/ 1555683 h 2831069"/>
              <a:gd name="connsiteX164" fmla="*/ 2703261 w 4953849"/>
              <a:gd name="connsiteY164" fmla="*/ 1534814 h 2831069"/>
              <a:gd name="connsiteX165" fmla="*/ 2701395 w 4953849"/>
              <a:gd name="connsiteY165" fmla="*/ 1493822 h 2831069"/>
              <a:gd name="connsiteX166" fmla="*/ 2672485 w 4953849"/>
              <a:gd name="connsiteY166" fmla="*/ 1435837 h 2831069"/>
              <a:gd name="connsiteX167" fmla="*/ 2606749 w 4953849"/>
              <a:gd name="connsiteY167" fmla="*/ 1373105 h 2831069"/>
              <a:gd name="connsiteX168" fmla="*/ 2495400 w 4953849"/>
              <a:gd name="connsiteY168" fmla="*/ 1361604 h 2831069"/>
              <a:gd name="connsiteX169" fmla="*/ 2409521 w 4953849"/>
              <a:gd name="connsiteY169" fmla="*/ 1399591 h 2831069"/>
              <a:gd name="connsiteX170" fmla="*/ 2371534 w 4953849"/>
              <a:gd name="connsiteY170" fmla="*/ 1413683 h 2831069"/>
              <a:gd name="connsiteX171" fmla="*/ 2361027 w 4953849"/>
              <a:gd name="connsiteY171" fmla="*/ 1385623 h 2831069"/>
              <a:gd name="connsiteX172" fmla="*/ 2367493 w 4953849"/>
              <a:gd name="connsiteY172" fmla="*/ 1343035 h 2831069"/>
              <a:gd name="connsiteX173" fmla="*/ 2399573 w 4953849"/>
              <a:gd name="connsiteY173" fmla="*/ 1314270 h 2831069"/>
              <a:gd name="connsiteX174" fmla="*/ 2456253 w 4953849"/>
              <a:gd name="connsiteY174" fmla="*/ 1293402 h 2831069"/>
              <a:gd name="connsiteX175" fmla="*/ 2498405 w 4953849"/>
              <a:gd name="connsiteY175" fmla="*/ 1281900 h 2831069"/>
              <a:gd name="connsiteX176" fmla="*/ 2531066 w 4953849"/>
              <a:gd name="connsiteY176" fmla="*/ 1268947 h 2831069"/>
              <a:gd name="connsiteX177" fmla="*/ 2589466 w 4953849"/>
              <a:gd name="connsiteY177" fmla="*/ 1272118 h 2831069"/>
              <a:gd name="connsiteX178" fmla="*/ 2663844 w 4953849"/>
              <a:gd name="connsiteY178" fmla="*/ 1306209 h 2831069"/>
              <a:gd name="connsiteX179" fmla="*/ 2727424 w 4953849"/>
              <a:gd name="connsiteY179" fmla="*/ 1382017 h 2831069"/>
              <a:gd name="connsiteX180" fmla="*/ 2757205 w 4953849"/>
              <a:gd name="connsiteY180" fmla="*/ 1470777 h 2831069"/>
              <a:gd name="connsiteX181" fmla="*/ 2771007 w 4953849"/>
              <a:gd name="connsiteY181" fmla="*/ 1538959 h 2831069"/>
              <a:gd name="connsiteX182" fmla="*/ 2766406 w 4953849"/>
              <a:gd name="connsiteY182" fmla="*/ 1598664 h 2831069"/>
              <a:gd name="connsiteX183" fmla="*/ 2731445 w 4953849"/>
              <a:gd name="connsiteY183" fmla="*/ 1657789 h 2831069"/>
              <a:gd name="connsiteX184" fmla="*/ 2671014 w 4953849"/>
              <a:gd name="connsiteY184" fmla="*/ 1692460 h 2831069"/>
              <a:gd name="connsiteX185" fmla="*/ 2635618 w 4953849"/>
              <a:gd name="connsiteY185" fmla="*/ 1717349 h 2831069"/>
              <a:gd name="connsiteX186" fmla="*/ 2609008 w 4953849"/>
              <a:gd name="connsiteY186" fmla="*/ 1768848 h 2831069"/>
              <a:gd name="connsiteX187" fmla="*/ 2604988 w 4953849"/>
              <a:gd name="connsiteY187" fmla="*/ 1813156 h 2831069"/>
              <a:gd name="connsiteX188" fmla="*/ 2623681 w 4953849"/>
              <a:gd name="connsiteY188" fmla="*/ 1838045 h 2831069"/>
              <a:gd name="connsiteX189" fmla="*/ 2656922 w 4953849"/>
              <a:gd name="connsiteY189" fmla="*/ 1874581 h 2831069"/>
              <a:gd name="connsiteX190" fmla="*/ 2692173 w 4953849"/>
              <a:gd name="connsiteY190" fmla="*/ 1930971 h 2831069"/>
              <a:gd name="connsiteX191" fmla="*/ 2750013 w 4953849"/>
              <a:gd name="connsiteY191" fmla="*/ 1970678 h 2831069"/>
              <a:gd name="connsiteX192" fmla="*/ 2770012 w 4953849"/>
              <a:gd name="connsiteY192" fmla="*/ 2016996 h 2831069"/>
              <a:gd name="connsiteX193" fmla="*/ 2716918 w 4953849"/>
              <a:gd name="connsiteY193" fmla="*/ 2105031 h 2831069"/>
              <a:gd name="connsiteX194" fmla="*/ 2669584 w 4953849"/>
              <a:gd name="connsiteY194" fmla="*/ 2099269 h 2831069"/>
              <a:gd name="connsiteX195" fmla="*/ 2607143 w 4953849"/>
              <a:gd name="connsiteY195" fmla="*/ 1994386 h 2831069"/>
              <a:gd name="connsiteX196" fmla="*/ 2604843 w 4953849"/>
              <a:gd name="connsiteY196" fmla="*/ 1948773 h 2831069"/>
              <a:gd name="connsiteX197" fmla="*/ 2659077 w 4953849"/>
              <a:gd name="connsiteY197" fmla="*/ 1910226 h 2831069"/>
              <a:gd name="connsiteX198" fmla="*/ 2715467 w 4953849"/>
              <a:gd name="connsiteY198" fmla="*/ 1918288 h 2831069"/>
              <a:gd name="connsiteX199" fmla="*/ 2813014 w 4953849"/>
              <a:gd name="connsiteY199" fmla="*/ 1988065 h 2831069"/>
              <a:gd name="connsiteX200" fmla="*/ 2867538 w 4953849"/>
              <a:gd name="connsiteY200" fmla="*/ 2070650 h 2831069"/>
              <a:gd name="connsiteX201" fmla="*/ 2863932 w 4953849"/>
              <a:gd name="connsiteY201" fmla="*/ 2126190 h 2831069"/>
              <a:gd name="connsiteX202" fmla="*/ 2828681 w 4953849"/>
              <a:gd name="connsiteY202" fmla="*/ 2203448 h 2831069"/>
              <a:gd name="connsiteX203" fmla="*/ 2792145 w 4953849"/>
              <a:gd name="connsiteY203" fmla="*/ 2248771 h 2831069"/>
              <a:gd name="connsiteX204" fmla="*/ 2751008 w 4953849"/>
              <a:gd name="connsiteY204" fmla="*/ 2226907 h 2831069"/>
              <a:gd name="connsiteX205" fmla="*/ 2736916 w 4953849"/>
              <a:gd name="connsiteY205" fmla="*/ 2197417 h 2831069"/>
              <a:gd name="connsiteX206" fmla="*/ 2742967 w 4953849"/>
              <a:gd name="connsiteY206" fmla="*/ 2172093 h 2831069"/>
              <a:gd name="connsiteX207" fmla="*/ 2779649 w 4953849"/>
              <a:gd name="connsiteY207" fmla="*/ 2127640 h 2831069"/>
              <a:gd name="connsiteX208" fmla="*/ 2838048 w 4953849"/>
              <a:gd name="connsiteY208" fmla="*/ 2086068 h 2831069"/>
              <a:gd name="connsiteX209" fmla="*/ 2884221 w 4953849"/>
              <a:gd name="connsiteY209" fmla="*/ 2048372 h 2831069"/>
              <a:gd name="connsiteX210" fmla="*/ 2908675 w 4953849"/>
              <a:gd name="connsiteY210" fmla="*/ 2028228 h 2831069"/>
              <a:gd name="connsiteX211" fmla="*/ 2915866 w 4953849"/>
              <a:gd name="connsiteY211" fmla="*/ 2043481 h 2831069"/>
              <a:gd name="connsiteX212" fmla="*/ 2919597 w 4953849"/>
              <a:gd name="connsiteY212" fmla="*/ 2107062 h 2831069"/>
              <a:gd name="connsiteX213" fmla="*/ 2912261 w 4953849"/>
              <a:gd name="connsiteY213" fmla="*/ 2164902 h 2831069"/>
              <a:gd name="connsiteX214" fmla="*/ 2886086 w 4953849"/>
              <a:gd name="connsiteY214" fmla="*/ 2266469 h 2831069"/>
              <a:gd name="connsiteX215" fmla="*/ 2892987 w 4953849"/>
              <a:gd name="connsiteY215" fmla="*/ 2328330 h 2831069"/>
              <a:gd name="connsiteX216" fmla="*/ 2920467 w 4953849"/>
              <a:gd name="connsiteY216" fmla="*/ 2353074 h 2831069"/>
              <a:gd name="connsiteX217" fmla="*/ 2956154 w 4953849"/>
              <a:gd name="connsiteY217" fmla="*/ 2367457 h 2831069"/>
              <a:gd name="connsiteX218" fmla="*/ 2991260 w 4953849"/>
              <a:gd name="connsiteY218" fmla="*/ 2382710 h 2831069"/>
              <a:gd name="connsiteX219" fmla="*/ 3016439 w 4953849"/>
              <a:gd name="connsiteY219" fmla="*/ 2415225 h 2831069"/>
              <a:gd name="connsiteX220" fmla="*/ 3023630 w 4953849"/>
              <a:gd name="connsiteY220" fmla="*/ 2463843 h 2831069"/>
              <a:gd name="connsiteX221" fmla="*/ 2992980 w 4953849"/>
              <a:gd name="connsiteY221" fmla="*/ 2507156 h 2831069"/>
              <a:gd name="connsiteX222" fmla="*/ 2947305 w 4953849"/>
              <a:gd name="connsiteY222" fmla="*/ 2522844 h 2831069"/>
              <a:gd name="connsiteX223" fmla="*/ 2902417 w 4953849"/>
              <a:gd name="connsiteY223" fmla="*/ 2523860 h 2831069"/>
              <a:gd name="connsiteX224" fmla="*/ 2846960 w 4953849"/>
              <a:gd name="connsiteY224" fmla="*/ 2540832 h 2831069"/>
              <a:gd name="connsiteX225" fmla="*/ 2800642 w 4953849"/>
              <a:gd name="connsiteY225" fmla="*/ 2536667 h 2831069"/>
              <a:gd name="connsiteX226" fmla="*/ 2802010 w 4953849"/>
              <a:gd name="connsiteY226" fmla="*/ 2519549 h 2831069"/>
              <a:gd name="connsiteX227" fmla="*/ 2850068 w 4953849"/>
              <a:gd name="connsiteY227" fmla="*/ 2497893 h 2831069"/>
              <a:gd name="connsiteX228" fmla="*/ 2877113 w 4953849"/>
              <a:gd name="connsiteY228" fmla="*/ 2480277 h 2831069"/>
              <a:gd name="connsiteX229" fmla="*/ 2861508 w 4953849"/>
              <a:gd name="connsiteY229" fmla="*/ 2474102 h 2831069"/>
              <a:gd name="connsiteX230" fmla="*/ 2788208 w 4953849"/>
              <a:gd name="connsiteY230" fmla="*/ 2503094 h 2831069"/>
              <a:gd name="connsiteX231" fmla="*/ 2755982 w 4953849"/>
              <a:gd name="connsiteY231" fmla="*/ 2503820 h 2831069"/>
              <a:gd name="connsiteX232" fmla="*/ 2757412 w 4953849"/>
              <a:gd name="connsiteY232" fmla="*/ 2490515 h 2831069"/>
              <a:gd name="connsiteX233" fmla="*/ 2782509 w 4953849"/>
              <a:gd name="connsiteY233" fmla="*/ 2478495 h 2831069"/>
              <a:gd name="connsiteX234" fmla="*/ 2830629 w 4953849"/>
              <a:gd name="connsiteY234" fmla="*/ 2445109 h 2831069"/>
              <a:gd name="connsiteX235" fmla="*/ 2827168 w 4953849"/>
              <a:gd name="connsiteY235" fmla="*/ 2435120 h 2831069"/>
              <a:gd name="connsiteX236" fmla="*/ 2772996 w 4953849"/>
              <a:gd name="connsiteY236" fmla="*/ 2461812 h 2831069"/>
              <a:gd name="connsiteX237" fmla="*/ 2742056 w 4953849"/>
              <a:gd name="connsiteY237" fmla="*/ 2459719 h 2831069"/>
              <a:gd name="connsiteX238" fmla="*/ 2745371 w 4953849"/>
              <a:gd name="connsiteY238" fmla="*/ 2438933 h 2831069"/>
              <a:gd name="connsiteX239" fmla="*/ 2783275 w 4953849"/>
              <a:gd name="connsiteY239" fmla="*/ 2411308 h 2831069"/>
              <a:gd name="connsiteX240" fmla="*/ 2798735 w 4953849"/>
              <a:gd name="connsiteY240" fmla="*/ 2393175 h 2831069"/>
              <a:gd name="connsiteX241" fmla="*/ 2787005 w 4953849"/>
              <a:gd name="connsiteY241" fmla="*/ 2385984 h 2831069"/>
              <a:gd name="connsiteX242" fmla="*/ 2748812 w 4953849"/>
              <a:gd name="connsiteY242" fmla="*/ 2403392 h 2831069"/>
              <a:gd name="connsiteX243" fmla="*/ 2723632 w 4953849"/>
              <a:gd name="connsiteY243" fmla="*/ 2405257 h 2831069"/>
              <a:gd name="connsiteX244" fmla="*/ 2722907 w 4953849"/>
              <a:gd name="connsiteY244" fmla="*/ 2382461 h 2831069"/>
              <a:gd name="connsiteX245" fmla="*/ 2764624 w 4953849"/>
              <a:gd name="connsiteY245" fmla="*/ 2341469 h 2831069"/>
              <a:gd name="connsiteX246" fmla="*/ 2841157 w 4953849"/>
              <a:gd name="connsiteY246" fmla="*/ 2306218 h 2831069"/>
              <a:gd name="connsiteX247" fmla="*/ 2891226 w 4953849"/>
              <a:gd name="connsiteY247" fmla="*/ 2303047 h 2831069"/>
              <a:gd name="connsiteX248" fmla="*/ 2918706 w 4953849"/>
              <a:gd name="connsiteY248" fmla="*/ 2295131 h 2831069"/>
              <a:gd name="connsiteX249" fmla="*/ 2948631 w 4953849"/>
              <a:gd name="connsiteY249" fmla="*/ 2243777 h 2831069"/>
              <a:gd name="connsiteX250" fmla="*/ 3012792 w 4953849"/>
              <a:gd name="connsiteY250" fmla="*/ 2156301 h 2831069"/>
              <a:gd name="connsiteX251" fmla="*/ 3090983 w 4953849"/>
              <a:gd name="connsiteY251" fmla="*/ 2074152 h 2831069"/>
              <a:gd name="connsiteX252" fmla="*/ 3109179 w 4953849"/>
              <a:gd name="connsiteY252" fmla="*/ 2041864 h 2831069"/>
              <a:gd name="connsiteX253" fmla="*/ 3108826 w 4953849"/>
              <a:gd name="connsiteY253" fmla="*/ 2021078 h 2831069"/>
              <a:gd name="connsiteX254" fmla="*/ 3123063 w 4953849"/>
              <a:gd name="connsiteY254" fmla="*/ 2001308 h 2831069"/>
              <a:gd name="connsiteX255" fmla="*/ 3178085 w 4953849"/>
              <a:gd name="connsiteY255" fmla="*/ 1963611 h 2831069"/>
              <a:gd name="connsiteX256" fmla="*/ 3248940 w 4953849"/>
              <a:gd name="connsiteY256" fmla="*/ 1914703 h 2831069"/>
              <a:gd name="connsiteX257" fmla="*/ 3296771 w 4953849"/>
              <a:gd name="connsiteY257" fmla="*/ 1881109 h 2831069"/>
              <a:gd name="connsiteX258" fmla="*/ 3326261 w 4953849"/>
              <a:gd name="connsiteY258" fmla="*/ 1836221 h 2831069"/>
              <a:gd name="connsiteX259" fmla="*/ 3344104 w 4953849"/>
              <a:gd name="connsiteY259" fmla="*/ 1739400 h 2831069"/>
              <a:gd name="connsiteX260" fmla="*/ 3342384 w 4953849"/>
              <a:gd name="connsiteY260" fmla="*/ 1654225 h 2831069"/>
              <a:gd name="connsiteX261" fmla="*/ 3329577 w 4953849"/>
              <a:gd name="connsiteY261" fmla="*/ 1586312 h 2831069"/>
              <a:gd name="connsiteX262" fmla="*/ 3284544 w 4953849"/>
              <a:gd name="connsiteY262" fmla="*/ 1511499 h 2831069"/>
              <a:gd name="connsiteX263" fmla="*/ 3228734 w 4953849"/>
              <a:gd name="connsiteY263" fmla="*/ 1463296 h 2831069"/>
              <a:gd name="connsiteX264" fmla="*/ 3168884 w 4953849"/>
              <a:gd name="connsiteY264" fmla="*/ 1445017 h 2831069"/>
              <a:gd name="connsiteX265" fmla="*/ 3109904 w 4953849"/>
              <a:gd name="connsiteY265" fmla="*/ 1434655 h 2831069"/>
              <a:gd name="connsiteX266" fmla="*/ 3045743 w 4953849"/>
              <a:gd name="connsiteY266" fmla="*/ 1420708 h 2831069"/>
              <a:gd name="connsiteX267" fmla="*/ 2962599 w 4953849"/>
              <a:gd name="connsiteY267" fmla="*/ 1428044 h 2831069"/>
              <a:gd name="connsiteX268" fmla="*/ 2905339 w 4953849"/>
              <a:gd name="connsiteY268" fmla="*/ 1469036 h 2831069"/>
              <a:gd name="connsiteX269" fmla="*/ 2897132 w 4953849"/>
              <a:gd name="connsiteY269" fmla="*/ 1533923 h 2831069"/>
              <a:gd name="connsiteX270" fmla="*/ 2916840 w 4953849"/>
              <a:gd name="connsiteY270" fmla="*/ 1580240 h 2831069"/>
              <a:gd name="connsiteX271" fmla="*/ 2928487 w 4953849"/>
              <a:gd name="connsiteY271" fmla="*/ 1638081 h 2831069"/>
              <a:gd name="connsiteX272" fmla="*/ 2912799 w 4953849"/>
              <a:gd name="connsiteY272" fmla="*/ 1733037 h 2831069"/>
              <a:gd name="connsiteX273" fmla="*/ 2916820 w 4953849"/>
              <a:gd name="connsiteY273" fmla="*/ 1799063 h 2831069"/>
              <a:gd name="connsiteX274" fmla="*/ 2973790 w 4953849"/>
              <a:gd name="connsiteY274" fmla="*/ 1841216 h 2831069"/>
              <a:gd name="connsiteX275" fmla="*/ 3099521 w 4953849"/>
              <a:gd name="connsiteY275" fmla="*/ 1854168 h 2831069"/>
              <a:gd name="connsiteX276" fmla="*/ 3184261 w 4953849"/>
              <a:gd name="connsiteY276" fmla="*/ 1837050 h 2831069"/>
              <a:gd name="connsiteX277" fmla="*/ 3219512 w 4953849"/>
              <a:gd name="connsiteY277" fmla="*/ 1788577 h 2831069"/>
              <a:gd name="connsiteX278" fmla="*/ 3234330 w 4953849"/>
              <a:gd name="connsiteY278" fmla="*/ 1758507 h 2831069"/>
              <a:gd name="connsiteX279" fmla="*/ 3249293 w 4953849"/>
              <a:gd name="connsiteY279" fmla="*/ 1758507 h 2831069"/>
              <a:gd name="connsiteX280" fmla="*/ 3253748 w 4953849"/>
              <a:gd name="connsiteY280" fmla="*/ 1787562 h 2831069"/>
              <a:gd name="connsiteX281" fmla="*/ 3227843 w 4953849"/>
              <a:gd name="connsiteY281" fmla="*/ 1819497 h 2831069"/>
              <a:gd name="connsiteX282" fmla="*/ 3199493 w 4953849"/>
              <a:gd name="connsiteY282" fmla="*/ 1806110 h 2831069"/>
              <a:gd name="connsiteX283" fmla="*/ 3207700 w 4953849"/>
              <a:gd name="connsiteY283" fmla="*/ 1762092 h 2831069"/>
              <a:gd name="connsiteX284" fmla="*/ 3237480 w 4953849"/>
              <a:gd name="connsiteY284" fmla="*/ 1731297 h 2831069"/>
              <a:gd name="connsiteX285" fmla="*/ 3262079 w 4953849"/>
              <a:gd name="connsiteY285" fmla="*/ 1696626 h 2831069"/>
              <a:gd name="connsiteX286" fmla="*/ 3239345 w 4953849"/>
              <a:gd name="connsiteY286" fmla="*/ 1625563 h 2831069"/>
              <a:gd name="connsiteX287" fmla="*/ 3190872 w 4953849"/>
              <a:gd name="connsiteY287" fmla="*/ 1549175 h 2831069"/>
              <a:gd name="connsiteX288" fmla="*/ 3108287 w 4953849"/>
              <a:gd name="connsiteY288" fmla="*/ 1512349 h 2831069"/>
              <a:gd name="connsiteX289" fmla="*/ 3016211 w 4953849"/>
              <a:gd name="connsiteY289" fmla="*/ 1521260 h 2831069"/>
              <a:gd name="connsiteX290" fmla="*/ 2949750 w 4953849"/>
              <a:gd name="connsiteY290" fmla="*/ 1574624 h 2831069"/>
              <a:gd name="connsiteX291" fmla="*/ 2928322 w 4953849"/>
              <a:gd name="connsiteY291" fmla="*/ 1608280 h 2831069"/>
              <a:gd name="connsiteX292" fmla="*/ 2906168 w 4953849"/>
              <a:gd name="connsiteY292" fmla="*/ 1663384 h 2831069"/>
              <a:gd name="connsiteX293" fmla="*/ 2886749 w 4953849"/>
              <a:gd name="connsiteY293" fmla="*/ 1760351 h 2831069"/>
              <a:gd name="connsiteX294" fmla="*/ 2902437 w 4953849"/>
              <a:gd name="connsiteY294" fmla="*/ 1829693 h 2831069"/>
              <a:gd name="connsiteX295" fmla="*/ 2933088 w 4953849"/>
              <a:gd name="connsiteY295" fmla="*/ 1880115 h 2831069"/>
              <a:gd name="connsiteX296" fmla="*/ 2952361 w 4953849"/>
              <a:gd name="connsiteY296" fmla="*/ 1939737 h 2831069"/>
              <a:gd name="connsiteX297" fmla="*/ 2957107 w 4953849"/>
              <a:gd name="connsiteY297" fmla="*/ 1996769 h 2831069"/>
              <a:gd name="connsiteX298" fmla="*/ 2939554 w 4953849"/>
              <a:gd name="connsiteY298" fmla="*/ 2060205 h 2831069"/>
              <a:gd name="connsiteX299" fmla="*/ 2942434 w 4953849"/>
              <a:gd name="connsiteY299" fmla="*/ 2092430 h 2831069"/>
              <a:gd name="connsiteX300" fmla="*/ 2981561 w 4953849"/>
              <a:gd name="connsiteY300" fmla="*/ 2073157 h 2831069"/>
              <a:gd name="connsiteX301" fmla="*/ 3077305 w 4953849"/>
              <a:gd name="connsiteY301" fmla="*/ 2002592 h 2831069"/>
              <a:gd name="connsiteX302" fmla="*/ 3147808 w 4953849"/>
              <a:gd name="connsiteY302" fmla="*/ 1957705 h 2831069"/>
              <a:gd name="connsiteX303" fmla="*/ 3207078 w 4953849"/>
              <a:gd name="connsiteY303" fmla="*/ 1927987 h 2831069"/>
              <a:gd name="connsiteX304" fmla="*/ 3233480 w 4953849"/>
              <a:gd name="connsiteY304" fmla="*/ 1933520 h 2831069"/>
              <a:gd name="connsiteX305" fmla="*/ 3262038 w 4953849"/>
              <a:gd name="connsiteY305" fmla="*/ 1986034 h 2831069"/>
              <a:gd name="connsiteX306" fmla="*/ 3303838 w 4953849"/>
              <a:gd name="connsiteY306" fmla="*/ 2024809 h 2831069"/>
              <a:gd name="connsiteX307" fmla="*/ 3333266 w 4953849"/>
              <a:gd name="connsiteY307" fmla="*/ 2039129 h 2831069"/>
              <a:gd name="connsiteX308" fmla="*/ 3325639 w 4953849"/>
              <a:gd name="connsiteY308" fmla="*/ 2056392 h 2831069"/>
              <a:gd name="connsiteX309" fmla="*/ 3282907 w 4953849"/>
              <a:gd name="connsiteY309" fmla="*/ 2090420 h 2831069"/>
              <a:gd name="connsiteX310" fmla="*/ 3244505 w 4953849"/>
              <a:gd name="connsiteY310" fmla="*/ 2152281 h 2831069"/>
              <a:gd name="connsiteX311" fmla="*/ 3182354 w 4953849"/>
              <a:gd name="connsiteY311" fmla="*/ 2291753 h 2831069"/>
              <a:gd name="connsiteX312" fmla="*/ 3152429 w 4953849"/>
              <a:gd name="connsiteY312" fmla="*/ 2356639 h 2831069"/>
              <a:gd name="connsiteX313" fmla="*/ 3134876 w 4953849"/>
              <a:gd name="connsiteY313" fmla="*/ 2363043 h 2831069"/>
              <a:gd name="connsiteX314" fmla="*/ 3093304 w 4953849"/>
              <a:gd name="connsiteY314" fmla="*/ 2345054 h 2831069"/>
              <a:gd name="connsiteX315" fmla="*/ 3040147 w 4953849"/>
              <a:gd name="connsiteY315" fmla="*/ 2330174 h 2831069"/>
              <a:gd name="connsiteX316" fmla="*/ 2998720 w 4953849"/>
              <a:gd name="connsiteY316" fmla="*/ 2333345 h 2831069"/>
              <a:gd name="connsiteX317" fmla="*/ 2965334 w 4953849"/>
              <a:gd name="connsiteY317" fmla="*/ 2345075 h 2831069"/>
              <a:gd name="connsiteX318" fmla="*/ 2943035 w 4953849"/>
              <a:gd name="connsiteY318" fmla="*/ 2341759 h 2831069"/>
              <a:gd name="connsiteX319" fmla="*/ 2942745 w 4953849"/>
              <a:gd name="connsiteY319" fmla="*/ 2316435 h 2831069"/>
              <a:gd name="connsiteX320" fmla="*/ 2994244 w 4953849"/>
              <a:gd name="connsiteY320" fmla="*/ 2230907 h 2831069"/>
              <a:gd name="connsiteX321" fmla="*/ 3114090 w 4953849"/>
              <a:gd name="connsiteY321" fmla="*/ 2086462 h 2831069"/>
              <a:gd name="connsiteX322" fmla="*/ 3241272 w 4953849"/>
              <a:gd name="connsiteY322" fmla="*/ 2009494 h 2831069"/>
              <a:gd name="connsiteX323" fmla="*/ 3315940 w 4953849"/>
              <a:gd name="connsiteY323" fmla="*/ 2007773 h 2831069"/>
              <a:gd name="connsiteX324" fmla="*/ 3395644 w 4953849"/>
              <a:gd name="connsiteY324" fmla="*/ 2040579 h 2831069"/>
              <a:gd name="connsiteX325" fmla="*/ 3436636 w 4953849"/>
              <a:gd name="connsiteY325" fmla="*/ 2094378 h 2831069"/>
              <a:gd name="connsiteX326" fmla="*/ 3461815 w 4953849"/>
              <a:gd name="connsiteY326" fmla="*/ 2161420 h 2831069"/>
              <a:gd name="connsiteX327" fmla="*/ 3478643 w 4953849"/>
              <a:gd name="connsiteY327" fmla="*/ 2191781 h 2831069"/>
              <a:gd name="connsiteX328" fmla="*/ 3484695 w 4953849"/>
              <a:gd name="connsiteY328" fmla="*/ 2185874 h 2831069"/>
              <a:gd name="connsiteX329" fmla="*/ 3477939 w 4953849"/>
              <a:gd name="connsiteY329" fmla="*/ 2138106 h 2831069"/>
              <a:gd name="connsiteX330" fmla="*/ 3446003 w 4953849"/>
              <a:gd name="connsiteY330" fmla="*/ 2073364 h 2831069"/>
              <a:gd name="connsiteX331" fmla="*/ 3372910 w 4953849"/>
              <a:gd name="connsiteY331" fmla="*/ 2059127 h 2831069"/>
              <a:gd name="connsiteX332" fmla="*/ 3296377 w 4953849"/>
              <a:gd name="connsiteY332" fmla="*/ 2115517 h 2831069"/>
              <a:gd name="connsiteX333" fmla="*/ 3247904 w 4953849"/>
              <a:gd name="connsiteY333" fmla="*/ 2216504 h 2831069"/>
              <a:gd name="connsiteX334" fmla="*/ 3236962 w 4953849"/>
              <a:gd name="connsiteY334" fmla="*/ 2315771 h 2831069"/>
              <a:gd name="connsiteX335" fmla="*/ 3213502 w 4953849"/>
              <a:gd name="connsiteY335" fmla="*/ 2398211 h 2831069"/>
              <a:gd name="connsiteX336" fmla="*/ 3112370 w 4953849"/>
              <a:gd name="connsiteY336" fmla="*/ 2384554 h 2831069"/>
              <a:gd name="connsiteX337" fmla="*/ 3019859 w 4953849"/>
              <a:gd name="connsiteY337" fmla="*/ 2352183 h 2831069"/>
              <a:gd name="connsiteX338" fmla="*/ 3002741 w 4953849"/>
              <a:gd name="connsiteY338" fmla="*/ 2359229 h 2831069"/>
              <a:gd name="connsiteX339" fmla="*/ 3024169 w 4953849"/>
              <a:gd name="connsiteY339" fmla="*/ 2385549 h 2831069"/>
              <a:gd name="connsiteX340" fmla="*/ 3044603 w 4953849"/>
              <a:gd name="connsiteY340" fmla="*/ 2430727 h 2831069"/>
              <a:gd name="connsiteX341" fmla="*/ 3039422 w 4953849"/>
              <a:gd name="connsiteY341" fmla="*/ 2486412 h 2831069"/>
              <a:gd name="connsiteX342" fmla="*/ 3009932 w 4953849"/>
              <a:gd name="connsiteY342" fmla="*/ 2562364 h 2831069"/>
              <a:gd name="connsiteX343" fmla="*/ 3025185 w 4953849"/>
              <a:gd name="connsiteY343" fmla="*/ 2634587 h 2831069"/>
              <a:gd name="connsiteX344" fmla="*/ 3089346 w 4953849"/>
              <a:gd name="connsiteY344" fmla="*/ 2669984 h 2831069"/>
              <a:gd name="connsiteX345" fmla="*/ 3190043 w 4953849"/>
              <a:gd name="connsiteY345" fmla="*/ 2685526 h 2831069"/>
              <a:gd name="connsiteX346" fmla="*/ 3305703 w 4953849"/>
              <a:gd name="connsiteY346" fmla="*/ 2710706 h 2831069"/>
              <a:gd name="connsiteX347" fmla="*/ 3329888 w 4953849"/>
              <a:gd name="connsiteY347" fmla="*/ 2737274 h 2831069"/>
              <a:gd name="connsiteX348" fmla="*/ 3307506 w 4953849"/>
              <a:gd name="connsiteY348" fmla="*/ 2775385 h 2831069"/>
              <a:gd name="connsiteX349" fmla="*/ 3339690 w 4953849"/>
              <a:gd name="connsiteY349" fmla="*/ 2784130 h 2831069"/>
              <a:gd name="connsiteX350" fmla="*/ 3569787 w 4953849"/>
              <a:gd name="connsiteY350" fmla="*/ 2784130 h 2831069"/>
              <a:gd name="connsiteX351" fmla="*/ 4047119 w 4953849"/>
              <a:gd name="connsiteY351" fmla="*/ 2782162 h 2831069"/>
              <a:gd name="connsiteX352" fmla="*/ 4168188 w 4953849"/>
              <a:gd name="connsiteY352" fmla="*/ 2759884 h 2831069"/>
              <a:gd name="connsiteX353" fmla="*/ 4160686 w 4953849"/>
              <a:gd name="connsiteY353" fmla="*/ 2692303 h 2831069"/>
              <a:gd name="connsiteX354" fmla="*/ 4113788 w 4953849"/>
              <a:gd name="connsiteY354" fmla="*/ 2631872 h 2831069"/>
              <a:gd name="connsiteX355" fmla="*/ 3972513 w 4953849"/>
              <a:gd name="connsiteY355" fmla="*/ 2565701 h 2831069"/>
              <a:gd name="connsiteX356" fmla="*/ 3904332 w 4953849"/>
              <a:gd name="connsiteY356" fmla="*/ 2476651 h 2831069"/>
              <a:gd name="connsiteX357" fmla="*/ 3945469 w 4953849"/>
              <a:gd name="connsiteY357" fmla="*/ 2186330 h 2831069"/>
              <a:gd name="connsiteX358" fmla="*/ 3974814 w 4953849"/>
              <a:gd name="connsiteY358" fmla="*/ 1978159 h 2831069"/>
              <a:gd name="connsiteX359" fmla="*/ 4012511 w 4953849"/>
              <a:gd name="connsiteY359" fmla="*/ 1883202 h 2831069"/>
              <a:gd name="connsiteX360" fmla="*/ 4080422 w 4953849"/>
              <a:gd name="connsiteY360" fmla="*/ 1837175 h 2831069"/>
              <a:gd name="connsiteX361" fmla="*/ 4124150 w 4953849"/>
              <a:gd name="connsiteY361" fmla="*/ 1758051 h 2831069"/>
              <a:gd name="connsiteX362" fmla="*/ 4151775 w 4953849"/>
              <a:gd name="connsiteY362" fmla="*/ 1632029 h 2831069"/>
              <a:gd name="connsiteX363" fmla="*/ 4174799 w 4953849"/>
              <a:gd name="connsiteY363" fmla="*/ 1561817 h 2831069"/>
              <a:gd name="connsiteX364" fmla="*/ 4187461 w 4953849"/>
              <a:gd name="connsiteY364" fmla="*/ 1548305 h 2831069"/>
              <a:gd name="connsiteX365" fmla="*/ 4177099 w 4953849"/>
              <a:gd name="connsiteY365" fmla="*/ 1616217 h 2831069"/>
              <a:gd name="connsiteX366" fmla="*/ 4136522 w 4953849"/>
              <a:gd name="connsiteY366" fmla="*/ 1792308 h 2831069"/>
              <a:gd name="connsiteX367" fmla="*/ 4056528 w 4953849"/>
              <a:gd name="connsiteY367" fmla="*/ 1905377 h 2831069"/>
              <a:gd name="connsiteX368" fmla="*/ 3965032 w 4953849"/>
              <a:gd name="connsiteY368" fmla="*/ 1918329 h 2831069"/>
              <a:gd name="connsiteX369" fmla="*/ 3885473 w 4953849"/>
              <a:gd name="connsiteY369" fmla="*/ 1822813 h 2831069"/>
              <a:gd name="connsiteX370" fmla="*/ 3864335 w 4953849"/>
              <a:gd name="connsiteY370" fmla="*/ 1673912 h 2831069"/>
              <a:gd name="connsiteX371" fmla="*/ 3858864 w 4953849"/>
              <a:gd name="connsiteY371" fmla="*/ 1541984 h 2831069"/>
              <a:gd name="connsiteX372" fmla="*/ 3853973 w 4953849"/>
              <a:gd name="connsiteY372" fmla="*/ 1415527 h 2831069"/>
              <a:gd name="connsiteX373" fmla="*/ 3827363 w 4953849"/>
              <a:gd name="connsiteY373" fmla="*/ 1246918 h 2831069"/>
              <a:gd name="connsiteX374" fmla="*/ 3814991 w 4953849"/>
              <a:gd name="connsiteY374" fmla="*/ 1142615 h 2831069"/>
              <a:gd name="connsiteX375" fmla="*/ 3809375 w 4953849"/>
              <a:gd name="connsiteY375" fmla="*/ 1065211 h 2831069"/>
              <a:gd name="connsiteX376" fmla="*/ 3784776 w 4953849"/>
              <a:gd name="connsiteY376" fmla="*/ 939335 h 2831069"/>
              <a:gd name="connsiteX377" fmla="*/ 3736863 w 4953849"/>
              <a:gd name="connsiteY377" fmla="*/ 796630 h 2831069"/>
              <a:gd name="connsiteX378" fmla="*/ 3710958 w 4953849"/>
              <a:gd name="connsiteY378" fmla="*/ 692327 h 2831069"/>
              <a:gd name="connsiteX379" fmla="*/ 3719724 w 4953849"/>
              <a:gd name="connsiteY379" fmla="*/ 643564 h 2831069"/>
              <a:gd name="connsiteX380" fmla="*/ 3774248 w 4953849"/>
              <a:gd name="connsiteY380" fmla="*/ 635647 h 2831069"/>
              <a:gd name="connsiteX381" fmla="*/ 3823011 w 4953849"/>
              <a:gd name="connsiteY381" fmla="*/ 621700 h 2831069"/>
              <a:gd name="connsiteX382" fmla="*/ 3858843 w 4953849"/>
              <a:gd name="connsiteY382" fmla="*/ 587174 h 2831069"/>
              <a:gd name="connsiteX383" fmla="*/ 3871505 w 4953849"/>
              <a:gd name="connsiteY383" fmla="*/ 534080 h 2831069"/>
              <a:gd name="connsiteX384" fmla="*/ 3854823 w 4953849"/>
              <a:gd name="connsiteY384" fmla="*/ 480426 h 2831069"/>
              <a:gd name="connsiteX385" fmla="*/ 3790226 w 4953849"/>
              <a:gd name="connsiteY385" fmla="*/ 360020 h 2831069"/>
              <a:gd name="connsiteX386" fmla="*/ 3746789 w 4953849"/>
              <a:gd name="connsiteY386" fmla="*/ 280171 h 2831069"/>
              <a:gd name="connsiteX387" fmla="*/ 3683913 w 4953849"/>
              <a:gd name="connsiteY387" fmla="*/ 213564 h 2831069"/>
              <a:gd name="connsiteX388" fmla="*/ 3633844 w 4953849"/>
              <a:gd name="connsiteY388" fmla="*/ 194291 h 2831069"/>
              <a:gd name="connsiteX389" fmla="*/ 3589537 w 4953849"/>
              <a:gd name="connsiteY389" fmla="*/ 218310 h 2831069"/>
              <a:gd name="connsiteX390" fmla="*/ 3565953 w 4953849"/>
              <a:gd name="connsiteY390" fmla="*/ 264214 h 2831069"/>
              <a:gd name="connsiteX391" fmla="*/ 3565228 w 4953849"/>
              <a:gd name="connsiteY391" fmla="*/ 308666 h 2831069"/>
              <a:gd name="connsiteX392" fmla="*/ 3587817 w 4953849"/>
              <a:gd name="connsiteY392" fmla="*/ 327794 h 2831069"/>
              <a:gd name="connsiteX393" fmla="*/ 3618467 w 4953849"/>
              <a:gd name="connsiteY393" fmla="*/ 329660 h 2831069"/>
              <a:gd name="connsiteX394" fmla="*/ 3631565 w 4953849"/>
              <a:gd name="connsiteY394" fmla="*/ 299299 h 2831069"/>
              <a:gd name="connsiteX395" fmla="*/ 3635730 w 4953849"/>
              <a:gd name="connsiteY395" fmla="*/ 263053 h 2831069"/>
              <a:gd name="connsiteX396" fmla="*/ 3653863 w 4953849"/>
              <a:gd name="connsiteY396" fmla="*/ 251261 h 2831069"/>
              <a:gd name="connsiteX397" fmla="*/ 3695290 w 4953849"/>
              <a:gd name="connsiteY397" fmla="*/ 262058 h 2831069"/>
              <a:gd name="connsiteX398" fmla="*/ 3728241 w 4953849"/>
              <a:gd name="connsiteY398" fmla="*/ 269975 h 2831069"/>
              <a:gd name="connsiteX399" fmla="*/ 3742479 w 4953849"/>
              <a:gd name="connsiteY399" fmla="*/ 259903 h 2831069"/>
              <a:gd name="connsiteX400" fmla="*/ 3739971 w 4953849"/>
              <a:gd name="connsiteY400" fmla="*/ 230993 h 2831069"/>
              <a:gd name="connsiteX401" fmla="*/ 3711559 w 4953849"/>
              <a:gd name="connsiteY401" fmla="*/ 190851 h 2831069"/>
              <a:gd name="connsiteX402" fmla="*/ 3661573 w 4953849"/>
              <a:gd name="connsiteY402" fmla="*/ 163309 h 2831069"/>
              <a:gd name="connsiteX403" fmla="*/ 3621576 w 4953849"/>
              <a:gd name="connsiteY403" fmla="*/ 157548 h 2831069"/>
              <a:gd name="connsiteX404" fmla="*/ 3593599 w 4953849"/>
              <a:gd name="connsiteY404" fmla="*/ 169485 h 2831069"/>
              <a:gd name="connsiteX405" fmla="*/ 3562948 w 4953849"/>
              <a:gd name="connsiteY405" fmla="*/ 176469 h 2831069"/>
              <a:gd name="connsiteX406" fmla="*/ 3512092 w 4953849"/>
              <a:gd name="connsiteY406" fmla="*/ 162086 h 2831069"/>
              <a:gd name="connsiteX407" fmla="*/ 3472177 w 4953849"/>
              <a:gd name="connsiteY407" fmla="*/ 137280 h 2831069"/>
              <a:gd name="connsiteX408" fmla="*/ 3430750 w 4953849"/>
              <a:gd name="connsiteY408" fmla="*/ 77222 h 2831069"/>
              <a:gd name="connsiteX409" fmla="*/ 3418959 w 4953849"/>
              <a:gd name="connsiteY409" fmla="*/ 27008 h 2831069"/>
              <a:gd name="connsiteX410" fmla="*/ 3427891 w 4953849"/>
              <a:gd name="connsiteY410" fmla="*/ 1725 h 2831069"/>
              <a:gd name="connsiteX411" fmla="*/ 3450977 w 4953849"/>
              <a:gd name="connsiteY411" fmla="*/ 8461 h 2831069"/>
              <a:gd name="connsiteX412" fmla="*/ 3489482 w 4953849"/>
              <a:gd name="connsiteY412" fmla="*/ 49494 h 2831069"/>
              <a:gd name="connsiteX413" fmla="*/ 3538514 w 4953849"/>
              <a:gd name="connsiteY413" fmla="*/ 104412 h 2831069"/>
              <a:gd name="connsiteX414" fmla="*/ 3573766 w 4953849"/>
              <a:gd name="connsiteY414" fmla="*/ 149010 h 2831069"/>
              <a:gd name="connsiteX415" fmla="*/ 3564709 w 4953849"/>
              <a:gd name="connsiteY415" fmla="*/ 165837 h 2831069"/>
              <a:gd name="connsiteX416" fmla="*/ 3519821 w 4953849"/>
              <a:gd name="connsiteY416" fmla="*/ 172593 h 2831069"/>
              <a:gd name="connsiteX417" fmla="*/ 3508879 w 4953849"/>
              <a:gd name="connsiteY417" fmla="*/ 186976 h 2831069"/>
              <a:gd name="connsiteX418" fmla="*/ 3517646 w 4953849"/>
              <a:gd name="connsiteY418" fmla="*/ 210435 h 2831069"/>
              <a:gd name="connsiteX419" fmla="*/ 3532753 w 4953849"/>
              <a:gd name="connsiteY419" fmla="*/ 240360 h 2831069"/>
              <a:gd name="connsiteX420" fmla="*/ 3543405 w 4953849"/>
              <a:gd name="connsiteY420" fmla="*/ 276606 h 2831069"/>
              <a:gd name="connsiteX421" fmla="*/ 3541395 w 4953849"/>
              <a:gd name="connsiteY421" fmla="*/ 308832 h 2831069"/>
              <a:gd name="connsiteX422" fmla="*/ 3527448 w 4953849"/>
              <a:gd name="connsiteY422" fmla="*/ 318324 h 2831069"/>
              <a:gd name="connsiteX423" fmla="*/ 3517231 w 4953849"/>
              <a:gd name="connsiteY423" fmla="*/ 303216 h 2831069"/>
              <a:gd name="connsiteX424" fmla="*/ 3520112 w 4953849"/>
              <a:gd name="connsiteY424" fmla="*/ 281932 h 2831069"/>
              <a:gd name="connsiteX425" fmla="*/ 3517811 w 4953849"/>
              <a:gd name="connsiteY425" fmla="*/ 253168 h 2831069"/>
              <a:gd name="connsiteX426" fmla="*/ 3497523 w 4953849"/>
              <a:gd name="connsiteY426" fmla="*/ 238640 h 2831069"/>
              <a:gd name="connsiteX427" fmla="*/ 3460261 w 4953849"/>
              <a:gd name="connsiteY427" fmla="*/ 250142 h 2831069"/>
              <a:gd name="connsiteX428" fmla="*/ 3445589 w 4953849"/>
              <a:gd name="connsiteY428" fmla="*/ 281207 h 2831069"/>
              <a:gd name="connsiteX429" fmla="*/ 3459826 w 4953849"/>
              <a:gd name="connsiteY429" fmla="*/ 326820 h 2831069"/>
              <a:gd name="connsiteX430" fmla="*/ 3522847 w 4953849"/>
              <a:gd name="connsiteY430" fmla="*/ 396598 h 2831069"/>
              <a:gd name="connsiteX431" fmla="*/ 3625430 w 4953849"/>
              <a:gd name="connsiteY431" fmla="*/ 455288 h 2831069"/>
              <a:gd name="connsiteX432" fmla="*/ 3703974 w 4953849"/>
              <a:gd name="connsiteY432" fmla="*/ 542183 h 2831069"/>
              <a:gd name="connsiteX433" fmla="*/ 3745111 w 4953849"/>
              <a:gd name="connsiteY433" fmla="*/ 604624 h 2831069"/>
              <a:gd name="connsiteX434" fmla="*/ 3811862 w 4953849"/>
              <a:gd name="connsiteY434" fmla="*/ 595132 h 2831069"/>
              <a:gd name="connsiteX435" fmla="*/ 3888975 w 4953849"/>
              <a:gd name="connsiteY435" fmla="*/ 561746 h 2831069"/>
              <a:gd name="connsiteX436" fmla="*/ 3966379 w 4953849"/>
              <a:gd name="connsiteY436" fmla="*/ 631088 h 2831069"/>
              <a:gd name="connsiteX437" fmla="*/ 4078019 w 4953849"/>
              <a:gd name="connsiteY437" fmla="*/ 831052 h 2831069"/>
              <a:gd name="connsiteX438" fmla="*/ 4169514 w 4953849"/>
              <a:gd name="connsiteY438" fmla="*/ 1008013 h 2831069"/>
              <a:gd name="connsiteX439" fmla="*/ 4209221 w 4953849"/>
              <a:gd name="connsiteY439" fmla="*/ 1141081 h 2831069"/>
              <a:gd name="connsiteX440" fmla="*/ 4202320 w 4953849"/>
              <a:gd name="connsiteY440" fmla="*/ 1265963 h 2831069"/>
              <a:gd name="connsiteX441" fmla="*/ 4206631 w 4953849"/>
              <a:gd name="connsiteY441" fmla="*/ 1370556 h 2831069"/>
              <a:gd name="connsiteX442" fmla="*/ 4229220 w 4953849"/>
              <a:gd name="connsiteY442" fmla="*/ 1502194 h 2831069"/>
              <a:gd name="connsiteX443" fmla="*/ 4273818 w 4953849"/>
              <a:gd name="connsiteY443" fmla="*/ 1683756 h 2831069"/>
              <a:gd name="connsiteX444" fmla="*/ 4322146 w 4953849"/>
              <a:gd name="connsiteY444" fmla="*/ 1899699 h 2831069"/>
              <a:gd name="connsiteX445" fmla="*/ 4316094 w 4953849"/>
              <a:gd name="connsiteY445" fmla="*/ 2160094 h 2831069"/>
              <a:gd name="connsiteX446" fmla="*/ 4269341 w 4953849"/>
              <a:gd name="connsiteY446" fmla="*/ 2458476 h 2831069"/>
              <a:gd name="connsiteX447" fmla="*/ 4217842 w 4953849"/>
              <a:gd name="connsiteY447" fmla="*/ 2693547 h 2831069"/>
              <a:gd name="connsiteX448" fmla="*/ 4137848 w 4953849"/>
              <a:gd name="connsiteY448" fmla="*/ 2723762 h 2831069"/>
              <a:gd name="connsiteX449" fmla="*/ 3960038 w 4953849"/>
              <a:gd name="connsiteY449" fmla="*/ 2656720 h 2831069"/>
              <a:gd name="connsiteX450" fmla="*/ 3734459 w 4953849"/>
              <a:gd name="connsiteY450" fmla="*/ 2611832 h 2831069"/>
              <a:gd name="connsiteX451" fmla="*/ 3562388 w 4953849"/>
              <a:gd name="connsiteY451" fmla="*/ 2636287 h 2831069"/>
              <a:gd name="connsiteX452" fmla="*/ 3474623 w 4953849"/>
              <a:gd name="connsiteY452" fmla="*/ 2663621 h 2831069"/>
              <a:gd name="connsiteX453" fmla="*/ 3445568 w 4953849"/>
              <a:gd name="connsiteY453" fmla="*/ 2610382 h 2831069"/>
              <a:gd name="connsiteX454" fmla="*/ 3452759 w 4953849"/>
              <a:gd name="connsiteY454" fmla="*/ 2529538 h 2831069"/>
              <a:gd name="connsiteX455" fmla="*/ 3481524 w 4953849"/>
              <a:gd name="connsiteY455" fmla="*/ 2410127 h 2831069"/>
              <a:gd name="connsiteX456" fmla="*/ 3545395 w 4953849"/>
              <a:gd name="connsiteY456" fmla="*/ 2234762 h 2831069"/>
              <a:gd name="connsiteX457" fmla="*/ 3665386 w 4953849"/>
              <a:gd name="connsiteY457" fmla="*/ 1982428 h 2831069"/>
              <a:gd name="connsiteX458" fmla="*/ 3752861 w 4953849"/>
              <a:gd name="connsiteY458" fmla="*/ 1790940 h 2831069"/>
              <a:gd name="connsiteX459" fmla="*/ 3821913 w 4953849"/>
              <a:gd name="connsiteY459" fmla="*/ 1698284 h 2831069"/>
              <a:gd name="connsiteX460" fmla="*/ 3849248 w 4953849"/>
              <a:gd name="connsiteY460" fmla="*/ 1632962 h 2831069"/>
              <a:gd name="connsiteX461" fmla="*/ 3831695 w 4953849"/>
              <a:gd name="connsiteY461" fmla="*/ 1607927 h 2831069"/>
              <a:gd name="connsiteX462" fmla="*/ 3750996 w 4953849"/>
              <a:gd name="connsiteY462" fmla="*/ 1653541 h 2831069"/>
              <a:gd name="connsiteX463" fmla="*/ 3690565 w 4953849"/>
              <a:gd name="connsiteY463" fmla="*/ 1626206 h 2831069"/>
              <a:gd name="connsiteX464" fmla="*/ 3644807 w 4953849"/>
              <a:gd name="connsiteY464" fmla="*/ 1571972 h 2831069"/>
              <a:gd name="connsiteX465" fmla="*/ 3629845 w 4953849"/>
              <a:gd name="connsiteY465" fmla="*/ 1525364 h 2831069"/>
              <a:gd name="connsiteX466" fmla="*/ 3651998 w 4953849"/>
              <a:gd name="connsiteY466" fmla="*/ 1480476 h 2831069"/>
              <a:gd name="connsiteX467" fmla="*/ 3699912 w 4953849"/>
              <a:gd name="connsiteY467" fmla="*/ 1471710 h 2831069"/>
              <a:gd name="connsiteX468" fmla="*/ 3784797 w 4953849"/>
              <a:gd name="connsiteY468" fmla="*/ 1491128 h 2831069"/>
              <a:gd name="connsiteX469" fmla="*/ 3838161 w 4953849"/>
              <a:gd name="connsiteY469" fmla="*/ 1495148 h 2831069"/>
              <a:gd name="connsiteX470" fmla="*/ 3845352 w 4953849"/>
              <a:gd name="connsiteY470" fmla="*/ 1468539 h 2831069"/>
              <a:gd name="connsiteX471" fmla="*/ 3823633 w 4953849"/>
              <a:gd name="connsiteY471" fmla="*/ 1383509 h 2831069"/>
              <a:gd name="connsiteX472" fmla="*/ 3808816 w 4953849"/>
              <a:gd name="connsiteY472" fmla="*/ 1282957 h 2831069"/>
              <a:gd name="connsiteX473" fmla="*/ 3804650 w 4953849"/>
              <a:gd name="connsiteY473" fmla="*/ 1207999 h 2831069"/>
              <a:gd name="connsiteX474" fmla="*/ 3785957 w 4953849"/>
              <a:gd name="connsiteY474" fmla="*/ 1175628 h 2831069"/>
              <a:gd name="connsiteX475" fmla="*/ 3720781 w 4953849"/>
              <a:gd name="connsiteY475" fmla="*/ 1175918 h 2831069"/>
              <a:gd name="connsiteX476" fmla="*/ 3636186 w 4953849"/>
              <a:gd name="connsiteY476" fmla="*/ 1209574 h 2831069"/>
              <a:gd name="connsiteX477" fmla="*/ 3585972 w 4953849"/>
              <a:gd name="connsiteY477" fmla="*/ 1260223 h 2831069"/>
              <a:gd name="connsiteX478" fmla="*/ 3565393 w 4953849"/>
              <a:gd name="connsiteY478" fmla="*/ 1297774 h 2831069"/>
              <a:gd name="connsiteX479" fmla="*/ 3554886 w 4953849"/>
              <a:gd name="connsiteY479" fmla="*/ 1286977 h 2831069"/>
              <a:gd name="connsiteX480" fmla="*/ 3550140 w 4953849"/>
              <a:gd name="connsiteY480" fmla="*/ 1234028 h 2831069"/>
              <a:gd name="connsiteX481" fmla="*/ 3588272 w 4953849"/>
              <a:gd name="connsiteY481" fmla="*/ 1171587 h 2831069"/>
              <a:gd name="connsiteX482" fmla="*/ 3670132 w 4953849"/>
              <a:gd name="connsiteY482" fmla="*/ 1136045 h 2831069"/>
              <a:gd name="connsiteX483" fmla="*/ 3749981 w 4953849"/>
              <a:gd name="connsiteY483" fmla="*/ 1132294 h 2831069"/>
              <a:gd name="connsiteX484" fmla="*/ 3788672 w 4953849"/>
              <a:gd name="connsiteY484" fmla="*/ 1125683 h 2831069"/>
              <a:gd name="connsiteX485" fmla="*/ 3787512 w 4953849"/>
              <a:gd name="connsiteY485" fmla="*/ 1074765 h 2831069"/>
              <a:gd name="connsiteX486" fmla="*/ 3777875 w 4953849"/>
              <a:gd name="connsiteY486" fmla="*/ 1036778 h 2831069"/>
              <a:gd name="connsiteX487" fmla="*/ 3743204 w 4953849"/>
              <a:gd name="connsiteY487" fmla="*/ 1022831 h 2831069"/>
              <a:gd name="connsiteX488" fmla="*/ 3674877 w 4953849"/>
              <a:gd name="connsiteY488" fmla="*/ 1035493 h 2831069"/>
              <a:gd name="connsiteX489" fmla="*/ 3624518 w 4953849"/>
              <a:gd name="connsiteY489" fmla="*/ 1081811 h 2831069"/>
              <a:gd name="connsiteX490" fmla="*/ 3586532 w 4953849"/>
              <a:gd name="connsiteY490" fmla="*/ 1120088 h 2831069"/>
              <a:gd name="connsiteX491" fmla="*/ 3523656 w 4953849"/>
              <a:gd name="connsiteY491" fmla="*/ 1152894 h 2831069"/>
              <a:gd name="connsiteX492" fmla="*/ 3478623 w 4953849"/>
              <a:gd name="connsiteY492" fmla="*/ 1194756 h 2831069"/>
              <a:gd name="connsiteX493" fmla="*/ 3471867 w 4953849"/>
              <a:gd name="connsiteY493" fmla="*/ 1239354 h 2831069"/>
              <a:gd name="connsiteX494" fmla="*/ 3494891 w 4953849"/>
              <a:gd name="connsiteY494" fmla="*/ 1279351 h 2831069"/>
              <a:gd name="connsiteX495" fmla="*/ 3531572 w 4953849"/>
              <a:gd name="connsiteY495" fmla="*/ 1309566 h 2831069"/>
              <a:gd name="connsiteX496" fmla="*/ 3544379 w 4953849"/>
              <a:gd name="connsiteY496" fmla="*/ 1331865 h 2831069"/>
              <a:gd name="connsiteX497" fmla="*/ 3533727 w 4953849"/>
              <a:gd name="connsiteY497" fmla="*/ 1376173 h 2831069"/>
              <a:gd name="connsiteX498" fmla="*/ 3537893 w 4953849"/>
              <a:gd name="connsiteY498" fmla="*/ 1437598 h 2831069"/>
              <a:gd name="connsiteX499" fmla="*/ 3564937 w 4953849"/>
              <a:gd name="connsiteY499" fmla="*/ 1526939 h 2831069"/>
              <a:gd name="connsiteX500" fmla="*/ 3622778 w 4953849"/>
              <a:gd name="connsiteY500" fmla="*/ 1590374 h 2831069"/>
              <a:gd name="connsiteX501" fmla="*/ 3668805 w 4953849"/>
              <a:gd name="connsiteY501" fmla="*/ 1652525 h 2831069"/>
              <a:gd name="connsiteX502" fmla="*/ 3691975 w 4953849"/>
              <a:gd name="connsiteY502" fmla="*/ 1709350 h 2831069"/>
              <a:gd name="connsiteX503" fmla="*/ 3693260 w 4953849"/>
              <a:gd name="connsiteY503" fmla="*/ 1751502 h 2831069"/>
              <a:gd name="connsiteX504" fmla="*/ 3673841 w 4953849"/>
              <a:gd name="connsiteY504" fmla="*/ 1786463 h 2831069"/>
              <a:gd name="connsiteX505" fmla="*/ 3625638 w 4953849"/>
              <a:gd name="connsiteY505" fmla="*/ 1826170 h 2831069"/>
              <a:gd name="connsiteX506" fmla="*/ 3574284 w 4953849"/>
              <a:gd name="connsiteY506" fmla="*/ 1865877 h 2831069"/>
              <a:gd name="connsiteX507" fmla="*/ 3547674 w 4953849"/>
              <a:gd name="connsiteY507" fmla="*/ 1897668 h 2831069"/>
              <a:gd name="connsiteX508" fmla="*/ 3556876 w 4953849"/>
              <a:gd name="connsiteY508" fmla="*/ 1913791 h 2831069"/>
              <a:gd name="connsiteX509" fmla="*/ 3577890 w 4953849"/>
              <a:gd name="connsiteY509" fmla="*/ 1937955 h 2831069"/>
              <a:gd name="connsiteX510" fmla="*/ 3575299 w 4953849"/>
              <a:gd name="connsiteY510" fmla="*/ 2004416 h 2831069"/>
              <a:gd name="connsiteX511" fmla="*/ 3539613 w 4953849"/>
              <a:gd name="connsiteY511" fmla="*/ 2109155 h 2831069"/>
              <a:gd name="connsiteX512" fmla="*/ 3449547 w 4953849"/>
              <a:gd name="connsiteY512" fmla="*/ 2331853 h 2831069"/>
              <a:gd name="connsiteX513" fmla="*/ 3384806 w 4953849"/>
              <a:gd name="connsiteY513" fmla="*/ 2574405 h 2831069"/>
              <a:gd name="connsiteX514" fmla="*/ 3372724 w 4953849"/>
              <a:gd name="connsiteY514" fmla="*/ 2764443 h 2831069"/>
              <a:gd name="connsiteX515" fmla="*/ 3519034 w 4953849"/>
              <a:gd name="connsiteY515" fmla="*/ 2824874 h 2831069"/>
              <a:gd name="connsiteX516" fmla="*/ 4167131 w 4953849"/>
              <a:gd name="connsiteY516" fmla="*/ 2831070 h 2831069"/>
              <a:gd name="connsiteX517" fmla="*/ 4953850 w 4953849"/>
              <a:gd name="connsiteY517" fmla="*/ 2831070 h 2831069"/>
              <a:gd name="connsiteX0" fmla="*/ 903127 w 3473630"/>
              <a:gd name="connsiteY0" fmla="*/ 2755096 h 2831071"/>
              <a:gd name="connsiteX1" fmla="*/ 1435419 w 3473630"/>
              <a:gd name="connsiteY1" fmla="*/ 2751076 h 2831071"/>
              <a:gd name="connsiteX2" fmla="*/ 1517133 w 3473630"/>
              <a:gd name="connsiteY2" fmla="*/ 2717420 h 2831071"/>
              <a:gd name="connsiteX3" fmla="*/ 1452972 w 3473630"/>
              <a:gd name="connsiteY3" fmla="*/ 2641468 h 2831071"/>
              <a:gd name="connsiteX4" fmla="*/ 1358885 w 3473630"/>
              <a:gd name="connsiteY4" fmla="*/ 2615293 h 2831071"/>
              <a:gd name="connsiteX5" fmla="*/ 1279762 w 3473630"/>
              <a:gd name="connsiteY5" fmla="*/ 2592559 h 2831071"/>
              <a:gd name="connsiteX6" fmla="*/ 1214875 w 3473630"/>
              <a:gd name="connsiteY6" fmla="*/ 2517746 h 2831071"/>
              <a:gd name="connsiteX7" fmla="*/ 1186256 w 3473630"/>
              <a:gd name="connsiteY7" fmla="*/ 2427970 h 2831071"/>
              <a:gd name="connsiteX8" fmla="*/ 1188411 w 3473630"/>
              <a:gd name="connsiteY8" fmla="*/ 2366980 h 2831071"/>
              <a:gd name="connsiteX9" fmla="*/ 1213736 w 3473630"/>
              <a:gd name="connsiteY9" fmla="*/ 2320662 h 2831071"/>
              <a:gd name="connsiteX10" fmla="*/ 1209570 w 3473630"/>
              <a:gd name="connsiteY10" fmla="*/ 2270448 h 2831071"/>
              <a:gd name="connsiteX11" fmla="*/ 1120810 w 3473630"/>
              <a:gd name="connsiteY11" fmla="*/ 2115662 h 2831071"/>
              <a:gd name="connsiteX12" fmla="*/ 1030184 w 3473630"/>
              <a:gd name="connsiteY12" fmla="*/ 1957124 h 2831071"/>
              <a:gd name="connsiteX13" fmla="*/ 963578 w 3473630"/>
              <a:gd name="connsiteY13" fmla="*/ 1924173 h 2831071"/>
              <a:gd name="connsiteX14" fmla="*/ 805766 w 3473630"/>
              <a:gd name="connsiteY14" fmla="*/ 1954244 h 2831071"/>
              <a:gd name="connsiteX15" fmla="*/ 604931 w 3473630"/>
              <a:gd name="connsiteY15" fmla="*/ 1989060 h 2831071"/>
              <a:gd name="connsiteX16" fmla="*/ 477334 w 3473630"/>
              <a:gd name="connsiteY16" fmla="*/ 1993661 h 2831071"/>
              <a:gd name="connsiteX17" fmla="*/ 361674 w 3473630"/>
              <a:gd name="connsiteY17" fmla="*/ 2000852 h 2831071"/>
              <a:gd name="connsiteX18" fmla="*/ 98689 w 3473630"/>
              <a:gd name="connsiteY18" fmla="*/ 2062567 h 2831071"/>
              <a:gd name="connsiteX19" fmla="*/ 3318 w 3473630"/>
              <a:gd name="connsiteY19" fmla="*/ 2090047 h 2831071"/>
              <a:gd name="connsiteX20" fmla="*/ 45470 w 3473630"/>
              <a:gd name="connsiteY20" fmla="*/ 2164135 h 2831071"/>
              <a:gd name="connsiteX21" fmla="*/ 243279 w 3473630"/>
              <a:gd name="connsiteY21" fmla="*/ 2417629 h 2831071"/>
              <a:gd name="connsiteX22" fmla="*/ 343272 w 3473630"/>
              <a:gd name="connsiteY22" fmla="*/ 2553723 h 2831071"/>
              <a:gd name="connsiteX23" fmla="*/ 396636 w 3473630"/>
              <a:gd name="connsiteY23" fmla="*/ 2608392 h 2831071"/>
              <a:gd name="connsiteX24" fmla="*/ 442104 w 3473630"/>
              <a:gd name="connsiteY24" fmla="*/ 2644348 h 2831071"/>
              <a:gd name="connsiteX25" fmla="*/ 450020 w 3473630"/>
              <a:gd name="connsiteY25" fmla="*/ 2670108 h 2831071"/>
              <a:gd name="connsiteX26" fmla="*/ 431182 w 3473630"/>
              <a:gd name="connsiteY26" fmla="*/ 2687516 h 2831071"/>
              <a:gd name="connsiteX27" fmla="*/ 385009 w 3473630"/>
              <a:gd name="connsiteY27" fmla="*/ 2665507 h 2831071"/>
              <a:gd name="connsiteX28" fmla="*/ 320268 w 3473630"/>
              <a:gd name="connsiteY28" fmla="*/ 2569991 h 2831071"/>
              <a:gd name="connsiteX29" fmla="*/ 307461 w 3473630"/>
              <a:gd name="connsiteY29" fmla="*/ 2513166 h 2831071"/>
              <a:gd name="connsiteX30" fmla="*/ 319398 w 3473630"/>
              <a:gd name="connsiteY30" fmla="*/ 2499923 h 2831071"/>
              <a:gd name="connsiteX31" fmla="*/ 348017 w 3473630"/>
              <a:gd name="connsiteY31" fmla="*/ 2524378 h 2831071"/>
              <a:gd name="connsiteX32" fmla="*/ 378088 w 3473630"/>
              <a:gd name="connsiteY32" fmla="*/ 2562364 h 2831071"/>
              <a:gd name="connsiteX33" fmla="*/ 409733 w 3473630"/>
              <a:gd name="connsiteY33" fmla="*/ 2581348 h 2831071"/>
              <a:gd name="connsiteX34" fmla="*/ 431742 w 3473630"/>
              <a:gd name="connsiteY34" fmla="*/ 2604372 h 2831071"/>
              <a:gd name="connsiteX35" fmla="*/ 455325 w 3473630"/>
              <a:gd name="connsiteY35" fmla="*/ 2623645 h 2831071"/>
              <a:gd name="connsiteX36" fmla="*/ 472008 w 3473630"/>
              <a:gd name="connsiteY36" fmla="*/ 2654005 h 2831071"/>
              <a:gd name="connsiteX37" fmla="*/ 483800 w 3473630"/>
              <a:gd name="connsiteY37" fmla="*/ 2705649 h 2831071"/>
              <a:gd name="connsiteX38" fmla="*/ 515031 w 3473630"/>
              <a:gd name="connsiteY38" fmla="*/ 2761707 h 2831071"/>
              <a:gd name="connsiteX39" fmla="*/ 593926 w 3473630"/>
              <a:gd name="connsiteY39" fmla="*/ 2781975 h 2831071"/>
              <a:gd name="connsiteX40" fmla="*/ 917923 w 3473630"/>
              <a:gd name="connsiteY40" fmla="*/ 2784234 h 2831071"/>
              <a:gd name="connsiteX41" fmla="*/ 1481861 w 3473630"/>
              <a:gd name="connsiteY41" fmla="*/ 2784234 h 2831071"/>
              <a:gd name="connsiteX42" fmla="*/ 1611177 w 3473630"/>
              <a:gd name="connsiteY42" fmla="*/ 2760402 h 2831071"/>
              <a:gd name="connsiteX43" fmla="*/ 1530417 w 3473630"/>
              <a:gd name="connsiteY43" fmla="*/ 2653819 h 2831071"/>
              <a:gd name="connsiteX44" fmla="*/ 1485508 w 3473630"/>
              <a:gd name="connsiteY44" fmla="*/ 2582508 h 2831071"/>
              <a:gd name="connsiteX45" fmla="*/ 1444641 w 3473630"/>
              <a:gd name="connsiteY45" fmla="*/ 2563380 h 2831071"/>
              <a:gd name="connsiteX46" fmla="*/ 1360916 w 3473630"/>
              <a:gd name="connsiteY46" fmla="*/ 2569701 h 2831071"/>
              <a:gd name="connsiteX47" fmla="*/ 1305376 w 3473630"/>
              <a:gd name="connsiteY47" fmla="*/ 2561204 h 2831071"/>
              <a:gd name="connsiteX48" fmla="*/ 1259908 w 3473630"/>
              <a:gd name="connsiteY48" fmla="*/ 2517187 h 2831071"/>
              <a:gd name="connsiteX49" fmla="*/ 1228553 w 3473630"/>
              <a:gd name="connsiteY49" fmla="*/ 2442519 h 2831071"/>
              <a:gd name="connsiteX50" fmla="*/ 1227123 w 3473630"/>
              <a:gd name="connsiteY50" fmla="*/ 2364680 h 2831071"/>
              <a:gd name="connsiteX51" fmla="*/ 1271141 w 3473630"/>
              <a:gd name="connsiteY51" fmla="*/ 2317491 h 2831071"/>
              <a:gd name="connsiteX52" fmla="*/ 1254023 w 3473630"/>
              <a:gd name="connsiteY52" fmla="*/ 2254201 h 2831071"/>
              <a:gd name="connsiteX53" fmla="*/ 1118219 w 3473630"/>
              <a:gd name="connsiteY53" fmla="*/ 2041429 h 2831071"/>
              <a:gd name="connsiteX54" fmla="*/ 1021107 w 3473630"/>
              <a:gd name="connsiteY54" fmla="*/ 1888363 h 2831071"/>
              <a:gd name="connsiteX55" fmla="*/ 969173 w 3473630"/>
              <a:gd name="connsiteY55" fmla="*/ 1865338 h 2831071"/>
              <a:gd name="connsiteX56" fmla="*/ 890050 w 3473630"/>
              <a:gd name="connsiteY56" fmla="*/ 1886477 h 2831071"/>
              <a:gd name="connsiteX57" fmla="*/ 773810 w 3473630"/>
              <a:gd name="connsiteY57" fmla="*/ 1916837 h 2831071"/>
              <a:gd name="connsiteX58" fmla="*/ 552976 w 3473630"/>
              <a:gd name="connsiteY58" fmla="*/ 1960565 h 2831071"/>
              <a:gd name="connsiteX59" fmla="*/ 460465 w 3473630"/>
              <a:gd name="connsiteY59" fmla="*/ 1968771 h 2831071"/>
              <a:gd name="connsiteX60" fmla="*/ 390253 w 3473630"/>
              <a:gd name="connsiteY60" fmla="*/ 1936110 h 2831071"/>
              <a:gd name="connsiteX61" fmla="*/ 237331 w 3473630"/>
              <a:gd name="connsiteY61" fmla="*/ 1817280 h 2831071"/>
              <a:gd name="connsiteX62" fmla="*/ 148861 w 3473630"/>
              <a:gd name="connsiteY62" fmla="*/ 1724478 h 2831071"/>
              <a:gd name="connsiteX63" fmla="*/ 135328 w 3473630"/>
              <a:gd name="connsiteY63" fmla="*/ 1660753 h 2831071"/>
              <a:gd name="connsiteX64" fmla="*/ 160363 w 3473630"/>
              <a:gd name="connsiteY64" fmla="*/ 1619326 h 2831071"/>
              <a:gd name="connsiteX65" fmla="*/ 206536 w 3473630"/>
              <a:gd name="connsiteY65" fmla="*/ 1610829 h 2831071"/>
              <a:gd name="connsiteX66" fmla="*/ 299896 w 3473630"/>
              <a:gd name="connsiteY66" fmla="*/ 1646370 h 2831071"/>
              <a:gd name="connsiteX67" fmla="*/ 372554 w 3473630"/>
              <a:gd name="connsiteY67" fmla="*/ 1668959 h 2831071"/>
              <a:gd name="connsiteX68" fmla="*/ 375725 w 3473630"/>
              <a:gd name="connsiteY68" fmla="*/ 1692688 h 2831071"/>
              <a:gd name="connsiteX69" fmla="*/ 313284 w 3473630"/>
              <a:gd name="connsiteY69" fmla="*/ 1712832 h 2831071"/>
              <a:gd name="connsiteX70" fmla="*/ 211136 w 3473630"/>
              <a:gd name="connsiteY70" fmla="*/ 1685787 h 2831071"/>
              <a:gd name="connsiteX71" fmla="*/ 161358 w 3473630"/>
              <a:gd name="connsiteY71" fmla="*/ 1648235 h 2831071"/>
              <a:gd name="connsiteX72" fmla="*/ 166393 w 3473630"/>
              <a:gd name="connsiteY72" fmla="*/ 1605586 h 2831071"/>
              <a:gd name="connsiteX73" fmla="*/ 200194 w 3473630"/>
              <a:gd name="connsiteY73" fmla="*/ 1577816 h 2831071"/>
              <a:gd name="connsiteX74" fmla="*/ 287234 w 3473630"/>
              <a:gd name="connsiteY74" fmla="*/ 1590830 h 2831071"/>
              <a:gd name="connsiteX75" fmla="*/ 369011 w 3473630"/>
              <a:gd name="connsiteY75" fmla="*/ 1618953 h 2831071"/>
              <a:gd name="connsiteX76" fmla="*/ 419929 w 3473630"/>
              <a:gd name="connsiteY76" fmla="*/ 1621046 h 2831071"/>
              <a:gd name="connsiteX77" fmla="*/ 508627 w 3473630"/>
              <a:gd name="connsiteY77" fmla="*/ 1559682 h 2831071"/>
              <a:gd name="connsiteX78" fmla="*/ 603874 w 3473630"/>
              <a:gd name="connsiteY78" fmla="*/ 1496164 h 2831071"/>
              <a:gd name="connsiteX79" fmla="*/ 672491 w 3473630"/>
              <a:gd name="connsiteY79" fmla="*/ 1469699 h 2831071"/>
              <a:gd name="connsiteX80" fmla="*/ 740320 w 3473630"/>
              <a:gd name="connsiteY80" fmla="*/ 1459835 h 2831071"/>
              <a:gd name="connsiteX81" fmla="*/ 810677 w 3473630"/>
              <a:gd name="connsiteY81" fmla="*/ 1421288 h 2831071"/>
              <a:gd name="connsiteX82" fmla="*/ 854633 w 3473630"/>
              <a:gd name="connsiteY82" fmla="*/ 1394969 h 2831071"/>
              <a:gd name="connsiteX83" fmla="*/ 862984 w 3473630"/>
              <a:gd name="connsiteY83" fmla="*/ 1380214 h 2831071"/>
              <a:gd name="connsiteX84" fmla="*/ 851690 w 3473630"/>
              <a:gd name="connsiteY84" fmla="*/ 1366412 h 2831071"/>
              <a:gd name="connsiteX85" fmla="*/ 827526 w 3473630"/>
              <a:gd name="connsiteY85" fmla="*/ 1363614 h 2831071"/>
              <a:gd name="connsiteX86" fmla="*/ 824293 w 3473630"/>
              <a:gd name="connsiteY86" fmla="*/ 1354910 h 2831071"/>
              <a:gd name="connsiteX87" fmla="*/ 846654 w 3473630"/>
              <a:gd name="connsiteY87" fmla="*/ 1340030 h 2831071"/>
              <a:gd name="connsiteX88" fmla="*/ 880310 w 3473630"/>
              <a:gd name="connsiteY88" fmla="*/ 1319161 h 2831071"/>
              <a:gd name="connsiteX89" fmla="*/ 897365 w 3473630"/>
              <a:gd name="connsiteY89" fmla="*/ 1302831 h 2831071"/>
              <a:gd name="connsiteX90" fmla="*/ 886796 w 3473630"/>
              <a:gd name="connsiteY90" fmla="*/ 1295930 h 2831071"/>
              <a:gd name="connsiteX91" fmla="*/ 844644 w 3473630"/>
              <a:gd name="connsiteY91" fmla="*/ 1306934 h 2831071"/>
              <a:gd name="connsiteX92" fmla="*/ 809538 w 3473630"/>
              <a:gd name="connsiteY92" fmla="*/ 1335347 h 2831071"/>
              <a:gd name="connsiteX93" fmla="*/ 787031 w 3473630"/>
              <a:gd name="connsiteY93" fmla="*/ 1349667 h 2831071"/>
              <a:gd name="connsiteX94" fmla="*/ 782141 w 3473630"/>
              <a:gd name="connsiteY94" fmla="*/ 1343346 h 2831071"/>
              <a:gd name="connsiteX95" fmla="*/ 804585 w 3473630"/>
              <a:gd name="connsiteY95" fmla="*/ 1325296 h 2831071"/>
              <a:gd name="connsiteX96" fmla="*/ 816812 w 3473630"/>
              <a:gd name="connsiteY96" fmla="*/ 1307743 h 2831071"/>
              <a:gd name="connsiteX97" fmla="*/ 811278 w 3473630"/>
              <a:gd name="connsiteY97" fmla="*/ 1290977 h 2831071"/>
              <a:gd name="connsiteX98" fmla="*/ 791715 w 3473630"/>
              <a:gd name="connsiteY98" fmla="*/ 1290832 h 2831071"/>
              <a:gd name="connsiteX99" fmla="*/ 761935 w 3473630"/>
              <a:gd name="connsiteY99" fmla="*/ 1313856 h 2831071"/>
              <a:gd name="connsiteX100" fmla="*/ 742517 w 3473630"/>
              <a:gd name="connsiteY100" fmla="*/ 1324218 h 2831071"/>
              <a:gd name="connsiteX101" fmla="*/ 739864 w 3473630"/>
              <a:gd name="connsiteY101" fmla="*/ 1318457 h 2831071"/>
              <a:gd name="connsiteX102" fmla="*/ 752298 w 3473630"/>
              <a:gd name="connsiteY102" fmla="*/ 1300406 h 2831071"/>
              <a:gd name="connsiteX103" fmla="*/ 772587 w 3473630"/>
              <a:gd name="connsiteY103" fmla="*/ 1280615 h 2831071"/>
              <a:gd name="connsiteX104" fmla="*/ 776110 w 3473630"/>
              <a:gd name="connsiteY104" fmla="*/ 1263994 h 2831071"/>
              <a:gd name="connsiteX105" fmla="*/ 761085 w 3473630"/>
              <a:gd name="connsiteY105" fmla="*/ 1258026 h 2831071"/>
              <a:gd name="connsiteX106" fmla="*/ 718871 w 3473630"/>
              <a:gd name="connsiteY106" fmla="*/ 1273051 h 2831071"/>
              <a:gd name="connsiteX107" fmla="*/ 639602 w 3473630"/>
              <a:gd name="connsiteY107" fmla="*/ 1331181 h 2831071"/>
              <a:gd name="connsiteX108" fmla="*/ 569680 w 3473630"/>
              <a:gd name="connsiteY108" fmla="*/ 1382100 h 2831071"/>
              <a:gd name="connsiteX109" fmla="*/ 456175 w 3473630"/>
              <a:gd name="connsiteY109" fmla="*/ 1442530 h 2831071"/>
              <a:gd name="connsiteX110" fmla="*/ 325408 w 3473630"/>
              <a:gd name="connsiteY110" fmla="*/ 1515188 h 2831071"/>
              <a:gd name="connsiteX111" fmla="*/ 239528 w 3473630"/>
              <a:gd name="connsiteY111" fmla="*/ 1551144 h 2831071"/>
              <a:gd name="connsiteX112" fmla="*/ 218390 w 3473630"/>
              <a:gd name="connsiteY112" fmla="*/ 1575453 h 2831071"/>
              <a:gd name="connsiteX113" fmla="*/ 272914 w 3473630"/>
              <a:gd name="connsiteY113" fmla="*/ 1602208 h 2831071"/>
              <a:gd name="connsiteX114" fmla="*/ 357799 w 3473630"/>
              <a:gd name="connsiteY114" fmla="*/ 1635863 h 2831071"/>
              <a:gd name="connsiteX115" fmla="*/ 403412 w 3473630"/>
              <a:gd name="connsiteY115" fmla="*/ 1653271 h 2831071"/>
              <a:gd name="connsiteX116" fmla="*/ 416075 w 3473630"/>
              <a:gd name="connsiteY116" fmla="*/ 1682036 h 2831071"/>
              <a:gd name="connsiteX117" fmla="*/ 440819 w 3473630"/>
              <a:gd name="connsiteY117" fmla="*/ 1705060 h 2831071"/>
              <a:gd name="connsiteX118" fmla="*/ 514471 w 3473630"/>
              <a:gd name="connsiteY118" fmla="*/ 1733680 h 2831071"/>
              <a:gd name="connsiteX119" fmla="*/ 651290 w 3473630"/>
              <a:gd name="connsiteY119" fmla="*/ 1765905 h 2831071"/>
              <a:gd name="connsiteX120" fmla="*/ 768111 w 3473630"/>
              <a:gd name="connsiteY120" fmla="*/ 1785179 h 2831071"/>
              <a:gd name="connsiteX121" fmla="*/ 837308 w 3473630"/>
              <a:gd name="connsiteY121" fmla="*/ 1824740 h 2831071"/>
              <a:gd name="connsiteX122" fmla="*/ 840623 w 3473630"/>
              <a:gd name="connsiteY122" fmla="*/ 1854666 h 2831071"/>
              <a:gd name="connsiteX123" fmla="*/ 790845 w 3473630"/>
              <a:gd name="connsiteY123" fmla="*/ 1883430 h 2831071"/>
              <a:gd name="connsiteX124" fmla="*/ 713876 w 3473630"/>
              <a:gd name="connsiteY124" fmla="*/ 1902413 h 2831071"/>
              <a:gd name="connsiteX125" fmla="*/ 703369 w 3473630"/>
              <a:gd name="connsiteY125" fmla="*/ 1887741 h 2831071"/>
              <a:gd name="connsiteX126" fmla="*/ 735160 w 3473630"/>
              <a:gd name="connsiteY126" fmla="*/ 1840843 h 2831071"/>
              <a:gd name="connsiteX127" fmla="*/ 785664 w 3473630"/>
              <a:gd name="connsiteY127" fmla="*/ 1808037 h 2831071"/>
              <a:gd name="connsiteX128" fmla="*/ 864642 w 3473630"/>
              <a:gd name="connsiteY128" fmla="*/ 1809757 h 2831071"/>
              <a:gd name="connsiteX129" fmla="*/ 904639 w 3473630"/>
              <a:gd name="connsiteY129" fmla="*/ 1789468 h 2831071"/>
              <a:gd name="connsiteX130" fmla="*/ 916286 w 3473630"/>
              <a:gd name="connsiteY130" fmla="*/ 1745161 h 2831071"/>
              <a:gd name="connsiteX131" fmla="*/ 912121 w 3473630"/>
              <a:gd name="connsiteY131" fmla="*/ 1675238 h 2831071"/>
              <a:gd name="connsiteX132" fmla="*/ 918027 w 3473630"/>
              <a:gd name="connsiteY132" fmla="*/ 1647904 h 2831071"/>
              <a:gd name="connsiteX133" fmla="*/ 946232 w 3473630"/>
              <a:gd name="connsiteY133" fmla="*/ 1644588 h 2831071"/>
              <a:gd name="connsiteX134" fmla="*/ 993130 w 3473630"/>
              <a:gd name="connsiteY134" fmla="*/ 1664587 h 2831071"/>
              <a:gd name="connsiteX135" fmla="*/ 1043634 w 3473630"/>
              <a:gd name="connsiteY135" fmla="*/ 1685455 h 2831071"/>
              <a:gd name="connsiteX136" fmla="*/ 1091112 w 3473630"/>
              <a:gd name="connsiteY136" fmla="*/ 1667032 h 2831071"/>
              <a:gd name="connsiteX137" fmla="*/ 1113846 w 3473630"/>
              <a:gd name="connsiteY137" fmla="*/ 1609046 h 2831071"/>
              <a:gd name="connsiteX138" fmla="*/ 1137575 w 3473630"/>
              <a:gd name="connsiteY138" fmla="*/ 1536244 h 2831071"/>
              <a:gd name="connsiteX139" fmla="*/ 1175272 w 3473630"/>
              <a:gd name="connsiteY139" fmla="*/ 1484165 h 2831071"/>
              <a:gd name="connsiteX140" fmla="*/ 1215849 w 3473630"/>
              <a:gd name="connsiteY140" fmla="*/ 1437702 h 2831071"/>
              <a:gd name="connsiteX141" fmla="*/ 1213839 w 3473630"/>
              <a:gd name="connsiteY141" fmla="*/ 1405911 h 2831071"/>
              <a:gd name="connsiteX142" fmla="*/ 1160745 w 3473630"/>
              <a:gd name="connsiteY142" fmla="*/ 1359449 h 2831071"/>
              <a:gd name="connsiteX143" fmla="*/ 1072275 w 3473630"/>
              <a:gd name="connsiteY143" fmla="*/ 1326207 h 2831071"/>
              <a:gd name="connsiteX144" fmla="*/ 969422 w 3473630"/>
              <a:gd name="connsiteY144" fmla="*/ 1337709 h 2831071"/>
              <a:gd name="connsiteX145" fmla="*/ 912162 w 3473630"/>
              <a:gd name="connsiteY145" fmla="*/ 1380152 h 2831071"/>
              <a:gd name="connsiteX146" fmla="*/ 896329 w 3473630"/>
              <a:gd name="connsiteY146" fmla="*/ 1448333 h 2831071"/>
              <a:gd name="connsiteX147" fmla="*/ 877491 w 3473630"/>
              <a:gd name="connsiteY147" fmla="*/ 1512784 h 2831071"/>
              <a:gd name="connsiteX148" fmla="*/ 860808 w 3473630"/>
              <a:gd name="connsiteY148" fmla="*/ 1564138 h 2831071"/>
              <a:gd name="connsiteX149" fmla="*/ 859938 w 3473630"/>
              <a:gd name="connsiteY149" fmla="*/ 1636216 h 2831071"/>
              <a:gd name="connsiteX150" fmla="*/ 882672 w 3473630"/>
              <a:gd name="connsiteY150" fmla="*/ 1693040 h 2831071"/>
              <a:gd name="connsiteX151" fmla="*/ 939932 w 3473630"/>
              <a:gd name="connsiteY151" fmla="*/ 1728001 h 2831071"/>
              <a:gd name="connsiteX152" fmla="*/ 1032858 w 3473630"/>
              <a:gd name="connsiteY152" fmla="*/ 1733618 h 2831071"/>
              <a:gd name="connsiteX153" fmla="*/ 1121328 w 3473630"/>
              <a:gd name="connsiteY153" fmla="*/ 1688440 h 2831071"/>
              <a:gd name="connsiteX154" fmla="*/ 1171832 w 3473630"/>
              <a:gd name="connsiteY154" fmla="*/ 1627304 h 2831071"/>
              <a:gd name="connsiteX155" fmla="*/ 1192265 w 3473630"/>
              <a:gd name="connsiteY155" fmla="*/ 1592343 h 2831071"/>
              <a:gd name="connsiteX156" fmla="*/ 1215435 w 3473630"/>
              <a:gd name="connsiteY156" fmla="*/ 1590478 h 2831071"/>
              <a:gd name="connsiteX157" fmla="*/ 1223061 w 3473630"/>
              <a:gd name="connsiteY157" fmla="*/ 1624569 h 2831071"/>
              <a:gd name="connsiteX158" fmla="*/ 1193571 w 3473630"/>
              <a:gd name="connsiteY158" fmla="*/ 1655219 h 2831071"/>
              <a:gd name="connsiteX159" fmla="*/ 1160330 w 3473630"/>
              <a:gd name="connsiteY159" fmla="*/ 1650909 h 2831071"/>
              <a:gd name="connsiteX160" fmla="*/ 1152123 w 3473630"/>
              <a:gd name="connsiteY160" fmla="*/ 1619844 h 2831071"/>
              <a:gd name="connsiteX161" fmla="*/ 1169241 w 3473630"/>
              <a:gd name="connsiteY161" fmla="*/ 1577836 h 2831071"/>
              <a:gd name="connsiteX162" fmla="*/ 1208513 w 3473630"/>
              <a:gd name="connsiteY162" fmla="*/ 1555683 h 2831071"/>
              <a:gd name="connsiteX163" fmla="*/ 1223041 w 3473630"/>
              <a:gd name="connsiteY163" fmla="*/ 1534814 h 2831071"/>
              <a:gd name="connsiteX164" fmla="*/ 1221175 w 3473630"/>
              <a:gd name="connsiteY164" fmla="*/ 1493822 h 2831071"/>
              <a:gd name="connsiteX165" fmla="*/ 1192265 w 3473630"/>
              <a:gd name="connsiteY165" fmla="*/ 1435837 h 2831071"/>
              <a:gd name="connsiteX166" fmla="*/ 1126529 w 3473630"/>
              <a:gd name="connsiteY166" fmla="*/ 1373105 h 2831071"/>
              <a:gd name="connsiteX167" fmla="*/ 1015180 w 3473630"/>
              <a:gd name="connsiteY167" fmla="*/ 1361604 h 2831071"/>
              <a:gd name="connsiteX168" fmla="*/ 929301 w 3473630"/>
              <a:gd name="connsiteY168" fmla="*/ 1399591 h 2831071"/>
              <a:gd name="connsiteX169" fmla="*/ 891314 w 3473630"/>
              <a:gd name="connsiteY169" fmla="*/ 1413683 h 2831071"/>
              <a:gd name="connsiteX170" fmla="*/ 880807 w 3473630"/>
              <a:gd name="connsiteY170" fmla="*/ 1385623 h 2831071"/>
              <a:gd name="connsiteX171" fmla="*/ 887273 w 3473630"/>
              <a:gd name="connsiteY171" fmla="*/ 1343035 h 2831071"/>
              <a:gd name="connsiteX172" fmla="*/ 919353 w 3473630"/>
              <a:gd name="connsiteY172" fmla="*/ 1314270 h 2831071"/>
              <a:gd name="connsiteX173" fmla="*/ 976033 w 3473630"/>
              <a:gd name="connsiteY173" fmla="*/ 1293402 h 2831071"/>
              <a:gd name="connsiteX174" fmla="*/ 1018185 w 3473630"/>
              <a:gd name="connsiteY174" fmla="*/ 1281900 h 2831071"/>
              <a:gd name="connsiteX175" fmla="*/ 1050846 w 3473630"/>
              <a:gd name="connsiteY175" fmla="*/ 1268947 h 2831071"/>
              <a:gd name="connsiteX176" fmla="*/ 1109246 w 3473630"/>
              <a:gd name="connsiteY176" fmla="*/ 1272118 h 2831071"/>
              <a:gd name="connsiteX177" fmla="*/ 1183624 w 3473630"/>
              <a:gd name="connsiteY177" fmla="*/ 1306209 h 2831071"/>
              <a:gd name="connsiteX178" fmla="*/ 1247204 w 3473630"/>
              <a:gd name="connsiteY178" fmla="*/ 1382017 h 2831071"/>
              <a:gd name="connsiteX179" fmla="*/ 1276985 w 3473630"/>
              <a:gd name="connsiteY179" fmla="*/ 1470777 h 2831071"/>
              <a:gd name="connsiteX180" fmla="*/ 1290787 w 3473630"/>
              <a:gd name="connsiteY180" fmla="*/ 1538959 h 2831071"/>
              <a:gd name="connsiteX181" fmla="*/ 1286186 w 3473630"/>
              <a:gd name="connsiteY181" fmla="*/ 1598664 h 2831071"/>
              <a:gd name="connsiteX182" fmla="*/ 1251225 w 3473630"/>
              <a:gd name="connsiteY182" fmla="*/ 1657789 h 2831071"/>
              <a:gd name="connsiteX183" fmla="*/ 1190794 w 3473630"/>
              <a:gd name="connsiteY183" fmla="*/ 1692460 h 2831071"/>
              <a:gd name="connsiteX184" fmla="*/ 1155398 w 3473630"/>
              <a:gd name="connsiteY184" fmla="*/ 1717349 h 2831071"/>
              <a:gd name="connsiteX185" fmla="*/ 1128788 w 3473630"/>
              <a:gd name="connsiteY185" fmla="*/ 1768848 h 2831071"/>
              <a:gd name="connsiteX186" fmla="*/ 1124768 w 3473630"/>
              <a:gd name="connsiteY186" fmla="*/ 1813156 h 2831071"/>
              <a:gd name="connsiteX187" fmla="*/ 1143461 w 3473630"/>
              <a:gd name="connsiteY187" fmla="*/ 1838045 h 2831071"/>
              <a:gd name="connsiteX188" fmla="*/ 1176702 w 3473630"/>
              <a:gd name="connsiteY188" fmla="*/ 1874581 h 2831071"/>
              <a:gd name="connsiteX189" fmla="*/ 1211953 w 3473630"/>
              <a:gd name="connsiteY189" fmla="*/ 1930971 h 2831071"/>
              <a:gd name="connsiteX190" fmla="*/ 1269793 w 3473630"/>
              <a:gd name="connsiteY190" fmla="*/ 1970678 h 2831071"/>
              <a:gd name="connsiteX191" fmla="*/ 1289792 w 3473630"/>
              <a:gd name="connsiteY191" fmla="*/ 2016996 h 2831071"/>
              <a:gd name="connsiteX192" fmla="*/ 1236698 w 3473630"/>
              <a:gd name="connsiteY192" fmla="*/ 2105031 h 2831071"/>
              <a:gd name="connsiteX193" fmla="*/ 1189364 w 3473630"/>
              <a:gd name="connsiteY193" fmla="*/ 2099269 h 2831071"/>
              <a:gd name="connsiteX194" fmla="*/ 1126923 w 3473630"/>
              <a:gd name="connsiteY194" fmla="*/ 1994386 h 2831071"/>
              <a:gd name="connsiteX195" fmla="*/ 1124623 w 3473630"/>
              <a:gd name="connsiteY195" fmla="*/ 1948773 h 2831071"/>
              <a:gd name="connsiteX196" fmla="*/ 1178857 w 3473630"/>
              <a:gd name="connsiteY196" fmla="*/ 1910226 h 2831071"/>
              <a:gd name="connsiteX197" fmla="*/ 1235247 w 3473630"/>
              <a:gd name="connsiteY197" fmla="*/ 1918288 h 2831071"/>
              <a:gd name="connsiteX198" fmla="*/ 1332794 w 3473630"/>
              <a:gd name="connsiteY198" fmla="*/ 1988065 h 2831071"/>
              <a:gd name="connsiteX199" fmla="*/ 1387318 w 3473630"/>
              <a:gd name="connsiteY199" fmla="*/ 2070650 h 2831071"/>
              <a:gd name="connsiteX200" fmla="*/ 1383712 w 3473630"/>
              <a:gd name="connsiteY200" fmla="*/ 2126190 h 2831071"/>
              <a:gd name="connsiteX201" fmla="*/ 1348461 w 3473630"/>
              <a:gd name="connsiteY201" fmla="*/ 2203448 h 2831071"/>
              <a:gd name="connsiteX202" fmla="*/ 1311925 w 3473630"/>
              <a:gd name="connsiteY202" fmla="*/ 2248771 h 2831071"/>
              <a:gd name="connsiteX203" fmla="*/ 1270788 w 3473630"/>
              <a:gd name="connsiteY203" fmla="*/ 2226907 h 2831071"/>
              <a:gd name="connsiteX204" fmla="*/ 1256696 w 3473630"/>
              <a:gd name="connsiteY204" fmla="*/ 2197417 h 2831071"/>
              <a:gd name="connsiteX205" fmla="*/ 1262747 w 3473630"/>
              <a:gd name="connsiteY205" fmla="*/ 2172093 h 2831071"/>
              <a:gd name="connsiteX206" fmla="*/ 1299429 w 3473630"/>
              <a:gd name="connsiteY206" fmla="*/ 2127640 h 2831071"/>
              <a:gd name="connsiteX207" fmla="*/ 1357828 w 3473630"/>
              <a:gd name="connsiteY207" fmla="*/ 2086068 h 2831071"/>
              <a:gd name="connsiteX208" fmla="*/ 1404001 w 3473630"/>
              <a:gd name="connsiteY208" fmla="*/ 2048372 h 2831071"/>
              <a:gd name="connsiteX209" fmla="*/ 1428455 w 3473630"/>
              <a:gd name="connsiteY209" fmla="*/ 2028228 h 2831071"/>
              <a:gd name="connsiteX210" fmla="*/ 1435646 w 3473630"/>
              <a:gd name="connsiteY210" fmla="*/ 2043481 h 2831071"/>
              <a:gd name="connsiteX211" fmla="*/ 1439377 w 3473630"/>
              <a:gd name="connsiteY211" fmla="*/ 2107062 h 2831071"/>
              <a:gd name="connsiteX212" fmla="*/ 1432041 w 3473630"/>
              <a:gd name="connsiteY212" fmla="*/ 2164902 h 2831071"/>
              <a:gd name="connsiteX213" fmla="*/ 1405866 w 3473630"/>
              <a:gd name="connsiteY213" fmla="*/ 2266469 h 2831071"/>
              <a:gd name="connsiteX214" fmla="*/ 1412767 w 3473630"/>
              <a:gd name="connsiteY214" fmla="*/ 2328330 h 2831071"/>
              <a:gd name="connsiteX215" fmla="*/ 1440247 w 3473630"/>
              <a:gd name="connsiteY215" fmla="*/ 2353074 h 2831071"/>
              <a:gd name="connsiteX216" fmla="*/ 1475934 w 3473630"/>
              <a:gd name="connsiteY216" fmla="*/ 2367457 h 2831071"/>
              <a:gd name="connsiteX217" fmla="*/ 1511040 w 3473630"/>
              <a:gd name="connsiteY217" fmla="*/ 2382710 h 2831071"/>
              <a:gd name="connsiteX218" fmla="*/ 1536219 w 3473630"/>
              <a:gd name="connsiteY218" fmla="*/ 2415225 h 2831071"/>
              <a:gd name="connsiteX219" fmla="*/ 1543410 w 3473630"/>
              <a:gd name="connsiteY219" fmla="*/ 2463843 h 2831071"/>
              <a:gd name="connsiteX220" fmla="*/ 1512760 w 3473630"/>
              <a:gd name="connsiteY220" fmla="*/ 2507156 h 2831071"/>
              <a:gd name="connsiteX221" fmla="*/ 1467085 w 3473630"/>
              <a:gd name="connsiteY221" fmla="*/ 2522844 h 2831071"/>
              <a:gd name="connsiteX222" fmla="*/ 1422197 w 3473630"/>
              <a:gd name="connsiteY222" fmla="*/ 2523860 h 2831071"/>
              <a:gd name="connsiteX223" fmla="*/ 1366740 w 3473630"/>
              <a:gd name="connsiteY223" fmla="*/ 2540832 h 2831071"/>
              <a:gd name="connsiteX224" fmla="*/ 1320422 w 3473630"/>
              <a:gd name="connsiteY224" fmla="*/ 2536667 h 2831071"/>
              <a:gd name="connsiteX225" fmla="*/ 1321790 w 3473630"/>
              <a:gd name="connsiteY225" fmla="*/ 2519549 h 2831071"/>
              <a:gd name="connsiteX226" fmla="*/ 1369848 w 3473630"/>
              <a:gd name="connsiteY226" fmla="*/ 2497893 h 2831071"/>
              <a:gd name="connsiteX227" fmla="*/ 1396893 w 3473630"/>
              <a:gd name="connsiteY227" fmla="*/ 2480277 h 2831071"/>
              <a:gd name="connsiteX228" fmla="*/ 1381288 w 3473630"/>
              <a:gd name="connsiteY228" fmla="*/ 2474102 h 2831071"/>
              <a:gd name="connsiteX229" fmla="*/ 1307988 w 3473630"/>
              <a:gd name="connsiteY229" fmla="*/ 2503094 h 2831071"/>
              <a:gd name="connsiteX230" fmla="*/ 1275762 w 3473630"/>
              <a:gd name="connsiteY230" fmla="*/ 2503820 h 2831071"/>
              <a:gd name="connsiteX231" fmla="*/ 1277192 w 3473630"/>
              <a:gd name="connsiteY231" fmla="*/ 2490515 h 2831071"/>
              <a:gd name="connsiteX232" fmla="*/ 1302289 w 3473630"/>
              <a:gd name="connsiteY232" fmla="*/ 2478495 h 2831071"/>
              <a:gd name="connsiteX233" fmla="*/ 1350409 w 3473630"/>
              <a:gd name="connsiteY233" fmla="*/ 2445109 h 2831071"/>
              <a:gd name="connsiteX234" fmla="*/ 1346948 w 3473630"/>
              <a:gd name="connsiteY234" fmla="*/ 2435120 h 2831071"/>
              <a:gd name="connsiteX235" fmla="*/ 1292776 w 3473630"/>
              <a:gd name="connsiteY235" fmla="*/ 2461812 h 2831071"/>
              <a:gd name="connsiteX236" fmla="*/ 1261836 w 3473630"/>
              <a:gd name="connsiteY236" fmla="*/ 2459719 h 2831071"/>
              <a:gd name="connsiteX237" fmla="*/ 1265151 w 3473630"/>
              <a:gd name="connsiteY237" fmla="*/ 2438933 h 2831071"/>
              <a:gd name="connsiteX238" fmla="*/ 1303055 w 3473630"/>
              <a:gd name="connsiteY238" fmla="*/ 2411308 h 2831071"/>
              <a:gd name="connsiteX239" fmla="*/ 1318515 w 3473630"/>
              <a:gd name="connsiteY239" fmla="*/ 2393175 h 2831071"/>
              <a:gd name="connsiteX240" fmla="*/ 1306785 w 3473630"/>
              <a:gd name="connsiteY240" fmla="*/ 2385984 h 2831071"/>
              <a:gd name="connsiteX241" fmla="*/ 1268592 w 3473630"/>
              <a:gd name="connsiteY241" fmla="*/ 2403392 h 2831071"/>
              <a:gd name="connsiteX242" fmla="*/ 1243412 w 3473630"/>
              <a:gd name="connsiteY242" fmla="*/ 2405257 h 2831071"/>
              <a:gd name="connsiteX243" fmla="*/ 1242687 w 3473630"/>
              <a:gd name="connsiteY243" fmla="*/ 2382461 h 2831071"/>
              <a:gd name="connsiteX244" fmla="*/ 1284404 w 3473630"/>
              <a:gd name="connsiteY244" fmla="*/ 2341469 h 2831071"/>
              <a:gd name="connsiteX245" fmla="*/ 1360937 w 3473630"/>
              <a:gd name="connsiteY245" fmla="*/ 2306218 h 2831071"/>
              <a:gd name="connsiteX246" fmla="*/ 1411006 w 3473630"/>
              <a:gd name="connsiteY246" fmla="*/ 2303047 h 2831071"/>
              <a:gd name="connsiteX247" fmla="*/ 1438486 w 3473630"/>
              <a:gd name="connsiteY247" fmla="*/ 2295131 h 2831071"/>
              <a:gd name="connsiteX248" fmla="*/ 1468411 w 3473630"/>
              <a:gd name="connsiteY248" fmla="*/ 2243777 h 2831071"/>
              <a:gd name="connsiteX249" fmla="*/ 1532572 w 3473630"/>
              <a:gd name="connsiteY249" fmla="*/ 2156301 h 2831071"/>
              <a:gd name="connsiteX250" fmla="*/ 1610763 w 3473630"/>
              <a:gd name="connsiteY250" fmla="*/ 2074152 h 2831071"/>
              <a:gd name="connsiteX251" fmla="*/ 1628959 w 3473630"/>
              <a:gd name="connsiteY251" fmla="*/ 2041864 h 2831071"/>
              <a:gd name="connsiteX252" fmla="*/ 1628606 w 3473630"/>
              <a:gd name="connsiteY252" fmla="*/ 2021078 h 2831071"/>
              <a:gd name="connsiteX253" fmla="*/ 1642843 w 3473630"/>
              <a:gd name="connsiteY253" fmla="*/ 2001308 h 2831071"/>
              <a:gd name="connsiteX254" fmla="*/ 1697865 w 3473630"/>
              <a:gd name="connsiteY254" fmla="*/ 1963611 h 2831071"/>
              <a:gd name="connsiteX255" fmla="*/ 1768720 w 3473630"/>
              <a:gd name="connsiteY255" fmla="*/ 1914703 h 2831071"/>
              <a:gd name="connsiteX256" fmla="*/ 1816551 w 3473630"/>
              <a:gd name="connsiteY256" fmla="*/ 1881109 h 2831071"/>
              <a:gd name="connsiteX257" fmla="*/ 1846041 w 3473630"/>
              <a:gd name="connsiteY257" fmla="*/ 1836221 h 2831071"/>
              <a:gd name="connsiteX258" fmla="*/ 1863884 w 3473630"/>
              <a:gd name="connsiteY258" fmla="*/ 1739400 h 2831071"/>
              <a:gd name="connsiteX259" fmla="*/ 1862164 w 3473630"/>
              <a:gd name="connsiteY259" fmla="*/ 1654225 h 2831071"/>
              <a:gd name="connsiteX260" fmla="*/ 1849357 w 3473630"/>
              <a:gd name="connsiteY260" fmla="*/ 1586312 h 2831071"/>
              <a:gd name="connsiteX261" fmla="*/ 1804324 w 3473630"/>
              <a:gd name="connsiteY261" fmla="*/ 1511499 h 2831071"/>
              <a:gd name="connsiteX262" fmla="*/ 1748514 w 3473630"/>
              <a:gd name="connsiteY262" fmla="*/ 1463296 h 2831071"/>
              <a:gd name="connsiteX263" fmla="*/ 1688664 w 3473630"/>
              <a:gd name="connsiteY263" fmla="*/ 1445017 h 2831071"/>
              <a:gd name="connsiteX264" fmla="*/ 1629684 w 3473630"/>
              <a:gd name="connsiteY264" fmla="*/ 1434655 h 2831071"/>
              <a:gd name="connsiteX265" fmla="*/ 1565523 w 3473630"/>
              <a:gd name="connsiteY265" fmla="*/ 1420708 h 2831071"/>
              <a:gd name="connsiteX266" fmla="*/ 1482379 w 3473630"/>
              <a:gd name="connsiteY266" fmla="*/ 1428044 h 2831071"/>
              <a:gd name="connsiteX267" fmla="*/ 1425119 w 3473630"/>
              <a:gd name="connsiteY267" fmla="*/ 1469036 h 2831071"/>
              <a:gd name="connsiteX268" fmla="*/ 1416912 w 3473630"/>
              <a:gd name="connsiteY268" fmla="*/ 1533923 h 2831071"/>
              <a:gd name="connsiteX269" fmla="*/ 1436620 w 3473630"/>
              <a:gd name="connsiteY269" fmla="*/ 1580240 h 2831071"/>
              <a:gd name="connsiteX270" fmla="*/ 1448267 w 3473630"/>
              <a:gd name="connsiteY270" fmla="*/ 1638081 h 2831071"/>
              <a:gd name="connsiteX271" fmla="*/ 1432579 w 3473630"/>
              <a:gd name="connsiteY271" fmla="*/ 1733037 h 2831071"/>
              <a:gd name="connsiteX272" fmla="*/ 1436600 w 3473630"/>
              <a:gd name="connsiteY272" fmla="*/ 1799063 h 2831071"/>
              <a:gd name="connsiteX273" fmla="*/ 1493570 w 3473630"/>
              <a:gd name="connsiteY273" fmla="*/ 1841216 h 2831071"/>
              <a:gd name="connsiteX274" fmla="*/ 1619301 w 3473630"/>
              <a:gd name="connsiteY274" fmla="*/ 1854168 h 2831071"/>
              <a:gd name="connsiteX275" fmla="*/ 1704041 w 3473630"/>
              <a:gd name="connsiteY275" fmla="*/ 1837050 h 2831071"/>
              <a:gd name="connsiteX276" fmla="*/ 1739292 w 3473630"/>
              <a:gd name="connsiteY276" fmla="*/ 1788577 h 2831071"/>
              <a:gd name="connsiteX277" fmla="*/ 1754110 w 3473630"/>
              <a:gd name="connsiteY277" fmla="*/ 1758507 h 2831071"/>
              <a:gd name="connsiteX278" fmla="*/ 1769073 w 3473630"/>
              <a:gd name="connsiteY278" fmla="*/ 1758507 h 2831071"/>
              <a:gd name="connsiteX279" fmla="*/ 1773528 w 3473630"/>
              <a:gd name="connsiteY279" fmla="*/ 1787562 h 2831071"/>
              <a:gd name="connsiteX280" fmla="*/ 1747623 w 3473630"/>
              <a:gd name="connsiteY280" fmla="*/ 1819497 h 2831071"/>
              <a:gd name="connsiteX281" fmla="*/ 1719273 w 3473630"/>
              <a:gd name="connsiteY281" fmla="*/ 1806110 h 2831071"/>
              <a:gd name="connsiteX282" fmla="*/ 1727480 w 3473630"/>
              <a:gd name="connsiteY282" fmla="*/ 1762092 h 2831071"/>
              <a:gd name="connsiteX283" fmla="*/ 1757260 w 3473630"/>
              <a:gd name="connsiteY283" fmla="*/ 1731297 h 2831071"/>
              <a:gd name="connsiteX284" fmla="*/ 1781859 w 3473630"/>
              <a:gd name="connsiteY284" fmla="*/ 1696626 h 2831071"/>
              <a:gd name="connsiteX285" fmla="*/ 1759125 w 3473630"/>
              <a:gd name="connsiteY285" fmla="*/ 1625563 h 2831071"/>
              <a:gd name="connsiteX286" fmla="*/ 1710652 w 3473630"/>
              <a:gd name="connsiteY286" fmla="*/ 1549175 h 2831071"/>
              <a:gd name="connsiteX287" fmla="*/ 1628067 w 3473630"/>
              <a:gd name="connsiteY287" fmla="*/ 1512349 h 2831071"/>
              <a:gd name="connsiteX288" fmla="*/ 1535991 w 3473630"/>
              <a:gd name="connsiteY288" fmla="*/ 1521260 h 2831071"/>
              <a:gd name="connsiteX289" fmla="*/ 1469530 w 3473630"/>
              <a:gd name="connsiteY289" fmla="*/ 1574624 h 2831071"/>
              <a:gd name="connsiteX290" fmla="*/ 1448102 w 3473630"/>
              <a:gd name="connsiteY290" fmla="*/ 1608280 h 2831071"/>
              <a:gd name="connsiteX291" fmla="*/ 1425948 w 3473630"/>
              <a:gd name="connsiteY291" fmla="*/ 1663384 h 2831071"/>
              <a:gd name="connsiteX292" fmla="*/ 1406529 w 3473630"/>
              <a:gd name="connsiteY292" fmla="*/ 1760351 h 2831071"/>
              <a:gd name="connsiteX293" fmla="*/ 1422217 w 3473630"/>
              <a:gd name="connsiteY293" fmla="*/ 1829693 h 2831071"/>
              <a:gd name="connsiteX294" fmla="*/ 1452868 w 3473630"/>
              <a:gd name="connsiteY294" fmla="*/ 1880115 h 2831071"/>
              <a:gd name="connsiteX295" fmla="*/ 1472141 w 3473630"/>
              <a:gd name="connsiteY295" fmla="*/ 1939737 h 2831071"/>
              <a:gd name="connsiteX296" fmla="*/ 1476887 w 3473630"/>
              <a:gd name="connsiteY296" fmla="*/ 1996769 h 2831071"/>
              <a:gd name="connsiteX297" fmla="*/ 1459334 w 3473630"/>
              <a:gd name="connsiteY297" fmla="*/ 2060205 h 2831071"/>
              <a:gd name="connsiteX298" fmla="*/ 1462214 w 3473630"/>
              <a:gd name="connsiteY298" fmla="*/ 2092430 h 2831071"/>
              <a:gd name="connsiteX299" fmla="*/ 1501341 w 3473630"/>
              <a:gd name="connsiteY299" fmla="*/ 2073157 h 2831071"/>
              <a:gd name="connsiteX300" fmla="*/ 1597085 w 3473630"/>
              <a:gd name="connsiteY300" fmla="*/ 2002592 h 2831071"/>
              <a:gd name="connsiteX301" fmla="*/ 1667588 w 3473630"/>
              <a:gd name="connsiteY301" fmla="*/ 1957705 h 2831071"/>
              <a:gd name="connsiteX302" fmla="*/ 1726858 w 3473630"/>
              <a:gd name="connsiteY302" fmla="*/ 1927987 h 2831071"/>
              <a:gd name="connsiteX303" fmla="*/ 1753260 w 3473630"/>
              <a:gd name="connsiteY303" fmla="*/ 1933520 h 2831071"/>
              <a:gd name="connsiteX304" fmla="*/ 1781818 w 3473630"/>
              <a:gd name="connsiteY304" fmla="*/ 1986034 h 2831071"/>
              <a:gd name="connsiteX305" fmla="*/ 1823618 w 3473630"/>
              <a:gd name="connsiteY305" fmla="*/ 2024809 h 2831071"/>
              <a:gd name="connsiteX306" fmla="*/ 1853046 w 3473630"/>
              <a:gd name="connsiteY306" fmla="*/ 2039129 h 2831071"/>
              <a:gd name="connsiteX307" fmla="*/ 1845419 w 3473630"/>
              <a:gd name="connsiteY307" fmla="*/ 2056392 h 2831071"/>
              <a:gd name="connsiteX308" fmla="*/ 1802687 w 3473630"/>
              <a:gd name="connsiteY308" fmla="*/ 2090420 h 2831071"/>
              <a:gd name="connsiteX309" fmla="*/ 1764285 w 3473630"/>
              <a:gd name="connsiteY309" fmla="*/ 2152281 h 2831071"/>
              <a:gd name="connsiteX310" fmla="*/ 1702134 w 3473630"/>
              <a:gd name="connsiteY310" fmla="*/ 2291753 h 2831071"/>
              <a:gd name="connsiteX311" fmla="*/ 1672209 w 3473630"/>
              <a:gd name="connsiteY311" fmla="*/ 2356639 h 2831071"/>
              <a:gd name="connsiteX312" fmla="*/ 1654656 w 3473630"/>
              <a:gd name="connsiteY312" fmla="*/ 2363043 h 2831071"/>
              <a:gd name="connsiteX313" fmla="*/ 1613084 w 3473630"/>
              <a:gd name="connsiteY313" fmla="*/ 2345054 h 2831071"/>
              <a:gd name="connsiteX314" fmla="*/ 1559927 w 3473630"/>
              <a:gd name="connsiteY314" fmla="*/ 2330174 h 2831071"/>
              <a:gd name="connsiteX315" fmla="*/ 1518500 w 3473630"/>
              <a:gd name="connsiteY315" fmla="*/ 2333345 h 2831071"/>
              <a:gd name="connsiteX316" fmla="*/ 1485114 w 3473630"/>
              <a:gd name="connsiteY316" fmla="*/ 2345075 h 2831071"/>
              <a:gd name="connsiteX317" fmla="*/ 1462815 w 3473630"/>
              <a:gd name="connsiteY317" fmla="*/ 2341759 h 2831071"/>
              <a:gd name="connsiteX318" fmla="*/ 1462525 w 3473630"/>
              <a:gd name="connsiteY318" fmla="*/ 2316435 h 2831071"/>
              <a:gd name="connsiteX319" fmla="*/ 1514024 w 3473630"/>
              <a:gd name="connsiteY319" fmla="*/ 2230907 h 2831071"/>
              <a:gd name="connsiteX320" fmla="*/ 1633870 w 3473630"/>
              <a:gd name="connsiteY320" fmla="*/ 2086462 h 2831071"/>
              <a:gd name="connsiteX321" fmla="*/ 1761052 w 3473630"/>
              <a:gd name="connsiteY321" fmla="*/ 2009494 h 2831071"/>
              <a:gd name="connsiteX322" fmla="*/ 1835720 w 3473630"/>
              <a:gd name="connsiteY322" fmla="*/ 2007773 h 2831071"/>
              <a:gd name="connsiteX323" fmla="*/ 1915424 w 3473630"/>
              <a:gd name="connsiteY323" fmla="*/ 2040579 h 2831071"/>
              <a:gd name="connsiteX324" fmla="*/ 1956416 w 3473630"/>
              <a:gd name="connsiteY324" fmla="*/ 2094378 h 2831071"/>
              <a:gd name="connsiteX325" fmla="*/ 1981595 w 3473630"/>
              <a:gd name="connsiteY325" fmla="*/ 2161420 h 2831071"/>
              <a:gd name="connsiteX326" fmla="*/ 1998423 w 3473630"/>
              <a:gd name="connsiteY326" fmla="*/ 2191781 h 2831071"/>
              <a:gd name="connsiteX327" fmla="*/ 2004475 w 3473630"/>
              <a:gd name="connsiteY327" fmla="*/ 2185874 h 2831071"/>
              <a:gd name="connsiteX328" fmla="*/ 1997719 w 3473630"/>
              <a:gd name="connsiteY328" fmla="*/ 2138106 h 2831071"/>
              <a:gd name="connsiteX329" fmla="*/ 1965783 w 3473630"/>
              <a:gd name="connsiteY329" fmla="*/ 2073364 h 2831071"/>
              <a:gd name="connsiteX330" fmla="*/ 1892690 w 3473630"/>
              <a:gd name="connsiteY330" fmla="*/ 2059127 h 2831071"/>
              <a:gd name="connsiteX331" fmla="*/ 1816157 w 3473630"/>
              <a:gd name="connsiteY331" fmla="*/ 2115517 h 2831071"/>
              <a:gd name="connsiteX332" fmla="*/ 1767684 w 3473630"/>
              <a:gd name="connsiteY332" fmla="*/ 2216504 h 2831071"/>
              <a:gd name="connsiteX333" fmla="*/ 1756742 w 3473630"/>
              <a:gd name="connsiteY333" fmla="*/ 2315771 h 2831071"/>
              <a:gd name="connsiteX334" fmla="*/ 1733282 w 3473630"/>
              <a:gd name="connsiteY334" fmla="*/ 2398211 h 2831071"/>
              <a:gd name="connsiteX335" fmla="*/ 1632150 w 3473630"/>
              <a:gd name="connsiteY335" fmla="*/ 2384554 h 2831071"/>
              <a:gd name="connsiteX336" fmla="*/ 1539639 w 3473630"/>
              <a:gd name="connsiteY336" fmla="*/ 2352183 h 2831071"/>
              <a:gd name="connsiteX337" fmla="*/ 1522521 w 3473630"/>
              <a:gd name="connsiteY337" fmla="*/ 2359229 h 2831071"/>
              <a:gd name="connsiteX338" fmla="*/ 1543949 w 3473630"/>
              <a:gd name="connsiteY338" fmla="*/ 2385549 h 2831071"/>
              <a:gd name="connsiteX339" fmla="*/ 1564383 w 3473630"/>
              <a:gd name="connsiteY339" fmla="*/ 2430727 h 2831071"/>
              <a:gd name="connsiteX340" fmla="*/ 1559202 w 3473630"/>
              <a:gd name="connsiteY340" fmla="*/ 2486412 h 2831071"/>
              <a:gd name="connsiteX341" fmla="*/ 1529712 w 3473630"/>
              <a:gd name="connsiteY341" fmla="*/ 2562364 h 2831071"/>
              <a:gd name="connsiteX342" fmla="*/ 1544965 w 3473630"/>
              <a:gd name="connsiteY342" fmla="*/ 2634587 h 2831071"/>
              <a:gd name="connsiteX343" fmla="*/ 1609126 w 3473630"/>
              <a:gd name="connsiteY343" fmla="*/ 2669984 h 2831071"/>
              <a:gd name="connsiteX344" fmla="*/ 1709823 w 3473630"/>
              <a:gd name="connsiteY344" fmla="*/ 2685526 h 2831071"/>
              <a:gd name="connsiteX345" fmla="*/ 1825483 w 3473630"/>
              <a:gd name="connsiteY345" fmla="*/ 2710706 h 2831071"/>
              <a:gd name="connsiteX346" fmla="*/ 1849668 w 3473630"/>
              <a:gd name="connsiteY346" fmla="*/ 2737274 h 2831071"/>
              <a:gd name="connsiteX347" fmla="*/ 1827286 w 3473630"/>
              <a:gd name="connsiteY347" fmla="*/ 2775385 h 2831071"/>
              <a:gd name="connsiteX348" fmla="*/ 1859470 w 3473630"/>
              <a:gd name="connsiteY348" fmla="*/ 2784130 h 2831071"/>
              <a:gd name="connsiteX349" fmla="*/ 2089567 w 3473630"/>
              <a:gd name="connsiteY349" fmla="*/ 2784130 h 2831071"/>
              <a:gd name="connsiteX350" fmla="*/ 2566899 w 3473630"/>
              <a:gd name="connsiteY350" fmla="*/ 2782162 h 2831071"/>
              <a:gd name="connsiteX351" fmla="*/ 2687968 w 3473630"/>
              <a:gd name="connsiteY351" fmla="*/ 2759884 h 2831071"/>
              <a:gd name="connsiteX352" fmla="*/ 2680466 w 3473630"/>
              <a:gd name="connsiteY352" fmla="*/ 2692303 h 2831071"/>
              <a:gd name="connsiteX353" fmla="*/ 2633568 w 3473630"/>
              <a:gd name="connsiteY353" fmla="*/ 2631872 h 2831071"/>
              <a:gd name="connsiteX354" fmla="*/ 2492293 w 3473630"/>
              <a:gd name="connsiteY354" fmla="*/ 2565701 h 2831071"/>
              <a:gd name="connsiteX355" fmla="*/ 2424112 w 3473630"/>
              <a:gd name="connsiteY355" fmla="*/ 2476651 h 2831071"/>
              <a:gd name="connsiteX356" fmla="*/ 2465249 w 3473630"/>
              <a:gd name="connsiteY356" fmla="*/ 2186330 h 2831071"/>
              <a:gd name="connsiteX357" fmla="*/ 2494594 w 3473630"/>
              <a:gd name="connsiteY357" fmla="*/ 1978159 h 2831071"/>
              <a:gd name="connsiteX358" fmla="*/ 2532291 w 3473630"/>
              <a:gd name="connsiteY358" fmla="*/ 1883202 h 2831071"/>
              <a:gd name="connsiteX359" fmla="*/ 2600202 w 3473630"/>
              <a:gd name="connsiteY359" fmla="*/ 1837175 h 2831071"/>
              <a:gd name="connsiteX360" fmla="*/ 2643930 w 3473630"/>
              <a:gd name="connsiteY360" fmla="*/ 1758051 h 2831071"/>
              <a:gd name="connsiteX361" fmla="*/ 2671555 w 3473630"/>
              <a:gd name="connsiteY361" fmla="*/ 1632029 h 2831071"/>
              <a:gd name="connsiteX362" fmla="*/ 2694579 w 3473630"/>
              <a:gd name="connsiteY362" fmla="*/ 1561817 h 2831071"/>
              <a:gd name="connsiteX363" fmla="*/ 2707241 w 3473630"/>
              <a:gd name="connsiteY363" fmla="*/ 1548305 h 2831071"/>
              <a:gd name="connsiteX364" fmla="*/ 2696879 w 3473630"/>
              <a:gd name="connsiteY364" fmla="*/ 1616217 h 2831071"/>
              <a:gd name="connsiteX365" fmla="*/ 2656302 w 3473630"/>
              <a:gd name="connsiteY365" fmla="*/ 1792308 h 2831071"/>
              <a:gd name="connsiteX366" fmla="*/ 2576308 w 3473630"/>
              <a:gd name="connsiteY366" fmla="*/ 1905377 h 2831071"/>
              <a:gd name="connsiteX367" fmla="*/ 2484812 w 3473630"/>
              <a:gd name="connsiteY367" fmla="*/ 1918329 h 2831071"/>
              <a:gd name="connsiteX368" fmla="*/ 2405253 w 3473630"/>
              <a:gd name="connsiteY368" fmla="*/ 1822813 h 2831071"/>
              <a:gd name="connsiteX369" fmla="*/ 2384115 w 3473630"/>
              <a:gd name="connsiteY369" fmla="*/ 1673912 h 2831071"/>
              <a:gd name="connsiteX370" fmla="*/ 2378644 w 3473630"/>
              <a:gd name="connsiteY370" fmla="*/ 1541984 h 2831071"/>
              <a:gd name="connsiteX371" fmla="*/ 2373753 w 3473630"/>
              <a:gd name="connsiteY371" fmla="*/ 1415527 h 2831071"/>
              <a:gd name="connsiteX372" fmla="*/ 2347143 w 3473630"/>
              <a:gd name="connsiteY372" fmla="*/ 1246918 h 2831071"/>
              <a:gd name="connsiteX373" fmla="*/ 2334771 w 3473630"/>
              <a:gd name="connsiteY373" fmla="*/ 1142615 h 2831071"/>
              <a:gd name="connsiteX374" fmla="*/ 2329155 w 3473630"/>
              <a:gd name="connsiteY374" fmla="*/ 1065211 h 2831071"/>
              <a:gd name="connsiteX375" fmla="*/ 2304556 w 3473630"/>
              <a:gd name="connsiteY375" fmla="*/ 939335 h 2831071"/>
              <a:gd name="connsiteX376" fmla="*/ 2256643 w 3473630"/>
              <a:gd name="connsiteY376" fmla="*/ 796630 h 2831071"/>
              <a:gd name="connsiteX377" fmla="*/ 2230738 w 3473630"/>
              <a:gd name="connsiteY377" fmla="*/ 692327 h 2831071"/>
              <a:gd name="connsiteX378" fmla="*/ 2239504 w 3473630"/>
              <a:gd name="connsiteY378" fmla="*/ 643564 h 2831071"/>
              <a:gd name="connsiteX379" fmla="*/ 2294028 w 3473630"/>
              <a:gd name="connsiteY379" fmla="*/ 635647 h 2831071"/>
              <a:gd name="connsiteX380" fmla="*/ 2342791 w 3473630"/>
              <a:gd name="connsiteY380" fmla="*/ 621700 h 2831071"/>
              <a:gd name="connsiteX381" fmla="*/ 2378623 w 3473630"/>
              <a:gd name="connsiteY381" fmla="*/ 587174 h 2831071"/>
              <a:gd name="connsiteX382" fmla="*/ 2391285 w 3473630"/>
              <a:gd name="connsiteY382" fmla="*/ 534080 h 2831071"/>
              <a:gd name="connsiteX383" fmla="*/ 2374603 w 3473630"/>
              <a:gd name="connsiteY383" fmla="*/ 480426 h 2831071"/>
              <a:gd name="connsiteX384" fmla="*/ 2310006 w 3473630"/>
              <a:gd name="connsiteY384" fmla="*/ 360020 h 2831071"/>
              <a:gd name="connsiteX385" fmla="*/ 2266569 w 3473630"/>
              <a:gd name="connsiteY385" fmla="*/ 280171 h 2831071"/>
              <a:gd name="connsiteX386" fmla="*/ 2203693 w 3473630"/>
              <a:gd name="connsiteY386" fmla="*/ 213564 h 2831071"/>
              <a:gd name="connsiteX387" fmla="*/ 2153624 w 3473630"/>
              <a:gd name="connsiteY387" fmla="*/ 194291 h 2831071"/>
              <a:gd name="connsiteX388" fmla="*/ 2109317 w 3473630"/>
              <a:gd name="connsiteY388" fmla="*/ 218310 h 2831071"/>
              <a:gd name="connsiteX389" fmla="*/ 2085733 w 3473630"/>
              <a:gd name="connsiteY389" fmla="*/ 264214 h 2831071"/>
              <a:gd name="connsiteX390" fmla="*/ 2085008 w 3473630"/>
              <a:gd name="connsiteY390" fmla="*/ 308666 h 2831071"/>
              <a:gd name="connsiteX391" fmla="*/ 2107597 w 3473630"/>
              <a:gd name="connsiteY391" fmla="*/ 327794 h 2831071"/>
              <a:gd name="connsiteX392" fmla="*/ 2138247 w 3473630"/>
              <a:gd name="connsiteY392" fmla="*/ 329660 h 2831071"/>
              <a:gd name="connsiteX393" fmla="*/ 2151345 w 3473630"/>
              <a:gd name="connsiteY393" fmla="*/ 299299 h 2831071"/>
              <a:gd name="connsiteX394" fmla="*/ 2155510 w 3473630"/>
              <a:gd name="connsiteY394" fmla="*/ 263053 h 2831071"/>
              <a:gd name="connsiteX395" fmla="*/ 2173643 w 3473630"/>
              <a:gd name="connsiteY395" fmla="*/ 251261 h 2831071"/>
              <a:gd name="connsiteX396" fmla="*/ 2215070 w 3473630"/>
              <a:gd name="connsiteY396" fmla="*/ 262058 h 2831071"/>
              <a:gd name="connsiteX397" fmla="*/ 2248021 w 3473630"/>
              <a:gd name="connsiteY397" fmla="*/ 269975 h 2831071"/>
              <a:gd name="connsiteX398" fmla="*/ 2262259 w 3473630"/>
              <a:gd name="connsiteY398" fmla="*/ 259903 h 2831071"/>
              <a:gd name="connsiteX399" fmla="*/ 2259751 w 3473630"/>
              <a:gd name="connsiteY399" fmla="*/ 230993 h 2831071"/>
              <a:gd name="connsiteX400" fmla="*/ 2231339 w 3473630"/>
              <a:gd name="connsiteY400" fmla="*/ 190851 h 2831071"/>
              <a:gd name="connsiteX401" fmla="*/ 2181353 w 3473630"/>
              <a:gd name="connsiteY401" fmla="*/ 163309 h 2831071"/>
              <a:gd name="connsiteX402" fmla="*/ 2141356 w 3473630"/>
              <a:gd name="connsiteY402" fmla="*/ 157548 h 2831071"/>
              <a:gd name="connsiteX403" fmla="*/ 2113379 w 3473630"/>
              <a:gd name="connsiteY403" fmla="*/ 169485 h 2831071"/>
              <a:gd name="connsiteX404" fmla="*/ 2082728 w 3473630"/>
              <a:gd name="connsiteY404" fmla="*/ 176469 h 2831071"/>
              <a:gd name="connsiteX405" fmla="*/ 2031872 w 3473630"/>
              <a:gd name="connsiteY405" fmla="*/ 162086 h 2831071"/>
              <a:gd name="connsiteX406" fmla="*/ 1991957 w 3473630"/>
              <a:gd name="connsiteY406" fmla="*/ 137280 h 2831071"/>
              <a:gd name="connsiteX407" fmla="*/ 1950530 w 3473630"/>
              <a:gd name="connsiteY407" fmla="*/ 77222 h 2831071"/>
              <a:gd name="connsiteX408" fmla="*/ 1938739 w 3473630"/>
              <a:gd name="connsiteY408" fmla="*/ 27008 h 2831071"/>
              <a:gd name="connsiteX409" fmla="*/ 1947671 w 3473630"/>
              <a:gd name="connsiteY409" fmla="*/ 1725 h 2831071"/>
              <a:gd name="connsiteX410" fmla="*/ 1970757 w 3473630"/>
              <a:gd name="connsiteY410" fmla="*/ 8461 h 2831071"/>
              <a:gd name="connsiteX411" fmla="*/ 2009262 w 3473630"/>
              <a:gd name="connsiteY411" fmla="*/ 49494 h 2831071"/>
              <a:gd name="connsiteX412" fmla="*/ 2058294 w 3473630"/>
              <a:gd name="connsiteY412" fmla="*/ 104412 h 2831071"/>
              <a:gd name="connsiteX413" fmla="*/ 2093546 w 3473630"/>
              <a:gd name="connsiteY413" fmla="*/ 149010 h 2831071"/>
              <a:gd name="connsiteX414" fmla="*/ 2084489 w 3473630"/>
              <a:gd name="connsiteY414" fmla="*/ 165837 h 2831071"/>
              <a:gd name="connsiteX415" fmla="*/ 2039601 w 3473630"/>
              <a:gd name="connsiteY415" fmla="*/ 172593 h 2831071"/>
              <a:gd name="connsiteX416" fmla="*/ 2028659 w 3473630"/>
              <a:gd name="connsiteY416" fmla="*/ 186976 h 2831071"/>
              <a:gd name="connsiteX417" fmla="*/ 2037426 w 3473630"/>
              <a:gd name="connsiteY417" fmla="*/ 210435 h 2831071"/>
              <a:gd name="connsiteX418" fmla="*/ 2052533 w 3473630"/>
              <a:gd name="connsiteY418" fmla="*/ 240360 h 2831071"/>
              <a:gd name="connsiteX419" fmla="*/ 2063185 w 3473630"/>
              <a:gd name="connsiteY419" fmla="*/ 276606 h 2831071"/>
              <a:gd name="connsiteX420" fmla="*/ 2061175 w 3473630"/>
              <a:gd name="connsiteY420" fmla="*/ 308832 h 2831071"/>
              <a:gd name="connsiteX421" fmla="*/ 2047228 w 3473630"/>
              <a:gd name="connsiteY421" fmla="*/ 318324 h 2831071"/>
              <a:gd name="connsiteX422" fmla="*/ 2037011 w 3473630"/>
              <a:gd name="connsiteY422" fmla="*/ 303216 h 2831071"/>
              <a:gd name="connsiteX423" fmla="*/ 2039892 w 3473630"/>
              <a:gd name="connsiteY423" fmla="*/ 281932 h 2831071"/>
              <a:gd name="connsiteX424" fmla="*/ 2037591 w 3473630"/>
              <a:gd name="connsiteY424" fmla="*/ 253168 h 2831071"/>
              <a:gd name="connsiteX425" fmla="*/ 2017303 w 3473630"/>
              <a:gd name="connsiteY425" fmla="*/ 238640 h 2831071"/>
              <a:gd name="connsiteX426" fmla="*/ 1980041 w 3473630"/>
              <a:gd name="connsiteY426" fmla="*/ 250142 h 2831071"/>
              <a:gd name="connsiteX427" fmla="*/ 1965369 w 3473630"/>
              <a:gd name="connsiteY427" fmla="*/ 281207 h 2831071"/>
              <a:gd name="connsiteX428" fmla="*/ 1979606 w 3473630"/>
              <a:gd name="connsiteY428" fmla="*/ 326820 h 2831071"/>
              <a:gd name="connsiteX429" fmla="*/ 2042627 w 3473630"/>
              <a:gd name="connsiteY429" fmla="*/ 396598 h 2831071"/>
              <a:gd name="connsiteX430" fmla="*/ 2145210 w 3473630"/>
              <a:gd name="connsiteY430" fmla="*/ 455288 h 2831071"/>
              <a:gd name="connsiteX431" fmla="*/ 2223754 w 3473630"/>
              <a:gd name="connsiteY431" fmla="*/ 542183 h 2831071"/>
              <a:gd name="connsiteX432" fmla="*/ 2264891 w 3473630"/>
              <a:gd name="connsiteY432" fmla="*/ 604624 h 2831071"/>
              <a:gd name="connsiteX433" fmla="*/ 2331642 w 3473630"/>
              <a:gd name="connsiteY433" fmla="*/ 595132 h 2831071"/>
              <a:gd name="connsiteX434" fmla="*/ 2408755 w 3473630"/>
              <a:gd name="connsiteY434" fmla="*/ 561746 h 2831071"/>
              <a:gd name="connsiteX435" fmla="*/ 2486159 w 3473630"/>
              <a:gd name="connsiteY435" fmla="*/ 631088 h 2831071"/>
              <a:gd name="connsiteX436" fmla="*/ 2597799 w 3473630"/>
              <a:gd name="connsiteY436" fmla="*/ 831052 h 2831071"/>
              <a:gd name="connsiteX437" fmla="*/ 2689294 w 3473630"/>
              <a:gd name="connsiteY437" fmla="*/ 1008013 h 2831071"/>
              <a:gd name="connsiteX438" fmla="*/ 2729001 w 3473630"/>
              <a:gd name="connsiteY438" fmla="*/ 1141081 h 2831071"/>
              <a:gd name="connsiteX439" fmla="*/ 2722100 w 3473630"/>
              <a:gd name="connsiteY439" fmla="*/ 1265963 h 2831071"/>
              <a:gd name="connsiteX440" fmla="*/ 2726411 w 3473630"/>
              <a:gd name="connsiteY440" fmla="*/ 1370556 h 2831071"/>
              <a:gd name="connsiteX441" fmla="*/ 2749000 w 3473630"/>
              <a:gd name="connsiteY441" fmla="*/ 1502194 h 2831071"/>
              <a:gd name="connsiteX442" fmla="*/ 2793598 w 3473630"/>
              <a:gd name="connsiteY442" fmla="*/ 1683756 h 2831071"/>
              <a:gd name="connsiteX443" fmla="*/ 2841926 w 3473630"/>
              <a:gd name="connsiteY443" fmla="*/ 1899699 h 2831071"/>
              <a:gd name="connsiteX444" fmla="*/ 2835874 w 3473630"/>
              <a:gd name="connsiteY444" fmla="*/ 2160094 h 2831071"/>
              <a:gd name="connsiteX445" fmla="*/ 2789121 w 3473630"/>
              <a:gd name="connsiteY445" fmla="*/ 2458476 h 2831071"/>
              <a:gd name="connsiteX446" fmla="*/ 2737622 w 3473630"/>
              <a:gd name="connsiteY446" fmla="*/ 2693547 h 2831071"/>
              <a:gd name="connsiteX447" fmla="*/ 2657628 w 3473630"/>
              <a:gd name="connsiteY447" fmla="*/ 2723762 h 2831071"/>
              <a:gd name="connsiteX448" fmla="*/ 2479818 w 3473630"/>
              <a:gd name="connsiteY448" fmla="*/ 2656720 h 2831071"/>
              <a:gd name="connsiteX449" fmla="*/ 2254239 w 3473630"/>
              <a:gd name="connsiteY449" fmla="*/ 2611832 h 2831071"/>
              <a:gd name="connsiteX450" fmla="*/ 2082168 w 3473630"/>
              <a:gd name="connsiteY450" fmla="*/ 2636287 h 2831071"/>
              <a:gd name="connsiteX451" fmla="*/ 1994403 w 3473630"/>
              <a:gd name="connsiteY451" fmla="*/ 2663621 h 2831071"/>
              <a:gd name="connsiteX452" fmla="*/ 1965348 w 3473630"/>
              <a:gd name="connsiteY452" fmla="*/ 2610382 h 2831071"/>
              <a:gd name="connsiteX453" fmla="*/ 1972539 w 3473630"/>
              <a:gd name="connsiteY453" fmla="*/ 2529538 h 2831071"/>
              <a:gd name="connsiteX454" fmla="*/ 2001304 w 3473630"/>
              <a:gd name="connsiteY454" fmla="*/ 2410127 h 2831071"/>
              <a:gd name="connsiteX455" fmla="*/ 2065175 w 3473630"/>
              <a:gd name="connsiteY455" fmla="*/ 2234762 h 2831071"/>
              <a:gd name="connsiteX456" fmla="*/ 2185166 w 3473630"/>
              <a:gd name="connsiteY456" fmla="*/ 1982428 h 2831071"/>
              <a:gd name="connsiteX457" fmla="*/ 2272641 w 3473630"/>
              <a:gd name="connsiteY457" fmla="*/ 1790940 h 2831071"/>
              <a:gd name="connsiteX458" fmla="*/ 2341693 w 3473630"/>
              <a:gd name="connsiteY458" fmla="*/ 1698284 h 2831071"/>
              <a:gd name="connsiteX459" fmla="*/ 2369028 w 3473630"/>
              <a:gd name="connsiteY459" fmla="*/ 1632962 h 2831071"/>
              <a:gd name="connsiteX460" fmla="*/ 2351475 w 3473630"/>
              <a:gd name="connsiteY460" fmla="*/ 1607927 h 2831071"/>
              <a:gd name="connsiteX461" fmla="*/ 2270776 w 3473630"/>
              <a:gd name="connsiteY461" fmla="*/ 1653541 h 2831071"/>
              <a:gd name="connsiteX462" fmla="*/ 2210345 w 3473630"/>
              <a:gd name="connsiteY462" fmla="*/ 1626206 h 2831071"/>
              <a:gd name="connsiteX463" fmla="*/ 2164587 w 3473630"/>
              <a:gd name="connsiteY463" fmla="*/ 1571972 h 2831071"/>
              <a:gd name="connsiteX464" fmla="*/ 2149625 w 3473630"/>
              <a:gd name="connsiteY464" fmla="*/ 1525364 h 2831071"/>
              <a:gd name="connsiteX465" fmla="*/ 2171778 w 3473630"/>
              <a:gd name="connsiteY465" fmla="*/ 1480476 h 2831071"/>
              <a:gd name="connsiteX466" fmla="*/ 2219692 w 3473630"/>
              <a:gd name="connsiteY466" fmla="*/ 1471710 h 2831071"/>
              <a:gd name="connsiteX467" fmla="*/ 2304577 w 3473630"/>
              <a:gd name="connsiteY467" fmla="*/ 1491128 h 2831071"/>
              <a:gd name="connsiteX468" fmla="*/ 2357941 w 3473630"/>
              <a:gd name="connsiteY468" fmla="*/ 1495148 h 2831071"/>
              <a:gd name="connsiteX469" fmla="*/ 2365132 w 3473630"/>
              <a:gd name="connsiteY469" fmla="*/ 1468539 h 2831071"/>
              <a:gd name="connsiteX470" fmla="*/ 2343413 w 3473630"/>
              <a:gd name="connsiteY470" fmla="*/ 1383509 h 2831071"/>
              <a:gd name="connsiteX471" fmla="*/ 2328596 w 3473630"/>
              <a:gd name="connsiteY471" fmla="*/ 1282957 h 2831071"/>
              <a:gd name="connsiteX472" fmla="*/ 2324430 w 3473630"/>
              <a:gd name="connsiteY472" fmla="*/ 1207999 h 2831071"/>
              <a:gd name="connsiteX473" fmla="*/ 2305737 w 3473630"/>
              <a:gd name="connsiteY473" fmla="*/ 1175628 h 2831071"/>
              <a:gd name="connsiteX474" fmla="*/ 2240561 w 3473630"/>
              <a:gd name="connsiteY474" fmla="*/ 1175918 h 2831071"/>
              <a:gd name="connsiteX475" fmla="*/ 2155966 w 3473630"/>
              <a:gd name="connsiteY475" fmla="*/ 1209574 h 2831071"/>
              <a:gd name="connsiteX476" fmla="*/ 2105752 w 3473630"/>
              <a:gd name="connsiteY476" fmla="*/ 1260223 h 2831071"/>
              <a:gd name="connsiteX477" fmla="*/ 2085173 w 3473630"/>
              <a:gd name="connsiteY477" fmla="*/ 1297774 h 2831071"/>
              <a:gd name="connsiteX478" fmla="*/ 2074666 w 3473630"/>
              <a:gd name="connsiteY478" fmla="*/ 1286977 h 2831071"/>
              <a:gd name="connsiteX479" fmla="*/ 2069920 w 3473630"/>
              <a:gd name="connsiteY479" fmla="*/ 1234028 h 2831071"/>
              <a:gd name="connsiteX480" fmla="*/ 2108052 w 3473630"/>
              <a:gd name="connsiteY480" fmla="*/ 1171587 h 2831071"/>
              <a:gd name="connsiteX481" fmla="*/ 2189912 w 3473630"/>
              <a:gd name="connsiteY481" fmla="*/ 1136045 h 2831071"/>
              <a:gd name="connsiteX482" fmla="*/ 2269761 w 3473630"/>
              <a:gd name="connsiteY482" fmla="*/ 1132294 h 2831071"/>
              <a:gd name="connsiteX483" fmla="*/ 2308452 w 3473630"/>
              <a:gd name="connsiteY483" fmla="*/ 1125683 h 2831071"/>
              <a:gd name="connsiteX484" fmla="*/ 2307292 w 3473630"/>
              <a:gd name="connsiteY484" fmla="*/ 1074765 h 2831071"/>
              <a:gd name="connsiteX485" fmla="*/ 2297655 w 3473630"/>
              <a:gd name="connsiteY485" fmla="*/ 1036778 h 2831071"/>
              <a:gd name="connsiteX486" fmla="*/ 2262984 w 3473630"/>
              <a:gd name="connsiteY486" fmla="*/ 1022831 h 2831071"/>
              <a:gd name="connsiteX487" fmla="*/ 2194657 w 3473630"/>
              <a:gd name="connsiteY487" fmla="*/ 1035493 h 2831071"/>
              <a:gd name="connsiteX488" fmla="*/ 2144298 w 3473630"/>
              <a:gd name="connsiteY488" fmla="*/ 1081811 h 2831071"/>
              <a:gd name="connsiteX489" fmla="*/ 2106312 w 3473630"/>
              <a:gd name="connsiteY489" fmla="*/ 1120088 h 2831071"/>
              <a:gd name="connsiteX490" fmla="*/ 2043436 w 3473630"/>
              <a:gd name="connsiteY490" fmla="*/ 1152894 h 2831071"/>
              <a:gd name="connsiteX491" fmla="*/ 1998403 w 3473630"/>
              <a:gd name="connsiteY491" fmla="*/ 1194756 h 2831071"/>
              <a:gd name="connsiteX492" fmla="*/ 1991647 w 3473630"/>
              <a:gd name="connsiteY492" fmla="*/ 1239354 h 2831071"/>
              <a:gd name="connsiteX493" fmla="*/ 2014671 w 3473630"/>
              <a:gd name="connsiteY493" fmla="*/ 1279351 h 2831071"/>
              <a:gd name="connsiteX494" fmla="*/ 2051352 w 3473630"/>
              <a:gd name="connsiteY494" fmla="*/ 1309566 h 2831071"/>
              <a:gd name="connsiteX495" fmla="*/ 2064159 w 3473630"/>
              <a:gd name="connsiteY495" fmla="*/ 1331865 h 2831071"/>
              <a:gd name="connsiteX496" fmla="*/ 2053507 w 3473630"/>
              <a:gd name="connsiteY496" fmla="*/ 1376173 h 2831071"/>
              <a:gd name="connsiteX497" fmla="*/ 2057673 w 3473630"/>
              <a:gd name="connsiteY497" fmla="*/ 1437598 h 2831071"/>
              <a:gd name="connsiteX498" fmla="*/ 2084717 w 3473630"/>
              <a:gd name="connsiteY498" fmla="*/ 1526939 h 2831071"/>
              <a:gd name="connsiteX499" fmla="*/ 2142558 w 3473630"/>
              <a:gd name="connsiteY499" fmla="*/ 1590374 h 2831071"/>
              <a:gd name="connsiteX500" fmla="*/ 2188585 w 3473630"/>
              <a:gd name="connsiteY500" fmla="*/ 1652525 h 2831071"/>
              <a:gd name="connsiteX501" fmla="*/ 2211755 w 3473630"/>
              <a:gd name="connsiteY501" fmla="*/ 1709350 h 2831071"/>
              <a:gd name="connsiteX502" fmla="*/ 2213040 w 3473630"/>
              <a:gd name="connsiteY502" fmla="*/ 1751502 h 2831071"/>
              <a:gd name="connsiteX503" fmla="*/ 2193621 w 3473630"/>
              <a:gd name="connsiteY503" fmla="*/ 1786463 h 2831071"/>
              <a:gd name="connsiteX504" fmla="*/ 2145418 w 3473630"/>
              <a:gd name="connsiteY504" fmla="*/ 1826170 h 2831071"/>
              <a:gd name="connsiteX505" fmla="*/ 2094064 w 3473630"/>
              <a:gd name="connsiteY505" fmla="*/ 1865877 h 2831071"/>
              <a:gd name="connsiteX506" fmla="*/ 2067454 w 3473630"/>
              <a:gd name="connsiteY506" fmla="*/ 1897668 h 2831071"/>
              <a:gd name="connsiteX507" fmla="*/ 2076656 w 3473630"/>
              <a:gd name="connsiteY507" fmla="*/ 1913791 h 2831071"/>
              <a:gd name="connsiteX508" fmla="*/ 2097670 w 3473630"/>
              <a:gd name="connsiteY508" fmla="*/ 1937955 h 2831071"/>
              <a:gd name="connsiteX509" fmla="*/ 2095079 w 3473630"/>
              <a:gd name="connsiteY509" fmla="*/ 2004416 h 2831071"/>
              <a:gd name="connsiteX510" fmla="*/ 2059393 w 3473630"/>
              <a:gd name="connsiteY510" fmla="*/ 2109155 h 2831071"/>
              <a:gd name="connsiteX511" fmla="*/ 1969327 w 3473630"/>
              <a:gd name="connsiteY511" fmla="*/ 2331853 h 2831071"/>
              <a:gd name="connsiteX512" fmla="*/ 1904586 w 3473630"/>
              <a:gd name="connsiteY512" fmla="*/ 2574405 h 2831071"/>
              <a:gd name="connsiteX513" fmla="*/ 1892504 w 3473630"/>
              <a:gd name="connsiteY513" fmla="*/ 2764443 h 2831071"/>
              <a:gd name="connsiteX514" fmla="*/ 2038814 w 3473630"/>
              <a:gd name="connsiteY514" fmla="*/ 2824874 h 2831071"/>
              <a:gd name="connsiteX515" fmla="*/ 2686911 w 3473630"/>
              <a:gd name="connsiteY515" fmla="*/ 2831070 h 2831071"/>
              <a:gd name="connsiteX516" fmla="*/ 3473630 w 3473630"/>
              <a:gd name="connsiteY516" fmla="*/ 2831070 h 2831071"/>
              <a:gd name="connsiteX0" fmla="*/ 1435417 w 3473628"/>
              <a:gd name="connsiteY0" fmla="*/ 2751076 h 2831069"/>
              <a:gd name="connsiteX1" fmla="*/ 1517131 w 3473628"/>
              <a:gd name="connsiteY1" fmla="*/ 2717420 h 2831069"/>
              <a:gd name="connsiteX2" fmla="*/ 1452970 w 3473628"/>
              <a:gd name="connsiteY2" fmla="*/ 2641468 h 2831069"/>
              <a:gd name="connsiteX3" fmla="*/ 1358883 w 3473628"/>
              <a:gd name="connsiteY3" fmla="*/ 2615293 h 2831069"/>
              <a:gd name="connsiteX4" fmla="*/ 1279760 w 3473628"/>
              <a:gd name="connsiteY4" fmla="*/ 2592559 h 2831069"/>
              <a:gd name="connsiteX5" fmla="*/ 1214873 w 3473628"/>
              <a:gd name="connsiteY5" fmla="*/ 2517746 h 2831069"/>
              <a:gd name="connsiteX6" fmla="*/ 1186254 w 3473628"/>
              <a:gd name="connsiteY6" fmla="*/ 2427970 h 2831069"/>
              <a:gd name="connsiteX7" fmla="*/ 1188409 w 3473628"/>
              <a:gd name="connsiteY7" fmla="*/ 2366980 h 2831069"/>
              <a:gd name="connsiteX8" fmla="*/ 1213734 w 3473628"/>
              <a:gd name="connsiteY8" fmla="*/ 2320662 h 2831069"/>
              <a:gd name="connsiteX9" fmla="*/ 1209568 w 3473628"/>
              <a:gd name="connsiteY9" fmla="*/ 2270448 h 2831069"/>
              <a:gd name="connsiteX10" fmla="*/ 1120808 w 3473628"/>
              <a:gd name="connsiteY10" fmla="*/ 2115662 h 2831069"/>
              <a:gd name="connsiteX11" fmla="*/ 1030182 w 3473628"/>
              <a:gd name="connsiteY11" fmla="*/ 1957124 h 2831069"/>
              <a:gd name="connsiteX12" fmla="*/ 963576 w 3473628"/>
              <a:gd name="connsiteY12" fmla="*/ 1924173 h 2831069"/>
              <a:gd name="connsiteX13" fmla="*/ 805764 w 3473628"/>
              <a:gd name="connsiteY13" fmla="*/ 1954244 h 2831069"/>
              <a:gd name="connsiteX14" fmla="*/ 604929 w 3473628"/>
              <a:gd name="connsiteY14" fmla="*/ 1989060 h 2831069"/>
              <a:gd name="connsiteX15" fmla="*/ 477332 w 3473628"/>
              <a:gd name="connsiteY15" fmla="*/ 1993661 h 2831069"/>
              <a:gd name="connsiteX16" fmla="*/ 361672 w 3473628"/>
              <a:gd name="connsiteY16" fmla="*/ 2000852 h 2831069"/>
              <a:gd name="connsiteX17" fmla="*/ 98687 w 3473628"/>
              <a:gd name="connsiteY17" fmla="*/ 2062567 h 2831069"/>
              <a:gd name="connsiteX18" fmla="*/ 3316 w 3473628"/>
              <a:gd name="connsiteY18" fmla="*/ 2090047 h 2831069"/>
              <a:gd name="connsiteX19" fmla="*/ 45468 w 3473628"/>
              <a:gd name="connsiteY19" fmla="*/ 2164135 h 2831069"/>
              <a:gd name="connsiteX20" fmla="*/ 243277 w 3473628"/>
              <a:gd name="connsiteY20" fmla="*/ 2417629 h 2831069"/>
              <a:gd name="connsiteX21" fmla="*/ 343270 w 3473628"/>
              <a:gd name="connsiteY21" fmla="*/ 2553723 h 2831069"/>
              <a:gd name="connsiteX22" fmla="*/ 396634 w 3473628"/>
              <a:gd name="connsiteY22" fmla="*/ 2608392 h 2831069"/>
              <a:gd name="connsiteX23" fmla="*/ 442102 w 3473628"/>
              <a:gd name="connsiteY23" fmla="*/ 2644348 h 2831069"/>
              <a:gd name="connsiteX24" fmla="*/ 450018 w 3473628"/>
              <a:gd name="connsiteY24" fmla="*/ 2670108 h 2831069"/>
              <a:gd name="connsiteX25" fmla="*/ 431180 w 3473628"/>
              <a:gd name="connsiteY25" fmla="*/ 2687516 h 2831069"/>
              <a:gd name="connsiteX26" fmla="*/ 385007 w 3473628"/>
              <a:gd name="connsiteY26" fmla="*/ 2665507 h 2831069"/>
              <a:gd name="connsiteX27" fmla="*/ 320266 w 3473628"/>
              <a:gd name="connsiteY27" fmla="*/ 2569991 h 2831069"/>
              <a:gd name="connsiteX28" fmla="*/ 307459 w 3473628"/>
              <a:gd name="connsiteY28" fmla="*/ 2513166 h 2831069"/>
              <a:gd name="connsiteX29" fmla="*/ 319396 w 3473628"/>
              <a:gd name="connsiteY29" fmla="*/ 2499923 h 2831069"/>
              <a:gd name="connsiteX30" fmla="*/ 348015 w 3473628"/>
              <a:gd name="connsiteY30" fmla="*/ 2524378 h 2831069"/>
              <a:gd name="connsiteX31" fmla="*/ 378086 w 3473628"/>
              <a:gd name="connsiteY31" fmla="*/ 2562364 h 2831069"/>
              <a:gd name="connsiteX32" fmla="*/ 409731 w 3473628"/>
              <a:gd name="connsiteY32" fmla="*/ 2581348 h 2831069"/>
              <a:gd name="connsiteX33" fmla="*/ 431740 w 3473628"/>
              <a:gd name="connsiteY33" fmla="*/ 2604372 h 2831069"/>
              <a:gd name="connsiteX34" fmla="*/ 455323 w 3473628"/>
              <a:gd name="connsiteY34" fmla="*/ 2623645 h 2831069"/>
              <a:gd name="connsiteX35" fmla="*/ 472006 w 3473628"/>
              <a:gd name="connsiteY35" fmla="*/ 2654005 h 2831069"/>
              <a:gd name="connsiteX36" fmla="*/ 483798 w 3473628"/>
              <a:gd name="connsiteY36" fmla="*/ 2705649 h 2831069"/>
              <a:gd name="connsiteX37" fmla="*/ 515029 w 3473628"/>
              <a:gd name="connsiteY37" fmla="*/ 2761707 h 2831069"/>
              <a:gd name="connsiteX38" fmla="*/ 593924 w 3473628"/>
              <a:gd name="connsiteY38" fmla="*/ 2781975 h 2831069"/>
              <a:gd name="connsiteX39" fmla="*/ 917921 w 3473628"/>
              <a:gd name="connsiteY39" fmla="*/ 2784234 h 2831069"/>
              <a:gd name="connsiteX40" fmla="*/ 1481859 w 3473628"/>
              <a:gd name="connsiteY40" fmla="*/ 2784234 h 2831069"/>
              <a:gd name="connsiteX41" fmla="*/ 1611175 w 3473628"/>
              <a:gd name="connsiteY41" fmla="*/ 2760402 h 2831069"/>
              <a:gd name="connsiteX42" fmla="*/ 1530415 w 3473628"/>
              <a:gd name="connsiteY42" fmla="*/ 2653819 h 2831069"/>
              <a:gd name="connsiteX43" fmla="*/ 1485506 w 3473628"/>
              <a:gd name="connsiteY43" fmla="*/ 2582508 h 2831069"/>
              <a:gd name="connsiteX44" fmla="*/ 1444639 w 3473628"/>
              <a:gd name="connsiteY44" fmla="*/ 2563380 h 2831069"/>
              <a:gd name="connsiteX45" fmla="*/ 1360914 w 3473628"/>
              <a:gd name="connsiteY45" fmla="*/ 2569701 h 2831069"/>
              <a:gd name="connsiteX46" fmla="*/ 1305374 w 3473628"/>
              <a:gd name="connsiteY46" fmla="*/ 2561204 h 2831069"/>
              <a:gd name="connsiteX47" fmla="*/ 1259906 w 3473628"/>
              <a:gd name="connsiteY47" fmla="*/ 2517187 h 2831069"/>
              <a:gd name="connsiteX48" fmla="*/ 1228551 w 3473628"/>
              <a:gd name="connsiteY48" fmla="*/ 2442519 h 2831069"/>
              <a:gd name="connsiteX49" fmla="*/ 1227121 w 3473628"/>
              <a:gd name="connsiteY49" fmla="*/ 2364680 h 2831069"/>
              <a:gd name="connsiteX50" fmla="*/ 1271139 w 3473628"/>
              <a:gd name="connsiteY50" fmla="*/ 2317491 h 2831069"/>
              <a:gd name="connsiteX51" fmla="*/ 1254021 w 3473628"/>
              <a:gd name="connsiteY51" fmla="*/ 2254201 h 2831069"/>
              <a:gd name="connsiteX52" fmla="*/ 1118217 w 3473628"/>
              <a:gd name="connsiteY52" fmla="*/ 2041429 h 2831069"/>
              <a:gd name="connsiteX53" fmla="*/ 1021105 w 3473628"/>
              <a:gd name="connsiteY53" fmla="*/ 1888363 h 2831069"/>
              <a:gd name="connsiteX54" fmla="*/ 969171 w 3473628"/>
              <a:gd name="connsiteY54" fmla="*/ 1865338 h 2831069"/>
              <a:gd name="connsiteX55" fmla="*/ 890048 w 3473628"/>
              <a:gd name="connsiteY55" fmla="*/ 1886477 h 2831069"/>
              <a:gd name="connsiteX56" fmla="*/ 773808 w 3473628"/>
              <a:gd name="connsiteY56" fmla="*/ 1916837 h 2831069"/>
              <a:gd name="connsiteX57" fmla="*/ 552974 w 3473628"/>
              <a:gd name="connsiteY57" fmla="*/ 1960565 h 2831069"/>
              <a:gd name="connsiteX58" fmla="*/ 460463 w 3473628"/>
              <a:gd name="connsiteY58" fmla="*/ 1968771 h 2831069"/>
              <a:gd name="connsiteX59" fmla="*/ 390251 w 3473628"/>
              <a:gd name="connsiteY59" fmla="*/ 1936110 h 2831069"/>
              <a:gd name="connsiteX60" fmla="*/ 237329 w 3473628"/>
              <a:gd name="connsiteY60" fmla="*/ 1817280 h 2831069"/>
              <a:gd name="connsiteX61" fmla="*/ 148859 w 3473628"/>
              <a:gd name="connsiteY61" fmla="*/ 1724478 h 2831069"/>
              <a:gd name="connsiteX62" fmla="*/ 135326 w 3473628"/>
              <a:gd name="connsiteY62" fmla="*/ 1660753 h 2831069"/>
              <a:gd name="connsiteX63" fmla="*/ 160361 w 3473628"/>
              <a:gd name="connsiteY63" fmla="*/ 1619326 h 2831069"/>
              <a:gd name="connsiteX64" fmla="*/ 206534 w 3473628"/>
              <a:gd name="connsiteY64" fmla="*/ 1610829 h 2831069"/>
              <a:gd name="connsiteX65" fmla="*/ 299894 w 3473628"/>
              <a:gd name="connsiteY65" fmla="*/ 1646370 h 2831069"/>
              <a:gd name="connsiteX66" fmla="*/ 372552 w 3473628"/>
              <a:gd name="connsiteY66" fmla="*/ 1668959 h 2831069"/>
              <a:gd name="connsiteX67" fmla="*/ 375723 w 3473628"/>
              <a:gd name="connsiteY67" fmla="*/ 1692688 h 2831069"/>
              <a:gd name="connsiteX68" fmla="*/ 313282 w 3473628"/>
              <a:gd name="connsiteY68" fmla="*/ 1712832 h 2831069"/>
              <a:gd name="connsiteX69" fmla="*/ 211134 w 3473628"/>
              <a:gd name="connsiteY69" fmla="*/ 1685787 h 2831069"/>
              <a:gd name="connsiteX70" fmla="*/ 161356 w 3473628"/>
              <a:gd name="connsiteY70" fmla="*/ 1648235 h 2831069"/>
              <a:gd name="connsiteX71" fmla="*/ 166391 w 3473628"/>
              <a:gd name="connsiteY71" fmla="*/ 1605586 h 2831069"/>
              <a:gd name="connsiteX72" fmla="*/ 200192 w 3473628"/>
              <a:gd name="connsiteY72" fmla="*/ 1577816 h 2831069"/>
              <a:gd name="connsiteX73" fmla="*/ 287232 w 3473628"/>
              <a:gd name="connsiteY73" fmla="*/ 1590830 h 2831069"/>
              <a:gd name="connsiteX74" fmla="*/ 369009 w 3473628"/>
              <a:gd name="connsiteY74" fmla="*/ 1618953 h 2831069"/>
              <a:gd name="connsiteX75" fmla="*/ 419927 w 3473628"/>
              <a:gd name="connsiteY75" fmla="*/ 1621046 h 2831069"/>
              <a:gd name="connsiteX76" fmla="*/ 508625 w 3473628"/>
              <a:gd name="connsiteY76" fmla="*/ 1559682 h 2831069"/>
              <a:gd name="connsiteX77" fmla="*/ 603872 w 3473628"/>
              <a:gd name="connsiteY77" fmla="*/ 1496164 h 2831069"/>
              <a:gd name="connsiteX78" fmla="*/ 672489 w 3473628"/>
              <a:gd name="connsiteY78" fmla="*/ 1469699 h 2831069"/>
              <a:gd name="connsiteX79" fmla="*/ 740318 w 3473628"/>
              <a:gd name="connsiteY79" fmla="*/ 1459835 h 2831069"/>
              <a:gd name="connsiteX80" fmla="*/ 810675 w 3473628"/>
              <a:gd name="connsiteY80" fmla="*/ 1421288 h 2831069"/>
              <a:gd name="connsiteX81" fmla="*/ 854631 w 3473628"/>
              <a:gd name="connsiteY81" fmla="*/ 1394969 h 2831069"/>
              <a:gd name="connsiteX82" fmla="*/ 862982 w 3473628"/>
              <a:gd name="connsiteY82" fmla="*/ 1380214 h 2831069"/>
              <a:gd name="connsiteX83" fmla="*/ 851688 w 3473628"/>
              <a:gd name="connsiteY83" fmla="*/ 1366412 h 2831069"/>
              <a:gd name="connsiteX84" fmla="*/ 827524 w 3473628"/>
              <a:gd name="connsiteY84" fmla="*/ 1363614 h 2831069"/>
              <a:gd name="connsiteX85" fmla="*/ 824291 w 3473628"/>
              <a:gd name="connsiteY85" fmla="*/ 1354910 h 2831069"/>
              <a:gd name="connsiteX86" fmla="*/ 846652 w 3473628"/>
              <a:gd name="connsiteY86" fmla="*/ 1340030 h 2831069"/>
              <a:gd name="connsiteX87" fmla="*/ 880308 w 3473628"/>
              <a:gd name="connsiteY87" fmla="*/ 1319161 h 2831069"/>
              <a:gd name="connsiteX88" fmla="*/ 897363 w 3473628"/>
              <a:gd name="connsiteY88" fmla="*/ 1302831 h 2831069"/>
              <a:gd name="connsiteX89" fmla="*/ 886794 w 3473628"/>
              <a:gd name="connsiteY89" fmla="*/ 1295930 h 2831069"/>
              <a:gd name="connsiteX90" fmla="*/ 844642 w 3473628"/>
              <a:gd name="connsiteY90" fmla="*/ 1306934 h 2831069"/>
              <a:gd name="connsiteX91" fmla="*/ 809536 w 3473628"/>
              <a:gd name="connsiteY91" fmla="*/ 1335347 h 2831069"/>
              <a:gd name="connsiteX92" fmla="*/ 787029 w 3473628"/>
              <a:gd name="connsiteY92" fmla="*/ 1349667 h 2831069"/>
              <a:gd name="connsiteX93" fmla="*/ 782139 w 3473628"/>
              <a:gd name="connsiteY93" fmla="*/ 1343346 h 2831069"/>
              <a:gd name="connsiteX94" fmla="*/ 804583 w 3473628"/>
              <a:gd name="connsiteY94" fmla="*/ 1325296 h 2831069"/>
              <a:gd name="connsiteX95" fmla="*/ 816810 w 3473628"/>
              <a:gd name="connsiteY95" fmla="*/ 1307743 h 2831069"/>
              <a:gd name="connsiteX96" fmla="*/ 811276 w 3473628"/>
              <a:gd name="connsiteY96" fmla="*/ 1290977 h 2831069"/>
              <a:gd name="connsiteX97" fmla="*/ 791713 w 3473628"/>
              <a:gd name="connsiteY97" fmla="*/ 1290832 h 2831069"/>
              <a:gd name="connsiteX98" fmla="*/ 761933 w 3473628"/>
              <a:gd name="connsiteY98" fmla="*/ 1313856 h 2831069"/>
              <a:gd name="connsiteX99" fmla="*/ 742515 w 3473628"/>
              <a:gd name="connsiteY99" fmla="*/ 1324218 h 2831069"/>
              <a:gd name="connsiteX100" fmla="*/ 739862 w 3473628"/>
              <a:gd name="connsiteY100" fmla="*/ 1318457 h 2831069"/>
              <a:gd name="connsiteX101" fmla="*/ 752296 w 3473628"/>
              <a:gd name="connsiteY101" fmla="*/ 1300406 h 2831069"/>
              <a:gd name="connsiteX102" fmla="*/ 772585 w 3473628"/>
              <a:gd name="connsiteY102" fmla="*/ 1280615 h 2831069"/>
              <a:gd name="connsiteX103" fmla="*/ 776108 w 3473628"/>
              <a:gd name="connsiteY103" fmla="*/ 1263994 h 2831069"/>
              <a:gd name="connsiteX104" fmla="*/ 761083 w 3473628"/>
              <a:gd name="connsiteY104" fmla="*/ 1258026 h 2831069"/>
              <a:gd name="connsiteX105" fmla="*/ 718869 w 3473628"/>
              <a:gd name="connsiteY105" fmla="*/ 1273051 h 2831069"/>
              <a:gd name="connsiteX106" fmla="*/ 639600 w 3473628"/>
              <a:gd name="connsiteY106" fmla="*/ 1331181 h 2831069"/>
              <a:gd name="connsiteX107" fmla="*/ 569678 w 3473628"/>
              <a:gd name="connsiteY107" fmla="*/ 1382100 h 2831069"/>
              <a:gd name="connsiteX108" fmla="*/ 456173 w 3473628"/>
              <a:gd name="connsiteY108" fmla="*/ 1442530 h 2831069"/>
              <a:gd name="connsiteX109" fmla="*/ 325406 w 3473628"/>
              <a:gd name="connsiteY109" fmla="*/ 1515188 h 2831069"/>
              <a:gd name="connsiteX110" fmla="*/ 239526 w 3473628"/>
              <a:gd name="connsiteY110" fmla="*/ 1551144 h 2831069"/>
              <a:gd name="connsiteX111" fmla="*/ 218388 w 3473628"/>
              <a:gd name="connsiteY111" fmla="*/ 1575453 h 2831069"/>
              <a:gd name="connsiteX112" fmla="*/ 272912 w 3473628"/>
              <a:gd name="connsiteY112" fmla="*/ 1602208 h 2831069"/>
              <a:gd name="connsiteX113" fmla="*/ 357797 w 3473628"/>
              <a:gd name="connsiteY113" fmla="*/ 1635863 h 2831069"/>
              <a:gd name="connsiteX114" fmla="*/ 403410 w 3473628"/>
              <a:gd name="connsiteY114" fmla="*/ 1653271 h 2831069"/>
              <a:gd name="connsiteX115" fmla="*/ 416073 w 3473628"/>
              <a:gd name="connsiteY115" fmla="*/ 1682036 h 2831069"/>
              <a:gd name="connsiteX116" fmla="*/ 440817 w 3473628"/>
              <a:gd name="connsiteY116" fmla="*/ 1705060 h 2831069"/>
              <a:gd name="connsiteX117" fmla="*/ 514469 w 3473628"/>
              <a:gd name="connsiteY117" fmla="*/ 1733680 h 2831069"/>
              <a:gd name="connsiteX118" fmla="*/ 651288 w 3473628"/>
              <a:gd name="connsiteY118" fmla="*/ 1765905 h 2831069"/>
              <a:gd name="connsiteX119" fmla="*/ 768109 w 3473628"/>
              <a:gd name="connsiteY119" fmla="*/ 1785179 h 2831069"/>
              <a:gd name="connsiteX120" fmla="*/ 837306 w 3473628"/>
              <a:gd name="connsiteY120" fmla="*/ 1824740 h 2831069"/>
              <a:gd name="connsiteX121" fmla="*/ 840621 w 3473628"/>
              <a:gd name="connsiteY121" fmla="*/ 1854666 h 2831069"/>
              <a:gd name="connsiteX122" fmla="*/ 790843 w 3473628"/>
              <a:gd name="connsiteY122" fmla="*/ 1883430 h 2831069"/>
              <a:gd name="connsiteX123" fmla="*/ 713874 w 3473628"/>
              <a:gd name="connsiteY123" fmla="*/ 1902413 h 2831069"/>
              <a:gd name="connsiteX124" fmla="*/ 703367 w 3473628"/>
              <a:gd name="connsiteY124" fmla="*/ 1887741 h 2831069"/>
              <a:gd name="connsiteX125" fmla="*/ 735158 w 3473628"/>
              <a:gd name="connsiteY125" fmla="*/ 1840843 h 2831069"/>
              <a:gd name="connsiteX126" fmla="*/ 785662 w 3473628"/>
              <a:gd name="connsiteY126" fmla="*/ 1808037 h 2831069"/>
              <a:gd name="connsiteX127" fmla="*/ 864640 w 3473628"/>
              <a:gd name="connsiteY127" fmla="*/ 1809757 h 2831069"/>
              <a:gd name="connsiteX128" fmla="*/ 904637 w 3473628"/>
              <a:gd name="connsiteY128" fmla="*/ 1789468 h 2831069"/>
              <a:gd name="connsiteX129" fmla="*/ 916284 w 3473628"/>
              <a:gd name="connsiteY129" fmla="*/ 1745161 h 2831069"/>
              <a:gd name="connsiteX130" fmla="*/ 912119 w 3473628"/>
              <a:gd name="connsiteY130" fmla="*/ 1675238 h 2831069"/>
              <a:gd name="connsiteX131" fmla="*/ 918025 w 3473628"/>
              <a:gd name="connsiteY131" fmla="*/ 1647904 h 2831069"/>
              <a:gd name="connsiteX132" fmla="*/ 946230 w 3473628"/>
              <a:gd name="connsiteY132" fmla="*/ 1644588 h 2831069"/>
              <a:gd name="connsiteX133" fmla="*/ 993128 w 3473628"/>
              <a:gd name="connsiteY133" fmla="*/ 1664587 h 2831069"/>
              <a:gd name="connsiteX134" fmla="*/ 1043632 w 3473628"/>
              <a:gd name="connsiteY134" fmla="*/ 1685455 h 2831069"/>
              <a:gd name="connsiteX135" fmla="*/ 1091110 w 3473628"/>
              <a:gd name="connsiteY135" fmla="*/ 1667032 h 2831069"/>
              <a:gd name="connsiteX136" fmla="*/ 1113844 w 3473628"/>
              <a:gd name="connsiteY136" fmla="*/ 1609046 h 2831069"/>
              <a:gd name="connsiteX137" fmla="*/ 1137573 w 3473628"/>
              <a:gd name="connsiteY137" fmla="*/ 1536244 h 2831069"/>
              <a:gd name="connsiteX138" fmla="*/ 1175270 w 3473628"/>
              <a:gd name="connsiteY138" fmla="*/ 1484165 h 2831069"/>
              <a:gd name="connsiteX139" fmla="*/ 1215847 w 3473628"/>
              <a:gd name="connsiteY139" fmla="*/ 1437702 h 2831069"/>
              <a:gd name="connsiteX140" fmla="*/ 1213837 w 3473628"/>
              <a:gd name="connsiteY140" fmla="*/ 1405911 h 2831069"/>
              <a:gd name="connsiteX141" fmla="*/ 1160743 w 3473628"/>
              <a:gd name="connsiteY141" fmla="*/ 1359449 h 2831069"/>
              <a:gd name="connsiteX142" fmla="*/ 1072273 w 3473628"/>
              <a:gd name="connsiteY142" fmla="*/ 1326207 h 2831069"/>
              <a:gd name="connsiteX143" fmla="*/ 969420 w 3473628"/>
              <a:gd name="connsiteY143" fmla="*/ 1337709 h 2831069"/>
              <a:gd name="connsiteX144" fmla="*/ 912160 w 3473628"/>
              <a:gd name="connsiteY144" fmla="*/ 1380152 h 2831069"/>
              <a:gd name="connsiteX145" fmla="*/ 896327 w 3473628"/>
              <a:gd name="connsiteY145" fmla="*/ 1448333 h 2831069"/>
              <a:gd name="connsiteX146" fmla="*/ 877489 w 3473628"/>
              <a:gd name="connsiteY146" fmla="*/ 1512784 h 2831069"/>
              <a:gd name="connsiteX147" fmla="*/ 860806 w 3473628"/>
              <a:gd name="connsiteY147" fmla="*/ 1564138 h 2831069"/>
              <a:gd name="connsiteX148" fmla="*/ 859936 w 3473628"/>
              <a:gd name="connsiteY148" fmla="*/ 1636216 h 2831069"/>
              <a:gd name="connsiteX149" fmla="*/ 882670 w 3473628"/>
              <a:gd name="connsiteY149" fmla="*/ 1693040 h 2831069"/>
              <a:gd name="connsiteX150" fmla="*/ 939930 w 3473628"/>
              <a:gd name="connsiteY150" fmla="*/ 1728001 h 2831069"/>
              <a:gd name="connsiteX151" fmla="*/ 1032856 w 3473628"/>
              <a:gd name="connsiteY151" fmla="*/ 1733618 h 2831069"/>
              <a:gd name="connsiteX152" fmla="*/ 1121326 w 3473628"/>
              <a:gd name="connsiteY152" fmla="*/ 1688440 h 2831069"/>
              <a:gd name="connsiteX153" fmla="*/ 1171830 w 3473628"/>
              <a:gd name="connsiteY153" fmla="*/ 1627304 h 2831069"/>
              <a:gd name="connsiteX154" fmla="*/ 1192263 w 3473628"/>
              <a:gd name="connsiteY154" fmla="*/ 1592343 h 2831069"/>
              <a:gd name="connsiteX155" fmla="*/ 1215433 w 3473628"/>
              <a:gd name="connsiteY155" fmla="*/ 1590478 h 2831069"/>
              <a:gd name="connsiteX156" fmla="*/ 1223059 w 3473628"/>
              <a:gd name="connsiteY156" fmla="*/ 1624569 h 2831069"/>
              <a:gd name="connsiteX157" fmla="*/ 1193569 w 3473628"/>
              <a:gd name="connsiteY157" fmla="*/ 1655219 h 2831069"/>
              <a:gd name="connsiteX158" fmla="*/ 1160328 w 3473628"/>
              <a:gd name="connsiteY158" fmla="*/ 1650909 h 2831069"/>
              <a:gd name="connsiteX159" fmla="*/ 1152121 w 3473628"/>
              <a:gd name="connsiteY159" fmla="*/ 1619844 h 2831069"/>
              <a:gd name="connsiteX160" fmla="*/ 1169239 w 3473628"/>
              <a:gd name="connsiteY160" fmla="*/ 1577836 h 2831069"/>
              <a:gd name="connsiteX161" fmla="*/ 1208511 w 3473628"/>
              <a:gd name="connsiteY161" fmla="*/ 1555683 h 2831069"/>
              <a:gd name="connsiteX162" fmla="*/ 1223039 w 3473628"/>
              <a:gd name="connsiteY162" fmla="*/ 1534814 h 2831069"/>
              <a:gd name="connsiteX163" fmla="*/ 1221173 w 3473628"/>
              <a:gd name="connsiteY163" fmla="*/ 1493822 h 2831069"/>
              <a:gd name="connsiteX164" fmla="*/ 1192263 w 3473628"/>
              <a:gd name="connsiteY164" fmla="*/ 1435837 h 2831069"/>
              <a:gd name="connsiteX165" fmla="*/ 1126527 w 3473628"/>
              <a:gd name="connsiteY165" fmla="*/ 1373105 h 2831069"/>
              <a:gd name="connsiteX166" fmla="*/ 1015178 w 3473628"/>
              <a:gd name="connsiteY166" fmla="*/ 1361604 h 2831069"/>
              <a:gd name="connsiteX167" fmla="*/ 929299 w 3473628"/>
              <a:gd name="connsiteY167" fmla="*/ 1399591 h 2831069"/>
              <a:gd name="connsiteX168" fmla="*/ 891312 w 3473628"/>
              <a:gd name="connsiteY168" fmla="*/ 1413683 h 2831069"/>
              <a:gd name="connsiteX169" fmla="*/ 880805 w 3473628"/>
              <a:gd name="connsiteY169" fmla="*/ 1385623 h 2831069"/>
              <a:gd name="connsiteX170" fmla="*/ 887271 w 3473628"/>
              <a:gd name="connsiteY170" fmla="*/ 1343035 h 2831069"/>
              <a:gd name="connsiteX171" fmla="*/ 919351 w 3473628"/>
              <a:gd name="connsiteY171" fmla="*/ 1314270 h 2831069"/>
              <a:gd name="connsiteX172" fmla="*/ 976031 w 3473628"/>
              <a:gd name="connsiteY172" fmla="*/ 1293402 h 2831069"/>
              <a:gd name="connsiteX173" fmla="*/ 1018183 w 3473628"/>
              <a:gd name="connsiteY173" fmla="*/ 1281900 h 2831069"/>
              <a:gd name="connsiteX174" fmla="*/ 1050844 w 3473628"/>
              <a:gd name="connsiteY174" fmla="*/ 1268947 h 2831069"/>
              <a:gd name="connsiteX175" fmla="*/ 1109244 w 3473628"/>
              <a:gd name="connsiteY175" fmla="*/ 1272118 h 2831069"/>
              <a:gd name="connsiteX176" fmla="*/ 1183622 w 3473628"/>
              <a:gd name="connsiteY176" fmla="*/ 1306209 h 2831069"/>
              <a:gd name="connsiteX177" fmla="*/ 1247202 w 3473628"/>
              <a:gd name="connsiteY177" fmla="*/ 1382017 h 2831069"/>
              <a:gd name="connsiteX178" fmla="*/ 1276983 w 3473628"/>
              <a:gd name="connsiteY178" fmla="*/ 1470777 h 2831069"/>
              <a:gd name="connsiteX179" fmla="*/ 1290785 w 3473628"/>
              <a:gd name="connsiteY179" fmla="*/ 1538959 h 2831069"/>
              <a:gd name="connsiteX180" fmla="*/ 1286184 w 3473628"/>
              <a:gd name="connsiteY180" fmla="*/ 1598664 h 2831069"/>
              <a:gd name="connsiteX181" fmla="*/ 1251223 w 3473628"/>
              <a:gd name="connsiteY181" fmla="*/ 1657789 h 2831069"/>
              <a:gd name="connsiteX182" fmla="*/ 1190792 w 3473628"/>
              <a:gd name="connsiteY182" fmla="*/ 1692460 h 2831069"/>
              <a:gd name="connsiteX183" fmla="*/ 1155396 w 3473628"/>
              <a:gd name="connsiteY183" fmla="*/ 1717349 h 2831069"/>
              <a:gd name="connsiteX184" fmla="*/ 1128786 w 3473628"/>
              <a:gd name="connsiteY184" fmla="*/ 1768848 h 2831069"/>
              <a:gd name="connsiteX185" fmla="*/ 1124766 w 3473628"/>
              <a:gd name="connsiteY185" fmla="*/ 1813156 h 2831069"/>
              <a:gd name="connsiteX186" fmla="*/ 1143459 w 3473628"/>
              <a:gd name="connsiteY186" fmla="*/ 1838045 h 2831069"/>
              <a:gd name="connsiteX187" fmla="*/ 1176700 w 3473628"/>
              <a:gd name="connsiteY187" fmla="*/ 1874581 h 2831069"/>
              <a:gd name="connsiteX188" fmla="*/ 1211951 w 3473628"/>
              <a:gd name="connsiteY188" fmla="*/ 1930971 h 2831069"/>
              <a:gd name="connsiteX189" fmla="*/ 1269791 w 3473628"/>
              <a:gd name="connsiteY189" fmla="*/ 1970678 h 2831069"/>
              <a:gd name="connsiteX190" fmla="*/ 1289790 w 3473628"/>
              <a:gd name="connsiteY190" fmla="*/ 2016996 h 2831069"/>
              <a:gd name="connsiteX191" fmla="*/ 1236696 w 3473628"/>
              <a:gd name="connsiteY191" fmla="*/ 2105031 h 2831069"/>
              <a:gd name="connsiteX192" fmla="*/ 1189362 w 3473628"/>
              <a:gd name="connsiteY192" fmla="*/ 2099269 h 2831069"/>
              <a:gd name="connsiteX193" fmla="*/ 1126921 w 3473628"/>
              <a:gd name="connsiteY193" fmla="*/ 1994386 h 2831069"/>
              <a:gd name="connsiteX194" fmla="*/ 1124621 w 3473628"/>
              <a:gd name="connsiteY194" fmla="*/ 1948773 h 2831069"/>
              <a:gd name="connsiteX195" fmla="*/ 1178855 w 3473628"/>
              <a:gd name="connsiteY195" fmla="*/ 1910226 h 2831069"/>
              <a:gd name="connsiteX196" fmla="*/ 1235245 w 3473628"/>
              <a:gd name="connsiteY196" fmla="*/ 1918288 h 2831069"/>
              <a:gd name="connsiteX197" fmla="*/ 1332792 w 3473628"/>
              <a:gd name="connsiteY197" fmla="*/ 1988065 h 2831069"/>
              <a:gd name="connsiteX198" fmla="*/ 1387316 w 3473628"/>
              <a:gd name="connsiteY198" fmla="*/ 2070650 h 2831069"/>
              <a:gd name="connsiteX199" fmla="*/ 1383710 w 3473628"/>
              <a:gd name="connsiteY199" fmla="*/ 2126190 h 2831069"/>
              <a:gd name="connsiteX200" fmla="*/ 1348459 w 3473628"/>
              <a:gd name="connsiteY200" fmla="*/ 2203448 h 2831069"/>
              <a:gd name="connsiteX201" fmla="*/ 1311923 w 3473628"/>
              <a:gd name="connsiteY201" fmla="*/ 2248771 h 2831069"/>
              <a:gd name="connsiteX202" fmla="*/ 1270786 w 3473628"/>
              <a:gd name="connsiteY202" fmla="*/ 2226907 h 2831069"/>
              <a:gd name="connsiteX203" fmla="*/ 1256694 w 3473628"/>
              <a:gd name="connsiteY203" fmla="*/ 2197417 h 2831069"/>
              <a:gd name="connsiteX204" fmla="*/ 1262745 w 3473628"/>
              <a:gd name="connsiteY204" fmla="*/ 2172093 h 2831069"/>
              <a:gd name="connsiteX205" fmla="*/ 1299427 w 3473628"/>
              <a:gd name="connsiteY205" fmla="*/ 2127640 h 2831069"/>
              <a:gd name="connsiteX206" fmla="*/ 1357826 w 3473628"/>
              <a:gd name="connsiteY206" fmla="*/ 2086068 h 2831069"/>
              <a:gd name="connsiteX207" fmla="*/ 1403999 w 3473628"/>
              <a:gd name="connsiteY207" fmla="*/ 2048372 h 2831069"/>
              <a:gd name="connsiteX208" fmla="*/ 1428453 w 3473628"/>
              <a:gd name="connsiteY208" fmla="*/ 2028228 h 2831069"/>
              <a:gd name="connsiteX209" fmla="*/ 1435644 w 3473628"/>
              <a:gd name="connsiteY209" fmla="*/ 2043481 h 2831069"/>
              <a:gd name="connsiteX210" fmla="*/ 1439375 w 3473628"/>
              <a:gd name="connsiteY210" fmla="*/ 2107062 h 2831069"/>
              <a:gd name="connsiteX211" fmla="*/ 1432039 w 3473628"/>
              <a:gd name="connsiteY211" fmla="*/ 2164902 h 2831069"/>
              <a:gd name="connsiteX212" fmla="*/ 1405864 w 3473628"/>
              <a:gd name="connsiteY212" fmla="*/ 2266469 h 2831069"/>
              <a:gd name="connsiteX213" fmla="*/ 1412765 w 3473628"/>
              <a:gd name="connsiteY213" fmla="*/ 2328330 h 2831069"/>
              <a:gd name="connsiteX214" fmla="*/ 1440245 w 3473628"/>
              <a:gd name="connsiteY214" fmla="*/ 2353074 h 2831069"/>
              <a:gd name="connsiteX215" fmla="*/ 1475932 w 3473628"/>
              <a:gd name="connsiteY215" fmla="*/ 2367457 h 2831069"/>
              <a:gd name="connsiteX216" fmla="*/ 1511038 w 3473628"/>
              <a:gd name="connsiteY216" fmla="*/ 2382710 h 2831069"/>
              <a:gd name="connsiteX217" fmla="*/ 1536217 w 3473628"/>
              <a:gd name="connsiteY217" fmla="*/ 2415225 h 2831069"/>
              <a:gd name="connsiteX218" fmla="*/ 1543408 w 3473628"/>
              <a:gd name="connsiteY218" fmla="*/ 2463843 h 2831069"/>
              <a:gd name="connsiteX219" fmla="*/ 1512758 w 3473628"/>
              <a:gd name="connsiteY219" fmla="*/ 2507156 h 2831069"/>
              <a:gd name="connsiteX220" fmla="*/ 1467083 w 3473628"/>
              <a:gd name="connsiteY220" fmla="*/ 2522844 h 2831069"/>
              <a:gd name="connsiteX221" fmla="*/ 1422195 w 3473628"/>
              <a:gd name="connsiteY221" fmla="*/ 2523860 h 2831069"/>
              <a:gd name="connsiteX222" fmla="*/ 1366738 w 3473628"/>
              <a:gd name="connsiteY222" fmla="*/ 2540832 h 2831069"/>
              <a:gd name="connsiteX223" fmla="*/ 1320420 w 3473628"/>
              <a:gd name="connsiteY223" fmla="*/ 2536667 h 2831069"/>
              <a:gd name="connsiteX224" fmla="*/ 1321788 w 3473628"/>
              <a:gd name="connsiteY224" fmla="*/ 2519549 h 2831069"/>
              <a:gd name="connsiteX225" fmla="*/ 1369846 w 3473628"/>
              <a:gd name="connsiteY225" fmla="*/ 2497893 h 2831069"/>
              <a:gd name="connsiteX226" fmla="*/ 1396891 w 3473628"/>
              <a:gd name="connsiteY226" fmla="*/ 2480277 h 2831069"/>
              <a:gd name="connsiteX227" fmla="*/ 1381286 w 3473628"/>
              <a:gd name="connsiteY227" fmla="*/ 2474102 h 2831069"/>
              <a:gd name="connsiteX228" fmla="*/ 1307986 w 3473628"/>
              <a:gd name="connsiteY228" fmla="*/ 2503094 h 2831069"/>
              <a:gd name="connsiteX229" fmla="*/ 1275760 w 3473628"/>
              <a:gd name="connsiteY229" fmla="*/ 2503820 h 2831069"/>
              <a:gd name="connsiteX230" fmla="*/ 1277190 w 3473628"/>
              <a:gd name="connsiteY230" fmla="*/ 2490515 h 2831069"/>
              <a:gd name="connsiteX231" fmla="*/ 1302287 w 3473628"/>
              <a:gd name="connsiteY231" fmla="*/ 2478495 h 2831069"/>
              <a:gd name="connsiteX232" fmla="*/ 1350407 w 3473628"/>
              <a:gd name="connsiteY232" fmla="*/ 2445109 h 2831069"/>
              <a:gd name="connsiteX233" fmla="*/ 1346946 w 3473628"/>
              <a:gd name="connsiteY233" fmla="*/ 2435120 h 2831069"/>
              <a:gd name="connsiteX234" fmla="*/ 1292774 w 3473628"/>
              <a:gd name="connsiteY234" fmla="*/ 2461812 h 2831069"/>
              <a:gd name="connsiteX235" fmla="*/ 1261834 w 3473628"/>
              <a:gd name="connsiteY235" fmla="*/ 2459719 h 2831069"/>
              <a:gd name="connsiteX236" fmla="*/ 1265149 w 3473628"/>
              <a:gd name="connsiteY236" fmla="*/ 2438933 h 2831069"/>
              <a:gd name="connsiteX237" fmla="*/ 1303053 w 3473628"/>
              <a:gd name="connsiteY237" fmla="*/ 2411308 h 2831069"/>
              <a:gd name="connsiteX238" fmla="*/ 1318513 w 3473628"/>
              <a:gd name="connsiteY238" fmla="*/ 2393175 h 2831069"/>
              <a:gd name="connsiteX239" fmla="*/ 1306783 w 3473628"/>
              <a:gd name="connsiteY239" fmla="*/ 2385984 h 2831069"/>
              <a:gd name="connsiteX240" fmla="*/ 1268590 w 3473628"/>
              <a:gd name="connsiteY240" fmla="*/ 2403392 h 2831069"/>
              <a:gd name="connsiteX241" fmla="*/ 1243410 w 3473628"/>
              <a:gd name="connsiteY241" fmla="*/ 2405257 h 2831069"/>
              <a:gd name="connsiteX242" fmla="*/ 1242685 w 3473628"/>
              <a:gd name="connsiteY242" fmla="*/ 2382461 h 2831069"/>
              <a:gd name="connsiteX243" fmla="*/ 1284402 w 3473628"/>
              <a:gd name="connsiteY243" fmla="*/ 2341469 h 2831069"/>
              <a:gd name="connsiteX244" fmla="*/ 1360935 w 3473628"/>
              <a:gd name="connsiteY244" fmla="*/ 2306218 h 2831069"/>
              <a:gd name="connsiteX245" fmla="*/ 1411004 w 3473628"/>
              <a:gd name="connsiteY245" fmla="*/ 2303047 h 2831069"/>
              <a:gd name="connsiteX246" fmla="*/ 1438484 w 3473628"/>
              <a:gd name="connsiteY246" fmla="*/ 2295131 h 2831069"/>
              <a:gd name="connsiteX247" fmla="*/ 1468409 w 3473628"/>
              <a:gd name="connsiteY247" fmla="*/ 2243777 h 2831069"/>
              <a:gd name="connsiteX248" fmla="*/ 1532570 w 3473628"/>
              <a:gd name="connsiteY248" fmla="*/ 2156301 h 2831069"/>
              <a:gd name="connsiteX249" fmla="*/ 1610761 w 3473628"/>
              <a:gd name="connsiteY249" fmla="*/ 2074152 h 2831069"/>
              <a:gd name="connsiteX250" fmla="*/ 1628957 w 3473628"/>
              <a:gd name="connsiteY250" fmla="*/ 2041864 h 2831069"/>
              <a:gd name="connsiteX251" fmla="*/ 1628604 w 3473628"/>
              <a:gd name="connsiteY251" fmla="*/ 2021078 h 2831069"/>
              <a:gd name="connsiteX252" fmla="*/ 1642841 w 3473628"/>
              <a:gd name="connsiteY252" fmla="*/ 2001308 h 2831069"/>
              <a:gd name="connsiteX253" fmla="*/ 1697863 w 3473628"/>
              <a:gd name="connsiteY253" fmla="*/ 1963611 h 2831069"/>
              <a:gd name="connsiteX254" fmla="*/ 1768718 w 3473628"/>
              <a:gd name="connsiteY254" fmla="*/ 1914703 h 2831069"/>
              <a:gd name="connsiteX255" fmla="*/ 1816549 w 3473628"/>
              <a:gd name="connsiteY255" fmla="*/ 1881109 h 2831069"/>
              <a:gd name="connsiteX256" fmla="*/ 1846039 w 3473628"/>
              <a:gd name="connsiteY256" fmla="*/ 1836221 h 2831069"/>
              <a:gd name="connsiteX257" fmla="*/ 1863882 w 3473628"/>
              <a:gd name="connsiteY257" fmla="*/ 1739400 h 2831069"/>
              <a:gd name="connsiteX258" fmla="*/ 1862162 w 3473628"/>
              <a:gd name="connsiteY258" fmla="*/ 1654225 h 2831069"/>
              <a:gd name="connsiteX259" fmla="*/ 1849355 w 3473628"/>
              <a:gd name="connsiteY259" fmla="*/ 1586312 h 2831069"/>
              <a:gd name="connsiteX260" fmla="*/ 1804322 w 3473628"/>
              <a:gd name="connsiteY260" fmla="*/ 1511499 h 2831069"/>
              <a:gd name="connsiteX261" fmla="*/ 1748512 w 3473628"/>
              <a:gd name="connsiteY261" fmla="*/ 1463296 h 2831069"/>
              <a:gd name="connsiteX262" fmla="*/ 1688662 w 3473628"/>
              <a:gd name="connsiteY262" fmla="*/ 1445017 h 2831069"/>
              <a:gd name="connsiteX263" fmla="*/ 1629682 w 3473628"/>
              <a:gd name="connsiteY263" fmla="*/ 1434655 h 2831069"/>
              <a:gd name="connsiteX264" fmla="*/ 1565521 w 3473628"/>
              <a:gd name="connsiteY264" fmla="*/ 1420708 h 2831069"/>
              <a:gd name="connsiteX265" fmla="*/ 1482377 w 3473628"/>
              <a:gd name="connsiteY265" fmla="*/ 1428044 h 2831069"/>
              <a:gd name="connsiteX266" fmla="*/ 1425117 w 3473628"/>
              <a:gd name="connsiteY266" fmla="*/ 1469036 h 2831069"/>
              <a:gd name="connsiteX267" fmla="*/ 1416910 w 3473628"/>
              <a:gd name="connsiteY267" fmla="*/ 1533923 h 2831069"/>
              <a:gd name="connsiteX268" fmla="*/ 1436618 w 3473628"/>
              <a:gd name="connsiteY268" fmla="*/ 1580240 h 2831069"/>
              <a:gd name="connsiteX269" fmla="*/ 1448265 w 3473628"/>
              <a:gd name="connsiteY269" fmla="*/ 1638081 h 2831069"/>
              <a:gd name="connsiteX270" fmla="*/ 1432577 w 3473628"/>
              <a:gd name="connsiteY270" fmla="*/ 1733037 h 2831069"/>
              <a:gd name="connsiteX271" fmla="*/ 1436598 w 3473628"/>
              <a:gd name="connsiteY271" fmla="*/ 1799063 h 2831069"/>
              <a:gd name="connsiteX272" fmla="*/ 1493568 w 3473628"/>
              <a:gd name="connsiteY272" fmla="*/ 1841216 h 2831069"/>
              <a:gd name="connsiteX273" fmla="*/ 1619299 w 3473628"/>
              <a:gd name="connsiteY273" fmla="*/ 1854168 h 2831069"/>
              <a:gd name="connsiteX274" fmla="*/ 1704039 w 3473628"/>
              <a:gd name="connsiteY274" fmla="*/ 1837050 h 2831069"/>
              <a:gd name="connsiteX275" fmla="*/ 1739290 w 3473628"/>
              <a:gd name="connsiteY275" fmla="*/ 1788577 h 2831069"/>
              <a:gd name="connsiteX276" fmla="*/ 1754108 w 3473628"/>
              <a:gd name="connsiteY276" fmla="*/ 1758507 h 2831069"/>
              <a:gd name="connsiteX277" fmla="*/ 1769071 w 3473628"/>
              <a:gd name="connsiteY277" fmla="*/ 1758507 h 2831069"/>
              <a:gd name="connsiteX278" fmla="*/ 1773526 w 3473628"/>
              <a:gd name="connsiteY278" fmla="*/ 1787562 h 2831069"/>
              <a:gd name="connsiteX279" fmla="*/ 1747621 w 3473628"/>
              <a:gd name="connsiteY279" fmla="*/ 1819497 h 2831069"/>
              <a:gd name="connsiteX280" fmla="*/ 1719271 w 3473628"/>
              <a:gd name="connsiteY280" fmla="*/ 1806110 h 2831069"/>
              <a:gd name="connsiteX281" fmla="*/ 1727478 w 3473628"/>
              <a:gd name="connsiteY281" fmla="*/ 1762092 h 2831069"/>
              <a:gd name="connsiteX282" fmla="*/ 1757258 w 3473628"/>
              <a:gd name="connsiteY282" fmla="*/ 1731297 h 2831069"/>
              <a:gd name="connsiteX283" fmla="*/ 1781857 w 3473628"/>
              <a:gd name="connsiteY283" fmla="*/ 1696626 h 2831069"/>
              <a:gd name="connsiteX284" fmla="*/ 1759123 w 3473628"/>
              <a:gd name="connsiteY284" fmla="*/ 1625563 h 2831069"/>
              <a:gd name="connsiteX285" fmla="*/ 1710650 w 3473628"/>
              <a:gd name="connsiteY285" fmla="*/ 1549175 h 2831069"/>
              <a:gd name="connsiteX286" fmla="*/ 1628065 w 3473628"/>
              <a:gd name="connsiteY286" fmla="*/ 1512349 h 2831069"/>
              <a:gd name="connsiteX287" fmla="*/ 1535989 w 3473628"/>
              <a:gd name="connsiteY287" fmla="*/ 1521260 h 2831069"/>
              <a:gd name="connsiteX288" fmla="*/ 1469528 w 3473628"/>
              <a:gd name="connsiteY288" fmla="*/ 1574624 h 2831069"/>
              <a:gd name="connsiteX289" fmla="*/ 1448100 w 3473628"/>
              <a:gd name="connsiteY289" fmla="*/ 1608280 h 2831069"/>
              <a:gd name="connsiteX290" fmla="*/ 1425946 w 3473628"/>
              <a:gd name="connsiteY290" fmla="*/ 1663384 h 2831069"/>
              <a:gd name="connsiteX291" fmla="*/ 1406527 w 3473628"/>
              <a:gd name="connsiteY291" fmla="*/ 1760351 h 2831069"/>
              <a:gd name="connsiteX292" fmla="*/ 1422215 w 3473628"/>
              <a:gd name="connsiteY292" fmla="*/ 1829693 h 2831069"/>
              <a:gd name="connsiteX293" fmla="*/ 1452866 w 3473628"/>
              <a:gd name="connsiteY293" fmla="*/ 1880115 h 2831069"/>
              <a:gd name="connsiteX294" fmla="*/ 1472139 w 3473628"/>
              <a:gd name="connsiteY294" fmla="*/ 1939737 h 2831069"/>
              <a:gd name="connsiteX295" fmla="*/ 1476885 w 3473628"/>
              <a:gd name="connsiteY295" fmla="*/ 1996769 h 2831069"/>
              <a:gd name="connsiteX296" fmla="*/ 1459332 w 3473628"/>
              <a:gd name="connsiteY296" fmla="*/ 2060205 h 2831069"/>
              <a:gd name="connsiteX297" fmla="*/ 1462212 w 3473628"/>
              <a:gd name="connsiteY297" fmla="*/ 2092430 h 2831069"/>
              <a:gd name="connsiteX298" fmla="*/ 1501339 w 3473628"/>
              <a:gd name="connsiteY298" fmla="*/ 2073157 h 2831069"/>
              <a:gd name="connsiteX299" fmla="*/ 1597083 w 3473628"/>
              <a:gd name="connsiteY299" fmla="*/ 2002592 h 2831069"/>
              <a:gd name="connsiteX300" fmla="*/ 1667586 w 3473628"/>
              <a:gd name="connsiteY300" fmla="*/ 1957705 h 2831069"/>
              <a:gd name="connsiteX301" fmla="*/ 1726856 w 3473628"/>
              <a:gd name="connsiteY301" fmla="*/ 1927987 h 2831069"/>
              <a:gd name="connsiteX302" fmla="*/ 1753258 w 3473628"/>
              <a:gd name="connsiteY302" fmla="*/ 1933520 h 2831069"/>
              <a:gd name="connsiteX303" fmla="*/ 1781816 w 3473628"/>
              <a:gd name="connsiteY303" fmla="*/ 1986034 h 2831069"/>
              <a:gd name="connsiteX304" fmla="*/ 1823616 w 3473628"/>
              <a:gd name="connsiteY304" fmla="*/ 2024809 h 2831069"/>
              <a:gd name="connsiteX305" fmla="*/ 1853044 w 3473628"/>
              <a:gd name="connsiteY305" fmla="*/ 2039129 h 2831069"/>
              <a:gd name="connsiteX306" fmla="*/ 1845417 w 3473628"/>
              <a:gd name="connsiteY306" fmla="*/ 2056392 h 2831069"/>
              <a:gd name="connsiteX307" fmla="*/ 1802685 w 3473628"/>
              <a:gd name="connsiteY307" fmla="*/ 2090420 h 2831069"/>
              <a:gd name="connsiteX308" fmla="*/ 1764283 w 3473628"/>
              <a:gd name="connsiteY308" fmla="*/ 2152281 h 2831069"/>
              <a:gd name="connsiteX309" fmla="*/ 1702132 w 3473628"/>
              <a:gd name="connsiteY309" fmla="*/ 2291753 h 2831069"/>
              <a:gd name="connsiteX310" fmla="*/ 1672207 w 3473628"/>
              <a:gd name="connsiteY310" fmla="*/ 2356639 h 2831069"/>
              <a:gd name="connsiteX311" fmla="*/ 1654654 w 3473628"/>
              <a:gd name="connsiteY311" fmla="*/ 2363043 h 2831069"/>
              <a:gd name="connsiteX312" fmla="*/ 1613082 w 3473628"/>
              <a:gd name="connsiteY312" fmla="*/ 2345054 h 2831069"/>
              <a:gd name="connsiteX313" fmla="*/ 1559925 w 3473628"/>
              <a:gd name="connsiteY313" fmla="*/ 2330174 h 2831069"/>
              <a:gd name="connsiteX314" fmla="*/ 1518498 w 3473628"/>
              <a:gd name="connsiteY314" fmla="*/ 2333345 h 2831069"/>
              <a:gd name="connsiteX315" fmla="*/ 1485112 w 3473628"/>
              <a:gd name="connsiteY315" fmla="*/ 2345075 h 2831069"/>
              <a:gd name="connsiteX316" fmla="*/ 1462813 w 3473628"/>
              <a:gd name="connsiteY316" fmla="*/ 2341759 h 2831069"/>
              <a:gd name="connsiteX317" fmla="*/ 1462523 w 3473628"/>
              <a:gd name="connsiteY317" fmla="*/ 2316435 h 2831069"/>
              <a:gd name="connsiteX318" fmla="*/ 1514022 w 3473628"/>
              <a:gd name="connsiteY318" fmla="*/ 2230907 h 2831069"/>
              <a:gd name="connsiteX319" fmla="*/ 1633868 w 3473628"/>
              <a:gd name="connsiteY319" fmla="*/ 2086462 h 2831069"/>
              <a:gd name="connsiteX320" fmla="*/ 1761050 w 3473628"/>
              <a:gd name="connsiteY320" fmla="*/ 2009494 h 2831069"/>
              <a:gd name="connsiteX321" fmla="*/ 1835718 w 3473628"/>
              <a:gd name="connsiteY321" fmla="*/ 2007773 h 2831069"/>
              <a:gd name="connsiteX322" fmla="*/ 1915422 w 3473628"/>
              <a:gd name="connsiteY322" fmla="*/ 2040579 h 2831069"/>
              <a:gd name="connsiteX323" fmla="*/ 1956414 w 3473628"/>
              <a:gd name="connsiteY323" fmla="*/ 2094378 h 2831069"/>
              <a:gd name="connsiteX324" fmla="*/ 1981593 w 3473628"/>
              <a:gd name="connsiteY324" fmla="*/ 2161420 h 2831069"/>
              <a:gd name="connsiteX325" fmla="*/ 1998421 w 3473628"/>
              <a:gd name="connsiteY325" fmla="*/ 2191781 h 2831069"/>
              <a:gd name="connsiteX326" fmla="*/ 2004473 w 3473628"/>
              <a:gd name="connsiteY326" fmla="*/ 2185874 h 2831069"/>
              <a:gd name="connsiteX327" fmla="*/ 1997717 w 3473628"/>
              <a:gd name="connsiteY327" fmla="*/ 2138106 h 2831069"/>
              <a:gd name="connsiteX328" fmla="*/ 1965781 w 3473628"/>
              <a:gd name="connsiteY328" fmla="*/ 2073364 h 2831069"/>
              <a:gd name="connsiteX329" fmla="*/ 1892688 w 3473628"/>
              <a:gd name="connsiteY329" fmla="*/ 2059127 h 2831069"/>
              <a:gd name="connsiteX330" fmla="*/ 1816155 w 3473628"/>
              <a:gd name="connsiteY330" fmla="*/ 2115517 h 2831069"/>
              <a:gd name="connsiteX331" fmla="*/ 1767682 w 3473628"/>
              <a:gd name="connsiteY331" fmla="*/ 2216504 h 2831069"/>
              <a:gd name="connsiteX332" fmla="*/ 1756740 w 3473628"/>
              <a:gd name="connsiteY332" fmla="*/ 2315771 h 2831069"/>
              <a:gd name="connsiteX333" fmla="*/ 1733280 w 3473628"/>
              <a:gd name="connsiteY333" fmla="*/ 2398211 h 2831069"/>
              <a:gd name="connsiteX334" fmla="*/ 1632148 w 3473628"/>
              <a:gd name="connsiteY334" fmla="*/ 2384554 h 2831069"/>
              <a:gd name="connsiteX335" fmla="*/ 1539637 w 3473628"/>
              <a:gd name="connsiteY335" fmla="*/ 2352183 h 2831069"/>
              <a:gd name="connsiteX336" fmla="*/ 1522519 w 3473628"/>
              <a:gd name="connsiteY336" fmla="*/ 2359229 h 2831069"/>
              <a:gd name="connsiteX337" fmla="*/ 1543947 w 3473628"/>
              <a:gd name="connsiteY337" fmla="*/ 2385549 h 2831069"/>
              <a:gd name="connsiteX338" fmla="*/ 1564381 w 3473628"/>
              <a:gd name="connsiteY338" fmla="*/ 2430727 h 2831069"/>
              <a:gd name="connsiteX339" fmla="*/ 1559200 w 3473628"/>
              <a:gd name="connsiteY339" fmla="*/ 2486412 h 2831069"/>
              <a:gd name="connsiteX340" fmla="*/ 1529710 w 3473628"/>
              <a:gd name="connsiteY340" fmla="*/ 2562364 h 2831069"/>
              <a:gd name="connsiteX341" fmla="*/ 1544963 w 3473628"/>
              <a:gd name="connsiteY341" fmla="*/ 2634587 h 2831069"/>
              <a:gd name="connsiteX342" fmla="*/ 1609124 w 3473628"/>
              <a:gd name="connsiteY342" fmla="*/ 2669984 h 2831069"/>
              <a:gd name="connsiteX343" fmla="*/ 1709821 w 3473628"/>
              <a:gd name="connsiteY343" fmla="*/ 2685526 h 2831069"/>
              <a:gd name="connsiteX344" fmla="*/ 1825481 w 3473628"/>
              <a:gd name="connsiteY344" fmla="*/ 2710706 h 2831069"/>
              <a:gd name="connsiteX345" fmla="*/ 1849666 w 3473628"/>
              <a:gd name="connsiteY345" fmla="*/ 2737274 h 2831069"/>
              <a:gd name="connsiteX346" fmla="*/ 1827284 w 3473628"/>
              <a:gd name="connsiteY346" fmla="*/ 2775385 h 2831069"/>
              <a:gd name="connsiteX347" fmla="*/ 1859468 w 3473628"/>
              <a:gd name="connsiteY347" fmla="*/ 2784130 h 2831069"/>
              <a:gd name="connsiteX348" fmla="*/ 2089565 w 3473628"/>
              <a:gd name="connsiteY348" fmla="*/ 2784130 h 2831069"/>
              <a:gd name="connsiteX349" fmla="*/ 2566897 w 3473628"/>
              <a:gd name="connsiteY349" fmla="*/ 2782162 h 2831069"/>
              <a:gd name="connsiteX350" fmla="*/ 2687966 w 3473628"/>
              <a:gd name="connsiteY350" fmla="*/ 2759884 h 2831069"/>
              <a:gd name="connsiteX351" fmla="*/ 2680464 w 3473628"/>
              <a:gd name="connsiteY351" fmla="*/ 2692303 h 2831069"/>
              <a:gd name="connsiteX352" fmla="*/ 2633566 w 3473628"/>
              <a:gd name="connsiteY352" fmla="*/ 2631872 h 2831069"/>
              <a:gd name="connsiteX353" fmla="*/ 2492291 w 3473628"/>
              <a:gd name="connsiteY353" fmla="*/ 2565701 h 2831069"/>
              <a:gd name="connsiteX354" fmla="*/ 2424110 w 3473628"/>
              <a:gd name="connsiteY354" fmla="*/ 2476651 h 2831069"/>
              <a:gd name="connsiteX355" fmla="*/ 2465247 w 3473628"/>
              <a:gd name="connsiteY355" fmla="*/ 2186330 h 2831069"/>
              <a:gd name="connsiteX356" fmla="*/ 2494592 w 3473628"/>
              <a:gd name="connsiteY356" fmla="*/ 1978159 h 2831069"/>
              <a:gd name="connsiteX357" fmla="*/ 2532289 w 3473628"/>
              <a:gd name="connsiteY357" fmla="*/ 1883202 h 2831069"/>
              <a:gd name="connsiteX358" fmla="*/ 2600200 w 3473628"/>
              <a:gd name="connsiteY358" fmla="*/ 1837175 h 2831069"/>
              <a:gd name="connsiteX359" fmla="*/ 2643928 w 3473628"/>
              <a:gd name="connsiteY359" fmla="*/ 1758051 h 2831069"/>
              <a:gd name="connsiteX360" fmla="*/ 2671553 w 3473628"/>
              <a:gd name="connsiteY360" fmla="*/ 1632029 h 2831069"/>
              <a:gd name="connsiteX361" fmla="*/ 2694577 w 3473628"/>
              <a:gd name="connsiteY361" fmla="*/ 1561817 h 2831069"/>
              <a:gd name="connsiteX362" fmla="*/ 2707239 w 3473628"/>
              <a:gd name="connsiteY362" fmla="*/ 1548305 h 2831069"/>
              <a:gd name="connsiteX363" fmla="*/ 2696877 w 3473628"/>
              <a:gd name="connsiteY363" fmla="*/ 1616217 h 2831069"/>
              <a:gd name="connsiteX364" fmla="*/ 2656300 w 3473628"/>
              <a:gd name="connsiteY364" fmla="*/ 1792308 h 2831069"/>
              <a:gd name="connsiteX365" fmla="*/ 2576306 w 3473628"/>
              <a:gd name="connsiteY365" fmla="*/ 1905377 h 2831069"/>
              <a:gd name="connsiteX366" fmla="*/ 2484810 w 3473628"/>
              <a:gd name="connsiteY366" fmla="*/ 1918329 h 2831069"/>
              <a:gd name="connsiteX367" fmla="*/ 2405251 w 3473628"/>
              <a:gd name="connsiteY367" fmla="*/ 1822813 h 2831069"/>
              <a:gd name="connsiteX368" fmla="*/ 2384113 w 3473628"/>
              <a:gd name="connsiteY368" fmla="*/ 1673912 h 2831069"/>
              <a:gd name="connsiteX369" fmla="*/ 2378642 w 3473628"/>
              <a:gd name="connsiteY369" fmla="*/ 1541984 h 2831069"/>
              <a:gd name="connsiteX370" fmla="*/ 2373751 w 3473628"/>
              <a:gd name="connsiteY370" fmla="*/ 1415527 h 2831069"/>
              <a:gd name="connsiteX371" fmla="*/ 2347141 w 3473628"/>
              <a:gd name="connsiteY371" fmla="*/ 1246918 h 2831069"/>
              <a:gd name="connsiteX372" fmla="*/ 2334769 w 3473628"/>
              <a:gd name="connsiteY372" fmla="*/ 1142615 h 2831069"/>
              <a:gd name="connsiteX373" fmla="*/ 2329153 w 3473628"/>
              <a:gd name="connsiteY373" fmla="*/ 1065211 h 2831069"/>
              <a:gd name="connsiteX374" fmla="*/ 2304554 w 3473628"/>
              <a:gd name="connsiteY374" fmla="*/ 939335 h 2831069"/>
              <a:gd name="connsiteX375" fmla="*/ 2256641 w 3473628"/>
              <a:gd name="connsiteY375" fmla="*/ 796630 h 2831069"/>
              <a:gd name="connsiteX376" fmla="*/ 2230736 w 3473628"/>
              <a:gd name="connsiteY376" fmla="*/ 692327 h 2831069"/>
              <a:gd name="connsiteX377" fmla="*/ 2239502 w 3473628"/>
              <a:gd name="connsiteY377" fmla="*/ 643564 h 2831069"/>
              <a:gd name="connsiteX378" fmla="*/ 2294026 w 3473628"/>
              <a:gd name="connsiteY378" fmla="*/ 635647 h 2831069"/>
              <a:gd name="connsiteX379" fmla="*/ 2342789 w 3473628"/>
              <a:gd name="connsiteY379" fmla="*/ 621700 h 2831069"/>
              <a:gd name="connsiteX380" fmla="*/ 2378621 w 3473628"/>
              <a:gd name="connsiteY380" fmla="*/ 587174 h 2831069"/>
              <a:gd name="connsiteX381" fmla="*/ 2391283 w 3473628"/>
              <a:gd name="connsiteY381" fmla="*/ 534080 h 2831069"/>
              <a:gd name="connsiteX382" fmla="*/ 2374601 w 3473628"/>
              <a:gd name="connsiteY382" fmla="*/ 480426 h 2831069"/>
              <a:gd name="connsiteX383" fmla="*/ 2310004 w 3473628"/>
              <a:gd name="connsiteY383" fmla="*/ 360020 h 2831069"/>
              <a:gd name="connsiteX384" fmla="*/ 2266567 w 3473628"/>
              <a:gd name="connsiteY384" fmla="*/ 280171 h 2831069"/>
              <a:gd name="connsiteX385" fmla="*/ 2203691 w 3473628"/>
              <a:gd name="connsiteY385" fmla="*/ 213564 h 2831069"/>
              <a:gd name="connsiteX386" fmla="*/ 2153622 w 3473628"/>
              <a:gd name="connsiteY386" fmla="*/ 194291 h 2831069"/>
              <a:gd name="connsiteX387" fmla="*/ 2109315 w 3473628"/>
              <a:gd name="connsiteY387" fmla="*/ 218310 h 2831069"/>
              <a:gd name="connsiteX388" fmla="*/ 2085731 w 3473628"/>
              <a:gd name="connsiteY388" fmla="*/ 264214 h 2831069"/>
              <a:gd name="connsiteX389" fmla="*/ 2085006 w 3473628"/>
              <a:gd name="connsiteY389" fmla="*/ 308666 h 2831069"/>
              <a:gd name="connsiteX390" fmla="*/ 2107595 w 3473628"/>
              <a:gd name="connsiteY390" fmla="*/ 327794 h 2831069"/>
              <a:gd name="connsiteX391" fmla="*/ 2138245 w 3473628"/>
              <a:gd name="connsiteY391" fmla="*/ 329660 h 2831069"/>
              <a:gd name="connsiteX392" fmla="*/ 2151343 w 3473628"/>
              <a:gd name="connsiteY392" fmla="*/ 299299 h 2831069"/>
              <a:gd name="connsiteX393" fmla="*/ 2155508 w 3473628"/>
              <a:gd name="connsiteY393" fmla="*/ 263053 h 2831069"/>
              <a:gd name="connsiteX394" fmla="*/ 2173641 w 3473628"/>
              <a:gd name="connsiteY394" fmla="*/ 251261 h 2831069"/>
              <a:gd name="connsiteX395" fmla="*/ 2215068 w 3473628"/>
              <a:gd name="connsiteY395" fmla="*/ 262058 h 2831069"/>
              <a:gd name="connsiteX396" fmla="*/ 2248019 w 3473628"/>
              <a:gd name="connsiteY396" fmla="*/ 269975 h 2831069"/>
              <a:gd name="connsiteX397" fmla="*/ 2262257 w 3473628"/>
              <a:gd name="connsiteY397" fmla="*/ 259903 h 2831069"/>
              <a:gd name="connsiteX398" fmla="*/ 2259749 w 3473628"/>
              <a:gd name="connsiteY398" fmla="*/ 230993 h 2831069"/>
              <a:gd name="connsiteX399" fmla="*/ 2231337 w 3473628"/>
              <a:gd name="connsiteY399" fmla="*/ 190851 h 2831069"/>
              <a:gd name="connsiteX400" fmla="*/ 2181351 w 3473628"/>
              <a:gd name="connsiteY400" fmla="*/ 163309 h 2831069"/>
              <a:gd name="connsiteX401" fmla="*/ 2141354 w 3473628"/>
              <a:gd name="connsiteY401" fmla="*/ 157548 h 2831069"/>
              <a:gd name="connsiteX402" fmla="*/ 2113377 w 3473628"/>
              <a:gd name="connsiteY402" fmla="*/ 169485 h 2831069"/>
              <a:gd name="connsiteX403" fmla="*/ 2082726 w 3473628"/>
              <a:gd name="connsiteY403" fmla="*/ 176469 h 2831069"/>
              <a:gd name="connsiteX404" fmla="*/ 2031870 w 3473628"/>
              <a:gd name="connsiteY404" fmla="*/ 162086 h 2831069"/>
              <a:gd name="connsiteX405" fmla="*/ 1991955 w 3473628"/>
              <a:gd name="connsiteY405" fmla="*/ 137280 h 2831069"/>
              <a:gd name="connsiteX406" fmla="*/ 1950528 w 3473628"/>
              <a:gd name="connsiteY406" fmla="*/ 77222 h 2831069"/>
              <a:gd name="connsiteX407" fmla="*/ 1938737 w 3473628"/>
              <a:gd name="connsiteY407" fmla="*/ 27008 h 2831069"/>
              <a:gd name="connsiteX408" fmla="*/ 1947669 w 3473628"/>
              <a:gd name="connsiteY408" fmla="*/ 1725 h 2831069"/>
              <a:gd name="connsiteX409" fmla="*/ 1970755 w 3473628"/>
              <a:gd name="connsiteY409" fmla="*/ 8461 h 2831069"/>
              <a:gd name="connsiteX410" fmla="*/ 2009260 w 3473628"/>
              <a:gd name="connsiteY410" fmla="*/ 49494 h 2831069"/>
              <a:gd name="connsiteX411" fmla="*/ 2058292 w 3473628"/>
              <a:gd name="connsiteY411" fmla="*/ 104412 h 2831069"/>
              <a:gd name="connsiteX412" fmla="*/ 2093544 w 3473628"/>
              <a:gd name="connsiteY412" fmla="*/ 149010 h 2831069"/>
              <a:gd name="connsiteX413" fmla="*/ 2084487 w 3473628"/>
              <a:gd name="connsiteY413" fmla="*/ 165837 h 2831069"/>
              <a:gd name="connsiteX414" fmla="*/ 2039599 w 3473628"/>
              <a:gd name="connsiteY414" fmla="*/ 172593 h 2831069"/>
              <a:gd name="connsiteX415" fmla="*/ 2028657 w 3473628"/>
              <a:gd name="connsiteY415" fmla="*/ 186976 h 2831069"/>
              <a:gd name="connsiteX416" fmla="*/ 2037424 w 3473628"/>
              <a:gd name="connsiteY416" fmla="*/ 210435 h 2831069"/>
              <a:gd name="connsiteX417" fmla="*/ 2052531 w 3473628"/>
              <a:gd name="connsiteY417" fmla="*/ 240360 h 2831069"/>
              <a:gd name="connsiteX418" fmla="*/ 2063183 w 3473628"/>
              <a:gd name="connsiteY418" fmla="*/ 276606 h 2831069"/>
              <a:gd name="connsiteX419" fmla="*/ 2061173 w 3473628"/>
              <a:gd name="connsiteY419" fmla="*/ 308832 h 2831069"/>
              <a:gd name="connsiteX420" fmla="*/ 2047226 w 3473628"/>
              <a:gd name="connsiteY420" fmla="*/ 318324 h 2831069"/>
              <a:gd name="connsiteX421" fmla="*/ 2037009 w 3473628"/>
              <a:gd name="connsiteY421" fmla="*/ 303216 h 2831069"/>
              <a:gd name="connsiteX422" fmla="*/ 2039890 w 3473628"/>
              <a:gd name="connsiteY422" fmla="*/ 281932 h 2831069"/>
              <a:gd name="connsiteX423" fmla="*/ 2037589 w 3473628"/>
              <a:gd name="connsiteY423" fmla="*/ 253168 h 2831069"/>
              <a:gd name="connsiteX424" fmla="*/ 2017301 w 3473628"/>
              <a:gd name="connsiteY424" fmla="*/ 238640 h 2831069"/>
              <a:gd name="connsiteX425" fmla="*/ 1980039 w 3473628"/>
              <a:gd name="connsiteY425" fmla="*/ 250142 h 2831069"/>
              <a:gd name="connsiteX426" fmla="*/ 1965367 w 3473628"/>
              <a:gd name="connsiteY426" fmla="*/ 281207 h 2831069"/>
              <a:gd name="connsiteX427" fmla="*/ 1979604 w 3473628"/>
              <a:gd name="connsiteY427" fmla="*/ 326820 h 2831069"/>
              <a:gd name="connsiteX428" fmla="*/ 2042625 w 3473628"/>
              <a:gd name="connsiteY428" fmla="*/ 396598 h 2831069"/>
              <a:gd name="connsiteX429" fmla="*/ 2145208 w 3473628"/>
              <a:gd name="connsiteY429" fmla="*/ 455288 h 2831069"/>
              <a:gd name="connsiteX430" fmla="*/ 2223752 w 3473628"/>
              <a:gd name="connsiteY430" fmla="*/ 542183 h 2831069"/>
              <a:gd name="connsiteX431" fmla="*/ 2264889 w 3473628"/>
              <a:gd name="connsiteY431" fmla="*/ 604624 h 2831069"/>
              <a:gd name="connsiteX432" fmla="*/ 2331640 w 3473628"/>
              <a:gd name="connsiteY432" fmla="*/ 595132 h 2831069"/>
              <a:gd name="connsiteX433" fmla="*/ 2408753 w 3473628"/>
              <a:gd name="connsiteY433" fmla="*/ 561746 h 2831069"/>
              <a:gd name="connsiteX434" fmla="*/ 2486157 w 3473628"/>
              <a:gd name="connsiteY434" fmla="*/ 631088 h 2831069"/>
              <a:gd name="connsiteX435" fmla="*/ 2597797 w 3473628"/>
              <a:gd name="connsiteY435" fmla="*/ 831052 h 2831069"/>
              <a:gd name="connsiteX436" fmla="*/ 2689292 w 3473628"/>
              <a:gd name="connsiteY436" fmla="*/ 1008013 h 2831069"/>
              <a:gd name="connsiteX437" fmla="*/ 2728999 w 3473628"/>
              <a:gd name="connsiteY437" fmla="*/ 1141081 h 2831069"/>
              <a:gd name="connsiteX438" fmla="*/ 2722098 w 3473628"/>
              <a:gd name="connsiteY438" fmla="*/ 1265963 h 2831069"/>
              <a:gd name="connsiteX439" fmla="*/ 2726409 w 3473628"/>
              <a:gd name="connsiteY439" fmla="*/ 1370556 h 2831069"/>
              <a:gd name="connsiteX440" fmla="*/ 2748998 w 3473628"/>
              <a:gd name="connsiteY440" fmla="*/ 1502194 h 2831069"/>
              <a:gd name="connsiteX441" fmla="*/ 2793596 w 3473628"/>
              <a:gd name="connsiteY441" fmla="*/ 1683756 h 2831069"/>
              <a:gd name="connsiteX442" fmla="*/ 2841924 w 3473628"/>
              <a:gd name="connsiteY442" fmla="*/ 1899699 h 2831069"/>
              <a:gd name="connsiteX443" fmla="*/ 2835872 w 3473628"/>
              <a:gd name="connsiteY443" fmla="*/ 2160094 h 2831069"/>
              <a:gd name="connsiteX444" fmla="*/ 2789119 w 3473628"/>
              <a:gd name="connsiteY444" fmla="*/ 2458476 h 2831069"/>
              <a:gd name="connsiteX445" fmla="*/ 2737620 w 3473628"/>
              <a:gd name="connsiteY445" fmla="*/ 2693547 h 2831069"/>
              <a:gd name="connsiteX446" fmla="*/ 2657626 w 3473628"/>
              <a:gd name="connsiteY446" fmla="*/ 2723762 h 2831069"/>
              <a:gd name="connsiteX447" fmla="*/ 2479816 w 3473628"/>
              <a:gd name="connsiteY447" fmla="*/ 2656720 h 2831069"/>
              <a:gd name="connsiteX448" fmla="*/ 2254237 w 3473628"/>
              <a:gd name="connsiteY448" fmla="*/ 2611832 h 2831069"/>
              <a:gd name="connsiteX449" fmla="*/ 2082166 w 3473628"/>
              <a:gd name="connsiteY449" fmla="*/ 2636287 h 2831069"/>
              <a:gd name="connsiteX450" fmla="*/ 1994401 w 3473628"/>
              <a:gd name="connsiteY450" fmla="*/ 2663621 h 2831069"/>
              <a:gd name="connsiteX451" fmla="*/ 1965346 w 3473628"/>
              <a:gd name="connsiteY451" fmla="*/ 2610382 h 2831069"/>
              <a:gd name="connsiteX452" fmla="*/ 1972537 w 3473628"/>
              <a:gd name="connsiteY452" fmla="*/ 2529538 h 2831069"/>
              <a:gd name="connsiteX453" fmla="*/ 2001302 w 3473628"/>
              <a:gd name="connsiteY453" fmla="*/ 2410127 h 2831069"/>
              <a:gd name="connsiteX454" fmla="*/ 2065173 w 3473628"/>
              <a:gd name="connsiteY454" fmla="*/ 2234762 h 2831069"/>
              <a:gd name="connsiteX455" fmla="*/ 2185164 w 3473628"/>
              <a:gd name="connsiteY455" fmla="*/ 1982428 h 2831069"/>
              <a:gd name="connsiteX456" fmla="*/ 2272639 w 3473628"/>
              <a:gd name="connsiteY456" fmla="*/ 1790940 h 2831069"/>
              <a:gd name="connsiteX457" fmla="*/ 2341691 w 3473628"/>
              <a:gd name="connsiteY457" fmla="*/ 1698284 h 2831069"/>
              <a:gd name="connsiteX458" fmla="*/ 2369026 w 3473628"/>
              <a:gd name="connsiteY458" fmla="*/ 1632962 h 2831069"/>
              <a:gd name="connsiteX459" fmla="*/ 2351473 w 3473628"/>
              <a:gd name="connsiteY459" fmla="*/ 1607927 h 2831069"/>
              <a:gd name="connsiteX460" fmla="*/ 2270774 w 3473628"/>
              <a:gd name="connsiteY460" fmla="*/ 1653541 h 2831069"/>
              <a:gd name="connsiteX461" fmla="*/ 2210343 w 3473628"/>
              <a:gd name="connsiteY461" fmla="*/ 1626206 h 2831069"/>
              <a:gd name="connsiteX462" fmla="*/ 2164585 w 3473628"/>
              <a:gd name="connsiteY462" fmla="*/ 1571972 h 2831069"/>
              <a:gd name="connsiteX463" fmla="*/ 2149623 w 3473628"/>
              <a:gd name="connsiteY463" fmla="*/ 1525364 h 2831069"/>
              <a:gd name="connsiteX464" fmla="*/ 2171776 w 3473628"/>
              <a:gd name="connsiteY464" fmla="*/ 1480476 h 2831069"/>
              <a:gd name="connsiteX465" fmla="*/ 2219690 w 3473628"/>
              <a:gd name="connsiteY465" fmla="*/ 1471710 h 2831069"/>
              <a:gd name="connsiteX466" fmla="*/ 2304575 w 3473628"/>
              <a:gd name="connsiteY466" fmla="*/ 1491128 h 2831069"/>
              <a:gd name="connsiteX467" fmla="*/ 2357939 w 3473628"/>
              <a:gd name="connsiteY467" fmla="*/ 1495148 h 2831069"/>
              <a:gd name="connsiteX468" fmla="*/ 2365130 w 3473628"/>
              <a:gd name="connsiteY468" fmla="*/ 1468539 h 2831069"/>
              <a:gd name="connsiteX469" fmla="*/ 2343411 w 3473628"/>
              <a:gd name="connsiteY469" fmla="*/ 1383509 h 2831069"/>
              <a:gd name="connsiteX470" fmla="*/ 2328594 w 3473628"/>
              <a:gd name="connsiteY470" fmla="*/ 1282957 h 2831069"/>
              <a:gd name="connsiteX471" fmla="*/ 2324428 w 3473628"/>
              <a:gd name="connsiteY471" fmla="*/ 1207999 h 2831069"/>
              <a:gd name="connsiteX472" fmla="*/ 2305735 w 3473628"/>
              <a:gd name="connsiteY472" fmla="*/ 1175628 h 2831069"/>
              <a:gd name="connsiteX473" fmla="*/ 2240559 w 3473628"/>
              <a:gd name="connsiteY473" fmla="*/ 1175918 h 2831069"/>
              <a:gd name="connsiteX474" fmla="*/ 2155964 w 3473628"/>
              <a:gd name="connsiteY474" fmla="*/ 1209574 h 2831069"/>
              <a:gd name="connsiteX475" fmla="*/ 2105750 w 3473628"/>
              <a:gd name="connsiteY475" fmla="*/ 1260223 h 2831069"/>
              <a:gd name="connsiteX476" fmla="*/ 2085171 w 3473628"/>
              <a:gd name="connsiteY476" fmla="*/ 1297774 h 2831069"/>
              <a:gd name="connsiteX477" fmla="*/ 2074664 w 3473628"/>
              <a:gd name="connsiteY477" fmla="*/ 1286977 h 2831069"/>
              <a:gd name="connsiteX478" fmla="*/ 2069918 w 3473628"/>
              <a:gd name="connsiteY478" fmla="*/ 1234028 h 2831069"/>
              <a:gd name="connsiteX479" fmla="*/ 2108050 w 3473628"/>
              <a:gd name="connsiteY479" fmla="*/ 1171587 h 2831069"/>
              <a:gd name="connsiteX480" fmla="*/ 2189910 w 3473628"/>
              <a:gd name="connsiteY480" fmla="*/ 1136045 h 2831069"/>
              <a:gd name="connsiteX481" fmla="*/ 2269759 w 3473628"/>
              <a:gd name="connsiteY481" fmla="*/ 1132294 h 2831069"/>
              <a:gd name="connsiteX482" fmla="*/ 2308450 w 3473628"/>
              <a:gd name="connsiteY482" fmla="*/ 1125683 h 2831069"/>
              <a:gd name="connsiteX483" fmla="*/ 2307290 w 3473628"/>
              <a:gd name="connsiteY483" fmla="*/ 1074765 h 2831069"/>
              <a:gd name="connsiteX484" fmla="*/ 2297653 w 3473628"/>
              <a:gd name="connsiteY484" fmla="*/ 1036778 h 2831069"/>
              <a:gd name="connsiteX485" fmla="*/ 2262982 w 3473628"/>
              <a:gd name="connsiteY485" fmla="*/ 1022831 h 2831069"/>
              <a:gd name="connsiteX486" fmla="*/ 2194655 w 3473628"/>
              <a:gd name="connsiteY486" fmla="*/ 1035493 h 2831069"/>
              <a:gd name="connsiteX487" fmla="*/ 2144296 w 3473628"/>
              <a:gd name="connsiteY487" fmla="*/ 1081811 h 2831069"/>
              <a:gd name="connsiteX488" fmla="*/ 2106310 w 3473628"/>
              <a:gd name="connsiteY488" fmla="*/ 1120088 h 2831069"/>
              <a:gd name="connsiteX489" fmla="*/ 2043434 w 3473628"/>
              <a:gd name="connsiteY489" fmla="*/ 1152894 h 2831069"/>
              <a:gd name="connsiteX490" fmla="*/ 1998401 w 3473628"/>
              <a:gd name="connsiteY490" fmla="*/ 1194756 h 2831069"/>
              <a:gd name="connsiteX491" fmla="*/ 1991645 w 3473628"/>
              <a:gd name="connsiteY491" fmla="*/ 1239354 h 2831069"/>
              <a:gd name="connsiteX492" fmla="*/ 2014669 w 3473628"/>
              <a:gd name="connsiteY492" fmla="*/ 1279351 h 2831069"/>
              <a:gd name="connsiteX493" fmla="*/ 2051350 w 3473628"/>
              <a:gd name="connsiteY493" fmla="*/ 1309566 h 2831069"/>
              <a:gd name="connsiteX494" fmla="*/ 2064157 w 3473628"/>
              <a:gd name="connsiteY494" fmla="*/ 1331865 h 2831069"/>
              <a:gd name="connsiteX495" fmla="*/ 2053505 w 3473628"/>
              <a:gd name="connsiteY495" fmla="*/ 1376173 h 2831069"/>
              <a:gd name="connsiteX496" fmla="*/ 2057671 w 3473628"/>
              <a:gd name="connsiteY496" fmla="*/ 1437598 h 2831069"/>
              <a:gd name="connsiteX497" fmla="*/ 2084715 w 3473628"/>
              <a:gd name="connsiteY497" fmla="*/ 1526939 h 2831069"/>
              <a:gd name="connsiteX498" fmla="*/ 2142556 w 3473628"/>
              <a:gd name="connsiteY498" fmla="*/ 1590374 h 2831069"/>
              <a:gd name="connsiteX499" fmla="*/ 2188583 w 3473628"/>
              <a:gd name="connsiteY499" fmla="*/ 1652525 h 2831069"/>
              <a:gd name="connsiteX500" fmla="*/ 2211753 w 3473628"/>
              <a:gd name="connsiteY500" fmla="*/ 1709350 h 2831069"/>
              <a:gd name="connsiteX501" fmla="*/ 2213038 w 3473628"/>
              <a:gd name="connsiteY501" fmla="*/ 1751502 h 2831069"/>
              <a:gd name="connsiteX502" fmla="*/ 2193619 w 3473628"/>
              <a:gd name="connsiteY502" fmla="*/ 1786463 h 2831069"/>
              <a:gd name="connsiteX503" fmla="*/ 2145416 w 3473628"/>
              <a:gd name="connsiteY503" fmla="*/ 1826170 h 2831069"/>
              <a:gd name="connsiteX504" fmla="*/ 2094062 w 3473628"/>
              <a:gd name="connsiteY504" fmla="*/ 1865877 h 2831069"/>
              <a:gd name="connsiteX505" fmla="*/ 2067452 w 3473628"/>
              <a:gd name="connsiteY505" fmla="*/ 1897668 h 2831069"/>
              <a:gd name="connsiteX506" fmla="*/ 2076654 w 3473628"/>
              <a:gd name="connsiteY506" fmla="*/ 1913791 h 2831069"/>
              <a:gd name="connsiteX507" fmla="*/ 2097668 w 3473628"/>
              <a:gd name="connsiteY507" fmla="*/ 1937955 h 2831069"/>
              <a:gd name="connsiteX508" fmla="*/ 2095077 w 3473628"/>
              <a:gd name="connsiteY508" fmla="*/ 2004416 h 2831069"/>
              <a:gd name="connsiteX509" fmla="*/ 2059391 w 3473628"/>
              <a:gd name="connsiteY509" fmla="*/ 2109155 h 2831069"/>
              <a:gd name="connsiteX510" fmla="*/ 1969325 w 3473628"/>
              <a:gd name="connsiteY510" fmla="*/ 2331853 h 2831069"/>
              <a:gd name="connsiteX511" fmla="*/ 1904584 w 3473628"/>
              <a:gd name="connsiteY511" fmla="*/ 2574405 h 2831069"/>
              <a:gd name="connsiteX512" fmla="*/ 1892502 w 3473628"/>
              <a:gd name="connsiteY512" fmla="*/ 2764443 h 2831069"/>
              <a:gd name="connsiteX513" fmla="*/ 2038812 w 3473628"/>
              <a:gd name="connsiteY513" fmla="*/ 2824874 h 2831069"/>
              <a:gd name="connsiteX514" fmla="*/ 2686909 w 3473628"/>
              <a:gd name="connsiteY514" fmla="*/ 2831070 h 2831069"/>
              <a:gd name="connsiteX515" fmla="*/ 3473628 w 3473628"/>
              <a:gd name="connsiteY515" fmla="*/ 2831070 h 2831069"/>
              <a:gd name="connsiteX0" fmla="*/ 1517131 w 3473628"/>
              <a:gd name="connsiteY0" fmla="*/ 2717420 h 2831071"/>
              <a:gd name="connsiteX1" fmla="*/ 1452970 w 3473628"/>
              <a:gd name="connsiteY1" fmla="*/ 2641468 h 2831071"/>
              <a:gd name="connsiteX2" fmla="*/ 1358883 w 3473628"/>
              <a:gd name="connsiteY2" fmla="*/ 2615293 h 2831071"/>
              <a:gd name="connsiteX3" fmla="*/ 1279760 w 3473628"/>
              <a:gd name="connsiteY3" fmla="*/ 2592559 h 2831071"/>
              <a:gd name="connsiteX4" fmla="*/ 1214873 w 3473628"/>
              <a:gd name="connsiteY4" fmla="*/ 2517746 h 2831071"/>
              <a:gd name="connsiteX5" fmla="*/ 1186254 w 3473628"/>
              <a:gd name="connsiteY5" fmla="*/ 2427970 h 2831071"/>
              <a:gd name="connsiteX6" fmla="*/ 1188409 w 3473628"/>
              <a:gd name="connsiteY6" fmla="*/ 2366980 h 2831071"/>
              <a:gd name="connsiteX7" fmla="*/ 1213734 w 3473628"/>
              <a:gd name="connsiteY7" fmla="*/ 2320662 h 2831071"/>
              <a:gd name="connsiteX8" fmla="*/ 1209568 w 3473628"/>
              <a:gd name="connsiteY8" fmla="*/ 2270448 h 2831071"/>
              <a:gd name="connsiteX9" fmla="*/ 1120808 w 3473628"/>
              <a:gd name="connsiteY9" fmla="*/ 2115662 h 2831071"/>
              <a:gd name="connsiteX10" fmla="*/ 1030182 w 3473628"/>
              <a:gd name="connsiteY10" fmla="*/ 1957124 h 2831071"/>
              <a:gd name="connsiteX11" fmla="*/ 963576 w 3473628"/>
              <a:gd name="connsiteY11" fmla="*/ 1924173 h 2831071"/>
              <a:gd name="connsiteX12" fmla="*/ 805764 w 3473628"/>
              <a:gd name="connsiteY12" fmla="*/ 1954244 h 2831071"/>
              <a:gd name="connsiteX13" fmla="*/ 604929 w 3473628"/>
              <a:gd name="connsiteY13" fmla="*/ 1989060 h 2831071"/>
              <a:gd name="connsiteX14" fmla="*/ 477332 w 3473628"/>
              <a:gd name="connsiteY14" fmla="*/ 1993661 h 2831071"/>
              <a:gd name="connsiteX15" fmla="*/ 361672 w 3473628"/>
              <a:gd name="connsiteY15" fmla="*/ 2000852 h 2831071"/>
              <a:gd name="connsiteX16" fmla="*/ 98687 w 3473628"/>
              <a:gd name="connsiteY16" fmla="*/ 2062567 h 2831071"/>
              <a:gd name="connsiteX17" fmla="*/ 3316 w 3473628"/>
              <a:gd name="connsiteY17" fmla="*/ 2090047 h 2831071"/>
              <a:gd name="connsiteX18" fmla="*/ 45468 w 3473628"/>
              <a:gd name="connsiteY18" fmla="*/ 2164135 h 2831071"/>
              <a:gd name="connsiteX19" fmla="*/ 243277 w 3473628"/>
              <a:gd name="connsiteY19" fmla="*/ 2417629 h 2831071"/>
              <a:gd name="connsiteX20" fmla="*/ 343270 w 3473628"/>
              <a:gd name="connsiteY20" fmla="*/ 2553723 h 2831071"/>
              <a:gd name="connsiteX21" fmla="*/ 396634 w 3473628"/>
              <a:gd name="connsiteY21" fmla="*/ 2608392 h 2831071"/>
              <a:gd name="connsiteX22" fmla="*/ 442102 w 3473628"/>
              <a:gd name="connsiteY22" fmla="*/ 2644348 h 2831071"/>
              <a:gd name="connsiteX23" fmla="*/ 450018 w 3473628"/>
              <a:gd name="connsiteY23" fmla="*/ 2670108 h 2831071"/>
              <a:gd name="connsiteX24" fmla="*/ 431180 w 3473628"/>
              <a:gd name="connsiteY24" fmla="*/ 2687516 h 2831071"/>
              <a:gd name="connsiteX25" fmla="*/ 385007 w 3473628"/>
              <a:gd name="connsiteY25" fmla="*/ 2665507 h 2831071"/>
              <a:gd name="connsiteX26" fmla="*/ 320266 w 3473628"/>
              <a:gd name="connsiteY26" fmla="*/ 2569991 h 2831071"/>
              <a:gd name="connsiteX27" fmla="*/ 307459 w 3473628"/>
              <a:gd name="connsiteY27" fmla="*/ 2513166 h 2831071"/>
              <a:gd name="connsiteX28" fmla="*/ 319396 w 3473628"/>
              <a:gd name="connsiteY28" fmla="*/ 2499923 h 2831071"/>
              <a:gd name="connsiteX29" fmla="*/ 348015 w 3473628"/>
              <a:gd name="connsiteY29" fmla="*/ 2524378 h 2831071"/>
              <a:gd name="connsiteX30" fmla="*/ 378086 w 3473628"/>
              <a:gd name="connsiteY30" fmla="*/ 2562364 h 2831071"/>
              <a:gd name="connsiteX31" fmla="*/ 409731 w 3473628"/>
              <a:gd name="connsiteY31" fmla="*/ 2581348 h 2831071"/>
              <a:gd name="connsiteX32" fmla="*/ 431740 w 3473628"/>
              <a:gd name="connsiteY32" fmla="*/ 2604372 h 2831071"/>
              <a:gd name="connsiteX33" fmla="*/ 455323 w 3473628"/>
              <a:gd name="connsiteY33" fmla="*/ 2623645 h 2831071"/>
              <a:gd name="connsiteX34" fmla="*/ 472006 w 3473628"/>
              <a:gd name="connsiteY34" fmla="*/ 2654005 h 2831071"/>
              <a:gd name="connsiteX35" fmla="*/ 483798 w 3473628"/>
              <a:gd name="connsiteY35" fmla="*/ 2705649 h 2831071"/>
              <a:gd name="connsiteX36" fmla="*/ 515029 w 3473628"/>
              <a:gd name="connsiteY36" fmla="*/ 2761707 h 2831071"/>
              <a:gd name="connsiteX37" fmla="*/ 593924 w 3473628"/>
              <a:gd name="connsiteY37" fmla="*/ 2781975 h 2831071"/>
              <a:gd name="connsiteX38" fmla="*/ 917921 w 3473628"/>
              <a:gd name="connsiteY38" fmla="*/ 2784234 h 2831071"/>
              <a:gd name="connsiteX39" fmla="*/ 1481859 w 3473628"/>
              <a:gd name="connsiteY39" fmla="*/ 2784234 h 2831071"/>
              <a:gd name="connsiteX40" fmla="*/ 1611175 w 3473628"/>
              <a:gd name="connsiteY40" fmla="*/ 2760402 h 2831071"/>
              <a:gd name="connsiteX41" fmla="*/ 1530415 w 3473628"/>
              <a:gd name="connsiteY41" fmla="*/ 2653819 h 2831071"/>
              <a:gd name="connsiteX42" fmla="*/ 1485506 w 3473628"/>
              <a:gd name="connsiteY42" fmla="*/ 2582508 h 2831071"/>
              <a:gd name="connsiteX43" fmla="*/ 1444639 w 3473628"/>
              <a:gd name="connsiteY43" fmla="*/ 2563380 h 2831071"/>
              <a:gd name="connsiteX44" fmla="*/ 1360914 w 3473628"/>
              <a:gd name="connsiteY44" fmla="*/ 2569701 h 2831071"/>
              <a:gd name="connsiteX45" fmla="*/ 1305374 w 3473628"/>
              <a:gd name="connsiteY45" fmla="*/ 2561204 h 2831071"/>
              <a:gd name="connsiteX46" fmla="*/ 1259906 w 3473628"/>
              <a:gd name="connsiteY46" fmla="*/ 2517187 h 2831071"/>
              <a:gd name="connsiteX47" fmla="*/ 1228551 w 3473628"/>
              <a:gd name="connsiteY47" fmla="*/ 2442519 h 2831071"/>
              <a:gd name="connsiteX48" fmla="*/ 1227121 w 3473628"/>
              <a:gd name="connsiteY48" fmla="*/ 2364680 h 2831071"/>
              <a:gd name="connsiteX49" fmla="*/ 1271139 w 3473628"/>
              <a:gd name="connsiteY49" fmla="*/ 2317491 h 2831071"/>
              <a:gd name="connsiteX50" fmla="*/ 1254021 w 3473628"/>
              <a:gd name="connsiteY50" fmla="*/ 2254201 h 2831071"/>
              <a:gd name="connsiteX51" fmla="*/ 1118217 w 3473628"/>
              <a:gd name="connsiteY51" fmla="*/ 2041429 h 2831071"/>
              <a:gd name="connsiteX52" fmla="*/ 1021105 w 3473628"/>
              <a:gd name="connsiteY52" fmla="*/ 1888363 h 2831071"/>
              <a:gd name="connsiteX53" fmla="*/ 969171 w 3473628"/>
              <a:gd name="connsiteY53" fmla="*/ 1865338 h 2831071"/>
              <a:gd name="connsiteX54" fmla="*/ 890048 w 3473628"/>
              <a:gd name="connsiteY54" fmla="*/ 1886477 h 2831071"/>
              <a:gd name="connsiteX55" fmla="*/ 773808 w 3473628"/>
              <a:gd name="connsiteY55" fmla="*/ 1916837 h 2831071"/>
              <a:gd name="connsiteX56" fmla="*/ 552974 w 3473628"/>
              <a:gd name="connsiteY56" fmla="*/ 1960565 h 2831071"/>
              <a:gd name="connsiteX57" fmla="*/ 460463 w 3473628"/>
              <a:gd name="connsiteY57" fmla="*/ 1968771 h 2831071"/>
              <a:gd name="connsiteX58" fmla="*/ 390251 w 3473628"/>
              <a:gd name="connsiteY58" fmla="*/ 1936110 h 2831071"/>
              <a:gd name="connsiteX59" fmla="*/ 237329 w 3473628"/>
              <a:gd name="connsiteY59" fmla="*/ 1817280 h 2831071"/>
              <a:gd name="connsiteX60" fmla="*/ 148859 w 3473628"/>
              <a:gd name="connsiteY60" fmla="*/ 1724478 h 2831071"/>
              <a:gd name="connsiteX61" fmla="*/ 135326 w 3473628"/>
              <a:gd name="connsiteY61" fmla="*/ 1660753 h 2831071"/>
              <a:gd name="connsiteX62" fmla="*/ 160361 w 3473628"/>
              <a:gd name="connsiteY62" fmla="*/ 1619326 h 2831071"/>
              <a:gd name="connsiteX63" fmla="*/ 206534 w 3473628"/>
              <a:gd name="connsiteY63" fmla="*/ 1610829 h 2831071"/>
              <a:gd name="connsiteX64" fmla="*/ 299894 w 3473628"/>
              <a:gd name="connsiteY64" fmla="*/ 1646370 h 2831071"/>
              <a:gd name="connsiteX65" fmla="*/ 372552 w 3473628"/>
              <a:gd name="connsiteY65" fmla="*/ 1668959 h 2831071"/>
              <a:gd name="connsiteX66" fmla="*/ 375723 w 3473628"/>
              <a:gd name="connsiteY66" fmla="*/ 1692688 h 2831071"/>
              <a:gd name="connsiteX67" fmla="*/ 313282 w 3473628"/>
              <a:gd name="connsiteY67" fmla="*/ 1712832 h 2831071"/>
              <a:gd name="connsiteX68" fmla="*/ 211134 w 3473628"/>
              <a:gd name="connsiteY68" fmla="*/ 1685787 h 2831071"/>
              <a:gd name="connsiteX69" fmla="*/ 161356 w 3473628"/>
              <a:gd name="connsiteY69" fmla="*/ 1648235 h 2831071"/>
              <a:gd name="connsiteX70" fmla="*/ 166391 w 3473628"/>
              <a:gd name="connsiteY70" fmla="*/ 1605586 h 2831071"/>
              <a:gd name="connsiteX71" fmla="*/ 200192 w 3473628"/>
              <a:gd name="connsiteY71" fmla="*/ 1577816 h 2831071"/>
              <a:gd name="connsiteX72" fmla="*/ 287232 w 3473628"/>
              <a:gd name="connsiteY72" fmla="*/ 1590830 h 2831071"/>
              <a:gd name="connsiteX73" fmla="*/ 369009 w 3473628"/>
              <a:gd name="connsiteY73" fmla="*/ 1618953 h 2831071"/>
              <a:gd name="connsiteX74" fmla="*/ 419927 w 3473628"/>
              <a:gd name="connsiteY74" fmla="*/ 1621046 h 2831071"/>
              <a:gd name="connsiteX75" fmla="*/ 508625 w 3473628"/>
              <a:gd name="connsiteY75" fmla="*/ 1559682 h 2831071"/>
              <a:gd name="connsiteX76" fmla="*/ 603872 w 3473628"/>
              <a:gd name="connsiteY76" fmla="*/ 1496164 h 2831071"/>
              <a:gd name="connsiteX77" fmla="*/ 672489 w 3473628"/>
              <a:gd name="connsiteY77" fmla="*/ 1469699 h 2831071"/>
              <a:gd name="connsiteX78" fmla="*/ 740318 w 3473628"/>
              <a:gd name="connsiteY78" fmla="*/ 1459835 h 2831071"/>
              <a:gd name="connsiteX79" fmla="*/ 810675 w 3473628"/>
              <a:gd name="connsiteY79" fmla="*/ 1421288 h 2831071"/>
              <a:gd name="connsiteX80" fmla="*/ 854631 w 3473628"/>
              <a:gd name="connsiteY80" fmla="*/ 1394969 h 2831071"/>
              <a:gd name="connsiteX81" fmla="*/ 862982 w 3473628"/>
              <a:gd name="connsiteY81" fmla="*/ 1380214 h 2831071"/>
              <a:gd name="connsiteX82" fmla="*/ 851688 w 3473628"/>
              <a:gd name="connsiteY82" fmla="*/ 1366412 h 2831071"/>
              <a:gd name="connsiteX83" fmla="*/ 827524 w 3473628"/>
              <a:gd name="connsiteY83" fmla="*/ 1363614 h 2831071"/>
              <a:gd name="connsiteX84" fmla="*/ 824291 w 3473628"/>
              <a:gd name="connsiteY84" fmla="*/ 1354910 h 2831071"/>
              <a:gd name="connsiteX85" fmla="*/ 846652 w 3473628"/>
              <a:gd name="connsiteY85" fmla="*/ 1340030 h 2831071"/>
              <a:gd name="connsiteX86" fmla="*/ 880308 w 3473628"/>
              <a:gd name="connsiteY86" fmla="*/ 1319161 h 2831071"/>
              <a:gd name="connsiteX87" fmla="*/ 897363 w 3473628"/>
              <a:gd name="connsiteY87" fmla="*/ 1302831 h 2831071"/>
              <a:gd name="connsiteX88" fmla="*/ 886794 w 3473628"/>
              <a:gd name="connsiteY88" fmla="*/ 1295930 h 2831071"/>
              <a:gd name="connsiteX89" fmla="*/ 844642 w 3473628"/>
              <a:gd name="connsiteY89" fmla="*/ 1306934 h 2831071"/>
              <a:gd name="connsiteX90" fmla="*/ 809536 w 3473628"/>
              <a:gd name="connsiteY90" fmla="*/ 1335347 h 2831071"/>
              <a:gd name="connsiteX91" fmla="*/ 787029 w 3473628"/>
              <a:gd name="connsiteY91" fmla="*/ 1349667 h 2831071"/>
              <a:gd name="connsiteX92" fmla="*/ 782139 w 3473628"/>
              <a:gd name="connsiteY92" fmla="*/ 1343346 h 2831071"/>
              <a:gd name="connsiteX93" fmla="*/ 804583 w 3473628"/>
              <a:gd name="connsiteY93" fmla="*/ 1325296 h 2831071"/>
              <a:gd name="connsiteX94" fmla="*/ 816810 w 3473628"/>
              <a:gd name="connsiteY94" fmla="*/ 1307743 h 2831071"/>
              <a:gd name="connsiteX95" fmla="*/ 811276 w 3473628"/>
              <a:gd name="connsiteY95" fmla="*/ 1290977 h 2831071"/>
              <a:gd name="connsiteX96" fmla="*/ 791713 w 3473628"/>
              <a:gd name="connsiteY96" fmla="*/ 1290832 h 2831071"/>
              <a:gd name="connsiteX97" fmla="*/ 761933 w 3473628"/>
              <a:gd name="connsiteY97" fmla="*/ 1313856 h 2831071"/>
              <a:gd name="connsiteX98" fmla="*/ 742515 w 3473628"/>
              <a:gd name="connsiteY98" fmla="*/ 1324218 h 2831071"/>
              <a:gd name="connsiteX99" fmla="*/ 739862 w 3473628"/>
              <a:gd name="connsiteY99" fmla="*/ 1318457 h 2831071"/>
              <a:gd name="connsiteX100" fmla="*/ 752296 w 3473628"/>
              <a:gd name="connsiteY100" fmla="*/ 1300406 h 2831071"/>
              <a:gd name="connsiteX101" fmla="*/ 772585 w 3473628"/>
              <a:gd name="connsiteY101" fmla="*/ 1280615 h 2831071"/>
              <a:gd name="connsiteX102" fmla="*/ 776108 w 3473628"/>
              <a:gd name="connsiteY102" fmla="*/ 1263994 h 2831071"/>
              <a:gd name="connsiteX103" fmla="*/ 761083 w 3473628"/>
              <a:gd name="connsiteY103" fmla="*/ 1258026 h 2831071"/>
              <a:gd name="connsiteX104" fmla="*/ 718869 w 3473628"/>
              <a:gd name="connsiteY104" fmla="*/ 1273051 h 2831071"/>
              <a:gd name="connsiteX105" fmla="*/ 639600 w 3473628"/>
              <a:gd name="connsiteY105" fmla="*/ 1331181 h 2831071"/>
              <a:gd name="connsiteX106" fmla="*/ 569678 w 3473628"/>
              <a:gd name="connsiteY106" fmla="*/ 1382100 h 2831071"/>
              <a:gd name="connsiteX107" fmla="*/ 456173 w 3473628"/>
              <a:gd name="connsiteY107" fmla="*/ 1442530 h 2831071"/>
              <a:gd name="connsiteX108" fmla="*/ 325406 w 3473628"/>
              <a:gd name="connsiteY108" fmla="*/ 1515188 h 2831071"/>
              <a:gd name="connsiteX109" fmla="*/ 239526 w 3473628"/>
              <a:gd name="connsiteY109" fmla="*/ 1551144 h 2831071"/>
              <a:gd name="connsiteX110" fmla="*/ 218388 w 3473628"/>
              <a:gd name="connsiteY110" fmla="*/ 1575453 h 2831071"/>
              <a:gd name="connsiteX111" fmla="*/ 272912 w 3473628"/>
              <a:gd name="connsiteY111" fmla="*/ 1602208 h 2831071"/>
              <a:gd name="connsiteX112" fmla="*/ 357797 w 3473628"/>
              <a:gd name="connsiteY112" fmla="*/ 1635863 h 2831071"/>
              <a:gd name="connsiteX113" fmla="*/ 403410 w 3473628"/>
              <a:gd name="connsiteY113" fmla="*/ 1653271 h 2831071"/>
              <a:gd name="connsiteX114" fmla="*/ 416073 w 3473628"/>
              <a:gd name="connsiteY114" fmla="*/ 1682036 h 2831071"/>
              <a:gd name="connsiteX115" fmla="*/ 440817 w 3473628"/>
              <a:gd name="connsiteY115" fmla="*/ 1705060 h 2831071"/>
              <a:gd name="connsiteX116" fmla="*/ 514469 w 3473628"/>
              <a:gd name="connsiteY116" fmla="*/ 1733680 h 2831071"/>
              <a:gd name="connsiteX117" fmla="*/ 651288 w 3473628"/>
              <a:gd name="connsiteY117" fmla="*/ 1765905 h 2831071"/>
              <a:gd name="connsiteX118" fmla="*/ 768109 w 3473628"/>
              <a:gd name="connsiteY118" fmla="*/ 1785179 h 2831071"/>
              <a:gd name="connsiteX119" fmla="*/ 837306 w 3473628"/>
              <a:gd name="connsiteY119" fmla="*/ 1824740 h 2831071"/>
              <a:gd name="connsiteX120" fmla="*/ 840621 w 3473628"/>
              <a:gd name="connsiteY120" fmla="*/ 1854666 h 2831071"/>
              <a:gd name="connsiteX121" fmla="*/ 790843 w 3473628"/>
              <a:gd name="connsiteY121" fmla="*/ 1883430 h 2831071"/>
              <a:gd name="connsiteX122" fmla="*/ 713874 w 3473628"/>
              <a:gd name="connsiteY122" fmla="*/ 1902413 h 2831071"/>
              <a:gd name="connsiteX123" fmla="*/ 703367 w 3473628"/>
              <a:gd name="connsiteY123" fmla="*/ 1887741 h 2831071"/>
              <a:gd name="connsiteX124" fmla="*/ 735158 w 3473628"/>
              <a:gd name="connsiteY124" fmla="*/ 1840843 h 2831071"/>
              <a:gd name="connsiteX125" fmla="*/ 785662 w 3473628"/>
              <a:gd name="connsiteY125" fmla="*/ 1808037 h 2831071"/>
              <a:gd name="connsiteX126" fmla="*/ 864640 w 3473628"/>
              <a:gd name="connsiteY126" fmla="*/ 1809757 h 2831071"/>
              <a:gd name="connsiteX127" fmla="*/ 904637 w 3473628"/>
              <a:gd name="connsiteY127" fmla="*/ 1789468 h 2831071"/>
              <a:gd name="connsiteX128" fmla="*/ 916284 w 3473628"/>
              <a:gd name="connsiteY128" fmla="*/ 1745161 h 2831071"/>
              <a:gd name="connsiteX129" fmla="*/ 912119 w 3473628"/>
              <a:gd name="connsiteY129" fmla="*/ 1675238 h 2831071"/>
              <a:gd name="connsiteX130" fmla="*/ 918025 w 3473628"/>
              <a:gd name="connsiteY130" fmla="*/ 1647904 h 2831071"/>
              <a:gd name="connsiteX131" fmla="*/ 946230 w 3473628"/>
              <a:gd name="connsiteY131" fmla="*/ 1644588 h 2831071"/>
              <a:gd name="connsiteX132" fmla="*/ 993128 w 3473628"/>
              <a:gd name="connsiteY132" fmla="*/ 1664587 h 2831071"/>
              <a:gd name="connsiteX133" fmla="*/ 1043632 w 3473628"/>
              <a:gd name="connsiteY133" fmla="*/ 1685455 h 2831071"/>
              <a:gd name="connsiteX134" fmla="*/ 1091110 w 3473628"/>
              <a:gd name="connsiteY134" fmla="*/ 1667032 h 2831071"/>
              <a:gd name="connsiteX135" fmla="*/ 1113844 w 3473628"/>
              <a:gd name="connsiteY135" fmla="*/ 1609046 h 2831071"/>
              <a:gd name="connsiteX136" fmla="*/ 1137573 w 3473628"/>
              <a:gd name="connsiteY136" fmla="*/ 1536244 h 2831071"/>
              <a:gd name="connsiteX137" fmla="*/ 1175270 w 3473628"/>
              <a:gd name="connsiteY137" fmla="*/ 1484165 h 2831071"/>
              <a:gd name="connsiteX138" fmla="*/ 1215847 w 3473628"/>
              <a:gd name="connsiteY138" fmla="*/ 1437702 h 2831071"/>
              <a:gd name="connsiteX139" fmla="*/ 1213837 w 3473628"/>
              <a:gd name="connsiteY139" fmla="*/ 1405911 h 2831071"/>
              <a:gd name="connsiteX140" fmla="*/ 1160743 w 3473628"/>
              <a:gd name="connsiteY140" fmla="*/ 1359449 h 2831071"/>
              <a:gd name="connsiteX141" fmla="*/ 1072273 w 3473628"/>
              <a:gd name="connsiteY141" fmla="*/ 1326207 h 2831071"/>
              <a:gd name="connsiteX142" fmla="*/ 969420 w 3473628"/>
              <a:gd name="connsiteY142" fmla="*/ 1337709 h 2831071"/>
              <a:gd name="connsiteX143" fmla="*/ 912160 w 3473628"/>
              <a:gd name="connsiteY143" fmla="*/ 1380152 h 2831071"/>
              <a:gd name="connsiteX144" fmla="*/ 896327 w 3473628"/>
              <a:gd name="connsiteY144" fmla="*/ 1448333 h 2831071"/>
              <a:gd name="connsiteX145" fmla="*/ 877489 w 3473628"/>
              <a:gd name="connsiteY145" fmla="*/ 1512784 h 2831071"/>
              <a:gd name="connsiteX146" fmla="*/ 860806 w 3473628"/>
              <a:gd name="connsiteY146" fmla="*/ 1564138 h 2831071"/>
              <a:gd name="connsiteX147" fmla="*/ 859936 w 3473628"/>
              <a:gd name="connsiteY147" fmla="*/ 1636216 h 2831071"/>
              <a:gd name="connsiteX148" fmla="*/ 882670 w 3473628"/>
              <a:gd name="connsiteY148" fmla="*/ 1693040 h 2831071"/>
              <a:gd name="connsiteX149" fmla="*/ 939930 w 3473628"/>
              <a:gd name="connsiteY149" fmla="*/ 1728001 h 2831071"/>
              <a:gd name="connsiteX150" fmla="*/ 1032856 w 3473628"/>
              <a:gd name="connsiteY150" fmla="*/ 1733618 h 2831071"/>
              <a:gd name="connsiteX151" fmla="*/ 1121326 w 3473628"/>
              <a:gd name="connsiteY151" fmla="*/ 1688440 h 2831071"/>
              <a:gd name="connsiteX152" fmla="*/ 1171830 w 3473628"/>
              <a:gd name="connsiteY152" fmla="*/ 1627304 h 2831071"/>
              <a:gd name="connsiteX153" fmla="*/ 1192263 w 3473628"/>
              <a:gd name="connsiteY153" fmla="*/ 1592343 h 2831071"/>
              <a:gd name="connsiteX154" fmla="*/ 1215433 w 3473628"/>
              <a:gd name="connsiteY154" fmla="*/ 1590478 h 2831071"/>
              <a:gd name="connsiteX155" fmla="*/ 1223059 w 3473628"/>
              <a:gd name="connsiteY155" fmla="*/ 1624569 h 2831071"/>
              <a:gd name="connsiteX156" fmla="*/ 1193569 w 3473628"/>
              <a:gd name="connsiteY156" fmla="*/ 1655219 h 2831071"/>
              <a:gd name="connsiteX157" fmla="*/ 1160328 w 3473628"/>
              <a:gd name="connsiteY157" fmla="*/ 1650909 h 2831071"/>
              <a:gd name="connsiteX158" fmla="*/ 1152121 w 3473628"/>
              <a:gd name="connsiteY158" fmla="*/ 1619844 h 2831071"/>
              <a:gd name="connsiteX159" fmla="*/ 1169239 w 3473628"/>
              <a:gd name="connsiteY159" fmla="*/ 1577836 h 2831071"/>
              <a:gd name="connsiteX160" fmla="*/ 1208511 w 3473628"/>
              <a:gd name="connsiteY160" fmla="*/ 1555683 h 2831071"/>
              <a:gd name="connsiteX161" fmla="*/ 1223039 w 3473628"/>
              <a:gd name="connsiteY161" fmla="*/ 1534814 h 2831071"/>
              <a:gd name="connsiteX162" fmla="*/ 1221173 w 3473628"/>
              <a:gd name="connsiteY162" fmla="*/ 1493822 h 2831071"/>
              <a:gd name="connsiteX163" fmla="*/ 1192263 w 3473628"/>
              <a:gd name="connsiteY163" fmla="*/ 1435837 h 2831071"/>
              <a:gd name="connsiteX164" fmla="*/ 1126527 w 3473628"/>
              <a:gd name="connsiteY164" fmla="*/ 1373105 h 2831071"/>
              <a:gd name="connsiteX165" fmla="*/ 1015178 w 3473628"/>
              <a:gd name="connsiteY165" fmla="*/ 1361604 h 2831071"/>
              <a:gd name="connsiteX166" fmla="*/ 929299 w 3473628"/>
              <a:gd name="connsiteY166" fmla="*/ 1399591 h 2831071"/>
              <a:gd name="connsiteX167" fmla="*/ 891312 w 3473628"/>
              <a:gd name="connsiteY167" fmla="*/ 1413683 h 2831071"/>
              <a:gd name="connsiteX168" fmla="*/ 880805 w 3473628"/>
              <a:gd name="connsiteY168" fmla="*/ 1385623 h 2831071"/>
              <a:gd name="connsiteX169" fmla="*/ 887271 w 3473628"/>
              <a:gd name="connsiteY169" fmla="*/ 1343035 h 2831071"/>
              <a:gd name="connsiteX170" fmla="*/ 919351 w 3473628"/>
              <a:gd name="connsiteY170" fmla="*/ 1314270 h 2831071"/>
              <a:gd name="connsiteX171" fmla="*/ 976031 w 3473628"/>
              <a:gd name="connsiteY171" fmla="*/ 1293402 h 2831071"/>
              <a:gd name="connsiteX172" fmla="*/ 1018183 w 3473628"/>
              <a:gd name="connsiteY172" fmla="*/ 1281900 h 2831071"/>
              <a:gd name="connsiteX173" fmla="*/ 1050844 w 3473628"/>
              <a:gd name="connsiteY173" fmla="*/ 1268947 h 2831071"/>
              <a:gd name="connsiteX174" fmla="*/ 1109244 w 3473628"/>
              <a:gd name="connsiteY174" fmla="*/ 1272118 h 2831071"/>
              <a:gd name="connsiteX175" fmla="*/ 1183622 w 3473628"/>
              <a:gd name="connsiteY175" fmla="*/ 1306209 h 2831071"/>
              <a:gd name="connsiteX176" fmla="*/ 1247202 w 3473628"/>
              <a:gd name="connsiteY176" fmla="*/ 1382017 h 2831071"/>
              <a:gd name="connsiteX177" fmla="*/ 1276983 w 3473628"/>
              <a:gd name="connsiteY177" fmla="*/ 1470777 h 2831071"/>
              <a:gd name="connsiteX178" fmla="*/ 1290785 w 3473628"/>
              <a:gd name="connsiteY178" fmla="*/ 1538959 h 2831071"/>
              <a:gd name="connsiteX179" fmla="*/ 1286184 w 3473628"/>
              <a:gd name="connsiteY179" fmla="*/ 1598664 h 2831071"/>
              <a:gd name="connsiteX180" fmla="*/ 1251223 w 3473628"/>
              <a:gd name="connsiteY180" fmla="*/ 1657789 h 2831071"/>
              <a:gd name="connsiteX181" fmla="*/ 1190792 w 3473628"/>
              <a:gd name="connsiteY181" fmla="*/ 1692460 h 2831071"/>
              <a:gd name="connsiteX182" fmla="*/ 1155396 w 3473628"/>
              <a:gd name="connsiteY182" fmla="*/ 1717349 h 2831071"/>
              <a:gd name="connsiteX183" fmla="*/ 1128786 w 3473628"/>
              <a:gd name="connsiteY183" fmla="*/ 1768848 h 2831071"/>
              <a:gd name="connsiteX184" fmla="*/ 1124766 w 3473628"/>
              <a:gd name="connsiteY184" fmla="*/ 1813156 h 2831071"/>
              <a:gd name="connsiteX185" fmla="*/ 1143459 w 3473628"/>
              <a:gd name="connsiteY185" fmla="*/ 1838045 h 2831071"/>
              <a:gd name="connsiteX186" fmla="*/ 1176700 w 3473628"/>
              <a:gd name="connsiteY186" fmla="*/ 1874581 h 2831071"/>
              <a:gd name="connsiteX187" fmla="*/ 1211951 w 3473628"/>
              <a:gd name="connsiteY187" fmla="*/ 1930971 h 2831071"/>
              <a:gd name="connsiteX188" fmla="*/ 1269791 w 3473628"/>
              <a:gd name="connsiteY188" fmla="*/ 1970678 h 2831071"/>
              <a:gd name="connsiteX189" fmla="*/ 1289790 w 3473628"/>
              <a:gd name="connsiteY189" fmla="*/ 2016996 h 2831071"/>
              <a:gd name="connsiteX190" fmla="*/ 1236696 w 3473628"/>
              <a:gd name="connsiteY190" fmla="*/ 2105031 h 2831071"/>
              <a:gd name="connsiteX191" fmla="*/ 1189362 w 3473628"/>
              <a:gd name="connsiteY191" fmla="*/ 2099269 h 2831071"/>
              <a:gd name="connsiteX192" fmla="*/ 1126921 w 3473628"/>
              <a:gd name="connsiteY192" fmla="*/ 1994386 h 2831071"/>
              <a:gd name="connsiteX193" fmla="*/ 1124621 w 3473628"/>
              <a:gd name="connsiteY193" fmla="*/ 1948773 h 2831071"/>
              <a:gd name="connsiteX194" fmla="*/ 1178855 w 3473628"/>
              <a:gd name="connsiteY194" fmla="*/ 1910226 h 2831071"/>
              <a:gd name="connsiteX195" fmla="*/ 1235245 w 3473628"/>
              <a:gd name="connsiteY195" fmla="*/ 1918288 h 2831071"/>
              <a:gd name="connsiteX196" fmla="*/ 1332792 w 3473628"/>
              <a:gd name="connsiteY196" fmla="*/ 1988065 h 2831071"/>
              <a:gd name="connsiteX197" fmla="*/ 1387316 w 3473628"/>
              <a:gd name="connsiteY197" fmla="*/ 2070650 h 2831071"/>
              <a:gd name="connsiteX198" fmla="*/ 1383710 w 3473628"/>
              <a:gd name="connsiteY198" fmla="*/ 2126190 h 2831071"/>
              <a:gd name="connsiteX199" fmla="*/ 1348459 w 3473628"/>
              <a:gd name="connsiteY199" fmla="*/ 2203448 h 2831071"/>
              <a:gd name="connsiteX200" fmla="*/ 1311923 w 3473628"/>
              <a:gd name="connsiteY200" fmla="*/ 2248771 h 2831071"/>
              <a:gd name="connsiteX201" fmla="*/ 1270786 w 3473628"/>
              <a:gd name="connsiteY201" fmla="*/ 2226907 h 2831071"/>
              <a:gd name="connsiteX202" fmla="*/ 1256694 w 3473628"/>
              <a:gd name="connsiteY202" fmla="*/ 2197417 h 2831071"/>
              <a:gd name="connsiteX203" fmla="*/ 1262745 w 3473628"/>
              <a:gd name="connsiteY203" fmla="*/ 2172093 h 2831071"/>
              <a:gd name="connsiteX204" fmla="*/ 1299427 w 3473628"/>
              <a:gd name="connsiteY204" fmla="*/ 2127640 h 2831071"/>
              <a:gd name="connsiteX205" fmla="*/ 1357826 w 3473628"/>
              <a:gd name="connsiteY205" fmla="*/ 2086068 h 2831071"/>
              <a:gd name="connsiteX206" fmla="*/ 1403999 w 3473628"/>
              <a:gd name="connsiteY206" fmla="*/ 2048372 h 2831071"/>
              <a:gd name="connsiteX207" fmla="*/ 1428453 w 3473628"/>
              <a:gd name="connsiteY207" fmla="*/ 2028228 h 2831071"/>
              <a:gd name="connsiteX208" fmla="*/ 1435644 w 3473628"/>
              <a:gd name="connsiteY208" fmla="*/ 2043481 h 2831071"/>
              <a:gd name="connsiteX209" fmla="*/ 1439375 w 3473628"/>
              <a:gd name="connsiteY209" fmla="*/ 2107062 h 2831071"/>
              <a:gd name="connsiteX210" fmla="*/ 1432039 w 3473628"/>
              <a:gd name="connsiteY210" fmla="*/ 2164902 h 2831071"/>
              <a:gd name="connsiteX211" fmla="*/ 1405864 w 3473628"/>
              <a:gd name="connsiteY211" fmla="*/ 2266469 h 2831071"/>
              <a:gd name="connsiteX212" fmla="*/ 1412765 w 3473628"/>
              <a:gd name="connsiteY212" fmla="*/ 2328330 h 2831071"/>
              <a:gd name="connsiteX213" fmla="*/ 1440245 w 3473628"/>
              <a:gd name="connsiteY213" fmla="*/ 2353074 h 2831071"/>
              <a:gd name="connsiteX214" fmla="*/ 1475932 w 3473628"/>
              <a:gd name="connsiteY214" fmla="*/ 2367457 h 2831071"/>
              <a:gd name="connsiteX215" fmla="*/ 1511038 w 3473628"/>
              <a:gd name="connsiteY215" fmla="*/ 2382710 h 2831071"/>
              <a:gd name="connsiteX216" fmla="*/ 1536217 w 3473628"/>
              <a:gd name="connsiteY216" fmla="*/ 2415225 h 2831071"/>
              <a:gd name="connsiteX217" fmla="*/ 1543408 w 3473628"/>
              <a:gd name="connsiteY217" fmla="*/ 2463843 h 2831071"/>
              <a:gd name="connsiteX218" fmla="*/ 1512758 w 3473628"/>
              <a:gd name="connsiteY218" fmla="*/ 2507156 h 2831071"/>
              <a:gd name="connsiteX219" fmla="*/ 1467083 w 3473628"/>
              <a:gd name="connsiteY219" fmla="*/ 2522844 h 2831071"/>
              <a:gd name="connsiteX220" fmla="*/ 1422195 w 3473628"/>
              <a:gd name="connsiteY220" fmla="*/ 2523860 h 2831071"/>
              <a:gd name="connsiteX221" fmla="*/ 1366738 w 3473628"/>
              <a:gd name="connsiteY221" fmla="*/ 2540832 h 2831071"/>
              <a:gd name="connsiteX222" fmla="*/ 1320420 w 3473628"/>
              <a:gd name="connsiteY222" fmla="*/ 2536667 h 2831071"/>
              <a:gd name="connsiteX223" fmla="*/ 1321788 w 3473628"/>
              <a:gd name="connsiteY223" fmla="*/ 2519549 h 2831071"/>
              <a:gd name="connsiteX224" fmla="*/ 1369846 w 3473628"/>
              <a:gd name="connsiteY224" fmla="*/ 2497893 h 2831071"/>
              <a:gd name="connsiteX225" fmla="*/ 1396891 w 3473628"/>
              <a:gd name="connsiteY225" fmla="*/ 2480277 h 2831071"/>
              <a:gd name="connsiteX226" fmla="*/ 1381286 w 3473628"/>
              <a:gd name="connsiteY226" fmla="*/ 2474102 h 2831071"/>
              <a:gd name="connsiteX227" fmla="*/ 1307986 w 3473628"/>
              <a:gd name="connsiteY227" fmla="*/ 2503094 h 2831071"/>
              <a:gd name="connsiteX228" fmla="*/ 1275760 w 3473628"/>
              <a:gd name="connsiteY228" fmla="*/ 2503820 h 2831071"/>
              <a:gd name="connsiteX229" fmla="*/ 1277190 w 3473628"/>
              <a:gd name="connsiteY229" fmla="*/ 2490515 h 2831071"/>
              <a:gd name="connsiteX230" fmla="*/ 1302287 w 3473628"/>
              <a:gd name="connsiteY230" fmla="*/ 2478495 h 2831071"/>
              <a:gd name="connsiteX231" fmla="*/ 1350407 w 3473628"/>
              <a:gd name="connsiteY231" fmla="*/ 2445109 h 2831071"/>
              <a:gd name="connsiteX232" fmla="*/ 1346946 w 3473628"/>
              <a:gd name="connsiteY232" fmla="*/ 2435120 h 2831071"/>
              <a:gd name="connsiteX233" fmla="*/ 1292774 w 3473628"/>
              <a:gd name="connsiteY233" fmla="*/ 2461812 h 2831071"/>
              <a:gd name="connsiteX234" fmla="*/ 1261834 w 3473628"/>
              <a:gd name="connsiteY234" fmla="*/ 2459719 h 2831071"/>
              <a:gd name="connsiteX235" fmla="*/ 1265149 w 3473628"/>
              <a:gd name="connsiteY235" fmla="*/ 2438933 h 2831071"/>
              <a:gd name="connsiteX236" fmla="*/ 1303053 w 3473628"/>
              <a:gd name="connsiteY236" fmla="*/ 2411308 h 2831071"/>
              <a:gd name="connsiteX237" fmla="*/ 1318513 w 3473628"/>
              <a:gd name="connsiteY237" fmla="*/ 2393175 h 2831071"/>
              <a:gd name="connsiteX238" fmla="*/ 1306783 w 3473628"/>
              <a:gd name="connsiteY238" fmla="*/ 2385984 h 2831071"/>
              <a:gd name="connsiteX239" fmla="*/ 1268590 w 3473628"/>
              <a:gd name="connsiteY239" fmla="*/ 2403392 h 2831071"/>
              <a:gd name="connsiteX240" fmla="*/ 1243410 w 3473628"/>
              <a:gd name="connsiteY240" fmla="*/ 2405257 h 2831071"/>
              <a:gd name="connsiteX241" fmla="*/ 1242685 w 3473628"/>
              <a:gd name="connsiteY241" fmla="*/ 2382461 h 2831071"/>
              <a:gd name="connsiteX242" fmla="*/ 1284402 w 3473628"/>
              <a:gd name="connsiteY242" fmla="*/ 2341469 h 2831071"/>
              <a:gd name="connsiteX243" fmla="*/ 1360935 w 3473628"/>
              <a:gd name="connsiteY243" fmla="*/ 2306218 h 2831071"/>
              <a:gd name="connsiteX244" fmla="*/ 1411004 w 3473628"/>
              <a:gd name="connsiteY244" fmla="*/ 2303047 h 2831071"/>
              <a:gd name="connsiteX245" fmla="*/ 1438484 w 3473628"/>
              <a:gd name="connsiteY245" fmla="*/ 2295131 h 2831071"/>
              <a:gd name="connsiteX246" fmla="*/ 1468409 w 3473628"/>
              <a:gd name="connsiteY246" fmla="*/ 2243777 h 2831071"/>
              <a:gd name="connsiteX247" fmla="*/ 1532570 w 3473628"/>
              <a:gd name="connsiteY247" fmla="*/ 2156301 h 2831071"/>
              <a:gd name="connsiteX248" fmla="*/ 1610761 w 3473628"/>
              <a:gd name="connsiteY248" fmla="*/ 2074152 h 2831071"/>
              <a:gd name="connsiteX249" fmla="*/ 1628957 w 3473628"/>
              <a:gd name="connsiteY249" fmla="*/ 2041864 h 2831071"/>
              <a:gd name="connsiteX250" fmla="*/ 1628604 w 3473628"/>
              <a:gd name="connsiteY250" fmla="*/ 2021078 h 2831071"/>
              <a:gd name="connsiteX251" fmla="*/ 1642841 w 3473628"/>
              <a:gd name="connsiteY251" fmla="*/ 2001308 h 2831071"/>
              <a:gd name="connsiteX252" fmla="*/ 1697863 w 3473628"/>
              <a:gd name="connsiteY252" fmla="*/ 1963611 h 2831071"/>
              <a:gd name="connsiteX253" fmla="*/ 1768718 w 3473628"/>
              <a:gd name="connsiteY253" fmla="*/ 1914703 h 2831071"/>
              <a:gd name="connsiteX254" fmla="*/ 1816549 w 3473628"/>
              <a:gd name="connsiteY254" fmla="*/ 1881109 h 2831071"/>
              <a:gd name="connsiteX255" fmla="*/ 1846039 w 3473628"/>
              <a:gd name="connsiteY255" fmla="*/ 1836221 h 2831071"/>
              <a:gd name="connsiteX256" fmla="*/ 1863882 w 3473628"/>
              <a:gd name="connsiteY256" fmla="*/ 1739400 h 2831071"/>
              <a:gd name="connsiteX257" fmla="*/ 1862162 w 3473628"/>
              <a:gd name="connsiteY257" fmla="*/ 1654225 h 2831071"/>
              <a:gd name="connsiteX258" fmla="*/ 1849355 w 3473628"/>
              <a:gd name="connsiteY258" fmla="*/ 1586312 h 2831071"/>
              <a:gd name="connsiteX259" fmla="*/ 1804322 w 3473628"/>
              <a:gd name="connsiteY259" fmla="*/ 1511499 h 2831071"/>
              <a:gd name="connsiteX260" fmla="*/ 1748512 w 3473628"/>
              <a:gd name="connsiteY260" fmla="*/ 1463296 h 2831071"/>
              <a:gd name="connsiteX261" fmla="*/ 1688662 w 3473628"/>
              <a:gd name="connsiteY261" fmla="*/ 1445017 h 2831071"/>
              <a:gd name="connsiteX262" fmla="*/ 1629682 w 3473628"/>
              <a:gd name="connsiteY262" fmla="*/ 1434655 h 2831071"/>
              <a:gd name="connsiteX263" fmla="*/ 1565521 w 3473628"/>
              <a:gd name="connsiteY263" fmla="*/ 1420708 h 2831071"/>
              <a:gd name="connsiteX264" fmla="*/ 1482377 w 3473628"/>
              <a:gd name="connsiteY264" fmla="*/ 1428044 h 2831071"/>
              <a:gd name="connsiteX265" fmla="*/ 1425117 w 3473628"/>
              <a:gd name="connsiteY265" fmla="*/ 1469036 h 2831071"/>
              <a:gd name="connsiteX266" fmla="*/ 1416910 w 3473628"/>
              <a:gd name="connsiteY266" fmla="*/ 1533923 h 2831071"/>
              <a:gd name="connsiteX267" fmla="*/ 1436618 w 3473628"/>
              <a:gd name="connsiteY267" fmla="*/ 1580240 h 2831071"/>
              <a:gd name="connsiteX268" fmla="*/ 1448265 w 3473628"/>
              <a:gd name="connsiteY268" fmla="*/ 1638081 h 2831071"/>
              <a:gd name="connsiteX269" fmla="*/ 1432577 w 3473628"/>
              <a:gd name="connsiteY269" fmla="*/ 1733037 h 2831071"/>
              <a:gd name="connsiteX270" fmla="*/ 1436598 w 3473628"/>
              <a:gd name="connsiteY270" fmla="*/ 1799063 h 2831071"/>
              <a:gd name="connsiteX271" fmla="*/ 1493568 w 3473628"/>
              <a:gd name="connsiteY271" fmla="*/ 1841216 h 2831071"/>
              <a:gd name="connsiteX272" fmla="*/ 1619299 w 3473628"/>
              <a:gd name="connsiteY272" fmla="*/ 1854168 h 2831071"/>
              <a:gd name="connsiteX273" fmla="*/ 1704039 w 3473628"/>
              <a:gd name="connsiteY273" fmla="*/ 1837050 h 2831071"/>
              <a:gd name="connsiteX274" fmla="*/ 1739290 w 3473628"/>
              <a:gd name="connsiteY274" fmla="*/ 1788577 h 2831071"/>
              <a:gd name="connsiteX275" fmla="*/ 1754108 w 3473628"/>
              <a:gd name="connsiteY275" fmla="*/ 1758507 h 2831071"/>
              <a:gd name="connsiteX276" fmla="*/ 1769071 w 3473628"/>
              <a:gd name="connsiteY276" fmla="*/ 1758507 h 2831071"/>
              <a:gd name="connsiteX277" fmla="*/ 1773526 w 3473628"/>
              <a:gd name="connsiteY277" fmla="*/ 1787562 h 2831071"/>
              <a:gd name="connsiteX278" fmla="*/ 1747621 w 3473628"/>
              <a:gd name="connsiteY278" fmla="*/ 1819497 h 2831071"/>
              <a:gd name="connsiteX279" fmla="*/ 1719271 w 3473628"/>
              <a:gd name="connsiteY279" fmla="*/ 1806110 h 2831071"/>
              <a:gd name="connsiteX280" fmla="*/ 1727478 w 3473628"/>
              <a:gd name="connsiteY280" fmla="*/ 1762092 h 2831071"/>
              <a:gd name="connsiteX281" fmla="*/ 1757258 w 3473628"/>
              <a:gd name="connsiteY281" fmla="*/ 1731297 h 2831071"/>
              <a:gd name="connsiteX282" fmla="*/ 1781857 w 3473628"/>
              <a:gd name="connsiteY282" fmla="*/ 1696626 h 2831071"/>
              <a:gd name="connsiteX283" fmla="*/ 1759123 w 3473628"/>
              <a:gd name="connsiteY283" fmla="*/ 1625563 h 2831071"/>
              <a:gd name="connsiteX284" fmla="*/ 1710650 w 3473628"/>
              <a:gd name="connsiteY284" fmla="*/ 1549175 h 2831071"/>
              <a:gd name="connsiteX285" fmla="*/ 1628065 w 3473628"/>
              <a:gd name="connsiteY285" fmla="*/ 1512349 h 2831071"/>
              <a:gd name="connsiteX286" fmla="*/ 1535989 w 3473628"/>
              <a:gd name="connsiteY286" fmla="*/ 1521260 h 2831071"/>
              <a:gd name="connsiteX287" fmla="*/ 1469528 w 3473628"/>
              <a:gd name="connsiteY287" fmla="*/ 1574624 h 2831071"/>
              <a:gd name="connsiteX288" fmla="*/ 1448100 w 3473628"/>
              <a:gd name="connsiteY288" fmla="*/ 1608280 h 2831071"/>
              <a:gd name="connsiteX289" fmla="*/ 1425946 w 3473628"/>
              <a:gd name="connsiteY289" fmla="*/ 1663384 h 2831071"/>
              <a:gd name="connsiteX290" fmla="*/ 1406527 w 3473628"/>
              <a:gd name="connsiteY290" fmla="*/ 1760351 h 2831071"/>
              <a:gd name="connsiteX291" fmla="*/ 1422215 w 3473628"/>
              <a:gd name="connsiteY291" fmla="*/ 1829693 h 2831071"/>
              <a:gd name="connsiteX292" fmla="*/ 1452866 w 3473628"/>
              <a:gd name="connsiteY292" fmla="*/ 1880115 h 2831071"/>
              <a:gd name="connsiteX293" fmla="*/ 1472139 w 3473628"/>
              <a:gd name="connsiteY293" fmla="*/ 1939737 h 2831071"/>
              <a:gd name="connsiteX294" fmla="*/ 1476885 w 3473628"/>
              <a:gd name="connsiteY294" fmla="*/ 1996769 h 2831071"/>
              <a:gd name="connsiteX295" fmla="*/ 1459332 w 3473628"/>
              <a:gd name="connsiteY295" fmla="*/ 2060205 h 2831071"/>
              <a:gd name="connsiteX296" fmla="*/ 1462212 w 3473628"/>
              <a:gd name="connsiteY296" fmla="*/ 2092430 h 2831071"/>
              <a:gd name="connsiteX297" fmla="*/ 1501339 w 3473628"/>
              <a:gd name="connsiteY297" fmla="*/ 2073157 h 2831071"/>
              <a:gd name="connsiteX298" fmla="*/ 1597083 w 3473628"/>
              <a:gd name="connsiteY298" fmla="*/ 2002592 h 2831071"/>
              <a:gd name="connsiteX299" fmla="*/ 1667586 w 3473628"/>
              <a:gd name="connsiteY299" fmla="*/ 1957705 h 2831071"/>
              <a:gd name="connsiteX300" fmla="*/ 1726856 w 3473628"/>
              <a:gd name="connsiteY300" fmla="*/ 1927987 h 2831071"/>
              <a:gd name="connsiteX301" fmla="*/ 1753258 w 3473628"/>
              <a:gd name="connsiteY301" fmla="*/ 1933520 h 2831071"/>
              <a:gd name="connsiteX302" fmla="*/ 1781816 w 3473628"/>
              <a:gd name="connsiteY302" fmla="*/ 1986034 h 2831071"/>
              <a:gd name="connsiteX303" fmla="*/ 1823616 w 3473628"/>
              <a:gd name="connsiteY303" fmla="*/ 2024809 h 2831071"/>
              <a:gd name="connsiteX304" fmla="*/ 1853044 w 3473628"/>
              <a:gd name="connsiteY304" fmla="*/ 2039129 h 2831071"/>
              <a:gd name="connsiteX305" fmla="*/ 1845417 w 3473628"/>
              <a:gd name="connsiteY305" fmla="*/ 2056392 h 2831071"/>
              <a:gd name="connsiteX306" fmla="*/ 1802685 w 3473628"/>
              <a:gd name="connsiteY306" fmla="*/ 2090420 h 2831071"/>
              <a:gd name="connsiteX307" fmla="*/ 1764283 w 3473628"/>
              <a:gd name="connsiteY307" fmla="*/ 2152281 h 2831071"/>
              <a:gd name="connsiteX308" fmla="*/ 1702132 w 3473628"/>
              <a:gd name="connsiteY308" fmla="*/ 2291753 h 2831071"/>
              <a:gd name="connsiteX309" fmla="*/ 1672207 w 3473628"/>
              <a:gd name="connsiteY309" fmla="*/ 2356639 h 2831071"/>
              <a:gd name="connsiteX310" fmla="*/ 1654654 w 3473628"/>
              <a:gd name="connsiteY310" fmla="*/ 2363043 h 2831071"/>
              <a:gd name="connsiteX311" fmla="*/ 1613082 w 3473628"/>
              <a:gd name="connsiteY311" fmla="*/ 2345054 h 2831071"/>
              <a:gd name="connsiteX312" fmla="*/ 1559925 w 3473628"/>
              <a:gd name="connsiteY312" fmla="*/ 2330174 h 2831071"/>
              <a:gd name="connsiteX313" fmla="*/ 1518498 w 3473628"/>
              <a:gd name="connsiteY313" fmla="*/ 2333345 h 2831071"/>
              <a:gd name="connsiteX314" fmla="*/ 1485112 w 3473628"/>
              <a:gd name="connsiteY314" fmla="*/ 2345075 h 2831071"/>
              <a:gd name="connsiteX315" fmla="*/ 1462813 w 3473628"/>
              <a:gd name="connsiteY315" fmla="*/ 2341759 h 2831071"/>
              <a:gd name="connsiteX316" fmla="*/ 1462523 w 3473628"/>
              <a:gd name="connsiteY316" fmla="*/ 2316435 h 2831071"/>
              <a:gd name="connsiteX317" fmla="*/ 1514022 w 3473628"/>
              <a:gd name="connsiteY317" fmla="*/ 2230907 h 2831071"/>
              <a:gd name="connsiteX318" fmla="*/ 1633868 w 3473628"/>
              <a:gd name="connsiteY318" fmla="*/ 2086462 h 2831071"/>
              <a:gd name="connsiteX319" fmla="*/ 1761050 w 3473628"/>
              <a:gd name="connsiteY319" fmla="*/ 2009494 h 2831071"/>
              <a:gd name="connsiteX320" fmla="*/ 1835718 w 3473628"/>
              <a:gd name="connsiteY320" fmla="*/ 2007773 h 2831071"/>
              <a:gd name="connsiteX321" fmla="*/ 1915422 w 3473628"/>
              <a:gd name="connsiteY321" fmla="*/ 2040579 h 2831071"/>
              <a:gd name="connsiteX322" fmla="*/ 1956414 w 3473628"/>
              <a:gd name="connsiteY322" fmla="*/ 2094378 h 2831071"/>
              <a:gd name="connsiteX323" fmla="*/ 1981593 w 3473628"/>
              <a:gd name="connsiteY323" fmla="*/ 2161420 h 2831071"/>
              <a:gd name="connsiteX324" fmla="*/ 1998421 w 3473628"/>
              <a:gd name="connsiteY324" fmla="*/ 2191781 h 2831071"/>
              <a:gd name="connsiteX325" fmla="*/ 2004473 w 3473628"/>
              <a:gd name="connsiteY325" fmla="*/ 2185874 h 2831071"/>
              <a:gd name="connsiteX326" fmla="*/ 1997717 w 3473628"/>
              <a:gd name="connsiteY326" fmla="*/ 2138106 h 2831071"/>
              <a:gd name="connsiteX327" fmla="*/ 1965781 w 3473628"/>
              <a:gd name="connsiteY327" fmla="*/ 2073364 h 2831071"/>
              <a:gd name="connsiteX328" fmla="*/ 1892688 w 3473628"/>
              <a:gd name="connsiteY328" fmla="*/ 2059127 h 2831071"/>
              <a:gd name="connsiteX329" fmla="*/ 1816155 w 3473628"/>
              <a:gd name="connsiteY329" fmla="*/ 2115517 h 2831071"/>
              <a:gd name="connsiteX330" fmla="*/ 1767682 w 3473628"/>
              <a:gd name="connsiteY330" fmla="*/ 2216504 h 2831071"/>
              <a:gd name="connsiteX331" fmla="*/ 1756740 w 3473628"/>
              <a:gd name="connsiteY331" fmla="*/ 2315771 h 2831071"/>
              <a:gd name="connsiteX332" fmla="*/ 1733280 w 3473628"/>
              <a:gd name="connsiteY332" fmla="*/ 2398211 h 2831071"/>
              <a:gd name="connsiteX333" fmla="*/ 1632148 w 3473628"/>
              <a:gd name="connsiteY333" fmla="*/ 2384554 h 2831071"/>
              <a:gd name="connsiteX334" fmla="*/ 1539637 w 3473628"/>
              <a:gd name="connsiteY334" fmla="*/ 2352183 h 2831071"/>
              <a:gd name="connsiteX335" fmla="*/ 1522519 w 3473628"/>
              <a:gd name="connsiteY335" fmla="*/ 2359229 h 2831071"/>
              <a:gd name="connsiteX336" fmla="*/ 1543947 w 3473628"/>
              <a:gd name="connsiteY336" fmla="*/ 2385549 h 2831071"/>
              <a:gd name="connsiteX337" fmla="*/ 1564381 w 3473628"/>
              <a:gd name="connsiteY337" fmla="*/ 2430727 h 2831071"/>
              <a:gd name="connsiteX338" fmla="*/ 1559200 w 3473628"/>
              <a:gd name="connsiteY338" fmla="*/ 2486412 h 2831071"/>
              <a:gd name="connsiteX339" fmla="*/ 1529710 w 3473628"/>
              <a:gd name="connsiteY339" fmla="*/ 2562364 h 2831071"/>
              <a:gd name="connsiteX340" fmla="*/ 1544963 w 3473628"/>
              <a:gd name="connsiteY340" fmla="*/ 2634587 h 2831071"/>
              <a:gd name="connsiteX341" fmla="*/ 1609124 w 3473628"/>
              <a:gd name="connsiteY341" fmla="*/ 2669984 h 2831071"/>
              <a:gd name="connsiteX342" fmla="*/ 1709821 w 3473628"/>
              <a:gd name="connsiteY342" fmla="*/ 2685526 h 2831071"/>
              <a:gd name="connsiteX343" fmla="*/ 1825481 w 3473628"/>
              <a:gd name="connsiteY343" fmla="*/ 2710706 h 2831071"/>
              <a:gd name="connsiteX344" fmla="*/ 1849666 w 3473628"/>
              <a:gd name="connsiteY344" fmla="*/ 2737274 h 2831071"/>
              <a:gd name="connsiteX345" fmla="*/ 1827284 w 3473628"/>
              <a:gd name="connsiteY345" fmla="*/ 2775385 h 2831071"/>
              <a:gd name="connsiteX346" fmla="*/ 1859468 w 3473628"/>
              <a:gd name="connsiteY346" fmla="*/ 2784130 h 2831071"/>
              <a:gd name="connsiteX347" fmla="*/ 2089565 w 3473628"/>
              <a:gd name="connsiteY347" fmla="*/ 2784130 h 2831071"/>
              <a:gd name="connsiteX348" fmla="*/ 2566897 w 3473628"/>
              <a:gd name="connsiteY348" fmla="*/ 2782162 h 2831071"/>
              <a:gd name="connsiteX349" fmla="*/ 2687966 w 3473628"/>
              <a:gd name="connsiteY349" fmla="*/ 2759884 h 2831071"/>
              <a:gd name="connsiteX350" fmla="*/ 2680464 w 3473628"/>
              <a:gd name="connsiteY350" fmla="*/ 2692303 h 2831071"/>
              <a:gd name="connsiteX351" fmla="*/ 2633566 w 3473628"/>
              <a:gd name="connsiteY351" fmla="*/ 2631872 h 2831071"/>
              <a:gd name="connsiteX352" fmla="*/ 2492291 w 3473628"/>
              <a:gd name="connsiteY352" fmla="*/ 2565701 h 2831071"/>
              <a:gd name="connsiteX353" fmla="*/ 2424110 w 3473628"/>
              <a:gd name="connsiteY353" fmla="*/ 2476651 h 2831071"/>
              <a:gd name="connsiteX354" fmla="*/ 2465247 w 3473628"/>
              <a:gd name="connsiteY354" fmla="*/ 2186330 h 2831071"/>
              <a:gd name="connsiteX355" fmla="*/ 2494592 w 3473628"/>
              <a:gd name="connsiteY355" fmla="*/ 1978159 h 2831071"/>
              <a:gd name="connsiteX356" fmla="*/ 2532289 w 3473628"/>
              <a:gd name="connsiteY356" fmla="*/ 1883202 h 2831071"/>
              <a:gd name="connsiteX357" fmla="*/ 2600200 w 3473628"/>
              <a:gd name="connsiteY357" fmla="*/ 1837175 h 2831071"/>
              <a:gd name="connsiteX358" fmla="*/ 2643928 w 3473628"/>
              <a:gd name="connsiteY358" fmla="*/ 1758051 h 2831071"/>
              <a:gd name="connsiteX359" fmla="*/ 2671553 w 3473628"/>
              <a:gd name="connsiteY359" fmla="*/ 1632029 h 2831071"/>
              <a:gd name="connsiteX360" fmla="*/ 2694577 w 3473628"/>
              <a:gd name="connsiteY360" fmla="*/ 1561817 h 2831071"/>
              <a:gd name="connsiteX361" fmla="*/ 2707239 w 3473628"/>
              <a:gd name="connsiteY361" fmla="*/ 1548305 h 2831071"/>
              <a:gd name="connsiteX362" fmla="*/ 2696877 w 3473628"/>
              <a:gd name="connsiteY362" fmla="*/ 1616217 h 2831071"/>
              <a:gd name="connsiteX363" fmla="*/ 2656300 w 3473628"/>
              <a:gd name="connsiteY363" fmla="*/ 1792308 h 2831071"/>
              <a:gd name="connsiteX364" fmla="*/ 2576306 w 3473628"/>
              <a:gd name="connsiteY364" fmla="*/ 1905377 h 2831071"/>
              <a:gd name="connsiteX365" fmla="*/ 2484810 w 3473628"/>
              <a:gd name="connsiteY365" fmla="*/ 1918329 h 2831071"/>
              <a:gd name="connsiteX366" fmla="*/ 2405251 w 3473628"/>
              <a:gd name="connsiteY366" fmla="*/ 1822813 h 2831071"/>
              <a:gd name="connsiteX367" fmla="*/ 2384113 w 3473628"/>
              <a:gd name="connsiteY367" fmla="*/ 1673912 h 2831071"/>
              <a:gd name="connsiteX368" fmla="*/ 2378642 w 3473628"/>
              <a:gd name="connsiteY368" fmla="*/ 1541984 h 2831071"/>
              <a:gd name="connsiteX369" fmla="*/ 2373751 w 3473628"/>
              <a:gd name="connsiteY369" fmla="*/ 1415527 h 2831071"/>
              <a:gd name="connsiteX370" fmla="*/ 2347141 w 3473628"/>
              <a:gd name="connsiteY370" fmla="*/ 1246918 h 2831071"/>
              <a:gd name="connsiteX371" fmla="*/ 2334769 w 3473628"/>
              <a:gd name="connsiteY371" fmla="*/ 1142615 h 2831071"/>
              <a:gd name="connsiteX372" fmla="*/ 2329153 w 3473628"/>
              <a:gd name="connsiteY372" fmla="*/ 1065211 h 2831071"/>
              <a:gd name="connsiteX373" fmla="*/ 2304554 w 3473628"/>
              <a:gd name="connsiteY373" fmla="*/ 939335 h 2831071"/>
              <a:gd name="connsiteX374" fmla="*/ 2256641 w 3473628"/>
              <a:gd name="connsiteY374" fmla="*/ 796630 h 2831071"/>
              <a:gd name="connsiteX375" fmla="*/ 2230736 w 3473628"/>
              <a:gd name="connsiteY375" fmla="*/ 692327 h 2831071"/>
              <a:gd name="connsiteX376" fmla="*/ 2239502 w 3473628"/>
              <a:gd name="connsiteY376" fmla="*/ 643564 h 2831071"/>
              <a:gd name="connsiteX377" fmla="*/ 2294026 w 3473628"/>
              <a:gd name="connsiteY377" fmla="*/ 635647 h 2831071"/>
              <a:gd name="connsiteX378" fmla="*/ 2342789 w 3473628"/>
              <a:gd name="connsiteY378" fmla="*/ 621700 h 2831071"/>
              <a:gd name="connsiteX379" fmla="*/ 2378621 w 3473628"/>
              <a:gd name="connsiteY379" fmla="*/ 587174 h 2831071"/>
              <a:gd name="connsiteX380" fmla="*/ 2391283 w 3473628"/>
              <a:gd name="connsiteY380" fmla="*/ 534080 h 2831071"/>
              <a:gd name="connsiteX381" fmla="*/ 2374601 w 3473628"/>
              <a:gd name="connsiteY381" fmla="*/ 480426 h 2831071"/>
              <a:gd name="connsiteX382" fmla="*/ 2310004 w 3473628"/>
              <a:gd name="connsiteY382" fmla="*/ 360020 h 2831071"/>
              <a:gd name="connsiteX383" fmla="*/ 2266567 w 3473628"/>
              <a:gd name="connsiteY383" fmla="*/ 280171 h 2831071"/>
              <a:gd name="connsiteX384" fmla="*/ 2203691 w 3473628"/>
              <a:gd name="connsiteY384" fmla="*/ 213564 h 2831071"/>
              <a:gd name="connsiteX385" fmla="*/ 2153622 w 3473628"/>
              <a:gd name="connsiteY385" fmla="*/ 194291 h 2831071"/>
              <a:gd name="connsiteX386" fmla="*/ 2109315 w 3473628"/>
              <a:gd name="connsiteY386" fmla="*/ 218310 h 2831071"/>
              <a:gd name="connsiteX387" fmla="*/ 2085731 w 3473628"/>
              <a:gd name="connsiteY387" fmla="*/ 264214 h 2831071"/>
              <a:gd name="connsiteX388" fmla="*/ 2085006 w 3473628"/>
              <a:gd name="connsiteY388" fmla="*/ 308666 h 2831071"/>
              <a:gd name="connsiteX389" fmla="*/ 2107595 w 3473628"/>
              <a:gd name="connsiteY389" fmla="*/ 327794 h 2831071"/>
              <a:gd name="connsiteX390" fmla="*/ 2138245 w 3473628"/>
              <a:gd name="connsiteY390" fmla="*/ 329660 h 2831071"/>
              <a:gd name="connsiteX391" fmla="*/ 2151343 w 3473628"/>
              <a:gd name="connsiteY391" fmla="*/ 299299 h 2831071"/>
              <a:gd name="connsiteX392" fmla="*/ 2155508 w 3473628"/>
              <a:gd name="connsiteY392" fmla="*/ 263053 h 2831071"/>
              <a:gd name="connsiteX393" fmla="*/ 2173641 w 3473628"/>
              <a:gd name="connsiteY393" fmla="*/ 251261 h 2831071"/>
              <a:gd name="connsiteX394" fmla="*/ 2215068 w 3473628"/>
              <a:gd name="connsiteY394" fmla="*/ 262058 h 2831071"/>
              <a:gd name="connsiteX395" fmla="*/ 2248019 w 3473628"/>
              <a:gd name="connsiteY395" fmla="*/ 269975 h 2831071"/>
              <a:gd name="connsiteX396" fmla="*/ 2262257 w 3473628"/>
              <a:gd name="connsiteY396" fmla="*/ 259903 h 2831071"/>
              <a:gd name="connsiteX397" fmla="*/ 2259749 w 3473628"/>
              <a:gd name="connsiteY397" fmla="*/ 230993 h 2831071"/>
              <a:gd name="connsiteX398" fmla="*/ 2231337 w 3473628"/>
              <a:gd name="connsiteY398" fmla="*/ 190851 h 2831071"/>
              <a:gd name="connsiteX399" fmla="*/ 2181351 w 3473628"/>
              <a:gd name="connsiteY399" fmla="*/ 163309 h 2831071"/>
              <a:gd name="connsiteX400" fmla="*/ 2141354 w 3473628"/>
              <a:gd name="connsiteY400" fmla="*/ 157548 h 2831071"/>
              <a:gd name="connsiteX401" fmla="*/ 2113377 w 3473628"/>
              <a:gd name="connsiteY401" fmla="*/ 169485 h 2831071"/>
              <a:gd name="connsiteX402" fmla="*/ 2082726 w 3473628"/>
              <a:gd name="connsiteY402" fmla="*/ 176469 h 2831071"/>
              <a:gd name="connsiteX403" fmla="*/ 2031870 w 3473628"/>
              <a:gd name="connsiteY403" fmla="*/ 162086 h 2831071"/>
              <a:gd name="connsiteX404" fmla="*/ 1991955 w 3473628"/>
              <a:gd name="connsiteY404" fmla="*/ 137280 h 2831071"/>
              <a:gd name="connsiteX405" fmla="*/ 1950528 w 3473628"/>
              <a:gd name="connsiteY405" fmla="*/ 77222 h 2831071"/>
              <a:gd name="connsiteX406" fmla="*/ 1938737 w 3473628"/>
              <a:gd name="connsiteY406" fmla="*/ 27008 h 2831071"/>
              <a:gd name="connsiteX407" fmla="*/ 1947669 w 3473628"/>
              <a:gd name="connsiteY407" fmla="*/ 1725 h 2831071"/>
              <a:gd name="connsiteX408" fmla="*/ 1970755 w 3473628"/>
              <a:gd name="connsiteY408" fmla="*/ 8461 h 2831071"/>
              <a:gd name="connsiteX409" fmla="*/ 2009260 w 3473628"/>
              <a:gd name="connsiteY409" fmla="*/ 49494 h 2831071"/>
              <a:gd name="connsiteX410" fmla="*/ 2058292 w 3473628"/>
              <a:gd name="connsiteY410" fmla="*/ 104412 h 2831071"/>
              <a:gd name="connsiteX411" fmla="*/ 2093544 w 3473628"/>
              <a:gd name="connsiteY411" fmla="*/ 149010 h 2831071"/>
              <a:gd name="connsiteX412" fmla="*/ 2084487 w 3473628"/>
              <a:gd name="connsiteY412" fmla="*/ 165837 h 2831071"/>
              <a:gd name="connsiteX413" fmla="*/ 2039599 w 3473628"/>
              <a:gd name="connsiteY413" fmla="*/ 172593 h 2831071"/>
              <a:gd name="connsiteX414" fmla="*/ 2028657 w 3473628"/>
              <a:gd name="connsiteY414" fmla="*/ 186976 h 2831071"/>
              <a:gd name="connsiteX415" fmla="*/ 2037424 w 3473628"/>
              <a:gd name="connsiteY415" fmla="*/ 210435 h 2831071"/>
              <a:gd name="connsiteX416" fmla="*/ 2052531 w 3473628"/>
              <a:gd name="connsiteY416" fmla="*/ 240360 h 2831071"/>
              <a:gd name="connsiteX417" fmla="*/ 2063183 w 3473628"/>
              <a:gd name="connsiteY417" fmla="*/ 276606 h 2831071"/>
              <a:gd name="connsiteX418" fmla="*/ 2061173 w 3473628"/>
              <a:gd name="connsiteY418" fmla="*/ 308832 h 2831071"/>
              <a:gd name="connsiteX419" fmla="*/ 2047226 w 3473628"/>
              <a:gd name="connsiteY419" fmla="*/ 318324 h 2831071"/>
              <a:gd name="connsiteX420" fmla="*/ 2037009 w 3473628"/>
              <a:gd name="connsiteY420" fmla="*/ 303216 h 2831071"/>
              <a:gd name="connsiteX421" fmla="*/ 2039890 w 3473628"/>
              <a:gd name="connsiteY421" fmla="*/ 281932 h 2831071"/>
              <a:gd name="connsiteX422" fmla="*/ 2037589 w 3473628"/>
              <a:gd name="connsiteY422" fmla="*/ 253168 h 2831071"/>
              <a:gd name="connsiteX423" fmla="*/ 2017301 w 3473628"/>
              <a:gd name="connsiteY423" fmla="*/ 238640 h 2831071"/>
              <a:gd name="connsiteX424" fmla="*/ 1980039 w 3473628"/>
              <a:gd name="connsiteY424" fmla="*/ 250142 h 2831071"/>
              <a:gd name="connsiteX425" fmla="*/ 1965367 w 3473628"/>
              <a:gd name="connsiteY425" fmla="*/ 281207 h 2831071"/>
              <a:gd name="connsiteX426" fmla="*/ 1979604 w 3473628"/>
              <a:gd name="connsiteY426" fmla="*/ 326820 h 2831071"/>
              <a:gd name="connsiteX427" fmla="*/ 2042625 w 3473628"/>
              <a:gd name="connsiteY427" fmla="*/ 396598 h 2831071"/>
              <a:gd name="connsiteX428" fmla="*/ 2145208 w 3473628"/>
              <a:gd name="connsiteY428" fmla="*/ 455288 h 2831071"/>
              <a:gd name="connsiteX429" fmla="*/ 2223752 w 3473628"/>
              <a:gd name="connsiteY429" fmla="*/ 542183 h 2831071"/>
              <a:gd name="connsiteX430" fmla="*/ 2264889 w 3473628"/>
              <a:gd name="connsiteY430" fmla="*/ 604624 h 2831071"/>
              <a:gd name="connsiteX431" fmla="*/ 2331640 w 3473628"/>
              <a:gd name="connsiteY431" fmla="*/ 595132 h 2831071"/>
              <a:gd name="connsiteX432" fmla="*/ 2408753 w 3473628"/>
              <a:gd name="connsiteY432" fmla="*/ 561746 h 2831071"/>
              <a:gd name="connsiteX433" fmla="*/ 2486157 w 3473628"/>
              <a:gd name="connsiteY433" fmla="*/ 631088 h 2831071"/>
              <a:gd name="connsiteX434" fmla="*/ 2597797 w 3473628"/>
              <a:gd name="connsiteY434" fmla="*/ 831052 h 2831071"/>
              <a:gd name="connsiteX435" fmla="*/ 2689292 w 3473628"/>
              <a:gd name="connsiteY435" fmla="*/ 1008013 h 2831071"/>
              <a:gd name="connsiteX436" fmla="*/ 2728999 w 3473628"/>
              <a:gd name="connsiteY436" fmla="*/ 1141081 h 2831071"/>
              <a:gd name="connsiteX437" fmla="*/ 2722098 w 3473628"/>
              <a:gd name="connsiteY437" fmla="*/ 1265963 h 2831071"/>
              <a:gd name="connsiteX438" fmla="*/ 2726409 w 3473628"/>
              <a:gd name="connsiteY438" fmla="*/ 1370556 h 2831071"/>
              <a:gd name="connsiteX439" fmla="*/ 2748998 w 3473628"/>
              <a:gd name="connsiteY439" fmla="*/ 1502194 h 2831071"/>
              <a:gd name="connsiteX440" fmla="*/ 2793596 w 3473628"/>
              <a:gd name="connsiteY440" fmla="*/ 1683756 h 2831071"/>
              <a:gd name="connsiteX441" fmla="*/ 2841924 w 3473628"/>
              <a:gd name="connsiteY441" fmla="*/ 1899699 h 2831071"/>
              <a:gd name="connsiteX442" fmla="*/ 2835872 w 3473628"/>
              <a:gd name="connsiteY442" fmla="*/ 2160094 h 2831071"/>
              <a:gd name="connsiteX443" fmla="*/ 2789119 w 3473628"/>
              <a:gd name="connsiteY443" fmla="*/ 2458476 h 2831071"/>
              <a:gd name="connsiteX444" fmla="*/ 2737620 w 3473628"/>
              <a:gd name="connsiteY444" fmla="*/ 2693547 h 2831071"/>
              <a:gd name="connsiteX445" fmla="*/ 2657626 w 3473628"/>
              <a:gd name="connsiteY445" fmla="*/ 2723762 h 2831071"/>
              <a:gd name="connsiteX446" fmla="*/ 2479816 w 3473628"/>
              <a:gd name="connsiteY446" fmla="*/ 2656720 h 2831071"/>
              <a:gd name="connsiteX447" fmla="*/ 2254237 w 3473628"/>
              <a:gd name="connsiteY447" fmla="*/ 2611832 h 2831071"/>
              <a:gd name="connsiteX448" fmla="*/ 2082166 w 3473628"/>
              <a:gd name="connsiteY448" fmla="*/ 2636287 h 2831071"/>
              <a:gd name="connsiteX449" fmla="*/ 1994401 w 3473628"/>
              <a:gd name="connsiteY449" fmla="*/ 2663621 h 2831071"/>
              <a:gd name="connsiteX450" fmla="*/ 1965346 w 3473628"/>
              <a:gd name="connsiteY450" fmla="*/ 2610382 h 2831071"/>
              <a:gd name="connsiteX451" fmla="*/ 1972537 w 3473628"/>
              <a:gd name="connsiteY451" fmla="*/ 2529538 h 2831071"/>
              <a:gd name="connsiteX452" fmla="*/ 2001302 w 3473628"/>
              <a:gd name="connsiteY452" fmla="*/ 2410127 h 2831071"/>
              <a:gd name="connsiteX453" fmla="*/ 2065173 w 3473628"/>
              <a:gd name="connsiteY453" fmla="*/ 2234762 h 2831071"/>
              <a:gd name="connsiteX454" fmla="*/ 2185164 w 3473628"/>
              <a:gd name="connsiteY454" fmla="*/ 1982428 h 2831071"/>
              <a:gd name="connsiteX455" fmla="*/ 2272639 w 3473628"/>
              <a:gd name="connsiteY455" fmla="*/ 1790940 h 2831071"/>
              <a:gd name="connsiteX456" fmla="*/ 2341691 w 3473628"/>
              <a:gd name="connsiteY456" fmla="*/ 1698284 h 2831071"/>
              <a:gd name="connsiteX457" fmla="*/ 2369026 w 3473628"/>
              <a:gd name="connsiteY457" fmla="*/ 1632962 h 2831071"/>
              <a:gd name="connsiteX458" fmla="*/ 2351473 w 3473628"/>
              <a:gd name="connsiteY458" fmla="*/ 1607927 h 2831071"/>
              <a:gd name="connsiteX459" fmla="*/ 2270774 w 3473628"/>
              <a:gd name="connsiteY459" fmla="*/ 1653541 h 2831071"/>
              <a:gd name="connsiteX460" fmla="*/ 2210343 w 3473628"/>
              <a:gd name="connsiteY460" fmla="*/ 1626206 h 2831071"/>
              <a:gd name="connsiteX461" fmla="*/ 2164585 w 3473628"/>
              <a:gd name="connsiteY461" fmla="*/ 1571972 h 2831071"/>
              <a:gd name="connsiteX462" fmla="*/ 2149623 w 3473628"/>
              <a:gd name="connsiteY462" fmla="*/ 1525364 h 2831071"/>
              <a:gd name="connsiteX463" fmla="*/ 2171776 w 3473628"/>
              <a:gd name="connsiteY463" fmla="*/ 1480476 h 2831071"/>
              <a:gd name="connsiteX464" fmla="*/ 2219690 w 3473628"/>
              <a:gd name="connsiteY464" fmla="*/ 1471710 h 2831071"/>
              <a:gd name="connsiteX465" fmla="*/ 2304575 w 3473628"/>
              <a:gd name="connsiteY465" fmla="*/ 1491128 h 2831071"/>
              <a:gd name="connsiteX466" fmla="*/ 2357939 w 3473628"/>
              <a:gd name="connsiteY466" fmla="*/ 1495148 h 2831071"/>
              <a:gd name="connsiteX467" fmla="*/ 2365130 w 3473628"/>
              <a:gd name="connsiteY467" fmla="*/ 1468539 h 2831071"/>
              <a:gd name="connsiteX468" fmla="*/ 2343411 w 3473628"/>
              <a:gd name="connsiteY468" fmla="*/ 1383509 h 2831071"/>
              <a:gd name="connsiteX469" fmla="*/ 2328594 w 3473628"/>
              <a:gd name="connsiteY469" fmla="*/ 1282957 h 2831071"/>
              <a:gd name="connsiteX470" fmla="*/ 2324428 w 3473628"/>
              <a:gd name="connsiteY470" fmla="*/ 1207999 h 2831071"/>
              <a:gd name="connsiteX471" fmla="*/ 2305735 w 3473628"/>
              <a:gd name="connsiteY471" fmla="*/ 1175628 h 2831071"/>
              <a:gd name="connsiteX472" fmla="*/ 2240559 w 3473628"/>
              <a:gd name="connsiteY472" fmla="*/ 1175918 h 2831071"/>
              <a:gd name="connsiteX473" fmla="*/ 2155964 w 3473628"/>
              <a:gd name="connsiteY473" fmla="*/ 1209574 h 2831071"/>
              <a:gd name="connsiteX474" fmla="*/ 2105750 w 3473628"/>
              <a:gd name="connsiteY474" fmla="*/ 1260223 h 2831071"/>
              <a:gd name="connsiteX475" fmla="*/ 2085171 w 3473628"/>
              <a:gd name="connsiteY475" fmla="*/ 1297774 h 2831071"/>
              <a:gd name="connsiteX476" fmla="*/ 2074664 w 3473628"/>
              <a:gd name="connsiteY476" fmla="*/ 1286977 h 2831071"/>
              <a:gd name="connsiteX477" fmla="*/ 2069918 w 3473628"/>
              <a:gd name="connsiteY477" fmla="*/ 1234028 h 2831071"/>
              <a:gd name="connsiteX478" fmla="*/ 2108050 w 3473628"/>
              <a:gd name="connsiteY478" fmla="*/ 1171587 h 2831071"/>
              <a:gd name="connsiteX479" fmla="*/ 2189910 w 3473628"/>
              <a:gd name="connsiteY479" fmla="*/ 1136045 h 2831071"/>
              <a:gd name="connsiteX480" fmla="*/ 2269759 w 3473628"/>
              <a:gd name="connsiteY480" fmla="*/ 1132294 h 2831071"/>
              <a:gd name="connsiteX481" fmla="*/ 2308450 w 3473628"/>
              <a:gd name="connsiteY481" fmla="*/ 1125683 h 2831071"/>
              <a:gd name="connsiteX482" fmla="*/ 2307290 w 3473628"/>
              <a:gd name="connsiteY482" fmla="*/ 1074765 h 2831071"/>
              <a:gd name="connsiteX483" fmla="*/ 2297653 w 3473628"/>
              <a:gd name="connsiteY483" fmla="*/ 1036778 h 2831071"/>
              <a:gd name="connsiteX484" fmla="*/ 2262982 w 3473628"/>
              <a:gd name="connsiteY484" fmla="*/ 1022831 h 2831071"/>
              <a:gd name="connsiteX485" fmla="*/ 2194655 w 3473628"/>
              <a:gd name="connsiteY485" fmla="*/ 1035493 h 2831071"/>
              <a:gd name="connsiteX486" fmla="*/ 2144296 w 3473628"/>
              <a:gd name="connsiteY486" fmla="*/ 1081811 h 2831071"/>
              <a:gd name="connsiteX487" fmla="*/ 2106310 w 3473628"/>
              <a:gd name="connsiteY487" fmla="*/ 1120088 h 2831071"/>
              <a:gd name="connsiteX488" fmla="*/ 2043434 w 3473628"/>
              <a:gd name="connsiteY488" fmla="*/ 1152894 h 2831071"/>
              <a:gd name="connsiteX489" fmla="*/ 1998401 w 3473628"/>
              <a:gd name="connsiteY489" fmla="*/ 1194756 h 2831071"/>
              <a:gd name="connsiteX490" fmla="*/ 1991645 w 3473628"/>
              <a:gd name="connsiteY490" fmla="*/ 1239354 h 2831071"/>
              <a:gd name="connsiteX491" fmla="*/ 2014669 w 3473628"/>
              <a:gd name="connsiteY491" fmla="*/ 1279351 h 2831071"/>
              <a:gd name="connsiteX492" fmla="*/ 2051350 w 3473628"/>
              <a:gd name="connsiteY492" fmla="*/ 1309566 h 2831071"/>
              <a:gd name="connsiteX493" fmla="*/ 2064157 w 3473628"/>
              <a:gd name="connsiteY493" fmla="*/ 1331865 h 2831071"/>
              <a:gd name="connsiteX494" fmla="*/ 2053505 w 3473628"/>
              <a:gd name="connsiteY494" fmla="*/ 1376173 h 2831071"/>
              <a:gd name="connsiteX495" fmla="*/ 2057671 w 3473628"/>
              <a:gd name="connsiteY495" fmla="*/ 1437598 h 2831071"/>
              <a:gd name="connsiteX496" fmla="*/ 2084715 w 3473628"/>
              <a:gd name="connsiteY496" fmla="*/ 1526939 h 2831071"/>
              <a:gd name="connsiteX497" fmla="*/ 2142556 w 3473628"/>
              <a:gd name="connsiteY497" fmla="*/ 1590374 h 2831071"/>
              <a:gd name="connsiteX498" fmla="*/ 2188583 w 3473628"/>
              <a:gd name="connsiteY498" fmla="*/ 1652525 h 2831071"/>
              <a:gd name="connsiteX499" fmla="*/ 2211753 w 3473628"/>
              <a:gd name="connsiteY499" fmla="*/ 1709350 h 2831071"/>
              <a:gd name="connsiteX500" fmla="*/ 2213038 w 3473628"/>
              <a:gd name="connsiteY500" fmla="*/ 1751502 h 2831071"/>
              <a:gd name="connsiteX501" fmla="*/ 2193619 w 3473628"/>
              <a:gd name="connsiteY501" fmla="*/ 1786463 h 2831071"/>
              <a:gd name="connsiteX502" fmla="*/ 2145416 w 3473628"/>
              <a:gd name="connsiteY502" fmla="*/ 1826170 h 2831071"/>
              <a:gd name="connsiteX503" fmla="*/ 2094062 w 3473628"/>
              <a:gd name="connsiteY503" fmla="*/ 1865877 h 2831071"/>
              <a:gd name="connsiteX504" fmla="*/ 2067452 w 3473628"/>
              <a:gd name="connsiteY504" fmla="*/ 1897668 h 2831071"/>
              <a:gd name="connsiteX505" fmla="*/ 2076654 w 3473628"/>
              <a:gd name="connsiteY505" fmla="*/ 1913791 h 2831071"/>
              <a:gd name="connsiteX506" fmla="*/ 2097668 w 3473628"/>
              <a:gd name="connsiteY506" fmla="*/ 1937955 h 2831071"/>
              <a:gd name="connsiteX507" fmla="*/ 2095077 w 3473628"/>
              <a:gd name="connsiteY507" fmla="*/ 2004416 h 2831071"/>
              <a:gd name="connsiteX508" fmla="*/ 2059391 w 3473628"/>
              <a:gd name="connsiteY508" fmla="*/ 2109155 h 2831071"/>
              <a:gd name="connsiteX509" fmla="*/ 1969325 w 3473628"/>
              <a:gd name="connsiteY509" fmla="*/ 2331853 h 2831071"/>
              <a:gd name="connsiteX510" fmla="*/ 1904584 w 3473628"/>
              <a:gd name="connsiteY510" fmla="*/ 2574405 h 2831071"/>
              <a:gd name="connsiteX511" fmla="*/ 1892502 w 3473628"/>
              <a:gd name="connsiteY511" fmla="*/ 2764443 h 2831071"/>
              <a:gd name="connsiteX512" fmla="*/ 2038812 w 3473628"/>
              <a:gd name="connsiteY512" fmla="*/ 2824874 h 2831071"/>
              <a:gd name="connsiteX513" fmla="*/ 2686909 w 3473628"/>
              <a:gd name="connsiteY513" fmla="*/ 2831070 h 2831071"/>
              <a:gd name="connsiteX514" fmla="*/ 3473628 w 3473628"/>
              <a:gd name="connsiteY514" fmla="*/ 2831070 h 2831071"/>
              <a:gd name="connsiteX0" fmla="*/ 1452970 w 3473628"/>
              <a:gd name="connsiteY0" fmla="*/ 2641468 h 2831069"/>
              <a:gd name="connsiteX1" fmla="*/ 1358883 w 3473628"/>
              <a:gd name="connsiteY1" fmla="*/ 2615293 h 2831069"/>
              <a:gd name="connsiteX2" fmla="*/ 1279760 w 3473628"/>
              <a:gd name="connsiteY2" fmla="*/ 2592559 h 2831069"/>
              <a:gd name="connsiteX3" fmla="*/ 1214873 w 3473628"/>
              <a:gd name="connsiteY3" fmla="*/ 2517746 h 2831069"/>
              <a:gd name="connsiteX4" fmla="*/ 1186254 w 3473628"/>
              <a:gd name="connsiteY4" fmla="*/ 2427970 h 2831069"/>
              <a:gd name="connsiteX5" fmla="*/ 1188409 w 3473628"/>
              <a:gd name="connsiteY5" fmla="*/ 2366980 h 2831069"/>
              <a:gd name="connsiteX6" fmla="*/ 1213734 w 3473628"/>
              <a:gd name="connsiteY6" fmla="*/ 2320662 h 2831069"/>
              <a:gd name="connsiteX7" fmla="*/ 1209568 w 3473628"/>
              <a:gd name="connsiteY7" fmla="*/ 2270448 h 2831069"/>
              <a:gd name="connsiteX8" fmla="*/ 1120808 w 3473628"/>
              <a:gd name="connsiteY8" fmla="*/ 2115662 h 2831069"/>
              <a:gd name="connsiteX9" fmla="*/ 1030182 w 3473628"/>
              <a:gd name="connsiteY9" fmla="*/ 1957124 h 2831069"/>
              <a:gd name="connsiteX10" fmla="*/ 963576 w 3473628"/>
              <a:gd name="connsiteY10" fmla="*/ 1924173 h 2831069"/>
              <a:gd name="connsiteX11" fmla="*/ 805764 w 3473628"/>
              <a:gd name="connsiteY11" fmla="*/ 1954244 h 2831069"/>
              <a:gd name="connsiteX12" fmla="*/ 604929 w 3473628"/>
              <a:gd name="connsiteY12" fmla="*/ 1989060 h 2831069"/>
              <a:gd name="connsiteX13" fmla="*/ 477332 w 3473628"/>
              <a:gd name="connsiteY13" fmla="*/ 1993661 h 2831069"/>
              <a:gd name="connsiteX14" fmla="*/ 361672 w 3473628"/>
              <a:gd name="connsiteY14" fmla="*/ 2000852 h 2831069"/>
              <a:gd name="connsiteX15" fmla="*/ 98687 w 3473628"/>
              <a:gd name="connsiteY15" fmla="*/ 2062567 h 2831069"/>
              <a:gd name="connsiteX16" fmla="*/ 3316 w 3473628"/>
              <a:gd name="connsiteY16" fmla="*/ 2090047 h 2831069"/>
              <a:gd name="connsiteX17" fmla="*/ 45468 w 3473628"/>
              <a:gd name="connsiteY17" fmla="*/ 2164135 h 2831069"/>
              <a:gd name="connsiteX18" fmla="*/ 243277 w 3473628"/>
              <a:gd name="connsiteY18" fmla="*/ 2417629 h 2831069"/>
              <a:gd name="connsiteX19" fmla="*/ 343270 w 3473628"/>
              <a:gd name="connsiteY19" fmla="*/ 2553723 h 2831069"/>
              <a:gd name="connsiteX20" fmla="*/ 396634 w 3473628"/>
              <a:gd name="connsiteY20" fmla="*/ 2608392 h 2831069"/>
              <a:gd name="connsiteX21" fmla="*/ 442102 w 3473628"/>
              <a:gd name="connsiteY21" fmla="*/ 2644348 h 2831069"/>
              <a:gd name="connsiteX22" fmla="*/ 450018 w 3473628"/>
              <a:gd name="connsiteY22" fmla="*/ 2670108 h 2831069"/>
              <a:gd name="connsiteX23" fmla="*/ 431180 w 3473628"/>
              <a:gd name="connsiteY23" fmla="*/ 2687516 h 2831069"/>
              <a:gd name="connsiteX24" fmla="*/ 385007 w 3473628"/>
              <a:gd name="connsiteY24" fmla="*/ 2665507 h 2831069"/>
              <a:gd name="connsiteX25" fmla="*/ 320266 w 3473628"/>
              <a:gd name="connsiteY25" fmla="*/ 2569991 h 2831069"/>
              <a:gd name="connsiteX26" fmla="*/ 307459 w 3473628"/>
              <a:gd name="connsiteY26" fmla="*/ 2513166 h 2831069"/>
              <a:gd name="connsiteX27" fmla="*/ 319396 w 3473628"/>
              <a:gd name="connsiteY27" fmla="*/ 2499923 h 2831069"/>
              <a:gd name="connsiteX28" fmla="*/ 348015 w 3473628"/>
              <a:gd name="connsiteY28" fmla="*/ 2524378 h 2831069"/>
              <a:gd name="connsiteX29" fmla="*/ 378086 w 3473628"/>
              <a:gd name="connsiteY29" fmla="*/ 2562364 h 2831069"/>
              <a:gd name="connsiteX30" fmla="*/ 409731 w 3473628"/>
              <a:gd name="connsiteY30" fmla="*/ 2581348 h 2831069"/>
              <a:gd name="connsiteX31" fmla="*/ 431740 w 3473628"/>
              <a:gd name="connsiteY31" fmla="*/ 2604372 h 2831069"/>
              <a:gd name="connsiteX32" fmla="*/ 455323 w 3473628"/>
              <a:gd name="connsiteY32" fmla="*/ 2623645 h 2831069"/>
              <a:gd name="connsiteX33" fmla="*/ 472006 w 3473628"/>
              <a:gd name="connsiteY33" fmla="*/ 2654005 h 2831069"/>
              <a:gd name="connsiteX34" fmla="*/ 483798 w 3473628"/>
              <a:gd name="connsiteY34" fmla="*/ 2705649 h 2831069"/>
              <a:gd name="connsiteX35" fmla="*/ 515029 w 3473628"/>
              <a:gd name="connsiteY35" fmla="*/ 2761707 h 2831069"/>
              <a:gd name="connsiteX36" fmla="*/ 593924 w 3473628"/>
              <a:gd name="connsiteY36" fmla="*/ 2781975 h 2831069"/>
              <a:gd name="connsiteX37" fmla="*/ 917921 w 3473628"/>
              <a:gd name="connsiteY37" fmla="*/ 2784234 h 2831069"/>
              <a:gd name="connsiteX38" fmla="*/ 1481859 w 3473628"/>
              <a:gd name="connsiteY38" fmla="*/ 2784234 h 2831069"/>
              <a:gd name="connsiteX39" fmla="*/ 1611175 w 3473628"/>
              <a:gd name="connsiteY39" fmla="*/ 2760402 h 2831069"/>
              <a:gd name="connsiteX40" fmla="*/ 1530415 w 3473628"/>
              <a:gd name="connsiteY40" fmla="*/ 2653819 h 2831069"/>
              <a:gd name="connsiteX41" fmla="*/ 1485506 w 3473628"/>
              <a:gd name="connsiteY41" fmla="*/ 2582508 h 2831069"/>
              <a:gd name="connsiteX42" fmla="*/ 1444639 w 3473628"/>
              <a:gd name="connsiteY42" fmla="*/ 2563380 h 2831069"/>
              <a:gd name="connsiteX43" fmla="*/ 1360914 w 3473628"/>
              <a:gd name="connsiteY43" fmla="*/ 2569701 h 2831069"/>
              <a:gd name="connsiteX44" fmla="*/ 1305374 w 3473628"/>
              <a:gd name="connsiteY44" fmla="*/ 2561204 h 2831069"/>
              <a:gd name="connsiteX45" fmla="*/ 1259906 w 3473628"/>
              <a:gd name="connsiteY45" fmla="*/ 2517187 h 2831069"/>
              <a:gd name="connsiteX46" fmla="*/ 1228551 w 3473628"/>
              <a:gd name="connsiteY46" fmla="*/ 2442519 h 2831069"/>
              <a:gd name="connsiteX47" fmla="*/ 1227121 w 3473628"/>
              <a:gd name="connsiteY47" fmla="*/ 2364680 h 2831069"/>
              <a:gd name="connsiteX48" fmla="*/ 1271139 w 3473628"/>
              <a:gd name="connsiteY48" fmla="*/ 2317491 h 2831069"/>
              <a:gd name="connsiteX49" fmla="*/ 1254021 w 3473628"/>
              <a:gd name="connsiteY49" fmla="*/ 2254201 h 2831069"/>
              <a:gd name="connsiteX50" fmla="*/ 1118217 w 3473628"/>
              <a:gd name="connsiteY50" fmla="*/ 2041429 h 2831069"/>
              <a:gd name="connsiteX51" fmla="*/ 1021105 w 3473628"/>
              <a:gd name="connsiteY51" fmla="*/ 1888363 h 2831069"/>
              <a:gd name="connsiteX52" fmla="*/ 969171 w 3473628"/>
              <a:gd name="connsiteY52" fmla="*/ 1865338 h 2831069"/>
              <a:gd name="connsiteX53" fmla="*/ 890048 w 3473628"/>
              <a:gd name="connsiteY53" fmla="*/ 1886477 h 2831069"/>
              <a:gd name="connsiteX54" fmla="*/ 773808 w 3473628"/>
              <a:gd name="connsiteY54" fmla="*/ 1916837 h 2831069"/>
              <a:gd name="connsiteX55" fmla="*/ 552974 w 3473628"/>
              <a:gd name="connsiteY55" fmla="*/ 1960565 h 2831069"/>
              <a:gd name="connsiteX56" fmla="*/ 460463 w 3473628"/>
              <a:gd name="connsiteY56" fmla="*/ 1968771 h 2831069"/>
              <a:gd name="connsiteX57" fmla="*/ 390251 w 3473628"/>
              <a:gd name="connsiteY57" fmla="*/ 1936110 h 2831069"/>
              <a:gd name="connsiteX58" fmla="*/ 237329 w 3473628"/>
              <a:gd name="connsiteY58" fmla="*/ 1817280 h 2831069"/>
              <a:gd name="connsiteX59" fmla="*/ 148859 w 3473628"/>
              <a:gd name="connsiteY59" fmla="*/ 1724478 h 2831069"/>
              <a:gd name="connsiteX60" fmla="*/ 135326 w 3473628"/>
              <a:gd name="connsiteY60" fmla="*/ 1660753 h 2831069"/>
              <a:gd name="connsiteX61" fmla="*/ 160361 w 3473628"/>
              <a:gd name="connsiteY61" fmla="*/ 1619326 h 2831069"/>
              <a:gd name="connsiteX62" fmla="*/ 206534 w 3473628"/>
              <a:gd name="connsiteY62" fmla="*/ 1610829 h 2831069"/>
              <a:gd name="connsiteX63" fmla="*/ 299894 w 3473628"/>
              <a:gd name="connsiteY63" fmla="*/ 1646370 h 2831069"/>
              <a:gd name="connsiteX64" fmla="*/ 372552 w 3473628"/>
              <a:gd name="connsiteY64" fmla="*/ 1668959 h 2831069"/>
              <a:gd name="connsiteX65" fmla="*/ 375723 w 3473628"/>
              <a:gd name="connsiteY65" fmla="*/ 1692688 h 2831069"/>
              <a:gd name="connsiteX66" fmla="*/ 313282 w 3473628"/>
              <a:gd name="connsiteY66" fmla="*/ 1712832 h 2831069"/>
              <a:gd name="connsiteX67" fmla="*/ 211134 w 3473628"/>
              <a:gd name="connsiteY67" fmla="*/ 1685787 h 2831069"/>
              <a:gd name="connsiteX68" fmla="*/ 161356 w 3473628"/>
              <a:gd name="connsiteY68" fmla="*/ 1648235 h 2831069"/>
              <a:gd name="connsiteX69" fmla="*/ 166391 w 3473628"/>
              <a:gd name="connsiteY69" fmla="*/ 1605586 h 2831069"/>
              <a:gd name="connsiteX70" fmla="*/ 200192 w 3473628"/>
              <a:gd name="connsiteY70" fmla="*/ 1577816 h 2831069"/>
              <a:gd name="connsiteX71" fmla="*/ 287232 w 3473628"/>
              <a:gd name="connsiteY71" fmla="*/ 1590830 h 2831069"/>
              <a:gd name="connsiteX72" fmla="*/ 369009 w 3473628"/>
              <a:gd name="connsiteY72" fmla="*/ 1618953 h 2831069"/>
              <a:gd name="connsiteX73" fmla="*/ 419927 w 3473628"/>
              <a:gd name="connsiteY73" fmla="*/ 1621046 h 2831069"/>
              <a:gd name="connsiteX74" fmla="*/ 508625 w 3473628"/>
              <a:gd name="connsiteY74" fmla="*/ 1559682 h 2831069"/>
              <a:gd name="connsiteX75" fmla="*/ 603872 w 3473628"/>
              <a:gd name="connsiteY75" fmla="*/ 1496164 h 2831069"/>
              <a:gd name="connsiteX76" fmla="*/ 672489 w 3473628"/>
              <a:gd name="connsiteY76" fmla="*/ 1469699 h 2831069"/>
              <a:gd name="connsiteX77" fmla="*/ 740318 w 3473628"/>
              <a:gd name="connsiteY77" fmla="*/ 1459835 h 2831069"/>
              <a:gd name="connsiteX78" fmla="*/ 810675 w 3473628"/>
              <a:gd name="connsiteY78" fmla="*/ 1421288 h 2831069"/>
              <a:gd name="connsiteX79" fmla="*/ 854631 w 3473628"/>
              <a:gd name="connsiteY79" fmla="*/ 1394969 h 2831069"/>
              <a:gd name="connsiteX80" fmla="*/ 862982 w 3473628"/>
              <a:gd name="connsiteY80" fmla="*/ 1380214 h 2831069"/>
              <a:gd name="connsiteX81" fmla="*/ 851688 w 3473628"/>
              <a:gd name="connsiteY81" fmla="*/ 1366412 h 2831069"/>
              <a:gd name="connsiteX82" fmla="*/ 827524 w 3473628"/>
              <a:gd name="connsiteY82" fmla="*/ 1363614 h 2831069"/>
              <a:gd name="connsiteX83" fmla="*/ 824291 w 3473628"/>
              <a:gd name="connsiteY83" fmla="*/ 1354910 h 2831069"/>
              <a:gd name="connsiteX84" fmla="*/ 846652 w 3473628"/>
              <a:gd name="connsiteY84" fmla="*/ 1340030 h 2831069"/>
              <a:gd name="connsiteX85" fmla="*/ 880308 w 3473628"/>
              <a:gd name="connsiteY85" fmla="*/ 1319161 h 2831069"/>
              <a:gd name="connsiteX86" fmla="*/ 897363 w 3473628"/>
              <a:gd name="connsiteY86" fmla="*/ 1302831 h 2831069"/>
              <a:gd name="connsiteX87" fmla="*/ 886794 w 3473628"/>
              <a:gd name="connsiteY87" fmla="*/ 1295930 h 2831069"/>
              <a:gd name="connsiteX88" fmla="*/ 844642 w 3473628"/>
              <a:gd name="connsiteY88" fmla="*/ 1306934 h 2831069"/>
              <a:gd name="connsiteX89" fmla="*/ 809536 w 3473628"/>
              <a:gd name="connsiteY89" fmla="*/ 1335347 h 2831069"/>
              <a:gd name="connsiteX90" fmla="*/ 787029 w 3473628"/>
              <a:gd name="connsiteY90" fmla="*/ 1349667 h 2831069"/>
              <a:gd name="connsiteX91" fmla="*/ 782139 w 3473628"/>
              <a:gd name="connsiteY91" fmla="*/ 1343346 h 2831069"/>
              <a:gd name="connsiteX92" fmla="*/ 804583 w 3473628"/>
              <a:gd name="connsiteY92" fmla="*/ 1325296 h 2831069"/>
              <a:gd name="connsiteX93" fmla="*/ 816810 w 3473628"/>
              <a:gd name="connsiteY93" fmla="*/ 1307743 h 2831069"/>
              <a:gd name="connsiteX94" fmla="*/ 811276 w 3473628"/>
              <a:gd name="connsiteY94" fmla="*/ 1290977 h 2831069"/>
              <a:gd name="connsiteX95" fmla="*/ 791713 w 3473628"/>
              <a:gd name="connsiteY95" fmla="*/ 1290832 h 2831069"/>
              <a:gd name="connsiteX96" fmla="*/ 761933 w 3473628"/>
              <a:gd name="connsiteY96" fmla="*/ 1313856 h 2831069"/>
              <a:gd name="connsiteX97" fmla="*/ 742515 w 3473628"/>
              <a:gd name="connsiteY97" fmla="*/ 1324218 h 2831069"/>
              <a:gd name="connsiteX98" fmla="*/ 739862 w 3473628"/>
              <a:gd name="connsiteY98" fmla="*/ 1318457 h 2831069"/>
              <a:gd name="connsiteX99" fmla="*/ 752296 w 3473628"/>
              <a:gd name="connsiteY99" fmla="*/ 1300406 h 2831069"/>
              <a:gd name="connsiteX100" fmla="*/ 772585 w 3473628"/>
              <a:gd name="connsiteY100" fmla="*/ 1280615 h 2831069"/>
              <a:gd name="connsiteX101" fmla="*/ 776108 w 3473628"/>
              <a:gd name="connsiteY101" fmla="*/ 1263994 h 2831069"/>
              <a:gd name="connsiteX102" fmla="*/ 761083 w 3473628"/>
              <a:gd name="connsiteY102" fmla="*/ 1258026 h 2831069"/>
              <a:gd name="connsiteX103" fmla="*/ 718869 w 3473628"/>
              <a:gd name="connsiteY103" fmla="*/ 1273051 h 2831069"/>
              <a:gd name="connsiteX104" fmla="*/ 639600 w 3473628"/>
              <a:gd name="connsiteY104" fmla="*/ 1331181 h 2831069"/>
              <a:gd name="connsiteX105" fmla="*/ 569678 w 3473628"/>
              <a:gd name="connsiteY105" fmla="*/ 1382100 h 2831069"/>
              <a:gd name="connsiteX106" fmla="*/ 456173 w 3473628"/>
              <a:gd name="connsiteY106" fmla="*/ 1442530 h 2831069"/>
              <a:gd name="connsiteX107" fmla="*/ 325406 w 3473628"/>
              <a:gd name="connsiteY107" fmla="*/ 1515188 h 2831069"/>
              <a:gd name="connsiteX108" fmla="*/ 239526 w 3473628"/>
              <a:gd name="connsiteY108" fmla="*/ 1551144 h 2831069"/>
              <a:gd name="connsiteX109" fmla="*/ 218388 w 3473628"/>
              <a:gd name="connsiteY109" fmla="*/ 1575453 h 2831069"/>
              <a:gd name="connsiteX110" fmla="*/ 272912 w 3473628"/>
              <a:gd name="connsiteY110" fmla="*/ 1602208 h 2831069"/>
              <a:gd name="connsiteX111" fmla="*/ 357797 w 3473628"/>
              <a:gd name="connsiteY111" fmla="*/ 1635863 h 2831069"/>
              <a:gd name="connsiteX112" fmla="*/ 403410 w 3473628"/>
              <a:gd name="connsiteY112" fmla="*/ 1653271 h 2831069"/>
              <a:gd name="connsiteX113" fmla="*/ 416073 w 3473628"/>
              <a:gd name="connsiteY113" fmla="*/ 1682036 h 2831069"/>
              <a:gd name="connsiteX114" fmla="*/ 440817 w 3473628"/>
              <a:gd name="connsiteY114" fmla="*/ 1705060 h 2831069"/>
              <a:gd name="connsiteX115" fmla="*/ 514469 w 3473628"/>
              <a:gd name="connsiteY115" fmla="*/ 1733680 h 2831069"/>
              <a:gd name="connsiteX116" fmla="*/ 651288 w 3473628"/>
              <a:gd name="connsiteY116" fmla="*/ 1765905 h 2831069"/>
              <a:gd name="connsiteX117" fmla="*/ 768109 w 3473628"/>
              <a:gd name="connsiteY117" fmla="*/ 1785179 h 2831069"/>
              <a:gd name="connsiteX118" fmla="*/ 837306 w 3473628"/>
              <a:gd name="connsiteY118" fmla="*/ 1824740 h 2831069"/>
              <a:gd name="connsiteX119" fmla="*/ 840621 w 3473628"/>
              <a:gd name="connsiteY119" fmla="*/ 1854666 h 2831069"/>
              <a:gd name="connsiteX120" fmla="*/ 790843 w 3473628"/>
              <a:gd name="connsiteY120" fmla="*/ 1883430 h 2831069"/>
              <a:gd name="connsiteX121" fmla="*/ 713874 w 3473628"/>
              <a:gd name="connsiteY121" fmla="*/ 1902413 h 2831069"/>
              <a:gd name="connsiteX122" fmla="*/ 703367 w 3473628"/>
              <a:gd name="connsiteY122" fmla="*/ 1887741 h 2831069"/>
              <a:gd name="connsiteX123" fmla="*/ 735158 w 3473628"/>
              <a:gd name="connsiteY123" fmla="*/ 1840843 h 2831069"/>
              <a:gd name="connsiteX124" fmla="*/ 785662 w 3473628"/>
              <a:gd name="connsiteY124" fmla="*/ 1808037 h 2831069"/>
              <a:gd name="connsiteX125" fmla="*/ 864640 w 3473628"/>
              <a:gd name="connsiteY125" fmla="*/ 1809757 h 2831069"/>
              <a:gd name="connsiteX126" fmla="*/ 904637 w 3473628"/>
              <a:gd name="connsiteY126" fmla="*/ 1789468 h 2831069"/>
              <a:gd name="connsiteX127" fmla="*/ 916284 w 3473628"/>
              <a:gd name="connsiteY127" fmla="*/ 1745161 h 2831069"/>
              <a:gd name="connsiteX128" fmla="*/ 912119 w 3473628"/>
              <a:gd name="connsiteY128" fmla="*/ 1675238 h 2831069"/>
              <a:gd name="connsiteX129" fmla="*/ 918025 w 3473628"/>
              <a:gd name="connsiteY129" fmla="*/ 1647904 h 2831069"/>
              <a:gd name="connsiteX130" fmla="*/ 946230 w 3473628"/>
              <a:gd name="connsiteY130" fmla="*/ 1644588 h 2831069"/>
              <a:gd name="connsiteX131" fmla="*/ 993128 w 3473628"/>
              <a:gd name="connsiteY131" fmla="*/ 1664587 h 2831069"/>
              <a:gd name="connsiteX132" fmla="*/ 1043632 w 3473628"/>
              <a:gd name="connsiteY132" fmla="*/ 1685455 h 2831069"/>
              <a:gd name="connsiteX133" fmla="*/ 1091110 w 3473628"/>
              <a:gd name="connsiteY133" fmla="*/ 1667032 h 2831069"/>
              <a:gd name="connsiteX134" fmla="*/ 1113844 w 3473628"/>
              <a:gd name="connsiteY134" fmla="*/ 1609046 h 2831069"/>
              <a:gd name="connsiteX135" fmla="*/ 1137573 w 3473628"/>
              <a:gd name="connsiteY135" fmla="*/ 1536244 h 2831069"/>
              <a:gd name="connsiteX136" fmla="*/ 1175270 w 3473628"/>
              <a:gd name="connsiteY136" fmla="*/ 1484165 h 2831069"/>
              <a:gd name="connsiteX137" fmla="*/ 1215847 w 3473628"/>
              <a:gd name="connsiteY137" fmla="*/ 1437702 h 2831069"/>
              <a:gd name="connsiteX138" fmla="*/ 1213837 w 3473628"/>
              <a:gd name="connsiteY138" fmla="*/ 1405911 h 2831069"/>
              <a:gd name="connsiteX139" fmla="*/ 1160743 w 3473628"/>
              <a:gd name="connsiteY139" fmla="*/ 1359449 h 2831069"/>
              <a:gd name="connsiteX140" fmla="*/ 1072273 w 3473628"/>
              <a:gd name="connsiteY140" fmla="*/ 1326207 h 2831069"/>
              <a:gd name="connsiteX141" fmla="*/ 969420 w 3473628"/>
              <a:gd name="connsiteY141" fmla="*/ 1337709 h 2831069"/>
              <a:gd name="connsiteX142" fmla="*/ 912160 w 3473628"/>
              <a:gd name="connsiteY142" fmla="*/ 1380152 h 2831069"/>
              <a:gd name="connsiteX143" fmla="*/ 896327 w 3473628"/>
              <a:gd name="connsiteY143" fmla="*/ 1448333 h 2831069"/>
              <a:gd name="connsiteX144" fmla="*/ 877489 w 3473628"/>
              <a:gd name="connsiteY144" fmla="*/ 1512784 h 2831069"/>
              <a:gd name="connsiteX145" fmla="*/ 860806 w 3473628"/>
              <a:gd name="connsiteY145" fmla="*/ 1564138 h 2831069"/>
              <a:gd name="connsiteX146" fmla="*/ 859936 w 3473628"/>
              <a:gd name="connsiteY146" fmla="*/ 1636216 h 2831069"/>
              <a:gd name="connsiteX147" fmla="*/ 882670 w 3473628"/>
              <a:gd name="connsiteY147" fmla="*/ 1693040 h 2831069"/>
              <a:gd name="connsiteX148" fmla="*/ 939930 w 3473628"/>
              <a:gd name="connsiteY148" fmla="*/ 1728001 h 2831069"/>
              <a:gd name="connsiteX149" fmla="*/ 1032856 w 3473628"/>
              <a:gd name="connsiteY149" fmla="*/ 1733618 h 2831069"/>
              <a:gd name="connsiteX150" fmla="*/ 1121326 w 3473628"/>
              <a:gd name="connsiteY150" fmla="*/ 1688440 h 2831069"/>
              <a:gd name="connsiteX151" fmla="*/ 1171830 w 3473628"/>
              <a:gd name="connsiteY151" fmla="*/ 1627304 h 2831069"/>
              <a:gd name="connsiteX152" fmla="*/ 1192263 w 3473628"/>
              <a:gd name="connsiteY152" fmla="*/ 1592343 h 2831069"/>
              <a:gd name="connsiteX153" fmla="*/ 1215433 w 3473628"/>
              <a:gd name="connsiteY153" fmla="*/ 1590478 h 2831069"/>
              <a:gd name="connsiteX154" fmla="*/ 1223059 w 3473628"/>
              <a:gd name="connsiteY154" fmla="*/ 1624569 h 2831069"/>
              <a:gd name="connsiteX155" fmla="*/ 1193569 w 3473628"/>
              <a:gd name="connsiteY155" fmla="*/ 1655219 h 2831069"/>
              <a:gd name="connsiteX156" fmla="*/ 1160328 w 3473628"/>
              <a:gd name="connsiteY156" fmla="*/ 1650909 h 2831069"/>
              <a:gd name="connsiteX157" fmla="*/ 1152121 w 3473628"/>
              <a:gd name="connsiteY157" fmla="*/ 1619844 h 2831069"/>
              <a:gd name="connsiteX158" fmla="*/ 1169239 w 3473628"/>
              <a:gd name="connsiteY158" fmla="*/ 1577836 h 2831069"/>
              <a:gd name="connsiteX159" fmla="*/ 1208511 w 3473628"/>
              <a:gd name="connsiteY159" fmla="*/ 1555683 h 2831069"/>
              <a:gd name="connsiteX160" fmla="*/ 1223039 w 3473628"/>
              <a:gd name="connsiteY160" fmla="*/ 1534814 h 2831069"/>
              <a:gd name="connsiteX161" fmla="*/ 1221173 w 3473628"/>
              <a:gd name="connsiteY161" fmla="*/ 1493822 h 2831069"/>
              <a:gd name="connsiteX162" fmla="*/ 1192263 w 3473628"/>
              <a:gd name="connsiteY162" fmla="*/ 1435837 h 2831069"/>
              <a:gd name="connsiteX163" fmla="*/ 1126527 w 3473628"/>
              <a:gd name="connsiteY163" fmla="*/ 1373105 h 2831069"/>
              <a:gd name="connsiteX164" fmla="*/ 1015178 w 3473628"/>
              <a:gd name="connsiteY164" fmla="*/ 1361604 h 2831069"/>
              <a:gd name="connsiteX165" fmla="*/ 929299 w 3473628"/>
              <a:gd name="connsiteY165" fmla="*/ 1399591 h 2831069"/>
              <a:gd name="connsiteX166" fmla="*/ 891312 w 3473628"/>
              <a:gd name="connsiteY166" fmla="*/ 1413683 h 2831069"/>
              <a:gd name="connsiteX167" fmla="*/ 880805 w 3473628"/>
              <a:gd name="connsiteY167" fmla="*/ 1385623 h 2831069"/>
              <a:gd name="connsiteX168" fmla="*/ 887271 w 3473628"/>
              <a:gd name="connsiteY168" fmla="*/ 1343035 h 2831069"/>
              <a:gd name="connsiteX169" fmla="*/ 919351 w 3473628"/>
              <a:gd name="connsiteY169" fmla="*/ 1314270 h 2831069"/>
              <a:gd name="connsiteX170" fmla="*/ 976031 w 3473628"/>
              <a:gd name="connsiteY170" fmla="*/ 1293402 h 2831069"/>
              <a:gd name="connsiteX171" fmla="*/ 1018183 w 3473628"/>
              <a:gd name="connsiteY171" fmla="*/ 1281900 h 2831069"/>
              <a:gd name="connsiteX172" fmla="*/ 1050844 w 3473628"/>
              <a:gd name="connsiteY172" fmla="*/ 1268947 h 2831069"/>
              <a:gd name="connsiteX173" fmla="*/ 1109244 w 3473628"/>
              <a:gd name="connsiteY173" fmla="*/ 1272118 h 2831069"/>
              <a:gd name="connsiteX174" fmla="*/ 1183622 w 3473628"/>
              <a:gd name="connsiteY174" fmla="*/ 1306209 h 2831069"/>
              <a:gd name="connsiteX175" fmla="*/ 1247202 w 3473628"/>
              <a:gd name="connsiteY175" fmla="*/ 1382017 h 2831069"/>
              <a:gd name="connsiteX176" fmla="*/ 1276983 w 3473628"/>
              <a:gd name="connsiteY176" fmla="*/ 1470777 h 2831069"/>
              <a:gd name="connsiteX177" fmla="*/ 1290785 w 3473628"/>
              <a:gd name="connsiteY177" fmla="*/ 1538959 h 2831069"/>
              <a:gd name="connsiteX178" fmla="*/ 1286184 w 3473628"/>
              <a:gd name="connsiteY178" fmla="*/ 1598664 h 2831069"/>
              <a:gd name="connsiteX179" fmla="*/ 1251223 w 3473628"/>
              <a:gd name="connsiteY179" fmla="*/ 1657789 h 2831069"/>
              <a:gd name="connsiteX180" fmla="*/ 1190792 w 3473628"/>
              <a:gd name="connsiteY180" fmla="*/ 1692460 h 2831069"/>
              <a:gd name="connsiteX181" fmla="*/ 1155396 w 3473628"/>
              <a:gd name="connsiteY181" fmla="*/ 1717349 h 2831069"/>
              <a:gd name="connsiteX182" fmla="*/ 1128786 w 3473628"/>
              <a:gd name="connsiteY182" fmla="*/ 1768848 h 2831069"/>
              <a:gd name="connsiteX183" fmla="*/ 1124766 w 3473628"/>
              <a:gd name="connsiteY183" fmla="*/ 1813156 h 2831069"/>
              <a:gd name="connsiteX184" fmla="*/ 1143459 w 3473628"/>
              <a:gd name="connsiteY184" fmla="*/ 1838045 h 2831069"/>
              <a:gd name="connsiteX185" fmla="*/ 1176700 w 3473628"/>
              <a:gd name="connsiteY185" fmla="*/ 1874581 h 2831069"/>
              <a:gd name="connsiteX186" fmla="*/ 1211951 w 3473628"/>
              <a:gd name="connsiteY186" fmla="*/ 1930971 h 2831069"/>
              <a:gd name="connsiteX187" fmla="*/ 1269791 w 3473628"/>
              <a:gd name="connsiteY187" fmla="*/ 1970678 h 2831069"/>
              <a:gd name="connsiteX188" fmla="*/ 1289790 w 3473628"/>
              <a:gd name="connsiteY188" fmla="*/ 2016996 h 2831069"/>
              <a:gd name="connsiteX189" fmla="*/ 1236696 w 3473628"/>
              <a:gd name="connsiteY189" fmla="*/ 2105031 h 2831069"/>
              <a:gd name="connsiteX190" fmla="*/ 1189362 w 3473628"/>
              <a:gd name="connsiteY190" fmla="*/ 2099269 h 2831069"/>
              <a:gd name="connsiteX191" fmla="*/ 1126921 w 3473628"/>
              <a:gd name="connsiteY191" fmla="*/ 1994386 h 2831069"/>
              <a:gd name="connsiteX192" fmla="*/ 1124621 w 3473628"/>
              <a:gd name="connsiteY192" fmla="*/ 1948773 h 2831069"/>
              <a:gd name="connsiteX193" fmla="*/ 1178855 w 3473628"/>
              <a:gd name="connsiteY193" fmla="*/ 1910226 h 2831069"/>
              <a:gd name="connsiteX194" fmla="*/ 1235245 w 3473628"/>
              <a:gd name="connsiteY194" fmla="*/ 1918288 h 2831069"/>
              <a:gd name="connsiteX195" fmla="*/ 1332792 w 3473628"/>
              <a:gd name="connsiteY195" fmla="*/ 1988065 h 2831069"/>
              <a:gd name="connsiteX196" fmla="*/ 1387316 w 3473628"/>
              <a:gd name="connsiteY196" fmla="*/ 2070650 h 2831069"/>
              <a:gd name="connsiteX197" fmla="*/ 1383710 w 3473628"/>
              <a:gd name="connsiteY197" fmla="*/ 2126190 h 2831069"/>
              <a:gd name="connsiteX198" fmla="*/ 1348459 w 3473628"/>
              <a:gd name="connsiteY198" fmla="*/ 2203448 h 2831069"/>
              <a:gd name="connsiteX199" fmla="*/ 1311923 w 3473628"/>
              <a:gd name="connsiteY199" fmla="*/ 2248771 h 2831069"/>
              <a:gd name="connsiteX200" fmla="*/ 1270786 w 3473628"/>
              <a:gd name="connsiteY200" fmla="*/ 2226907 h 2831069"/>
              <a:gd name="connsiteX201" fmla="*/ 1256694 w 3473628"/>
              <a:gd name="connsiteY201" fmla="*/ 2197417 h 2831069"/>
              <a:gd name="connsiteX202" fmla="*/ 1262745 w 3473628"/>
              <a:gd name="connsiteY202" fmla="*/ 2172093 h 2831069"/>
              <a:gd name="connsiteX203" fmla="*/ 1299427 w 3473628"/>
              <a:gd name="connsiteY203" fmla="*/ 2127640 h 2831069"/>
              <a:gd name="connsiteX204" fmla="*/ 1357826 w 3473628"/>
              <a:gd name="connsiteY204" fmla="*/ 2086068 h 2831069"/>
              <a:gd name="connsiteX205" fmla="*/ 1403999 w 3473628"/>
              <a:gd name="connsiteY205" fmla="*/ 2048372 h 2831069"/>
              <a:gd name="connsiteX206" fmla="*/ 1428453 w 3473628"/>
              <a:gd name="connsiteY206" fmla="*/ 2028228 h 2831069"/>
              <a:gd name="connsiteX207" fmla="*/ 1435644 w 3473628"/>
              <a:gd name="connsiteY207" fmla="*/ 2043481 h 2831069"/>
              <a:gd name="connsiteX208" fmla="*/ 1439375 w 3473628"/>
              <a:gd name="connsiteY208" fmla="*/ 2107062 h 2831069"/>
              <a:gd name="connsiteX209" fmla="*/ 1432039 w 3473628"/>
              <a:gd name="connsiteY209" fmla="*/ 2164902 h 2831069"/>
              <a:gd name="connsiteX210" fmla="*/ 1405864 w 3473628"/>
              <a:gd name="connsiteY210" fmla="*/ 2266469 h 2831069"/>
              <a:gd name="connsiteX211" fmla="*/ 1412765 w 3473628"/>
              <a:gd name="connsiteY211" fmla="*/ 2328330 h 2831069"/>
              <a:gd name="connsiteX212" fmla="*/ 1440245 w 3473628"/>
              <a:gd name="connsiteY212" fmla="*/ 2353074 h 2831069"/>
              <a:gd name="connsiteX213" fmla="*/ 1475932 w 3473628"/>
              <a:gd name="connsiteY213" fmla="*/ 2367457 h 2831069"/>
              <a:gd name="connsiteX214" fmla="*/ 1511038 w 3473628"/>
              <a:gd name="connsiteY214" fmla="*/ 2382710 h 2831069"/>
              <a:gd name="connsiteX215" fmla="*/ 1536217 w 3473628"/>
              <a:gd name="connsiteY215" fmla="*/ 2415225 h 2831069"/>
              <a:gd name="connsiteX216" fmla="*/ 1543408 w 3473628"/>
              <a:gd name="connsiteY216" fmla="*/ 2463843 h 2831069"/>
              <a:gd name="connsiteX217" fmla="*/ 1512758 w 3473628"/>
              <a:gd name="connsiteY217" fmla="*/ 2507156 h 2831069"/>
              <a:gd name="connsiteX218" fmla="*/ 1467083 w 3473628"/>
              <a:gd name="connsiteY218" fmla="*/ 2522844 h 2831069"/>
              <a:gd name="connsiteX219" fmla="*/ 1422195 w 3473628"/>
              <a:gd name="connsiteY219" fmla="*/ 2523860 h 2831069"/>
              <a:gd name="connsiteX220" fmla="*/ 1366738 w 3473628"/>
              <a:gd name="connsiteY220" fmla="*/ 2540832 h 2831069"/>
              <a:gd name="connsiteX221" fmla="*/ 1320420 w 3473628"/>
              <a:gd name="connsiteY221" fmla="*/ 2536667 h 2831069"/>
              <a:gd name="connsiteX222" fmla="*/ 1321788 w 3473628"/>
              <a:gd name="connsiteY222" fmla="*/ 2519549 h 2831069"/>
              <a:gd name="connsiteX223" fmla="*/ 1369846 w 3473628"/>
              <a:gd name="connsiteY223" fmla="*/ 2497893 h 2831069"/>
              <a:gd name="connsiteX224" fmla="*/ 1396891 w 3473628"/>
              <a:gd name="connsiteY224" fmla="*/ 2480277 h 2831069"/>
              <a:gd name="connsiteX225" fmla="*/ 1381286 w 3473628"/>
              <a:gd name="connsiteY225" fmla="*/ 2474102 h 2831069"/>
              <a:gd name="connsiteX226" fmla="*/ 1307986 w 3473628"/>
              <a:gd name="connsiteY226" fmla="*/ 2503094 h 2831069"/>
              <a:gd name="connsiteX227" fmla="*/ 1275760 w 3473628"/>
              <a:gd name="connsiteY227" fmla="*/ 2503820 h 2831069"/>
              <a:gd name="connsiteX228" fmla="*/ 1277190 w 3473628"/>
              <a:gd name="connsiteY228" fmla="*/ 2490515 h 2831069"/>
              <a:gd name="connsiteX229" fmla="*/ 1302287 w 3473628"/>
              <a:gd name="connsiteY229" fmla="*/ 2478495 h 2831069"/>
              <a:gd name="connsiteX230" fmla="*/ 1350407 w 3473628"/>
              <a:gd name="connsiteY230" fmla="*/ 2445109 h 2831069"/>
              <a:gd name="connsiteX231" fmla="*/ 1346946 w 3473628"/>
              <a:gd name="connsiteY231" fmla="*/ 2435120 h 2831069"/>
              <a:gd name="connsiteX232" fmla="*/ 1292774 w 3473628"/>
              <a:gd name="connsiteY232" fmla="*/ 2461812 h 2831069"/>
              <a:gd name="connsiteX233" fmla="*/ 1261834 w 3473628"/>
              <a:gd name="connsiteY233" fmla="*/ 2459719 h 2831069"/>
              <a:gd name="connsiteX234" fmla="*/ 1265149 w 3473628"/>
              <a:gd name="connsiteY234" fmla="*/ 2438933 h 2831069"/>
              <a:gd name="connsiteX235" fmla="*/ 1303053 w 3473628"/>
              <a:gd name="connsiteY235" fmla="*/ 2411308 h 2831069"/>
              <a:gd name="connsiteX236" fmla="*/ 1318513 w 3473628"/>
              <a:gd name="connsiteY236" fmla="*/ 2393175 h 2831069"/>
              <a:gd name="connsiteX237" fmla="*/ 1306783 w 3473628"/>
              <a:gd name="connsiteY237" fmla="*/ 2385984 h 2831069"/>
              <a:gd name="connsiteX238" fmla="*/ 1268590 w 3473628"/>
              <a:gd name="connsiteY238" fmla="*/ 2403392 h 2831069"/>
              <a:gd name="connsiteX239" fmla="*/ 1243410 w 3473628"/>
              <a:gd name="connsiteY239" fmla="*/ 2405257 h 2831069"/>
              <a:gd name="connsiteX240" fmla="*/ 1242685 w 3473628"/>
              <a:gd name="connsiteY240" fmla="*/ 2382461 h 2831069"/>
              <a:gd name="connsiteX241" fmla="*/ 1284402 w 3473628"/>
              <a:gd name="connsiteY241" fmla="*/ 2341469 h 2831069"/>
              <a:gd name="connsiteX242" fmla="*/ 1360935 w 3473628"/>
              <a:gd name="connsiteY242" fmla="*/ 2306218 h 2831069"/>
              <a:gd name="connsiteX243" fmla="*/ 1411004 w 3473628"/>
              <a:gd name="connsiteY243" fmla="*/ 2303047 h 2831069"/>
              <a:gd name="connsiteX244" fmla="*/ 1438484 w 3473628"/>
              <a:gd name="connsiteY244" fmla="*/ 2295131 h 2831069"/>
              <a:gd name="connsiteX245" fmla="*/ 1468409 w 3473628"/>
              <a:gd name="connsiteY245" fmla="*/ 2243777 h 2831069"/>
              <a:gd name="connsiteX246" fmla="*/ 1532570 w 3473628"/>
              <a:gd name="connsiteY246" fmla="*/ 2156301 h 2831069"/>
              <a:gd name="connsiteX247" fmla="*/ 1610761 w 3473628"/>
              <a:gd name="connsiteY247" fmla="*/ 2074152 h 2831069"/>
              <a:gd name="connsiteX248" fmla="*/ 1628957 w 3473628"/>
              <a:gd name="connsiteY248" fmla="*/ 2041864 h 2831069"/>
              <a:gd name="connsiteX249" fmla="*/ 1628604 w 3473628"/>
              <a:gd name="connsiteY249" fmla="*/ 2021078 h 2831069"/>
              <a:gd name="connsiteX250" fmla="*/ 1642841 w 3473628"/>
              <a:gd name="connsiteY250" fmla="*/ 2001308 h 2831069"/>
              <a:gd name="connsiteX251" fmla="*/ 1697863 w 3473628"/>
              <a:gd name="connsiteY251" fmla="*/ 1963611 h 2831069"/>
              <a:gd name="connsiteX252" fmla="*/ 1768718 w 3473628"/>
              <a:gd name="connsiteY252" fmla="*/ 1914703 h 2831069"/>
              <a:gd name="connsiteX253" fmla="*/ 1816549 w 3473628"/>
              <a:gd name="connsiteY253" fmla="*/ 1881109 h 2831069"/>
              <a:gd name="connsiteX254" fmla="*/ 1846039 w 3473628"/>
              <a:gd name="connsiteY254" fmla="*/ 1836221 h 2831069"/>
              <a:gd name="connsiteX255" fmla="*/ 1863882 w 3473628"/>
              <a:gd name="connsiteY255" fmla="*/ 1739400 h 2831069"/>
              <a:gd name="connsiteX256" fmla="*/ 1862162 w 3473628"/>
              <a:gd name="connsiteY256" fmla="*/ 1654225 h 2831069"/>
              <a:gd name="connsiteX257" fmla="*/ 1849355 w 3473628"/>
              <a:gd name="connsiteY257" fmla="*/ 1586312 h 2831069"/>
              <a:gd name="connsiteX258" fmla="*/ 1804322 w 3473628"/>
              <a:gd name="connsiteY258" fmla="*/ 1511499 h 2831069"/>
              <a:gd name="connsiteX259" fmla="*/ 1748512 w 3473628"/>
              <a:gd name="connsiteY259" fmla="*/ 1463296 h 2831069"/>
              <a:gd name="connsiteX260" fmla="*/ 1688662 w 3473628"/>
              <a:gd name="connsiteY260" fmla="*/ 1445017 h 2831069"/>
              <a:gd name="connsiteX261" fmla="*/ 1629682 w 3473628"/>
              <a:gd name="connsiteY261" fmla="*/ 1434655 h 2831069"/>
              <a:gd name="connsiteX262" fmla="*/ 1565521 w 3473628"/>
              <a:gd name="connsiteY262" fmla="*/ 1420708 h 2831069"/>
              <a:gd name="connsiteX263" fmla="*/ 1482377 w 3473628"/>
              <a:gd name="connsiteY263" fmla="*/ 1428044 h 2831069"/>
              <a:gd name="connsiteX264" fmla="*/ 1425117 w 3473628"/>
              <a:gd name="connsiteY264" fmla="*/ 1469036 h 2831069"/>
              <a:gd name="connsiteX265" fmla="*/ 1416910 w 3473628"/>
              <a:gd name="connsiteY265" fmla="*/ 1533923 h 2831069"/>
              <a:gd name="connsiteX266" fmla="*/ 1436618 w 3473628"/>
              <a:gd name="connsiteY266" fmla="*/ 1580240 h 2831069"/>
              <a:gd name="connsiteX267" fmla="*/ 1448265 w 3473628"/>
              <a:gd name="connsiteY267" fmla="*/ 1638081 h 2831069"/>
              <a:gd name="connsiteX268" fmla="*/ 1432577 w 3473628"/>
              <a:gd name="connsiteY268" fmla="*/ 1733037 h 2831069"/>
              <a:gd name="connsiteX269" fmla="*/ 1436598 w 3473628"/>
              <a:gd name="connsiteY269" fmla="*/ 1799063 h 2831069"/>
              <a:gd name="connsiteX270" fmla="*/ 1493568 w 3473628"/>
              <a:gd name="connsiteY270" fmla="*/ 1841216 h 2831069"/>
              <a:gd name="connsiteX271" fmla="*/ 1619299 w 3473628"/>
              <a:gd name="connsiteY271" fmla="*/ 1854168 h 2831069"/>
              <a:gd name="connsiteX272" fmla="*/ 1704039 w 3473628"/>
              <a:gd name="connsiteY272" fmla="*/ 1837050 h 2831069"/>
              <a:gd name="connsiteX273" fmla="*/ 1739290 w 3473628"/>
              <a:gd name="connsiteY273" fmla="*/ 1788577 h 2831069"/>
              <a:gd name="connsiteX274" fmla="*/ 1754108 w 3473628"/>
              <a:gd name="connsiteY274" fmla="*/ 1758507 h 2831069"/>
              <a:gd name="connsiteX275" fmla="*/ 1769071 w 3473628"/>
              <a:gd name="connsiteY275" fmla="*/ 1758507 h 2831069"/>
              <a:gd name="connsiteX276" fmla="*/ 1773526 w 3473628"/>
              <a:gd name="connsiteY276" fmla="*/ 1787562 h 2831069"/>
              <a:gd name="connsiteX277" fmla="*/ 1747621 w 3473628"/>
              <a:gd name="connsiteY277" fmla="*/ 1819497 h 2831069"/>
              <a:gd name="connsiteX278" fmla="*/ 1719271 w 3473628"/>
              <a:gd name="connsiteY278" fmla="*/ 1806110 h 2831069"/>
              <a:gd name="connsiteX279" fmla="*/ 1727478 w 3473628"/>
              <a:gd name="connsiteY279" fmla="*/ 1762092 h 2831069"/>
              <a:gd name="connsiteX280" fmla="*/ 1757258 w 3473628"/>
              <a:gd name="connsiteY280" fmla="*/ 1731297 h 2831069"/>
              <a:gd name="connsiteX281" fmla="*/ 1781857 w 3473628"/>
              <a:gd name="connsiteY281" fmla="*/ 1696626 h 2831069"/>
              <a:gd name="connsiteX282" fmla="*/ 1759123 w 3473628"/>
              <a:gd name="connsiteY282" fmla="*/ 1625563 h 2831069"/>
              <a:gd name="connsiteX283" fmla="*/ 1710650 w 3473628"/>
              <a:gd name="connsiteY283" fmla="*/ 1549175 h 2831069"/>
              <a:gd name="connsiteX284" fmla="*/ 1628065 w 3473628"/>
              <a:gd name="connsiteY284" fmla="*/ 1512349 h 2831069"/>
              <a:gd name="connsiteX285" fmla="*/ 1535989 w 3473628"/>
              <a:gd name="connsiteY285" fmla="*/ 1521260 h 2831069"/>
              <a:gd name="connsiteX286" fmla="*/ 1469528 w 3473628"/>
              <a:gd name="connsiteY286" fmla="*/ 1574624 h 2831069"/>
              <a:gd name="connsiteX287" fmla="*/ 1448100 w 3473628"/>
              <a:gd name="connsiteY287" fmla="*/ 1608280 h 2831069"/>
              <a:gd name="connsiteX288" fmla="*/ 1425946 w 3473628"/>
              <a:gd name="connsiteY288" fmla="*/ 1663384 h 2831069"/>
              <a:gd name="connsiteX289" fmla="*/ 1406527 w 3473628"/>
              <a:gd name="connsiteY289" fmla="*/ 1760351 h 2831069"/>
              <a:gd name="connsiteX290" fmla="*/ 1422215 w 3473628"/>
              <a:gd name="connsiteY290" fmla="*/ 1829693 h 2831069"/>
              <a:gd name="connsiteX291" fmla="*/ 1452866 w 3473628"/>
              <a:gd name="connsiteY291" fmla="*/ 1880115 h 2831069"/>
              <a:gd name="connsiteX292" fmla="*/ 1472139 w 3473628"/>
              <a:gd name="connsiteY292" fmla="*/ 1939737 h 2831069"/>
              <a:gd name="connsiteX293" fmla="*/ 1476885 w 3473628"/>
              <a:gd name="connsiteY293" fmla="*/ 1996769 h 2831069"/>
              <a:gd name="connsiteX294" fmla="*/ 1459332 w 3473628"/>
              <a:gd name="connsiteY294" fmla="*/ 2060205 h 2831069"/>
              <a:gd name="connsiteX295" fmla="*/ 1462212 w 3473628"/>
              <a:gd name="connsiteY295" fmla="*/ 2092430 h 2831069"/>
              <a:gd name="connsiteX296" fmla="*/ 1501339 w 3473628"/>
              <a:gd name="connsiteY296" fmla="*/ 2073157 h 2831069"/>
              <a:gd name="connsiteX297" fmla="*/ 1597083 w 3473628"/>
              <a:gd name="connsiteY297" fmla="*/ 2002592 h 2831069"/>
              <a:gd name="connsiteX298" fmla="*/ 1667586 w 3473628"/>
              <a:gd name="connsiteY298" fmla="*/ 1957705 h 2831069"/>
              <a:gd name="connsiteX299" fmla="*/ 1726856 w 3473628"/>
              <a:gd name="connsiteY299" fmla="*/ 1927987 h 2831069"/>
              <a:gd name="connsiteX300" fmla="*/ 1753258 w 3473628"/>
              <a:gd name="connsiteY300" fmla="*/ 1933520 h 2831069"/>
              <a:gd name="connsiteX301" fmla="*/ 1781816 w 3473628"/>
              <a:gd name="connsiteY301" fmla="*/ 1986034 h 2831069"/>
              <a:gd name="connsiteX302" fmla="*/ 1823616 w 3473628"/>
              <a:gd name="connsiteY302" fmla="*/ 2024809 h 2831069"/>
              <a:gd name="connsiteX303" fmla="*/ 1853044 w 3473628"/>
              <a:gd name="connsiteY303" fmla="*/ 2039129 h 2831069"/>
              <a:gd name="connsiteX304" fmla="*/ 1845417 w 3473628"/>
              <a:gd name="connsiteY304" fmla="*/ 2056392 h 2831069"/>
              <a:gd name="connsiteX305" fmla="*/ 1802685 w 3473628"/>
              <a:gd name="connsiteY305" fmla="*/ 2090420 h 2831069"/>
              <a:gd name="connsiteX306" fmla="*/ 1764283 w 3473628"/>
              <a:gd name="connsiteY306" fmla="*/ 2152281 h 2831069"/>
              <a:gd name="connsiteX307" fmla="*/ 1702132 w 3473628"/>
              <a:gd name="connsiteY307" fmla="*/ 2291753 h 2831069"/>
              <a:gd name="connsiteX308" fmla="*/ 1672207 w 3473628"/>
              <a:gd name="connsiteY308" fmla="*/ 2356639 h 2831069"/>
              <a:gd name="connsiteX309" fmla="*/ 1654654 w 3473628"/>
              <a:gd name="connsiteY309" fmla="*/ 2363043 h 2831069"/>
              <a:gd name="connsiteX310" fmla="*/ 1613082 w 3473628"/>
              <a:gd name="connsiteY310" fmla="*/ 2345054 h 2831069"/>
              <a:gd name="connsiteX311" fmla="*/ 1559925 w 3473628"/>
              <a:gd name="connsiteY311" fmla="*/ 2330174 h 2831069"/>
              <a:gd name="connsiteX312" fmla="*/ 1518498 w 3473628"/>
              <a:gd name="connsiteY312" fmla="*/ 2333345 h 2831069"/>
              <a:gd name="connsiteX313" fmla="*/ 1485112 w 3473628"/>
              <a:gd name="connsiteY313" fmla="*/ 2345075 h 2831069"/>
              <a:gd name="connsiteX314" fmla="*/ 1462813 w 3473628"/>
              <a:gd name="connsiteY314" fmla="*/ 2341759 h 2831069"/>
              <a:gd name="connsiteX315" fmla="*/ 1462523 w 3473628"/>
              <a:gd name="connsiteY315" fmla="*/ 2316435 h 2831069"/>
              <a:gd name="connsiteX316" fmla="*/ 1514022 w 3473628"/>
              <a:gd name="connsiteY316" fmla="*/ 2230907 h 2831069"/>
              <a:gd name="connsiteX317" fmla="*/ 1633868 w 3473628"/>
              <a:gd name="connsiteY317" fmla="*/ 2086462 h 2831069"/>
              <a:gd name="connsiteX318" fmla="*/ 1761050 w 3473628"/>
              <a:gd name="connsiteY318" fmla="*/ 2009494 h 2831069"/>
              <a:gd name="connsiteX319" fmla="*/ 1835718 w 3473628"/>
              <a:gd name="connsiteY319" fmla="*/ 2007773 h 2831069"/>
              <a:gd name="connsiteX320" fmla="*/ 1915422 w 3473628"/>
              <a:gd name="connsiteY320" fmla="*/ 2040579 h 2831069"/>
              <a:gd name="connsiteX321" fmla="*/ 1956414 w 3473628"/>
              <a:gd name="connsiteY321" fmla="*/ 2094378 h 2831069"/>
              <a:gd name="connsiteX322" fmla="*/ 1981593 w 3473628"/>
              <a:gd name="connsiteY322" fmla="*/ 2161420 h 2831069"/>
              <a:gd name="connsiteX323" fmla="*/ 1998421 w 3473628"/>
              <a:gd name="connsiteY323" fmla="*/ 2191781 h 2831069"/>
              <a:gd name="connsiteX324" fmla="*/ 2004473 w 3473628"/>
              <a:gd name="connsiteY324" fmla="*/ 2185874 h 2831069"/>
              <a:gd name="connsiteX325" fmla="*/ 1997717 w 3473628"/>
              <a:gd name="connsiteY325" fmla="*/ 2138106 h 2831069"/>
              <a:gd name="connsiteX326" fmla="*/ 1965781 w 3473628"/>
              <a:gd name="connsiteY326" fmla="*/ 2073364 h 2831069"/>
              <a:gd name="connsiteX327" fmla="*/ 1892688 w 3473628"/>
              <a:gd name="connsiteY327" fmla="*/ 2059127 h 2831069"/>
              <a:gd name="connsiteX328" fmla="*/ 1816155 w 3473628"/>
              <a:gd name="connsiteY328" fmla="*/ 2115517 h 2831069"/>
              <a:gd name="connsiteX329" fmla="*/ 1767682 w 3473628"/>
              <a:gd name="connsiteY329" fmla="*/ 2216504 h 2831069"/>
              <a:gd name="connsiteX330" fmla="*/ 1756740 w 3473628"/>
              <a:gd name="connsiteY330" fmla="*/ 2315771 h 2831069"/>
              <a:gd name="connsiteX331" fmla="*/ 1733280 w 3473628"/>
              <a:gd name="connsiteY331" fmla="*/ 2398211 h 2831069"/>
              <a:gd name="connsiteX332" fmla="*/ 1632148 w 3473628"/>
              <a:gd name="connsiteY332" fmla="*/ 2384554 h 2831069"/>
              <a:gd name="connsiteX333" fmla="*/ 1539637 w 3473628"/>
              <a:gd name="connsiteY333" fmla="*/ 2352183 h 2831069"/>
              <a:gd name="connsiteX334" fmla="*/ 1522519 w 3473628"/>
              <a:gd name="connsiteY334" fmla="*/ 2359229 h 2831069"/>
              <a:gd name="connsiteX335" fmla="*/ 1543947 w 3473628"/>
              <a:gd name="connsiteY335" fmla="*/ 2385549 h 2831069"/>
              <a:gd name="connsiteX336" fmla="*/ 1564381 w 3473628"/>
              <a:gd name="connsiteY336" fmla="*/ 2430727 h 2831069"/>
              <a:gd name="connsiteX337" fmla="*/ 1559200 w 3473628"/>
              <a:gd name="connsiteY337" fmla="*/ 2486412 h 2831069"/>
              <a:gd name="connsiteX338" fmla="*/ 1529710 w 3473628"/>
              <a:gd name="connsiteY338" fmla="*/ 2562364 h 2831069"/>
              <a:gd name="connsiteX339" fmla="*/ 1544963 w 3473628"/>
              <a:gd name="connsiteY339" fmla="*/ 2634587 h 2831069"/>
              <a:gd name="connsiteX340" fmla="*/ 1609124 w 3473628"/>
              <a:gd name="connsiteY340" fmla="*/ 2669984 h 2831069"/>
              <a:gd name="connsiteX341" fmla="*/ 1709821 w 3473628"/>
              <a:gd name="connsiteY341" fmla="*/ 2685526 h 2831069"/>
              <a:gd name="connsiteX342" fmla="*/ 1825481 w 3473628"/>
              <a:gd name="connsiteY342" fmla="*/ 2710706 h 2831069"/>
              <a:gd name="connsiteX343" fmla="*/ 1849666 w 3473628"/>
              <a:gd name="connsiteY343" fmla="*/ 2737274 h 2831069"/>
              <a:gd name="connsiteX344" fmla="*/ 1827284 w 3473628"/>
              <a:gd name="connsiteY344" fmla="*/ 2775385 h 2831069"/>
              <a:gd name="connsiteX345" fmla="*/ 1859468 w 3473628"/>
              <a:gd name="connsiteY345" fmla="*/ 2784130 h 2831069"/>
              <a:gd name="connsiteX346" fmla="*/ 2089565 w 3473628"/>
              <a:gd name="connsiteY346" fmla="*/ 2784130 h 2831069"/>
              <a:gd name="connsiteX347" fmla="*/ 2566897 w 3473628"/>
              <a:gd name="connsiteY347" fmla="*/ 2782162 h 2831069"/>
              <a:gd name="connsiteX348" fmla="*/ 2687966 w 3473628"/>
              <a:gd name="connsiteY348" fmla="*/ 2759884 h 2831069"/>
              <a:gd name="connsiteX349" fmla="*/ 2680464 w 3473628"/>
              <a:gd name="connsiteY349" fmla="*/ 2692303 h 2831069"/>
              <a:gd name="connsiteX350" fmla="*/ 2633566 w 3473628"/>
              <a:gd name="connsiteY350" fmla="*/ 2631872 h 2831069"/>
              <a:gd name="connsiteX351" fmla="*/ 2492291 w 3473628"/>
              <a:gd name="connsiteY351" fmla="*/ 2565701 h 2831069"/>
              <a:gd name="connsiteX352" fmla="*/ 2424110 w 3473628"/>
              <a:gd name="connsiteY352" fmla="*/ 2476651 h 2831069"/>
              <a:gd name="connsiteX353" fmla="*/ 2465247 w 3473628"/>
              <a:gd name="connsiteY353" fmla="*/ 2186330 h 2831069"/>
              <a:gd name="connsiteX354" fmla="*/ 2494592 w 3473628"/>
              <a:gd name="connsiteY354" fmla="*/ 1978159 h 2831069"/>
              <a:gd name="connsiteX355" fmla="*/ 2532289 w 3473628"/>
              <a:gd name="connsiteY355" fmla="*/ 1883202 h 2831069"/>
              <a:gd name="connsiteX356" fmla="*/ 2600200 w 3473628"/>
              <a:gd name="connsiteY356" fmla="*/ 1837175 h 2831069"/>
              <a:gd name="connsiteX357" fmla="*/ 2643928 w 3473628"/>
              <a:gd name="connsiteY357" fmla="*/ 1758051 h 2831069"/>
              <a:gd name="connsiteX358" fmla="*/ 2671553 w 3473628"/>
              <a:gd name="connsiteY358" fmla="*/ 1632029 h 2831069"/>
              <a:gd name="connsiteX359" fmla="*/ 2694577 w 3473628"/>
              <a:gd name="connsiteY359" fmla="*/ 1561817 h 2831069"/>
              <a:gd name="connsiteX360" fmla="*/ 2707239 w 3473628"/>
              <a:gd name="connsiteY360" fmla="*/ 1548305 h 2831069"/>
              <a:gd name="connsiteX361" fmla="*/ 2696877 w 3473628"/>
              <a:gd name="connsiteY361" fmla="*/ 1616217 h 2831069"/>
              <a:gd name="connsiteX362" fmla="*/ 2656300 w 3473628"/>
              <a:gd name="connsiteY362" fmla="*/ 1792308 h 2831069"/>
              <a:gd name="connsiteX363" fmla="*/ 2576306 w 3473628"/>
              <a:gd name="connsiteY363" fmla="*/ 1905377 h 2831069"/>
              <a:gd name="connsiteX364" fmla="*/ 2484810 w 3473628"/>
              <a:gd name="connsiteY364" fmla="*/ 1918329 h 2831069"/>
              <a:gd name="connsiteX365" fmla="*/ 2405251 w 3473628"/>
              <a:gd name="connsiteY365" fmla="*/ 1822813 h 2831069"/>
              <a:gd name="connsiteX366" fmla="*/ 2384113 w 3473628"/>
              <a:gd name="connsiteY366" fmla="*/ 1673912 h 2831069"/>
              <a:gd name="connsiteX367" fmla="*/ 2378642 w 3473628"/>
              <a:gd name="connsiteY367" fmla="*/ 1541984 h 2831069"/>
              <a:gd name="connsiteX368" fmla="*/ 2373751 w 3473628"/>
              <a:gd name="connsiteY368" fmla="*/ 1415527 h 2831069"/>
              <a:gd name="connsiteX369" fmla="*/ 2347141 w 3473628"/>
              <a:gd name="connsiteY369" fmla="*/ 1246918 h 2831069"/>
              <a:gd name="connsiteX370" fmla="*/ 2334769 w 3473628"/>
              <a:gd name="connsiteY370" fmla="*/ 1142615 h 2831069"/>
              <a:gd name="connsiteX371" fmla="*/ 2329153 w 3473628"/>
              <a:gd name="connsiteY371" fmla="*/ 1065211 h 2831069"/>
              <a:gd name="connsiteX372" fmla="*/ 2304554 w 3473628"/>
              <a:gd name="connsiteY372" fmla="*/ 939335 h 2831069"/>
              <a:gd name="connsiteX373" fmla="*/ 2256641 w 3473628"/>
              <a:gd name="connsiteY373" fmla="*/ 796630 h 2831069"/>
              <a:gd name="connsiteX374" fmla="*/ 2230736 w 3473628"/>
              <a:gd name="connsiteY374" fmla="*/ 692327 h 2831069"/>
              <a:gd name="connsiteX375" fmla="*/ 2239502 w 3473628"/>
              <a:gd name="connsiteY375" fmla="*/ 643564 h 2831069"/>
              <a:gd name="connsiteX376" fmla="*/ 2294026 w 3473628"/>
              <a:gd name="connsiteY376" fmla="*/ 635647 h 2831069"/>
              <a:gd name="connsiteX377" fmla="*/ 2342789 w 3473628"/>
              <a:gd name="connsiteY377" fmla="*/ 621700 h 2831069"/>
              <a:gd name="connsiteX378" fmla="*/ 2378621 w 3473628"/>
              <a:gd name="connsiteY378" fmla="*/ 587174 h 2831069"/>
              <a:gd name="connsiteX379" fmla="*/ 2391283 w 3473628"/>
              <a:gd name="connsiteY379" fmla="*/ 534080 h 2831069"/>
              <a:gd name="connsiteX380" fmla="*/ 2374601 w 3473628"/>
              <a:gd name="connsiteY380" fmla="*/ 480426 h 2831069"/>
              <a:gd name="connsiteX381" fmla="*/ 2310004 w 3473628"/>
              <a:gd name="connsiteY381" fmla="*/ 360020 h 2831069"/>
              <a:gd name="connsiteX382" fmla="*/ 2266567 w 3473628"/>
              <a:gd name="connsiteY382" fmla="*/ 280171 h 2831069"/>
              <a:gd name="connsiteX383" fmla="*/ 2203691 w 3473628"/>
              <a:gd name="connsiteY383" fmla="*/ 213564 h 2831069"/>
              <a:gd name="connsiteX384" fmla="*/ 2153622 w 3473628"/>
              <a:gd name="connsiteY384" fmla="*/ 194291 h 2831069"/>
              <a:gd name="connsiteX385" fmla="*/ 2109315 w 3473628"/>
              <a:gd name="connsiteY385" fmla="*/ 218310 h 2831069"/>
              <a:gd name="connsiteX386" fmla="*/ 2085731 w 3473628"/>
              <a:gd name="connsiteY386" fmla="*/ 264214 h 2831069"/>
              <a:gd name="connsiteX387" fmla="*/ 2085006 w 3473628"/>
              <a:gd name="connsiteY387" fmla="*/ 308666 h 2831069"/>
              <a:gd name="connsiteX388" fmla="*/ 2107595 w 3473628"/>
              <a:gd name="connsiteY388" fmla="*/ 327794 h 2831069"/>
              <a:gd name="connsiteX389" fmla="*/ 2138245 w 3473628"/>
              <a:gd name="connsiteY389" fmla="*/ 329660 h 2831069"/>
              <a:gd name="connsiteX390" fmla="*/ 2151343 w 3473628"/>
              <a:gd name="connsiteY390" fmla="*/ 299299 h 2831069"/>
              <a:gd name="connsiteX391" fmla="*/ 2155508 w 3473628"/>
              <a:gd name="connsiteY391" fmla="*/ 263053 h 2831069"/>
              <a:gd name="connsiteX392" fmla="*/ 2173641 w 3473628"/>
              <a:gd name="connsiteY392" fmla="*/ 251261 h 2831069"/>
              <a:gd name="connsiteX393" fmla="*/ 2215068 w 3473628"/>
              <a:gd name="connsiteY393" fmla="*/ 262058 h 2831069"/>
              <a:gd name="connsiteX394" fmla="*/ 2248019 w 3473628"/>
              <a:gd name="connsiteY394" fmla="*/ 269975 h 2831069"/>
              <a:gd name="connsiteX395" fmla="*/ 2262257 w 3473628"/>
              <a:gd name="connsiteY395" fmla="*/ 259903 h 2831069"/>
              <a:gd name="connsiteX396" fmla="*/ 2259749 w 3473628"/>
              <a:gd name="connsiteY396" fmla="*/ 230993 h 2831069"/>
              <a:gd name="connsiteX397" fmla="*/ 2231337 w 3473628"/>
              <a:gd name="connsiteY397" fmla="*/ 190851 h 2831069"/>
              <a:gd name="connsiteX398" fmla="*/ 2181351 w 3473628"/>
              <a:gd name="connsiteY398" fmla="*/ 163309 h 2831069"/>
              <a:gd name="connsiteX399" fmla="*/ 2141354 w 3473628"/>
              <a:gd name="connsiteY399" fmla="*/ 157548 h 2831069"/>
              <a:gd name="connsiteX400" fmla="*/ 2113377 w 3473628"/>
              <a:gd name="connsiteY400" fmla="*/ 169485 h 2831069"/>
              <a:gd name="connsiteX401" fmla="*/ 2082726 w 3473628"/>
              <a:gd name="connsiteY401" fmla="*/ 176469 h 2831069"/>
              <a:gd name="connsiteX402" fmla="*/ 2031870 w 3473628"/>
              <a:gd name="connsiteY402" fmla="*/ 162086 h 2831069"/>
              <a:gd name="connsiteX403" fmla="*/ 1991955 w 3473628"/>
              <a:gd name="connsiteY403" fmla="*/ 137280 h 2831069"/>
              <a:gd name="connsiteX404" fmla="*/ 1950528 w 3473628"/>
              <a:gd name="connsiteY404" fmla="*/ 77222 h 2831069"/>
              <a:gd name="connsiteX405" fmla="*/ 1938737 w 3473628"/>
              <a:gd name="connsiteY405" fmla="*/ 27008 h 2831069"/>
              <a:gd name="connsiteX406" fmla="*/ 1947669 w 3473628"/>
              <a:gd name="connsiteY406" fmla="*/ 1725 h 2831069"/>
              <a:gd name="connsiteX407" fmla="*/ 1970755 w 3473628"/>
              <a:gd name="connsiteY407" fmla="*/ 8461 h 2831069"/>
              <a:gd name="connsiteX408" fmla="*/ 2009260 w 3473628"/>
              <a:gd name="connsiteY408" fmla="*/ 49494 h 2831069"/>
              <a:gd name="connsiteX409" fmla="*/ 2058292 w 3473628"/>
              <a:gd name="connsiteY409" fmla="*/ 104412 h 2831069"/>
              <a:gd name="connsiteX410" fmla="*/ 2093544 w 3473628"/>
              <a:gd name="connsiteY410" fmla="*/ 149010 h 2831069"/>
              <a:gd name="connsiteX411" fmla="*/ 2084487 w 3473628"/>
              <a:gd name="connsiteY411" fmla="*/ 165837 h 2831069"/>
              <a:gd name="connsiteX412" fmla="*/ 2039599 w 3473628"/>
              <a:gd name="connsiteY412" fmla="*/ 172593 h 2831069"/>
              <a:gd name="connsiteX413" fmla="*/ 2028657 w 3473628"/>
              <a:gd name="connsiteY413" fmla="*/ 186976 h 2831069"/>
              <a:gd name="connsiteX414" fmla="*/ 2037424 w 3473628"/>
              <a:gd name="connsiteY414" fmla="*/ 210435 h 2831069"/>
              <a:gd name="connsiteX415" fmla="*/ 2052531 w 3473628"/>
              <a:gd name="connsiteY415" fmla="*/ 240360 h 2831069"/>
              <a:gd name="connsiteX416" fmla="*/ 2063183 w 3473628"/>
              <a:gd name="connsiteY416" fmla="*/ 276606 h 2831069"/>
              <a:gd name="connsiteX417" fmla="*/ 2061173 w 3473628"/>
              <a:gd name="connsiteY417" fmla="*/ 308832 h 2831069"/>
              <a:gd name="connsiteX418" fmla="*/ 2047226 w 3473628"/>
              <a:gd name="connsiteY418" fmla="*/ 318324 h 2831069"/>
              <a:gd name="connsiteX419" fmla="*/ 2037009 w 3473628"/>
              <a:gd name="connsiteY419" fmla="*/ 303216 h 2831069"/>
              <a:gd name="connsiteX420" fmla="*/ 2039890 w 3473628"/>
              <a:gd name="connsiteY420" fmla="*/ 281932 h 2831069"/>
              <a:gd name="connsiteX421" fmla="*/ 2037589 w 3473628"/>
              <a:gd name="connsiteY421" fmla="*/ 253168 h 2831069"/>
              <a:gd name="connsiteX422" fmla="*/ 2017301 w 3473628"/>
              <a:gd name="connsiteY422" fmla="*/ 238640 h 2831069"/>
              <a:gd name="connsiteX423" fmla="*/ 1980039 w 3473628"/>
              <a:gd name="connsiteY423" fmla="*/ 250142 h 2831069"/>
              <a:gd name="connsiteX424" fmla="*/ 1965367 w 3473628"/>
              <a:gd name="connsiteY424" fmla="*/ 281207 h 2831069"/>
              <a:gd name="connsiteX425" fmla="*/ 1979604 w 3473628"/>
              <a:gd name="connsiteY425" fmla="*/ 326820 h 2831069"/>
              <a:gd name="connsiteX426" fmla="*/ 2042625 w 3473628"/>
              <a:gd name="connsiteY426" fmla="*/ 396598 h 2831069"/>
              <a:gd name="connsiteX427" fmla="*/ 2145208 w 3473628"/>
              <a:gd name="connsiteY427" fmla="*/ 455288 h 2831069"/>
              <a:gd name="connsiteX428" fmla="*/ 2223752 w 3473628"/>
              <a:gd name="connsiteY428" fmla="*/ 542183 h 2831069"/>
              <a:gd name="connsiteX429" fmla="*/ 2264889 w 3473628"/>
              <a:gd name="connsiteY429" fmla="*/ 604624 h 2831069"/>
              <a:gd name="connsiteX430" fmla="*/ 2331640 w 3473628"/>
              <a:gd name="connsiteY430" fmla="*/ 595132 h 2831069"/>
              <a:gd name="connsiteX431" fmla="*/ 2408753 w 3473628"/>
              <a:gd name="connsiteY431" fmla="*/ 561746 h 2831069"/>
              <a:gd name="connsiteX432" fmla="*/ 2486157 w 3473628"/>
              <a:gd name="connsiteY432" fmla="*/ 631088 h 2831069"/>
              <a:gd name="connsiteX433" fmla="*/ 2597797 w 3473628"/>
              <a:gd name="connsiteY433" fmla="*/ 831052 h 2831069"/>
              <a:gd name="connsiteX434" fmla="*/ 2689292 w 3473628"/>
              <a:gd name="connsiteY434" fmla="*/ 1008013 h 2831069"/>
              <a:gd name="connsiteX435" fmla="*/ 2728999 w 3473628"/>
              <a:gd name="connsiteY435" fmla="*/ 1141081 h 2831069"/>
              <a:gd name="connsiteX436" fmla="*/ 2722098 w 3473628"/>
              <a:gd name="connsiteY436" fmla="*/ 1265963 h 2831069"/>
              <a:gd name="connsiteX437" fmla="*/ 2726409 w 3473628"/>
              <a:gd name="connsiteY437" fmla="*/ 1370556 h 2831069"/>
              <a:gd name="connsiteX438" fmla="*/ 2748998 w 3473628"/>
              <a:gd name="connsiteY438" fmla="*/ 1502194 h 2831069"/>
              <a:gd name="connsiteX439" fmla="*/ 2793596 w 3473628"/>
              <a:gd name="connsiteY439" fmla="*/ 1683756 h 2831069"/>
              <a:gd name="connsiteX440" fmla="*/ 2841924 w 3473628"/>
              <a:gd name="connsiteY440" fmla="*/ 1899699 h 2831069"/>
              <a:gd name="connsiteX441" fmla="*/ 2835872 w 3473628"/>
              <a:gd name="connsiteY441" fmla="*/ 2160094 h 2831069"/>
              <a:gd name="connsiteX442" fmla="*/ 2789119 w 3473628"/>
              <a:gd name="connsiteY442" fmla="*/ 2458476 h 2831069"/>
              <a:gd name="connsiteX443" fmla="*/ 2737620 w 3473628"/>
              <a:gd name="connsiteY443" fmla="*/ 2693547 h 2831069"/>
              <a:gd name="connsiteX444" fmla="*/ 2657626 w 3473628"/>
              <a:gd name="connsiteY444" fmla="*/ 2723762 h 2831069"/>
              <a:gd name="connsiteX445" fmla="*/ 2479816 w 3473628"/>
              <a:gd name="connsiteY445" fmla="*/ 2656720 h 2831069"/>
              <a:gd name="connsiteX446" fmla="*/ 2254237 w 3473628"/>
              <a:gd name="connsiteY446" fmla="*/ 2611832 h 2831069"/>
              <a:gd name="connsiteX447" fmla="*/ 2082166 w 3473628"/>
              <a:gd name="connsiteY447" fmla="*/ 2636287 h 2831069"/>
              <a:gd name="connsiteX448" fmla="*/ 1994401 w 3473628"/>
              <a:gd name="connsiteY448" fmla="*/ 2663621 h 2831069"/>
              <a:gd name="connsiteX449" fmla="*/ 1965346 w 3473628"/>
              <a:gd name="connsiteY449" fmla="*/ 2610382 h 2831069"/>
              <a:gd name="connsiteX450" fmla="*/ 1972537 w 3473628"/>
              <a:gd name="connsiteY450" fmla="*/ 2529538 h 2831069"/>
              <a:gd name="connsiteX451" fmla="*/ 2001302 w 3473628"/>
              <a:gd name="connsiteY451" fmla="*/ 2410127 h 2831069"/>
              <a:gd name="connsiteX452" fmla="*/ 2065173 w 3473628"/>
              <a:gd name="connsiteY452" fmla="*/ 2234762 h 2831069"/>
              <a:gd name="connsiteX453" fmla="*/ 2185164 w 3473628"/>
              <a:gd name="connsiteY453" fmla="*/ 1982428 h 2831069"/>
              <a:gd name="connsiteX454" fmla="*/ 2272639 w 3473628"/>
              <a:gd name="connsiteY454" fmla="*/ 1790940 h 2831069"/>
              <a:gd name="connsiteX455" fmla="*/ 2341691 w 3473628"/>
              <a:gd name="connsiteY455" fmla="*/ 1698284 h 2831069"/>
              <a:gd name="connsiteX456" fmla="*/ 2369026 w 3473628"/>
              <a:gd name="connsiteY456" fmla="*/ 1632962 h 2831069"/>
              <a:gd name="connsiteX457" fmla="*/ 2351473 w 3473628"/>
              <a:gd name="connsiteY457" fmla="*/ 1607927 h 2831069"/>
              <a:gd name="connsiteX458" fmla="*/ 2270774 w 3473628"/>
              <a:gd name="connsiteY458" fmla="*/ 1653541 h 2831069"/>
              <a:gd name="connsiteX459" fmla="*/ 2210343 w 3473628"/>
              <a:gd name="connsiteY459" fmla="*/ 1626206 h 2831069"/>
              <a:gd name="connsiteX460" fmla="*/ 2164585 w 3473628"/>
              <a:gd name="connsiteY460" fmla="*/ 1571972 h 2831069"/>
              <a:gd name="connsiteX461" fmla="*/ 2149623 w 3473628"/>
              <a:gd name="connsiteY461" fmla="*/ 1525364 h 2831069"/>
              <a:gd name="connsiteX462" fmla="*/ 2171776 w 3473628"/>
              <a:gd name="connsiteY462" fmla="*/ 1480476 h 2831069"/>
              <a:gd name="connsiteX463" fmla="*/ 2219690 w 3473628"/>
              <a:gd name="connsiteY463" fmla="*/ 1471710 h 2831069"/>
              <a:gd name="connsiteX464" fmla="*/ 2304575 w 3473628"/>
              <a:gd name="connsiteY464" fmla="*/ 1491128 h 2831069"/>
              <a:gd name="connsiteX465" fmla="*/ 2357939 w 3473628"/>
              <a:gd name="connsiteY465" fmla="*/ 1495148 h 2831069"/>
              <a:gd name="connsiteX466" fmla="*/ 2365130 w 3473628"/>
              <a:gd name="connsiteY466" fmla="*/ 1468539 h 2831069"/>
              <a:gd name="connsiteX467" fmla="*/ 2343411 w 3473628"/>
              <a:gd name="connsiteY467" fmla="*/ 1383509 h 2831069"/>
              <a:gd name="connsiteX468" fmla="*/ 2328594 w 3473628"/>
              <a:gd name="connsiteY468" fmla="*/ 1282957 h 2831069"/>
              <a:gd name="connsiteX469" fmla="*/ 2324428 w 3473628"/>
              <a:gd name="connsiteY469" fmla="*/ 1207999 h 2831069"/>
              <a:gd name="connsiteX470" fmla="*/ 2305735 w 3473628"/>
              <a:gd name="connsiteY470" fmla="*/ 1175628 h 2831069"/>
              <a:gd name="connsiteX471" fmla="*/ 2240559 w 3473628"/>
              <a:gd name="connsiteY471" fmla="*/ 1175918 h 2831069"/>
              <a:gd name="connsiteX472" fmla="*/ 2155964 w 3473628"/>
              <a:gd name="connsiteY472" fmla="*/ 1209574 h 2831069"/>
              <a:gd name="connsiteX473" fmla="*/ 2105750 w 3473628"/>
              <a:gd name="connsiteY473" fmla="*/ 1260223 h 2831069"/>
              <a:gd name="connsiteX474" fmla="*/ 2085171 w 3473628"/>
              <a:gd name="connsiteY474" fmla="*/ 1297774 h 2831069"/>
              <a:gd name="connsiteX475" fmla="*/ 2074664 w 3473628"/>
              <a:gd name="connsiteY475" fmla="*/ 1286977 h 2831069"/>
              <a:gd name="connsiteX476" fmla="*/ 2069918 w 3473628"/>
              <a:gd name="connsiteY476" fmla="*/ 1234028 h 2831069"/>
              <a:gd name="connsiteX477" fmla="*/ 2108050 w 3473628"/>
              <a:gd name="connsiteY477" fmla="*/ 1171587 h 2831069"/>
              <a:gd name="connsiteX478" fmla="*/ 2189910 w 3473628"/>
              <a:gd name="connsiteY478" fmla="*/ 1136045 h 2831069"/>
              <a:gd name="connsiteX479" fmla="*/ 2269759 w 3473628"/>
              <a:gd name="connsiteY479" fmla="*/ 1132294 h 2831069"/>
              <a:gd name="connsiteX480" fmla="*/ 2308450 w 3473628"/>
              <a:gd name="connsiteY480" fmla="*/ 1125683 h 2831069"/>
              <a:gd name="connsiteX481" fmla="*/ 2307290 w 3473628"/>
              <a:gd name="connsiteY481" fmla="*/ 1074765 h 2831069"/>
              <a:gd name="connsiteX482" fmla="*/ 2297653 w 3473628"/>
              <a:gd name="connsiteY482" fmla="*/ 1036778 h 2831069"/>
              <a:gd name="connsiteX483" fmla="*/ 2262982 w 3473628"/>
              <a:gd name="connsiteY483" fmla="*/ 1022831 h 2831069"/>
              <a:gd name="connsiteX484" fmla="*/ 2194655 w 3473628"/>
              <a:gd name="connsiteY484" fmla="*/ 1035493 h 2831069"/>
              <a:gd name="connsiteX485" fmla="*/ 2144296 w 3473628"/>
              <a:gd name="connsiteY485" fmla="*/ 1081811 h 2831069"/>
              <a:gd name="connsiteX486" fmla="*/ 2106310 w 3473628"/>
              <a:gd name="connsiteY486" fmla="*/ 1120088 h 2831069"/>
              <a:gd name="connsiteX487" fmla="*/ 2043434 w 3473628"/>
              <a:gd name="connsiteY487" fmla="*/ 1152894 h 2831069"/>
              <a:gd name="connsiteX488" fmla="*/ 1998401 w 3473628"/>
              <a:gd name="connsiteY488" fmla="*/ 1194756 h 2831069"/>
              <a:gd name="connsiteX489" fmla="*/ 1991645 w 3473628"/>
              <a:gd name="connsiteY489" fmla="*/ 1239354 h 2831069"/>
              <a:gd name="connsiteX490" fmla="*/ 2014669 w 3473628"/>
              <a:gd name="connsiteY490" fmla="*/ 1279351 h 2831069"/>
              <a:gd name="connsiteX491" fmla="*/ 2051350 w 3473628"/>
              <a:gd name="connsiteY491" fmla="*/ 1309566 h 2831069"/>
              <a:gd name="connsiteX492" fmla="*/ 2064157 w 3473628"/>
              <a:gd name="connsiteY492" fmla="*/ 1331865 h 2831069"/>
              <a:gd name="connsiteX493" fmla="*/ 2053505 w 3473628"/>
              <a:gd name="connsiteY493" fmla="*/ 1376173 h 2831069"/>
              <a:gd name="connsiteX494" fmla="*/ 2057671 w 3473628"/>
              <a:gd name="connsiteY494" fmla="*/ 1437598 h 2831069"/>
              <a:gd name="connsiteX495" fmla="*/ 2084715 w 3473628"/>
              <a:gd name="connsiteY495" fmla="*/ 1526939 h 2831069"/>
              <a:gd name="connsiteX496" fmla="*/ 2142556 w 3473628"/>
              <a:gd name="connsiteY496" fmla="*/ 1590374 h 2831069"/>
              <a:gd name="connsiteX497" fmla="*/ 2188583 w 3473628"/>
              <a:gd name="connsiteY497" fmla="*/ 1652525 h 2831069"/>
              <a:gd name="connsiteX498" fmla="*/ 2211753 w 3473628"/>
              <a:gd name="connsiteY498" fmla="*/ 1709350 h 2831069"/>
              <a:gd name="connsiteX499" fmla="*/ 2213038 w 3473628"/>
              <a:gd name="connsiteY499" fmla="*/ 1751502 h 2831069"/>
              <a:gd name="connsiteX500" fmla="*/ 2193619 w 3473628"/>
              <a:gd name="connsiteY500" fmla="*/ 1786463 h 2831069"/>
              <a:gd name="connsiteX501" fmla="*/ 2145416 w 3473628"/>
              <a:gd name="connsiteY501" fmla="*/ 1826170 h 2831069"/>
              <a:gd name="connsiteX502" fmla="*/ 2094062 w 3473628"/>
              <a:gd name="connsiteY502" fmla="*/ 1865877 h 2831069"/>
              <a:gd name="connsiteX503" fmla="*/ 2067452 w 3473628"/>
              <a:gd name="connsiteY503" fmla="*/ 1897668 h 2831069"/>
              <a:gd name="connsiteX504" fmla="*/ 2076654 w 3473628"/>
              <a:gd name="connsiteY504" fmla="*/ 1913791 h 2831069"/>
              <a:gd name="connsiteX505" fmla="*/ 2097668 w 3473628"/>
              <a:gd name="connsiteY505" fmla="*/ 1937955 h 2831069"/>
              <a:gd name="connsiteX506" fmla="*/ 2095077 w 3473628"/>
              <a:gd name="connsiteY506" fmla="*/ 2004416 h 2831069"/>
              <a:gd name="connsiteX507" fmla="*/ 2059391 w 3473628"/>
              <a:gd name="connsiteY507" fmla="*/ 2109155 h 2831069"/>
              <a:gd name="connsiteX508" fmla="*/ 1969325 w 3473628"/>
              <a:gd name="connsiteY508" fmla="*/ 2331853 h 2831069"/>
              <a:gd name="connsiteX509" fmla="*/ 1904584 w 3473628"/>
              <a:gd name="connsiteY509" fmla="*/ 2574405 h 2831069"/>
              <a:gd name="connsiteX510" fmla="*/ 1892502 w 3473628"/>
              <a:gd name="connsiteY510" fmla="*/ 2764443 h 2831069"/>
              <a:gd name="connsiteX511" fmla="*/ 2038812 w 3473628"/>
              <a:gd name="connsiteY511" fmla="*/ 2824874 h 2831069"/>
              <a:gd name="connsiteX512" fmla="*/ 2686909 w 3473628"/>
              <a:gd name="connsiteY512" fmla="*/ 2831070 h 2831069"/>
              <a:gd name="connsiteX513" fmla="*/ 3473628 w 3473628"/>
              <a:gd name="connsiteY513" fmla="*/ 2831070 h 2831069"/>
              <a:gd name="connsiteX0" fmla="*/ 1358883 w 3473628"/>
              <a:gd name="connsiteY0" fmla="*/ 2615293 h 2831071"/>
              <a:gd name="connsiteX1" fmla="*/ 1279760 w 3473628"/>
              <a:gd name="connsiteY1" fmla="*/ 2592559 h 2831071"/>
              <a:gd name="connsiteX2" fmla="*/ 1214873 w 3473628"/>
              <a:gd name="connsiteY2" fmla="*/ 2517746 h 2831071"/>
              <a:gd name="connsiteX3" fmla="*/ 1186254 w 3473628"/>
              <a:gd name="connsiteY3" fmla="*/ 2427970 h 2831071"/>
              <a:gd name="connsiteX4" fmla="*/ 1188409 w 3473628"/>
              <a:gd name="connsiteY4" fmla="*/ 2366980 h 2831071"/>
              <a:gd name="connsiteX5" fmla="*/ 1213734 w 3473628"/>
              <a:gd name="connsiteY5" fmla="*/ 2320662 h 2831071"/>
              <a:gd name="connsiteX6" fmla="*/ 1209568 w 3473628"/>
              <a:gd name="connsiteY6" fmla="*/ 2270448 h 2831071"/>
              <a:gd name="connsiteX7" fmla="*/ 1120808 w 3473628"/>
              <a:gd name="connsiteY7" fmla="*/ 2115662 h 2831071"/>
              <a:gd name="connsiteX8" fmla="*/ 1030182 w 3473628"/>
              <a:gd name="connsiteY8" fmla="*/ 1957124 h 2831071"/>
              <a:gd name="connsiteX9" fmla="*/ 963576 w 3473628"/>
              <a:gd name="connsiteY9" fmla="*/ 1924173 h 2831071"/>
              <a:gd name="connsiteX10" fmla="*/ 805764 w 3473628"/>
              <a:gd name="connsiteY10" fmla="*/ 1954244 h 2831071"/>
              <a:gd name="connsiteX11" fmla="*/ 604929 w 3473628"/>
              <a:gd name="connsiteY11" fmla="*/ 1989060 h 2831071"/>
              <a:gd name="connsiteX12" fmla="*/ 477332 w 3473628"/>
              <a:gd name="connsiteY12" fmla="*/ 1993661 h 2831071"/>
              <a:gd name="connsiteX13" fmla="*/ 361672 w 3473628"/>
              <a:gd name="connsiteY13" fmla="*/ 2000852 h 2831071"/>
              <a:gd name="connsiteX14" fmla="*/ 98687 w 3473628"/>
              <a:gd name="connsiteY14" fmla="*/ 2062567 h 2831071"/>
              <a:gd name="connsiteX15" fmla="*/ 3316 w 3473628"/>
              <a:gd name="connsiteY15" fmla="*/ 2090047 h 2831071"/>
              <a:gd name="connsiteX16" fmla="*/ 45468 w 3473628"/>
              <a:gd name="connsiteY16" fmla="*/ 2164135 h 2831071"/>
              <a:gd name="connsiteX17" fmla="*/ 243277 w 3473628"/>
              <a:gd name="connsiteY17" fmla="*/ 2417629 h 2831071"/>
              <a:gd name="connsiteX18" fmla="*/ 343270 w 3473628"/>
              <a:gd name="connsiteY18" fmla="*/ 2553723 h 2831071"/>
              <a:gd name="connsiteX19" fmla="*/ 396634 w 3473628"/>
              <a:gd name="connsiteY19" fmla="*/ 2608392 h 2831071"/>
              <a:gd name="connsiteX20" fmla="*/ 442102 w 3473628"/>
              <a:gd name="connsiteY20" fmla="*/ 2644348 h 2831071"/>
              <a:gd name="connsiteX21" fmla="*/ 450018 w 3473628"/>
              <a:gd name="connsiteY21" fmla="*/ 2670108 h 2831071"/>
              <a:gd name="connsiteX22" fmla="*/ 431180 w 3473628"/>
              <a:gd name="connsiteY22" fmla="*/ 2687516 h 2831071"/>
              <a:gd name="connsiteX23" fmla="*/ 385007 w 3473628"/>
              <a:gd name="connsiteY23" fmla="*/ 2665507 h 2831071"/>
              <a:gd name="connsiteX24" fmla="*/ 320266 w 3473628"/>
              <a:gd name="connsiteY24" fmla="*/ 2569991 h 2831071"/>
              <a:gd name="connsiteX25" fmla="*/ 307459 w 3473628"/>
              <a:gd name="connsiteY25" fmla="*/ 2513166 h 2831071"/>
              <a:gd name="connsiteX26" fmla="*/ 319396 w 3473628"/>
              <a:gd name="connsiteY26" fmla="*/ 2499923 h 2831071"/>
              <a:gd name="connsiteX27" fmla="*/ 348015 w 3473628"/>
              <a:gd name="connsiteY27" fmla="*/ 2524378 h 2831071"/>
              <a:gd name="connsiteX28" fmla="*/ 378086 w 3473628"/>
              <a:gd name="connsiteY28" fmla="*/ 2562364 h 2831071"/>
              <a:gd name="connsiteX29" fmla="*/ 409731 w 3473628"/>
              <a:gd name="connsiteY29" fmla="*/ 2581348 h 2831071"/>
              <a:gd name="connsiteX30" fmla="*/ 431740 w 3473628"/>
              <a:gd name="connsiteY30" fmla="*/ 2604372 h 2831071"/>
              <a:gd name="connsiteX31" fmla="*/ 455323 w 3473628"/>
              <a:gd name="connsiteY31" fmla="*/ 2623645 h 2831071"/>
              <a:gd name="connsiteX32" fmla="*/ 472006 w 3473628"/>
              <a:gd name="connsiteY32" fmla="*/ 2654005 h 2831071"/>
              <a:gd name="connsiteX33" fmla="*/ 483798 w 3473628"/>
              <a:gd name="connsiteY33" fmla="*/ 2705649 h 2831071"/>
              <a:gd name="connsiteX34" fmla="*/ 515029 w 3473628"/>
              <a:gd name="connsiteY34" fmla="*/ 2761707 h 2831071"/>
              <a:gd name="connsiteX35" fmla="*/ 593924 w 3473628"/>
              <a:gd name="connsiteY35" fmla="*/ 2781975 h 2831071"/>
              <a:gd name="connsiteX36" fmla="*/ 917921 w 3473628"/>
              <a:gd name="connsiteY36" fmla="*/ 2784234 h 2831071"/>
              <a:gd name="connsiteX37" fmla="*/ 1481859 w 3473628"/>
              <a:gd name="connsiteY37" fmla="*/ 2784234 h 2831071"/>
              <a:gd name="connsiteX38" fmla="*/ 1611175 w 3473628"/>
              <a:gd name="connsiteY38" fmla="*/ 2760402 h 2831071"/>
              <a:gd name="connsiteX39" fmla="*/ 1530415 w 3473628"/>
              <a:gd name="connsiteY39" fmla="*/ 2653819 h 2831071"/>
              <a:gd name="connsiteX40" fmla="*/ 1485506 w 3473628"/>
              <a:gd name="connsiteY40" fmla="*/ 2582508 h 2831071"/>
              <a:gd name="connsiteX41" fmla="*/ 1444639 w 3473628"/>
              <a:gd name="connsiteY41" fmla="*/ 2563380 h 2831071"/>
              <a:gd name="connsiteX42" fmla="*/ 1360914 w 3473628"/>
              <a:gd name="connsiteY42" fmla="*/ 2569701 h 2831071"/>
              <a:gd name="connsiteX43" fmla="*/ 1305374 w 3473628"/>
              <a:gd name="connsiteY43" fmla="*/ 2561204 h 2831071"/>
              <a:gd name="connsiteX44" fmla="*/ 1259906 w 3473628"/>
              <a:gd name="connsiteY44" fmla="*/ 2517187 h 2831071"/>
              <a:gd name="connsiteX45" fmla="*/ 1228551 w 3473628"/>
              <a:gd name="connsiteY45" fmla="*/ 2442519 h 2831071"/>
              <a:gd name="connsiteX46" fmla="*/ 1227121 w 3473628"/>
              <a:gd name="connsiteY46" fmla="*/ 2364680 h 2831071"/>
              <a:gd name="connsiteX47" fmla="*/ 1271139 w 3473628"/>
              <a:gd name="connsiteY47" fmla="*/ 2317491 h 2831071"/>
              <a:gd name="connsiteX48" fmla="*/ 1254021 w 3473628"/>
              <a:gd name="connsiteY48" fmla="*/ 2254201 h 2831071"/>
              <a:gd name="connsiteX49" fmla="*/ 1118217 w 3473628"/>
              <a:gd name="connsiteY49" fmla="*/ 2041429 h 2831071"/>
              <a:gd name="connsiteX50" fmla="*/ 1021105 w 3473628"/>
              <a:gd name="connsiteY50" fmla="*/ 1888363 h 2831071"/>
              <a:gd name="connsiteX51" fmla="*/ 969171 w 3473628"/>
              <a:gd name="connsiteY51" fmla="*/ 1865338 h 2831071"/>
              <a:gd name="connsiteX52" fmla="*/ 890048 w 3473628"/>
              <a:gd name="connsiteY52" fmla="*/ 1886477 h 2831071"/>
              <a:gd name="connsiteX53" fmla="*/ 773808 w 3473628"/>
              <a:gd name="connsiteY53" fmla="*/ 1916837 h 2831071"/>
              <a:gd name="connsiteX54" fmla="*/ 552974 w 3473628"/>
              <a:gd name="connsiteY54" fmla="*/ 1960565 h 2831071"/>
              <a:gd name="connsiteX55" fmla="*/ 460463 w 3473628"/>
              <a:gd name="connsiteY55" fmla="*/ 1968771 h 2831071"/>
              <a:gd name="connsiteX56" fmla="*/ 390251 w 3473628"/>
              <a:gd name="connsiteY56" fmla="*/ 1936110 h 2831071"/>
              <a:gd name="connsiteX57" fmla="*/ 237329 w 3473628"/>
              <a:gd name="connsiteY57" fmla="*/ 1817280 h 2831071"/>
              <a:gd name="connsiteX58" fmla="*/ 148859 w 3473628"/>
              <a:gd name="connsiteY58" fmla="*/ 1724478 h 2831071"/>
              <a:gd name="connsiteX59" fmla="*/ 135326 w 3473628"/>
              <a:gd name="connsiteY59" fmla="*/ 1660753 h 2831071"/>
              <a:gd name="connsiteX60" fmla="*/ 160361 w 3473628"/>
              <a:gd name="connsiteY60" fmla="*/ 1619326 h 2831071"/>
              <a:gd name="connsiteX61" fmla="*/ 206534 w 3473628"/>
              <a:gd name="connsiteY61" fmla="*/ 1610829 h 2831071"/>
              <a:gd name="connsiteX62" fmla="*/ 299894 w 3473628"/>
              <a:gd name="connsiteY62" fmla="*/ 1646370 h 2831071"/>
              <a:gd name="connsiteX63" fmla="*/ 372552 w 3473628"/>
              <a:gd name="connsiteY63" fmla="*/ 1668959 h 2831071"/>
              <a:gd name="connsiteX64" fmla="*/ 375723 w 3473628"/>
              <a:gd name="connsiteY64" fmla="*/ 1692688 h 2831071"/>
              <a:gd name="connsiteX65" fmla="*/ 313282 w 3473628"/>
              <a:gd name="connsiteY65" fmla="*/ 1712832 h 2831071"/>
              <a:gd name="connsiteX66" fmla="*/ 211134 w 3473628"/>
              <a:gd name="connsiteY66" fmla="*/ 1685787 h 2831071"/>
              <a:gd name="connsiteX67" fmla="*/ 161356 w 3473628"/>
              <a:gd name="connsiteY67" fmla="*/ 1648235 h 2831071"/>
              <a:gd name="connsiteX68" fmla="*/ 166391 w 3473628"/>
              <a:gd name="connsiteY68" fmla="*/ 1605586 h 2831071"/>
              <a:gd name="connsiteX69" fmla="*/ 200192 w 3473628"/>
              <a:gd name="connsiteY69" fmla="*/ 1577816 h 2831071"/>
              <a:gd name="connsiteX70" fmla="*/ 287232 w 3473628"/>
              <a:gd name="connsiteY70" fmla="*/ 1590830 h 2831071"/>
              <a:gd name="connsiteX71" fmla="*/ 369009 w 3473628"/>
              <a:gd name="connsiteY71" fmla="*/ 1618953 h 2831071"/>
              <a:gd name="connsiteX72" fmla="*/ 419927 w 3473628"/>
              <a:gd name="connsiteY72" fmla="*/ 1621046 h 2831071"/>
              <a:gd name="connsiteX73" fmla="*/ 508625 w 3473628"/>
              <a:gd name="connsiteY73" fmla="*/ 1559682 h 2831071"/>
              <a:gd name="connsiteX74" fmla="*/ 603872 w 3473628"/>
              <a:gd name="connsiteY74" fmla="*/ 1496164 h 2831071"/>
              <a:gd name="connsiteX75" fmla="*/ 672489 w 3473628"/>
              <a:gd name="connsiteY75" fmla="*/ 1469699 h 2831071"/>
              <a:gd name="connsiteX76" fmla="*/ 740318 w 3473628"/>
              <a:gd name="connsiteY76" fmla="*/ 1459835 h 2831071"/>
              <a:gd name="connsiteX77" fmla="*/ 810675 w 3473628"/>
              <a:gd name="connsiteY77" fmla="*/ 1421288 h 2831071"/>
              <a:gd name="connsiteX78" fmla="*/ 854631 w 3473628"/>
              <a:gd name="connsiteY78" fmla="*/ 1394969 h 2831071"/>
              <a:gd name="connsiteX79" fmla="*/ 862982 w 3473628"/>
              <a:gd name="connsiteY79" fmla="*/ 1380214 h 2831071"/>
              <a:gd name="connsiteX80" fmla="*/ 851688 w 3473628"/>
              <a:gd name="connsiteY80" fmla="*/ 1366412 h 2831071"/>
              <a:gd name="connsiteX81" fmla="*/ 827524 w 3473628"/>
              <a:gd name="connsiteY81" fmla="*/ 1363614 h 2831071"/>
              <a:gd name="connsiteX82" fmla="*/ 824291 w 3473628"/>
              <a:gd name="connsiteY82" fmla="*/ 1354910 h 2831071"/>
              <a:gd name="connsiteX83" fmla="*/ 846652 w 3473628"/>
              <a:gd name="connsiteY83" fmla="*/ 1340030 h 2831071"/>
              <a:gd name="connsiteX84" fmla="*/ 880308 w 3473628"/>
              <a:gd name="connsiteY84" fmla="*/ 1319161 h 2831071"/>
              <a:gd name="connsiteX85" fmla="*/ 897363 w 3473628"/>
              <a:gd name="connsiteY85" fmla="*/ 1302831 h 2831071"/>
              <a:gd name="connsiteX86" fmla="*/ 886794 w 3473628"/>
              <a:gd name="connsiteY86" fmla="*/ 1295930 h 2831071"/>
              <a:gd name="connsiteX87" fmla="*/ 844642 w 3473628"/>
              <a:gd name="connsiteY87" fmla="*/ 1306934 h 2831071"/>
              <a:gd name="connsiteX88" fmla="*/ 809536 w 3473628"/>
              <a:gd name="connsiteY88" fmla="*/ 1335347 h 2831071"/>
              <a:gd name="connsiteX89" fmla="*/ 787029 w 3473628"/>
              <a:gd name="connsiteY89" fmla="*/ 1349667 h 2831071"/>
              <a:gd name="connsiteX90" fmla="*/ 782139 w 3473628"/>
              <a:gd name="connsiteY90" fmla="*/ 1343346 h 2831071"/>
              <a:gd name="connsiteX91" fmla="*/ 804583 w 3473628"/>
              <a:gd name="connsiteY91" fmla="*/ 1325296 h 2831071"/>
              <a:gd name="connsiteX92" fmla="*/ 816810 w 3473628"/>
              <a:gd name="connsiteY92" fmla="*/ 1307743 h 2831071"/>
              <a:gd name="connsiteX93" fmla="*/ 811276 w 3473628"/>
              <a:gd name="connsiteY93" fmla="*/ 1290977 h 2831071"/>
              <a:gd name="connsiteX94" fmla="*/ 791713 w 3473628"/>
              <a:gd name="connsiteY94" fmla="*/ 1290832 h 2831071"/>
              <a:gd name="connsiteX95" fmla="*/ 761933 w 3473628"/>
              <a:gd name="connsiteY95" fmla="*/ 1313856 h 2831071"/>
              <a:gd name="connsiteX96" fmla="*/ 742515 w 3473628"/>
              <a:gd name="connsiteY96" fmla="*/ 1324218 h 2831071"/>
              <a:gd name="connsiteX97" fmla="*/ 739862 w 3473628"/>
              <a:gd name="connsiteY97" fmla="*/ 1318457 h 2831071"/>
              <a:gd name="connsiteX98" fmla="*/ 752296 w 3473628"/>
              <a:gd name="connsiteY98" fmla="*/ 1300406 h 2831071"/>
              <a:gd name="connsiteX99" fmla="*/ 772585 w 3473628"/>
              <a:gd name="connsiteY99" fmla="*/ 1280615 h 2831071"/>
              <a:gd name="connsiteX100" fmla="*/ 776108 w 3473628"/>
              <a:gd name="connsiteY100" fmla="*/ 1263994 h 2831071"/>
              <a:gd name="connsiteX101" fmla="*/ 761083 w 3473628"/>
              <a:gd name="connsiteY101" fmla="*/ 1258026 h 2831071"/>
              <a:gd name="connsiteX102" fmla="*/ 718869 w 3473628"/>
              <a:gd name="connsiteY102" fmla="*/ 1273051 h 2831071"/>
              <a:gd name="connsiteX103" fmla="*/ 639600 w 3473628"/>
              <a:gd name="connsiteY103" fmla="*/ 1331181 h 2831071"/>
              <a:gd name="connsiteX104" fmla="*/ 569678 w 3473628"/>
              <a:gd name="connsiteY104" fmla="*/ 1382100 h 2831071"/>
              <a:gd name="connsiteX105" fmla="*/ 456173 w 3473628"/>
              <a:gd name="connsiteY105" fmla="*/ 1442530 h 2831071"/>
              <a:gd name="connsiteX106" fmla="*/ 325406 w 3473628"/>
              <a:gd name="connsiteY106" fmla="*/ 1515188 h 2831071"/>
              <a:gd name="connsiteX107" fmla="*/ 239526 w 3473628"/>
              <a:gd name="connsiteY107" fmla="*/ 1551144 h 2831071"/>
              <a:gd name="connsiteX108" fmla="*/ 218388 w 3473628"/>
              <a:gd name="connsiteY108" fmla="*/ 1575453 h 2831071"/>
              <a:gd name="connsiteX109" fmla="*/ 272912 w 3473628"/>
              <a:gd name="connsiteY109" fmla="*/ 1602208 h 2831071"/>
              <a:gd name="connsiteX110" fmla="*/ 357797 w 3473628"/>
              <a:gd name="connsiteY110" fmla="*/ 1635863 h 2831071"/>
              <a:gd name="connsiteX111" fmla="*/ 403410 w 3473628"/>
              <a:gd name="connsiteY111" fmla="*/ 1653271 h 2831071"/>
              <a:gd name="connsiteX112" fmla="*/ 416073 w 3473628"/>
              <a:gd name="connsiteY112" fmla="*/ 1682036 h 2831071"/>
              <a:gd name="connsiteX113" fmla="*/ 440817 w 3473628"/>
              <a:gd name="connsiteY113" fmla="*/ 1705060 h 2831071"/>
              <a:gd name="connsiteX114" fmla="*/ 514469 w 3473628"/>
              <a:gd name="connsiteY114" fmla="*/ 1733680 h 2831071"/>
              <a:gd name="connsiteX115" fmla="*/ 651288 w 3473628"/>
              <a:gd name="connsiteY115" fmla="*/ 1765905 h 2831071"/>
              <a:gd name="connsiteX116" fmla="*/ 768109 w 3473628"/>
              <a:gd name="connsiteY116" fmla="*/ 1785179 h 2831071"/>
              <a:gd name="connsiteX117" fmla="*/ 837306 w 3473628"/>
              <a:gd name="connsiteY117" fmla="*/ 1824740 h 2831071"/>
              <a:gd name="connsiteX118" fmla="*/ 840621 w 3473628"/>
              <a:gd name="connsiteY118" fmla="*/ 1854666 h 2831071"/>
              <a:gd name="connsiteX119" fmla="*/ 790843 w 3473628"/>
              <a:gd name="connsiteY119" fmla="*/ 1883430 h 2831071"/>
              <a:gd name="connsiteX120" fmla="*/ 713874 w 3473628"/>
              <a:gd name="connsiteY120" fmla="*/ 1902413 h 2831071"/>
              <a:gd name="connsiteX121" fmla="*/ 703367 w 3473628"/>
              <a:gd name="connsiteY121" fmla="*/ 1887741 h 2831071"/>
              <a:gd name="connsiteX122" fmla="*/ 735158 w 3473628"/>
              <a:gd name="connsiteY122" fmla="*/ 1840843 h 2831071"/>
              <a:gd name="connsiteX123" fmla="*/ 785662 w 3473628"/>
              <a:gd name="connsiteY123" fmla="*/ 1808037 h 2831071"/>
              <a:gd name="connsiteX124" fmla="*/ 864640 w 3473628"/>
              <a:gd name="connsiteY124" fmla="*/ 1809757 h 2831071"/>
              <a:gd name="connsiteX125" fmla="*/ 904637 w 3473628"/>
              <a:gd name="connsiteY125" fmla="*/ 1789468 h 2831071"/>
              <a:gd name="connsiteX126" fmla="*/ 916284 w 3473628"/>
              <a:gd name="connsiteY126" fmla="*/ 1745161 h 2831071"/>
              <a:gd name="connsiteX127" fmla="*/ 912119 w 3473628"/>
              <a:gd name="connsiteY127" fmla="*/ 1675238 h 2831071"/>
              <a:gd name="connsiteX128" fmla="*/ 918025 w 3473628"/>
              <a:gd name="connsiteY128" fmla="*/ 1647904 h 2831071"/>
              <a:gd name="connsiteX129" fmla="*/ 946230 w 3473628"/>
              <a:gd name="connsiteY129" fmla="*/ 1644588 h 2831071"/>
              <a:gd name="connsiteX130" fmla="*/ 993128 w 3473628"/>
              <a:gd name="connsiteY130" fmla="*/ 1664587 h 2831071"/>
              <a:gd name="connsiteX131" fmla="*/ 1043632 w 3473628"/>
              <a:gd name="connsiteY131" fmla="*/ 1685455 h 2831071"/>
              <a:gd name="connsiteX132" fmla="*/ 1091110 w 3473628"/>
              <a:gd name="connsiteY132" fmla="*/ 1667032 h 2831071"/>
              <a:gd name="connsiteX133" fmla="*/ 1113844 w 3473628"/>
              <a:gd name="connsiteY133" fmla="*/ 1609046 h 2831071"/>
              <a:gd name="connsiteX134" fmla="*/ 1137573 w 3473628"/>
              <a:gd name="connsiteY134" fmla="*/ 1536244 h 2831071"/>
              <a:gd name="connsiteX135" fmla="*/ 1175270 w 3473628"/>
              <a:gd name="connsiteY135" fmla="*/ 1484165 h 2831071"/>
              <a:gd name="connsiteX136" fmla="*/ 1215847 w 3473628"/>
              <a:gd name="connsiteY136" fmla="*/ 1437702 h 2831071"/>
              <a:gd name="connsiteX137" fmla="*/ 1213837 w 3473628"/>
              <a:gd name="connsiteY137" fmla="*/ 1405911 h 2831071"/>
              <a:gd name="connsiteX138" fmla="*/ 1160743 w 3473628"/>
              <a:gd name="connsiteY138" fmla="*/ 1359449 h 2831071"/>
              <a:gd name="connsiteX139" fmla="*/ 1072273 w 3473628"/>
              <a:gd name="connsiteY139" fmla="*/ 1326207 h 2831071"/>
              <a:gd name="connsiteX140" fmla="*/ 969420 w 3473628"/>
              <a:gd name="connsiteY140" fmla="*/ 1337709 h 2831071"/>
              <a:gd name="connsiteX141" fmla="*/ 912160 w 3473628"/>
              <a:gd name="connsiteY141" fmla="*/ 1380152 h 2831071"/>
              <a:gd name="connsiteX142" fmla="*/ 896327 w 3473628"/>
              <a:gd name="connsiteY142" fmla="*/ 1448333 h 2831071"/>
              <a:gd name="connsiteX143" fmla="*/ 877489 w 3473628"/>
              <a:gd name="connsiteY143" fmla="*/ 1512784 h 2831071"/>
              <a:gd name="connsiteX144" fmla="*/ 860806 w 3473628"/>
              <a:gd name="connsiteY144" fmla="*/ 1564138 h 2831071"/>
              <a:gd name="connsiteX145" fmla="*/ 859936 w 3473628"/>
              <a:gd name="connsiteY145" fmla="*/ 1636216 h 2831071"/>
              <a:gd name="connsiteX146" fmla="*/ 882670 w 3473628"/>
              <a:gd name="connsiteY146" fmla="*/ 1693040 h 2831071"/>
              <a:gd name="connsiteX147" fmla="*/ 939930 w 3473628"/>
              <a:gd name="connsiteY147" fmla="*/ 1728001 h 2831071"/>
              <a:gd name="connsiteX148" fmla="*/ 1032856 w 3473628"/>
              <a:gd name="connsiteY148" fmla="*/ 1733618 h 2831071"/>
              <a:gd name="connsiteX149" fmla="*/ 1121326 w 3473628"/>
              <a:gd name="connsiteY149" fmla="*/ 1688440 h 2831071"/>
              <a:gd name="connsiteX150" fmla="*/ 1171830 w 3473628"/>
              <a:gd name="connsiteY150" fmla="*/ 1627304 h 2831071"/>
              <a:gd name="connsiteX151" fmla="*/ 1192263 w 3473628"/>
              <a:gd name="connsiteY151" fmla="*/ 1592343 h 2831071"/>
              <a:gd name="connsiteX152" fmla="*/ 1215433 w 3473628"/>
              <a:gd name="connsiteY152" fmla="*/ 1590478 h 2831071"/>
              <a:gd name="connsiteX153" fmla="*/ 1223059 w 3473628"/>
              <a:gd name="connsiteY153" fmla="*/ 1624569 h 2831071"/>
              <a:gd name="connsiteX154" fmla="*/ 1193569 w 3473628"/>
              <a:gd name="connsiteY154" fmla="*/ 1655219 h 2831071"/>
              <a:gd name="connsiteX155" fmla="*/ 1160328 w 3473628"/>
              <a:gd name="connsiteY155" fmla="*/ 1650909 h 2831071"/>
              <a:gd name="connsiteX156" fmla="*/ 1152121 w 3473628"/>
              <a:gd name="connsiteY156" fmla="*/ 1619844 h 2831071"/>
              <a:gd name="connsiteX157" fmla="*/ 1169239 w 3473628"/>
              <a:gd name="connsiteY157" fmla="*/ 1577836 h 2831071"/>
              <a:gd name="connsiteX158" fmla="*/ 1208511 w 3473628"/>
              <a:gd name="connsiteY158" fmla="*/ 1555683 h 2831071"/>
              <a:gd name="connsiteX159" fmla="*/ 1223039 w 3473628"/>
              <a:gd name="connsiteY159" fmla="*/ 1534814 h 2831071"/>
              <a:gd name="connsiteX160" fmla="*/ 1221173 w 3473628"/>
              <a:gd name="connsiteY160" fmla="*/ 1493822 h 2831071"/>
              <a:gd name="connsiteX161" fmla="*/ 1192263 w 3473628"/>
              <a:gd name="connsiteY161" fmla="*/ 1435837 h 2831071"/>
              <a:gd name="connsiteX162" fmla="*/ 1126527 w 3473628"/>
              <a:gd name="connsiteY162" fmla="*/ 1373105 h 2831071"/>
              <a:gd name="connsiteX163" fmla="*/ 1015178 w 3473628"/>
              <a:gd name="connsiteY163" fmla="*/ 1361604 h 2831071"/>
              <a:gd name="connsiteX164" fmla="*/ 929299 w 3473628"/>
              <a:gd name="connsiteY164" fmla="*/ 1399591 h 2831071"/>
              <a:gd name="connsiteX165" fmla="*/ 891312 w 3473628"/>
              <a:gd name="connsiteY165" fmla="*/ 1413683 h 2831071"/>
              <a:gd name="connsiteX166" fmla="*/ 880805 w 3473628"/>
              <a:gd name="connsiteY166" fmla="*/ 1385623 h 2831071"/>
              <a:gd name="connsiteX167" fmla="*/ 887271 w 3473628"/>
              <a:gd name="connsiteY167" fmla="*/ 1343035 h 2831071"/>
              <a:gd name="connsiteX168" fmla="*/ 919351 w 3473628"/>
              <a:gd name="connsiteY168" fmla="*/ 1314270 h 2831071"/>
              <a:gd name="connsiteX169" fmla="*/ 976031 w 3473628"/>
              <a:gd name="connsiteY169" fmla="*/ 1293402 h 2831071"/>
              <a:gd name="connsiteX170" fmla="*/ 1018183 w 3473628"/>
              <a:gd name="connsiteY170" fmla="*/ 1281900 h 2831071"/>
              <a:gd name="connsiteX171" fmla="*/ 1050844 w 3473628"/>
              <a:gd name="connsiteY171" fmla="*/ 1268947 h 2831071"/>
              <a:gd name="connsiteX172" fmla="*/ 1109244 w 3473628"/>
              <a:gd name="connsiteY172" fmla="*/ 1272118 h 2831071"/>
              <a:gd name="connsiteX173" fmla="*/ 1183622 w 3473628"/>
              <a:gd name="connsiteY173" fmla="*/ 1306209 h 2831071"/>
              <a:gd name="connsiteX174" fmla="*/ 1247202 w 3473628"/>
              <a:gd name="connsiteY174" fmla="*/ 1382017 h 2831071"/>
              <a:gd name="connsiteX175" fmla="*/ 1276983 w 3473628"/>
              <a:gd name="connsiteY175" fmla="*/ 1470777 h 2831071"/>
              <a:gd name="connsiteX176" fmla="*/ 1290785 w 3473628"/>
              <a:gd name="connsiteY176" fmla="*/ 1538959 h 2831071"/>
              <a:gd name="connsiteX177" fmla="*/ 1286184 w 3473628"/>
              <a:gd name="connsiteY177" fmla="*/ 1598664 h 2831071"/>
              <a:gd name="connsiteX178" fmla="*/ 1251223 w 3473628"/>
              <a:gd name="connsiteY178" fmla="*/ 1657789 h 2831071"/>
              <a:gd name="connsiteX179" fmla="*/ 1190792 w 3473628"/>
              <a:gd name="connsiteY179" fmla="*/ 1692460 h 2831071"/>
              <a:gd name="connsiteX180" fmla="*/ 1155396 w 3473628"/>
              <a:gd name="connsiteY180" fmla="*/ 1717349 h 2831071"/>
              <a:gd name="connsiteX181" fmla="*/ 1128786 w 3473628"/>
              <a:gd name="connsiteY181" fmla="*/ 1768848 h 2831071"/>
              <a:gd name="connsiteX182" fmla="*/ 1124766 w 3473628"/>
              <a:gd name="connsiteY182" fmla="*/ 1813156 h 2831071"/>
              <a:gd name="connsiteX183" fmla="*/ 1143459 w 3473628"/>
              <a:gd name="connsiteY183" fmla="*/ 1838045 h 2831071"/>
              <a:gd name="connsiteX184" fmla="*/ 1176700 w 3473628"/>
              <a:gd name="connsiteY184" fmla="*/ 1874581 h 2831071"/>
              <a:gd name="connsiteX185" fmla="*/ 1211951 w 3473628"/>
              <a:gd name="connsiteY185" fmla="*/ 1930971 h 2831071"/>
              <a:gd name="connsiteX186" fmla="*/ 1269791 w 3473628"/>
              <a:gd name="connsiteY186" fmla="*/ 1970678 h 2831071"/>
              <a:gd name="connsiteX187" fmla="*/ 1289790 w 3473628"/>
              <a:gd name="connsiteY187" fmla="*/ 2016996 h 2831071"/>
              <a:gd name="connsiteX188" fmla="*/ 1236696 w 3473628"/>
              <a:gd name="connsiteY188" fmla="*/ 2105031 h 2831071"/>
              <a:gd name="connsiteX189" fmla="*/ 1189362 w 3473628"/>
              <a:gd name="connsiteY189" fmla="*/ 2099269 h 2831071"/>
              <a:gd name="connsiteX190" fmla="*/ 1126921 w 3473628"/>
              <a:gd name="connsiteY190" fmla="*/ 1994386 h 2831071"/>
              <a:gd name="connsiteX191" fmla="*/ 1124621 w 3473628"/>
              <a:gd name="connsiteY191" fmla="*/ 1948773 h 2831071"/>
              <a:gd name="connsiteX192" fmla="*/ 1178855 w 3473628"/>
              <a:gd name="connsiteY192" fmla="*/ 1910226 h 2831071"/>
              <a:gd name="connsiteX193" fmla="*/ 1235245 w 3473628"/>
              <a:gd name="connsiteY193" fmla="*/ 1918288 h 2831071"/>
              <a:gd name="connsiteX194" fmla="*/ 1332792 w 3473628"/>
              <a:gd name="connsiteY194" fmla="*/ 1988065 h 2831071"/>
              <a:gd name="connsiteX195" fmla="*/ 1387316 w 3473628"/>
              <a:gd name="connsiteY195" fmla="*/ 2070650 h 2831071"/>
              <a:gd name="connsiteX196" fmla="*/ 1383710 w 3473628"/>
              <a:gd name="connsiteY196" fmla="*/ 2126190 h 2831071"/>
              <a:gd name="connsiteX197" fmla="*/ 1348459 w 3473628"/>
              <a:gd name="connsiteY197" fmla="*/ 2203448 h 2831071"/>
              <a:gd name="connsiteX198" fmla="*/ 1311923 w 3473628"/>
              <a:gd name="connsiteY198" fmla="*/ 2248771 h 2831071"/>
              <a:gd name="connsiteX199" fmla="*/ 1270786 w 3473628"/>
              <a:gd name="connsiteY199" fmla="*/ 2226907 h 2831071"/>
              <a:gd name="connsiteX200" fmla="*/ 1256694 w 3473628"/>
              <a:gd name="connsiteY200" fmla="*/ 2197417 h 2831071"/>
              <a:gd name="connsiteX201" fmla="*/ 1262745 w 3473628"/>
              <a:gd name="connsiteY201" fmla="*/ 2172093 h 2831071"/>
              <a:gd name="connsiteX202" fmla="*/ 1299427 w 3473628"/>
              <a:gd name="connsiteY202" fmla="*/ 2127640 h 2831071"/>
              <a:gd name="connsiteX203" fmla="*/ 1357826 w 3473628"/>
              <a:gd name="connsiteY203" fmla="*/ 2086068 h 2831071"/>
              <a:gd name="connsiteX204" fmla="*/ 1403999 w 3473628"/>
              <a:gd name="connsiteY204" fmla="*/ 2048372 h 2831071"/>
              <a:gd name="connsiteX205" fmla="*/ 1428453 w 3473628"/>
              <a:gd name="connsiteY205" fmla="*/ 2028228 h 2831071"/>
              <a:gd name="connsiteX206" fmla="*/ 1435644 w 3473628"/>
              <a:gd name="connsiteY206" fmla="*/ 2043481 h 2831071"/>
              <a:gd name="connsiteX207" fmla="*/ 1439375 w 3473628"/>
              <a:gd name="connsiteY207" fmla="*/ 2107062 h 2831071"/>
              <a:gd name="connsiteX208" fmla="*/ 1432039 w 3473628"/>
              <a:gd name="connsiteY208" fmla="*/ 2164902 h 2831071"/>
              <a:gd name="connsiteX209" fmla="*/ 1405864 w 3473628"/>
              <a:gd name="connsiteY209" fmla="*/ 2266469 h 2831071"/>
              <a:gd name="connsiteX210" fmla="*/ 1412765 w 3473628"/>
              <a:gd name="connsiteY210" fmla="*/ 2328330 h 2831071"/>
              <a:gd name="connsiteX211" fmla="*/ 1440245 w 3473628"/>
              <a:gd name="connsiteY211" fmla="*/ 2353074 h 2831071"/>
              <a:gd name="connsiteX212" fmla="*/ 1475932 w 3473628"/>
              <a:gd name="connsiteY212" fmla="*/ 2367457 h 2831071"/>
              <a:gd name="connsiteX213" fmla="*/ 1511038 w 3473628"/>
              <a:gd name="connsiteY213" fmla="*/ 2382710 h 2831071"/>
              <a:gd name="connsiteX214" fmla="*/ 1536217 w 3473628"/>
              <a:gd name="connsiteY214" fmla="*/ 2415225 h 2831071"/>
              <a:gd name="connsiteX215" fmla="*/ 1543408 w 3473628"/>
              <a:gd name="connsiteY215" fmla="*/ 2463843 h 2831071"/>
              <a:gd name="connsiteX216" fmla="*/ 1512758 w 3473628"/>
              <a:gd name="connsiteY216" fmla="*/ 2507156 h 2831071"/>
              <a:gd name="connsiteX217" fmla="*/ 1467083 w 3473628"/>
              <a:gd name="connsiteY217" fmla="*/ 2522844 h 2831071"/>
              <a:gd name="connsiteX218" fmla="*/ 1422195 w 3473628"/>
              <a:gd name="connsiteY218" fmla="*/ 2523860 h 2831071"/>
              <a:gd name="connsiteX219" fmla="*/ 1366738 w 3473628"/>
              <a:gd name="connsiteY219" fmla="*/ 2540832 h 2831071"/>
              <a:gd name="connsiteX220" fmla="*/ 1320420 w 3473628"/>
              <a:gd name="connsiteY220" fmla="*/ 2536667 h 2831071"/>
              <a:gd name="connsiteX221" fmla="*/ 1321788 w 3473628"/>
              <a:gd name="connsiteY221" fmla="*/ 2519549 h 2831071"/>
              <a:gd name="connsiteX222" fmla="*/ 1369846 w 3473628"/>
              <a:gd name="connsiteY222" fmla="*/ 2497893 h 2831071"/>
              <a:gd name="connsiteX223" fmla="*/ 1396891 w 3473628"/>
              <a:gd name="connsiteY223" fmla="*/ 2480277 h 2831071"/>
              <a:gd name="connsiteX224" fmla="*/ 1381286 w 3473628"/>
              <a:gd name="connsiteY224" fmla="*/ 2474102 h 2831071"/>
              <a:gd name="connsiteX225" fmla="*/ 1307986 w 3473628"/>
              <a:gd name="connsiteY225" fmla="*/ 2503094 h 2831071"/>
              <a:gd name="connsiteX226" fmla="*/ 1275760 w 3473628"/>
              <a:gd name="connsiteY226" fmla="*/ 2503820 h 2831071"/>
              <a:gd name="connsiteX227" fmla="*/ 1277190 w 3473628"/>
              <a:gd name="connsiteY227" fmla="*/ 2490515 h 2831071"/>
              <a:gd name="connsiteX228" fmla="*/ 1302287 w 3473628"/>
              <a:gd name="connsiteY228" fmla="*/ 2478495 h 2831071"/>
              <a:gd name="connsiteX229" fmla="*/ 1350407 w 3473628"/>
              <a:gd name="connsiteY229" fmla="*/ 2445109 h 2831071"/>
              <a:gd name="connsiteX230" fmla="*/ 1346946 w 3473628"/>
              <a:gd name="connsiteY230" fmla="*/ 2435120 h 2831071"/>
              <a:gd name="connsiteX231" fmla="*/ 1292774 w 3473628"/>
              <a:gd name="connsiteY231" fmla="*/ 2461812 h 2831071"/>
              <a:gd name="connsiteX232" fmla="*/ 1261834 w 3473628"/>
              <a:gd name="connsiteY232" fmla="*/ 2459719 h 2831071"/>
              <a:gd name="connsiteX233" fmla="*/ 1265149 w 3473628"/>
              <a:gd name="connsiteY233" fmla="*/ 2438933 h 2831071"/>
              <a:gd name="connsiteX234" fmla="*/ 1303053 w 3473628"/>
              <a:gd name="connsiteY234" fmla="*/ 2411308 h 2831071"/>
              <a:gd name="connsiteX235" fmla="*/ 1318513 w 3473628"/>
              <a:gd name="connsiteY235" fmla="*/ 2393175 h 2831071"/>
              <a:gd name="connsiteX236" fmla="*/ 1306783 w 3473628"/>
              <a:gd name="connsiteY236" fmla="*/ 2385984 h 2831071"/>
              <a:gd name="connsiteX237" fmla="*/ 1268590 w 3473628"/>
              <a:gd name="connsiteY237" fmla="*/ 2403392 h 2831071"/>
              <a:gd name="connsiteX238" fmla="*/ 1243410 w 3473628"/>
              <a:gd name="connsiteY238" fmla="*/ 2405257 h 2831071"/>
              <a:gd name="connsiteX239" fmla="*/ 1242685 w 3473628"/>
              <a:gd name="connsiteY239" fmla="*/ 2382461 h 2831071"/>
              <a:gd name="connsiteX240" fmla="*/ 1284402 w 3473628"/>
              <a:gd name="connsiteY240" fmla="*/ 2341469 h 2831071"/>
              <a:gd name="connsiteX241" fmla="*/ 1360935 w 3473628"/>
              <a:gd name="connsiteY241" fmla="*/ 2306218 h 2831071"/>
              <a:gd name="connsiteX242" fmla="*/ 1411004 w 3473628"/>
              <a:gd name="connsiteY242" fmla="*/ 2303047 h 2831071"/>
              <a:gd name="connsiteX243" fmla="*/ 1438484 w 3473628"/>
              <a:gd name="connsiteY243" fmla="*/ 2295131 h 2831071"/>
              <a:gd name="connsiteX244" fmla="*/ 1468409 w 3473628"/>
              <a:gd name="connsiteY244" fmla="*/ 2243777 h 2831071"/>
              <a:gd name="connsiteX245" fmla="*/ 1532570 w 3473628"/>
              <a:gd name="connsiteY245" fmla="*/ 2156301 h 2831071"/>
              <a:gd name="connsiteX246" fmla="*/ 1610761 w 3473628"/>
              <a:gd name="connsiteY246" fmla="*/ 2074152 h 2831071"/>
              <a:gd name="connsiteX247" fmla="*/ 1628957 w 3473628"/>
              <a:gd name="connsiteY247" fmla="*/ 2041864 h 2831071"/>
              <a:gd name="connsiteX248" fmla="*/ 1628604 w 3473628"/>
              <a:gd name="connsiteY248" fmla="*/ 2021078 h 2831071"/>
              <a:gd name="connsiteX249" fmla="*/ 1642841 w 3473628"/>
              <a:gd name="connsiteY249" fmla="*/ 2001308 h 2831071"/>
              <a:gd name="connsiteX250" fmla="*/ 1697863 w 3473628"/>
              <a:gd name="connsiteY250" fmla="*/ 1963611 h 2831071"/>
              <a:gd name="connsiteX251" fmla="*/ 1768718 w 3473628"/>
              <a:gd name="connsiteY251" fmla="*/ 1914703 h 2831071"/>
              <a:gd name="connsiteX252" fmla="*/ 1816549 w 3473628"/>
              <a:gd name="connsiteY252" fmla="*/ 1881109 h 2831071"/>
              <a:gd name="connsiteX253" fmla="*/ 1846039 w 3473628"/>
              <a:gd name="connsiteY253" fmla="*/ 1836221 h 2831071"/>
              <a:gd name="connsiteX254" fmla="*/ 1863882 w 3473628"/>
              <a:gd name="connsiteY254" fmla="*/ 1739400 h 2831071"/>
              <a:gd name="connsiteX255" fmla="*/ 1862162 w 3473628"/>
              <a:gd name="connsiteY255" fmla="*/ 1654225 h 2831071"/>
              <a:gd name="connsiteX256" fmla="*/ 1849355 w 3473628"/>
              <a:gd name="connsiteY256" fmla="*/ 1586312 h 2831071"/>
              <a:gd name="connsiteX257" fmla="*/ 1804322 w 3473628"/>
              <a:gd name="connsiteY257" fmla="*/ 1511499 h 2831071"/>
              <a:gd name="connsiteX258" fmla="*/ 1748512 w 3473628"/>
              <a:gd name="connsiteY258" fmla="*/ 1463296 h 2831071"/>
              <a:gd name="connsiteX259" fmla="*/ 1688662 w 3473628"/>
              <a:gd name="connsiteY259" fmla="*/ 1445017 h 2831071"/>
              <a:gd name="connsiteX260" fmla="*/ 1629682 w 3473628"/>
              <a:gd name="connsiteY260" fmla="*/ 1434655 h 2831071"/>
              <a:gd name="connsiteX261" fmla="*/ 1565521 w 3473628"/>
              <a:gd name="connsiteY261" fmla="*/ 1420708 h 2831071"/>
              <a:gd name="connsiteX262" fmla="*/ 1482377 w 3473628"/>
              <a:gd name="connsiteY262" fmla="*/ 1428044 h 2831071"/>
              <a:gd name="connsiteX263" fmla="*/ 1425117 w 3473628"/>
              <a:gd name="connsiteY263" fmla="*/ 1469036 h 2831071"/>
              <a:gd name="connsiteX264" fmla="*/ 1416910 w 3473628"/>
              <a:gd name="connsiteY264" fmla="*/ 1533923 h 2831071"/>
              <a:gd name="connsiteX265" fmla="*/ 1436618 w 3473628"/>
              <a:gd name="connsiteY265" fmla="*/ 1580240 h 2831071"/>
              <a:gd name="connsiteX266" fmla="*/ 1448265 w 3473628"/>
              <a:gd name="connsiteY266" fmla="*/ 1638081 h 2831071"/>
              <a:gd name="connsiteX267" fmla="*/ 1432577 w 3473628"/>
              <a:gd name="connsiteY267" fmla="*/ 1733037 h 2831071"/>
              <a:gd name="connsiteX268" fmla="*/ 1436598 w 3473628"/>
              <a:gd name="connsiteY268" fmla="*/ 1799063 h 2831071"/>
              <a:gd name="connsiteX269" fmla="*/ 1493568 w 3473628"/>
              <a:gd name="connsiteY269" fmla="*/ 1841216 h 2831071"/>
              <a:gd name="connsiteX270" fmla="*/ 1619299 w 3473628"/>
              <a:gd name="connsiteY270" fmla="*/ 1854168 h 2831071"/>
              <a:gd name="connsiteX271" fmla="*/ 1704039 w 3473628"/>
              <a:gd name="connsiteY271" fmla="*/ 1837050 h 2831071"/>
              <a:gd name="connsiteX272" fmla="*/ 1739290 w 3473628"/>
              <a:gd name="connsiteY272" fmla="*/ 1788577 h 2831071"/>
              <a:gd name="connsiteX273" fmla="*/ 1754108 w 3473628"/>
              <a:gd name="connsiteY273" fmla="*/ 1758507 h 2831071"/>
              <a:gd name="connsiteX274" fmla="*/ 1769071 w 3473628"/>
              <a:gd name="connsiteY274" fmla="*/ 1758507 h 2831071"/>
              <a:gd name="connsiteX275" fmla="*/ 1773526 w 3473628"/>
              <a:gd name="connsiteY275" fmla="*/ 1787562 h 2831071"/>
              <a:gd name="connsiteX276" fmla="*/ 1747621 w 3473628"/>
              <a:gd name="connsiteY276" fmla="*/ 1819497 h 2831071"/>
              <a:gd name="connsiteX277" fmla="*/ 1719271 w 3473628"/>
              <a:gd name="connsiteY277" fmla="*/ 1806110 h 2831071"/>
              <a:gd name="connsiteX278" fmla="*/ 1727478 w 3473628"/>
              <a:gd name="connsiteY278" fmla="*/ 1762092 h 2831071"/>
              <a:gd name="connsiteX279" fmla="*/ 1757258 w 3473628"/>
              <a:gd name="connsiteY279" fmla="*/ 1731297 h 2831071"/>
              <a:gd name="connsiteX280" fmla="*/ 1781857 w 3473628"/>
              <a:gd name="connsiteY280" fmla="*/ 1696626 h 2831071"/>
              <a:gd name="connsiteX281" fmla="*/ 1759123 w 3473628"/>
              <a:gd name="connsiteY281" fmla="*/ 1625563 h 2831071"/>
              <a:gd name="connsiteX282" fmla="*/ 1710650 w 3473628"/>
              <a:gd name="connsiteY282" fmla="*/ 1549175 h 2831071"/>
              <a:gd name="connsiteX283" fmla="*/ 1628065 w 3473628"/>
              <a:gd name="connsiteY283" fmla="*/ 1512349 h 2831071"/>
              <a:gd name="connsiteX284" fmla="*/ 1535989 w 3473628"/>
              <a:gd name="connsiteY284" fmla="*/ 1521260 h 2831071"/>
              <a:gd name="connsiteX285" fmla="*/ 1469528 w 3473628"/>
              <a:gd name="connsiteY285" fmla="*/ 1574624 h 2831071"/>
              <a:gd name="connsiteX286" fmla="*/ 1448100 w 3473628"/>
              <a:gd name="connsiteY286" fmla="*/ 1608280 h 2831071"/>
              <a:gd name="connsiteX287" fmla="*/ 1425946 w 3473628"/>
              <a:gd name="connsiteY287" fmla="*/ 1663384 h 2831071"/>
              <a:gd name="connsiteX288" fmla="*/ 1406527 w 3473628"/>
              <a:gd name="connsiteY288" fmla="*/ 1760351 h 2831071"/>
              <a:gd name="connsiteX289" fmla="*/ 1422215 w 3473628"/>
              <a:gd name="connsiteY289" fmla="*/ 1829693 h 2831071"/>
              <a:gd name="connsiteX290" fmla="*/ 1452866 w 3473628"/>
              <a:gd name="connsiteY290" fmla="*/ 1880115 h 2831071"/>
              <a:gd name="connsiteX291" fmla="*/ 1472139 w 3473628"/>
              <a:gd name="connsiteY291" fmla="*/ 1939737 h 2831071"/>
              <a:gd name="connsiteX292" fmla="*/ 1476885 w 3473628"/>
              <a:gd name="connsiteY292" fmla="*/ 1996769 h 2831071"/>
              <a:gd name="connsiteX293" fmla="*/ 1459332 w 3473628"/>
              <a:gd name="connsiteY293" fmla="*/ 2060205 h 2831071"/>
              <a:gd name="connsiteX294" fmla="*/ 1462212 w 3473628"/>
              <a:gd name="connsiteY294" fmla="*/ 2092430 h 2831071"/>
              <a:gd name="connsiteX295" fmla="*/ 1501339 w 3473628"/>
              <a:gd name="connsiteY295" fmla="*/ 2073157 h 2831071"/>
              <a:gd name="connsiteX296" fmla="*/ 1597083 w 3473628"/>
              <a:gd name="connsiteY296" fmla="*/ 2002592 h 2831071"/>
              <a:gd name="connsiteX297" fmla="*/ 1667586 w 3473628"/>
              <a:gd name="connsiteY297" fmla="*/ 1957705 h 2831071"/>
              <a:gd name="connsiteX298" fmla="*/ 1726856 w 3473628"/>
              <a:gd name="connsiteY298" fmla="*/ 1927987 h 2831071"/>
              <a:gd name="connsiteX299" fmla="*/ 1753258 w 3473628"/>
              <a:gd name="connsiteY299" fmla="*/ 1933520 h 2831071"/>
              <a:gd name="connsiteX300" fmla="*/ 1781816 w 3473628"/>
              <a:gd name="connsiteY300" fmla="*/ 1986034 h 2831071"/>
              <a:gd name="connsiteX301" fmla="*/ 1823616 w 3473628"/>
              <a:gd name="connsiteY301" fmla="*/ 2024809 h 2831071"/>
              <a:gd name="connsiteX302" fmla="*/ 1853044 w 3473628"/>
              <a:gd name="connsiteY302" fmla="*/ 2039129 h 2831071"/>
              <a:gd name="connsiteX303" fmla="*/ 1845417 w 3473628"/>
              <a:gd name="connsiteY303" fmla="*/ 2056392 h 2831071"/>
              <a:gd name="connsiteX304" fmla="*/ 1802685 w 3473628"/>
              <a:gd name="connsiteY304" fmla="*/ 2090420 h 2831071"/>
              <a:gd name="connsiteX305" fmla="*/ 1764283 w 3473628"/>
              <a:gd name="connsiteY305" fmla="*/ 2152281 h 2831071"/>
              <a:gd name="connsiteX306" fmla="*/ 1702132 w 3473628"/>
              <a:gd name="connsiteY306" fmla="*/ 2291753 h 2831071"/>
              <a:gd name="connsiteX307" fmla="*/ 1672207 w 3473628"/>
              <a:gd name="connsiteY307" fmla="*/ 2356639 h 2831071"/>
              <a:gd name="connsiteX308" fmla="*/ 1654654 w 3473628"/>
              <a:gd name="connsiteY308" fmla="*/ 2363043 h 2831071"/>
              <a:gd name="connsiteX309" fmla="*/ 1613082 w 3473628"/>
              <a:gd name="connsiteY309" fmla="*/ 2345054 h 2831071"/>
              <a:gd name="connsiteX310" fmla="*/ 1559925 w 3473628"/>
              <a:gd name="connsiteY310" fmla="*/ 2330174 h 2831071"/>
              <a:gd name="connsiteX311" fmla="*/ 1518498 w 3473628"/>
              <a:gd name="connsiteY311" fmla="*/ 2333345 h 2831071"/>
              <a:gd name="connsiteX312" fmla="*/ 1485112 w 3473628"/>
              <a:gd name="connsiteY312" fmla="*/ 2345075 h 2831071"/>
              <a:gd name="connsiteX313" fmla="*/ 1462813 w 3473628"/>
              <a:gd name="connsiteY313" fmla="*/ 2341759 h 2831071"/>
              <a:gd name="connsiteX314" fmla="*/ 1462523 w 3473628"/>
              <a:gd name="connsiteY314" fmla="*/ 2316435 h 2831071"/>
              <a:gd name="connsiteX315" fmla="*/ 1514022 w 3473628"/>
              <a:gd name="connsiteY315" fmla="*/ 2230907 h 2831071"/>
              <a:gd name="connsiteX316" fmla="*/ 1633868 w 3473628"/>
              <a:gd name="connsiteY316" fmla="*/ 2086462 h 2831071"/>
              <a:gd name="connsiteX317" fmla="*/ 1761050 w 3473628"/>
              <a:gd name="connsiteY317" fmla="*/ 2009494 h 2831071"/>
              <a:gd name="connsiteX318" fmla="*/ 1835718 w 3473628"/>
              <a:gd name="connsiteY318" fmla="*/ 2007773 h 2831071"/>
              <a:gd name="connsiteX319" fmla="*/ 1915422 w 3473628"/>
              <a:gd name="connsiteY319" fmla="*/ 2040579 h 2831071"/>
              <a:gd name="connsiteX320" fmla="*/ 1956414 w 3473628"/>
              <a:gd name="connsiteY320" fmla="*/ 2094378 h 2831071"/>
              <a:gd name="connsiteX321" fmla="*/ 1981593 w 3473628"/>
              <a:gd name="connsiteY321" fmla="*/ 2161420 h 2831071"/>
              <a:gd name="connsiteX322" fmla="*/ 1998421 w 3473628"/>
              <a:gd name="connsiteY322" fmla="*/ 2191781 h 2831071"/>
              <a:gd name="connsiteX323" fmla="*/ 2004473 w 3473628"/>
              <a:gd name="connsiteY323" fmla="*/ 2185874 h 2831071"/>
              <a:gd name="connsiteX324" fmla="*/ 1997717 w 3473628"/>
              <a:gd name="connsiteY324" fmla="*/ 2138106 h 2831071"/>
              <a:gd name="connsiteX325" fmla="*/ 1965781 w 3473628"/>
              <a:gd name="connsiteY325" fmla="*/ 2073364 h 2831071"/>
              <a:gd name="connsiteX326" fmla="*/ 1892688 w 3473628"/>
              <a:gd name="connsiteY326" fmla="*/ 2059127 h 2831071"/>
              <a:gd name="connsiteX327" fmla="*/ 1816155 w 3473628"/>
              <a:gd name="connsiteY327" fmla="*/ 2115517 h 2831071"/>
              <a:gd name="connsiteX328" fmla="*/ 1767682 w 3473628"/>
              <a:gd name="connsiteY328" fmla="*/ 2216504 h 2831071"/>
              <a:gd name="connsiteX329" fmla="*/ 1756740 w 3473628"/>
              <a:gd name="connsiteY329" fmla="*/ 2315771 h 2831071"/>
              <a:gd name="connsiteX330" fmla="*/ 1733280 w 3473628"/>
              <a:gd name="connsiteY330" fmla="*/ 2398211 h 2831071"/>
              <a:gd name="connsiteX331" fmla="*/ 1632148 w 3473628"/>
              <a:gd name="connsiteY331" fmla="*/ 2384554 h 2831071"/>
              <a:gd name="connsiteX332" fmla="*/ 1539637 w 3473628"/>
              <a:gd name="connsiteY332" fmla="*/ 2352183 h 2831071"/>
              <a:gd name="connsiteX333" fmla="*/ 1522519 w 3473628"/>
              <a:gd name="connsiteY333" fmla="*/ 2359229 h 2831071"/>
              <a:gd name="connsiteX334" fmla="*/ 1543947 w 3473628"/>
              <a:gd name="connsiteY334" fmla="*/ 2385549 h 2831071"/>
              <a:gd name="connsiteX335" fmla="*/ 1564381 w 3473628"/>
              <a:gd name="connsiteY335" fmla="*/ 2430727 h 2831071"/>
              <a:gd name="connsiteX336" fmla="*/ 1559200 w 3473628"/>
              <a:gd name="connsiteY336" fmla="*/ 2486412 h 2831071"/>
              <a:gd name="connsiteX337" fmla="*/ 1529710 w 3473628"/>
              <a:gd name="connsiteY337" fmla="*/ 2562364 h 2831071"/>
              <a:gd name="connsiteX338" fmla="*/ 1544963 w 3473628"/>
              <a:gd name="connsiteY338" fmla="*/ 2634587 h 2831071"/>
              <a:gd name="connsiteX339" fmla="*/ 1609124 w 3473628"/>
              <a:gd name="connsiteY339" fmla="*/ 2669984 h 2831071"/>
              <a:gd name="connsiteX340" fmla="*/ 1709821 w 3473628"/>
              <a:gd name="connsiteY340" fmla="*/ 2685526 h 2831071"/>
              <a:gd name="connsiteX341" fmla="*/ 1825481 w 3473628"/>
              <a:gd name="connsiteY341" fmla="*/ 2710706 h 2831071"/>
              <a:gd name="connsiteX342" fmla="*/ 1849666 w 3473628"/>
              <a:gd name="connsiteY342" fmla="*/ 2737274 h 2831071"/>
              <a:gd name="connsiteX343" fmla="*/ 1827284 w 3473628"/>
              <a:gd name="connsiteY343" fmla="*/ 2775385 h 2831071"/>
              <a:gd name="connsiteX344" fmla="*/ 1859468 w 3473628"/>
              <a:gd name="connsiteY344" fmla="*/ 2784130 h 2831071"/>
              <a:gd name="connsiteX345" fmla="*/ 2089565 w 3473628"/>
              <a:gd name="connsiteY345" fmla="*/ 2784130 h 2831071"/>
              <a:gd name="connsiteX346" fmla="*/ 2566897 w 3473628"/>
              <a:gd name="connsiteY346" fmla="*/ 2782162 h 2831071"/>
              <a:gd name="connsiteX347" fmla="*/ 2687966 w 3473628"/>
              <a:gd name="connsiteY347" fmla="*/ 2759884 h 2831071"/>
              <a:gd name="connsiteX348" fmla="*/ 2680464 w 3473628"/>
              <a:gd name="connsiteY348" fmla="*/ 2692303 h 2831071"/>
              <a:gd name="connsiteX349" fmla="*/ 2633566 w 3473628"/>
              <a:gd name="connsiteY349" fmla="*/ 2631872 h 2831071"/>
              <a:gd name="connsiteX350" fmla="*/ 2492291 w 3473628"/>
              <a:gd name="connsiteY350" fmla="*/ 2565701 h 2831071"/>
              <a:gd name="connsiteX351" fmla="*/ 2424110 w 3473628"/>
              <a:gd name="connsiteY351" fmla="*/ 2476651 h 2831071"/>
              <a:gd name="connsiteX352" fmla="*/ 2465247 w 3473628"/>
              <a:gd name="connsiteY352" fmla="*/ 2186330 h 2831071"/>
              <a:gd name="connsiteX353" fmla="*/ 2494592 w 3473628"/>
              <a:gd name="connsiteY353" fmla="*/ 1978159 h 2831071"/>
              <a:gd name="connsiteX354" fmla="*/ 2532289 w 3473628"/>
              <a:gd name="connsiteY354" fmla="*/ 1883202 h 2831071"/>
              <a:gd name="connsiteX355" fmla="*/ 2600200 w 3473628"/>
              <a:gd name="connsiteY355" fmla="*/ 1837175 h 2831071"/>
              <a:gd name="connsiteX356" fmla="*/ 2643928 w 3473628"/>
              <a:gd name="connsiteY356" fmla="*/ 1758051 h 2831071"/>
              <a:gd name="connsiteX357" fmla="*/ 2671553 w 3473628"/>
              <a:gd name="connsiteY357" fmla="*/ 1632029 h 2831071"/>
              <a:gd name="connsiteX358" fmla="*/ 2694577 w 3473628"/>
              <a:gd name="connsiteY358" fmla="*/ 1561817 h 2831071"/>
              <a:gd name="connsiteX359" fmla="*/ 2707239 w 3473628"/>
              <a:gd name="connsiteY359" fmla="*/ 1548305 h 2831071"/>
              <a:gd name="connsiteX360" fmla="*/ 2696877 w 3473628"/>
              <a:gd name="connsiteY360" fmla="*/ 1616217 h 2831071"/>
              <a:gd name="connsiteX361" fmla="*/ 2656300 w 3473628"/>
              <a:gd name="connsiteY361" fmla="*/ 1792308 h 2831071"/>
              <a:gd name="connsiteX362" fmla="*/ 2576306 w 3473628"/>
              <a:gd name="connsiteY362" fmla="*/ 1905377 h 2831071"/>
              <a:gd name="connsiteX363" fmla="*/ 2484810 w 3473628"/>
              <a:gd name="connsiteY363" fmla="*/ 1918329 h 2831071"/>
              <a:gd name="connsiteX364" fmla="*/ 2405251 w 3473628"/>
              <a:gd name="connsiteY364" fmla="*/ 1822813 h 2831071"/>
              <a:gd name="connsiteX365" fmla="*/ 2384113 w 3473628"/>
              <a:gd name="connsiteY365" fmla="*/ 1673912 h 2831071"/>
              <a:gd name="connsiteX366" fmla="*/ 2378642 w 3473628"/>
              <a:gd name="connsiteY366" fmla="*/ 1541984 h 2831071"/>
              <a:gd name="connsiteX367" fmla="*/ 2373751 w 3473628"/>
              <a:gd name="connsiteY367" fmla="*/ 1415527 h 2831071"/>
              <a:gd name="connsiteX368" fmla="*/ 2347141 w 3473628"/>
              <a:gd name="connsiteY368" fmla="*/ 1246918 h 2831071"/>
              <a:gd name="connsiteX369" fmla="*/ 2334769 w 3473628"/>
              <a:gd name="connsiteY369" fmla="*/ 1142615 h 2831071"/>
              <a:gd name="connsiteX370" fmla="*/ 2329153 w 3473628"/>
              <a:gd name="connsiteY370" fmla="*/ 1065211 h 2831071"/>
              <a:gd name="connsiteX371" fmla="*/ 2304554 w 3473628"/>
              <a:gd name="connsiteY371" fmla="*/ 939335 h 2831071"/>
              <a:gd name="connsiteX372" fmla="*/ 2256641 w 3473628"/>
              <a:gd name="connsiteY372" fmla="*/ 796630 h 2831071"/>
              <a:gd name="connsiteX373" fmla="*/ 2230736 w 3473628"/>
              <a:gd name="connsiteY373" fmla="*/ 692327 h 2831071"/>
              <a:gd name="connsiteX374" fmla="*/ 2239502 w 3473628"/>
              <a:gd name="connsiteY374" fmla="*/ 643564 h 2831071"/>
              <a:gd name="connsiteX375" fmla="*/ 2294026 w 3473628"/>
              <a:gd name="connsiteY375" fmla="*/ 635647 h 2831071"/>
              <a:gd name="connsiteX376" fmla="*/ 2342789 w 3473628"/>
              <a:gd name="connsiteY376" fmla="*/ 621700 h 2831071"/>
              <a:gd name="connsiteX377" fmla="*/ 2378621 w 3473628"/>
              <a:gd name="connsiteY377" fmla="*/ 587174 h 2831071"/>
              <a:gd name="connsiteX378" fmla="*/ 2391283 w 3473628"/>
              <a:gd name="connsiteY378" fmla="*/ 534080 h 2831071"/>
              <a:gd name="connsiteX379" fmla="*/ 2374601 w 3473628"/>
              <a:gd name="connsiteY379" fmla="*/ 480426 h 2831071"/>
              <a:gd name="connsiteX380" fmla="*/ 2310004 w 3473628"/>
              <a:gd name="connsiteY380" fmla="*/ 360020 h 2831071"/>
              <a:gd name="connsiteX381" fmla="*/ 2266567 w 3473628"/>
              <a:gd name="connsiteY381" fmla="*/ 280171 h 2831071"/>
              <a:gd name="connsiteX382" fmla="*/ 2203691 w 3473628"/>
              <a:gd name="connsiteY382" fmla="*/ 213564 h 2831071"/>
              <a:gd name="connsiteX383" fmla="*/ 2153622 w 3473628"/>
              <a:gd name="connsiteY383" fmla="*/ 194291 h 2831071"/>
              <a:gd name="connsiteX384" fmla="*/ 2109315 w 3473628"/>
              <a:gd name="connsiteY384" fmla="*/ 218310 h 2831071"/>
              <a:gd name="connsiteX385" fmla="*/ 2085731 w 3473628"/>
              <a:gd name="connsiteY385" fmla="*/ 264214 h 2831071"/>
              <a:gd name="connsiteX386" fmla="*/ 2085006 w 3473628"/>
              <a:gd name="connsiteY386" fmla="*/ 308666 h 2831071"/>
              <a:gd name="connsiteX387" fmla="*/ 2107595 w 3473628"/>
              <a:gd name="connsiteY387" fmla="*/ 327794 h 2831071"/>
              <a:gd name="connsiteX388" fmla="*/ 2138245 w 3473628"/>
              <a:gd name="connsiteY388" fmla="*/ 329660 h 2831071"/>
              <a:gd name="connsiteX389" fmla="*/ 2151343 w 3473628"/>
              <a:gd name="connsiteY389" fmla="*/ 299299 h 2831071"/>
              <a:gd name="connsiteX390" fmla="*/ 2155508 w 3473628"/>
              <a:gd name="connsiteY390" fmla="*/ 263053 h 2831071"/>
              <a:gd name="connsiteX391" fmla="*/ 2173641 w 3473628"/>
              <a:gd name="connsiteY391" fmla="*/ 251261 h 2831071"/>
              <a:gd name="connsiteX392" fmla="*/ 2215068 w 3473628"/>
              <a:gd name="connsiteY392" fmla="*/ 262058 h 2831071"/>
              <a:gd name="connsiteX393" fmla="*/ 2248019 w 3473628"/>
              <a:gd name="connsiteY393" fmla="*/ 269975 h 2831071"/>
              <a:gd name="connsiteX394" fmla="*/ 2262257 w 3473628"/>
              <a:gd name="connsiteY394" fmla="*/ 259903 h 2831071"/>
              <a:gd name="connsiteX395" fmla="*/ 2259749 w 3473628"/>
              <a:gd name="connsiteY395" fmla="*/ 230993 h 2831071"/>
              <a:gd name="connsiteX396" fmla="*/ 2231337 w 3473628"/>
              <a:gd name="connsiteY396" fmla="*/ 190851 h 2831071"/>
              <a:gd name="connsiteX397" fmla="*/ 2181351 w 3473628"/>
              <a:gd name="connsiteY397" fmla="*/ 163309 h 2831071"/>
              <a:gd name="connsiteX398" fmla="*/ 2141354 w 3473628"/>
              <a:gd name="connsiteY398" fmla="*/ 157548 h 2831071"/>
              <a:gd name="connsiteX399" fmla="*/ 2113377 w 3473628"/>
              <a:gd name="connsiteY399" fmla="*/ 169485 h 2831071"/>
              <a:gd name="connsiteX400" fmla="*/ 2082726 w 3473628"/>
              <a:gd name="connsiteY400" fmla="*/ 176469 h 2831071"/>
              <a:gd name="connsiteX401" fmla="*/ 2031870 w 3473628"/>
              <a:gd name="connsiteY401" fmla="*/ 162086 h 2831071"/>
              <a:gd name="connsiteX402" fmla="*/ 1991955 w 3473628"/>
              <a:gd name="connsiteY402" fmla="*/ 137280 h 2831071"/>
              <a:gd name="connsiteX403" fmla="*/ 1950528 w 3473628"/>
              <a:gd name="connsiteY403" fmla="*/ 77222 h 2831071"/>
              <a:gd name="connsiteX404" fmla="*/ 1938737 w 3473628"/>
              <a:gd name="connsiteY404" fmla="*/ 27008 h 2831071"/>
              <a:gd name="connsiteX405" fmla="*/ 1947669 w 3473628"/>
              <a:gd name="connsiteY405" fmla="*/ 1725 h 2831071"/>
              <a:gd name="connsiteX406" fmla="*/ 1970755 w 3473628"/>
              <a:gd name="connsiteY406" fmla="*/ 8461 h 2831071"/>
              <a:gd name="connsiteX407" fmla="*/ 2009260 w 3473628"/>
              <a:gd name="connsiteY407" fmla="*/ 49494 h 2831071"/>
              <a:gd name="connsiteX408" fmla="*/ 2058292 w 3473628"/>
              <a:gd name="connsiteY408" fmla="*/ 104412 h 2831071"/>
              <a:gd name="connsiteX409" fmla="*/ 2093544 w 3473628"/>
              <a:gd name="connsiteY409" fmla="*/ 149010 h 2831071"/>
              <a:gd name="connsiteX410" fmla="*/ 2084487 w 3473628"/>
              <a:gd name="connsiteY410" fmla="*/ 165837 h 2831071"/>
              <a:gd name="connsiteX411" fmla="*/ 2039599 w 3473628"/>
              <a:gd name="connsiteY411" fmla="*/ 172593 h 2831071"/>
              <a:gd name="connsiteX412" fmla="*/ 2028657 w 3473628"/>
              <a:gd name="connsiteY412" fmla="*/ 186976 h 2831071"/>
              <a:gd name="connsiteX413" fmla="*/ 2037424 w 3473628"/>
              <a:gd name="connsiteY413" fmla="*/ 210435 h 2831071"/>
              <a:gd name="connsiteX414" fmla="*/ 2052531 w 3473628"/>
              <a:gd name="connsiteY414" fmla="*/ 240360 h 2831071"/>
              <a:gd name="connsiteX415" fmla="*/ 2063183 w 3473628"/>
              <a:gd name="connsiteY415" fmla="*/ 276606 h 2831071"/>
              <a:gd name="connsiteX416" fmla="*/ 2061173 w 3473628"/>
              <a:gd name="connsiteY416" fmla="*/ 308832 h 2831071"/>
              <a:gd name="connsiteX417" fmla="*/ 2047226 w 3473628"/>
              <a:gd name="connsiteY417" fmla="*/ 318324 h 2831071"/>
              <a:gd name="connsiteX418" fmla="*/ 2037009 w 3473628"/>
              <a:gd name="connsiteY418" fmla="*/ 303216 h 2831071"/>
              <a:gd name="connsiteX419" fmla="*/ 2039890 w 3473628"/>
              <a:gd name="connsiteY419" fmla="*/ 281932 h 2831071"/>
              <a:gd name="connsiteX420" fmla="*/ 2037589 w 3473628"/>
              <a:gd name="connsiteY420" fmla="*/ 253168 h 2831071"/>
              <a:gd name="connsiteX421" fmla="*/ 2017301 w 3473628"/>
              <a:gd name="connsiteY421" fmla="*/ 238640 h 2831071"/>
              <a:gd name="connsiteX422" fmla="*/ 1980039 w 3473628"/>
              <a:gd name="connsiteY422" fmla="*/ 250142 h 2831071"/>
              <a:gd name="connsiteX423" fmla="*/ 1965367 w 3473628"/>
              <a:gd name="connsiteY423" fmla="*/ 281207 h 2831071"/>
              <a:gd name="connsiteX424" fmla="*/ 1979604 w 3473628"/>
              <a:gd name="connsiteY424" fmla="*/ 326820 h 2831071"/>
              <a:gd name="connsiteX425" fmla="*/ 2042625 w 3473628"/>
              <a:gd name="connsiteY425" fmla="*/ 396598 h 2831071"/>
              <a:gd name="connsiteX426" fmla="*/ 2145208 w 3473628"/>
              <a:gd name="connsiteY426" fmla="*/ 455288 h 2831071"/>
              <a:gd name="connsiteX427" fmla="*/ 2223752 w 3473628"/>
              <a:gd name="connsiteY427" fmla="*/ 542183 h 2831071"/>
              <a:gd name="connsiteX428" fmla="*/ 2264889 w 3473628"/>
              <a:gd name="connsiteY428" fmla="*/ 604624 h 2831071"/>
              <a:gd name="connsiteX429" fmla="*/ 2331640 w 3473628"/>
              <a:gd name="connsiteY429" fmla="*/ 595132 h 2831071"/>
              <a:gd name="connsiteX430" fmla="*/ 2408753 w 3473628"/>
              <a:gd name="connsiteY430" fmla="*/ 561746 h 2831071"/>
              <a:gd name="connsiteX431" fmla="*/ 2486157 w 3473628"/>
              <a:gd name="connsiteY431" fmla="*/ 631088 h 2831071"/>
              <a:gd name="connsiteX432" fmla="*/ 2597797 w 3473628"/>
              <a:gd name="connsiteY432" fmla="*/ 831052 h 2831071"/>
              <a:gd name="connsiteX433" fmla="*/ 2689292 w 3473628"/>
              <a:gd name="connsiteY433" fmla="*/ 1008013 h 2831071"/>
              <a:gd name="connsiteX434" fmla="*/ 2728999 w 3473628"/>
              <a:gd name="connsiteY434" fmla="*/ 1141081 h 2831071"/>
              <a:gd name="connsiteX435" fmla="*/ 2722098 w 3473628"/>
              <a:gd name="connsiteY435" fmla="*/ 1265963 h 2831071"/>
              <a:gd name="connsiteX436" fmla="*/ 2726409 w 3473628"/>
              <a:gd name="connsiteY436" fmla="*/ 1370556 h 2831071"/>
              <a:gd name="connsiteX437" fmla="*/ 2748998 w 3473628"/>
              <a:gd name="connsiteY437" fmla="*/ 1502194 h 2831071"/>
              <a:gd name="connsiteX438" fmla="*/ 2793596 w 3473628"/>
              <a:gd name="connsiteY438" fmla="*/ 1683756 h 2831071"/>
              <a:gd name="connsiteX439" fmla="*/ 2841924 w 3473628"/>
              <a:gd name="connsiteY439" fmla="*/ 1899699 h 2831071"/>
              <a:gd name="connsiteX440" fmla="*/ 2835872 w 3473628"/>
              <a:gd name="connsiteY440" fmla="*/ 2160094 h 2831071"/>
              <a:gd name="connsiteX441" fmla="*/ 2789119 w 3473628"/>
              <a:gd name="connsiteY441" fmla="*/ 2458476 h 2831071"/>
              <a:gd name="connsiteX442" fmla="*/ 2737620 w 3473628"/>
              <a:gd name="connsiteY442" fmla="*/ 2693547 h 2831071"/>
              <a:gd name="connsiteX443" fmla="*/ 2657626 w 3473628"/>
              <a:gd name="connsiteY443" fmla="*/ 2723762 h 2831071"/>
              <a:gd name="connsiteX444" fmla="*/ 2479816 w 3473628"/>
              <a:gd name="connsiteY444" fmla="*/ 2656720 h 2831071"/>
              <a:gd name="connsiteX445" fmla="*/ 2254237 w 3473628"/>
              <a:gd name="connsiteY445" fmla="*/ 2611832 h 2831071"/>
              <a:gd name="connsiteX446" fmla="*/ 2082166 w 3473628"/>
              <a:gd name="connsiteY446" fmla="*/ 2636287 h 2831071"/>
              <a:gd name="connsiteX447" fmla="*/ 1994401 w 3473628"/>
              <a:gd name="connsiteY447" fmla="*/ 2663621 h 2831071"/>
              <a:gd name="connsiteX448" fmla="*/ 1965346 w 3473628"/>
              <a:gd name="connsiteY448" fmla="*/ 2610382 h 2831071"/>
              <a:gd name="connsiteX449" fmla="*/ 1972537 w 3473628"/>
              <a:gd name="connsiteY449" fmla="*/ 2529538 h 2831071"/>
              <a:gd name="connsiteX450" fmla="*/ 2001302 w 3473628"/>
              <a:gd name="connsiteY450" fmla="*/ 2410127 h 2831071"/>
              <a:gd name="connsiteX451" fmla="*/ 2065173 w 3473628"/>
              <a:gd name="connsiteY451" fmla="*/ 2234762 h 2831071"/>
              <a:gd name="connsiteX452" fmla="*/ 2185164 w 3473628"/>
              <a:gd name="connsiteY452" fmla="*/ 1982428 h 2831071"/>
              <a:gd name="connsiteX453" fmla="*/ 2272639 w 3473628"/>
              <a:gd name="connsiteY453" fmla="*/ 1790940 h 2831071"/>
              <a:gd name="connsiteX454" fmla="*/ 2341691 w 3473628"/>
              <a:gd name="connsiteY454" fmla="*/ 1698284 h 2831071"/>
              <a:gd name="connsiteX455" fmla="*/ 2369026 w 3473628"/>
              <a:gd name="connsiteY455" fmla="*/ 1632962 h 2831071"/>
              <a:gd name="connsiteX456" fmla="*/ 2351473 w 3473628"/>
              <a:gd name="connsiteY456" fmla="*/ 1607927 h 2831071"/>
              <a:gd name="connsiteX457" fmla="*/ 2270774 w 3473628"/>
              <a:gd name="connsiteY457" fmla="*/ 1653541 h 2831071"/>
              <a:gd name="connsiteX458" fmla="*/ 2210343 w 3473628"/>
              <a:gd name="connsiteY458" fmla="*/ 1626206 h 2831071"/>
              <a:gd name="connsiteX459" fmla="*/ 2164585 w 3473628"/>
              <a:gd name="connsiteY459" fmla="*/ 1571972 h 2831071"/>
              <a:gd name="connsiteX460" fmla="*/ 2149623 w 3473628"/>
              <a:gd name="connsiteY460" fmla="*/ 1525364 h 2831071"/>
              <a:gd name="connsiteX461" fmla="*/ 2171776 w 3473628"/>
              <a:gd name="connsiteY461" fmla="*/ 1480476 h 2831071"/>
              <a:gd name="connsiteX462" fmla="*/ 2219690 w 3473628"/>
              <a:gd name="connsiteY462" fmla="*/ 1471710 h 2831071"/>
              <a:gd name="connsiteX463" fmla="*/ 2304575 w 3473628"/>
              <a:gd name="connsiteY463" fmla="*/ 1491128 h 2831071"/>
              <a:gd name="connsiteX464" fmla="*/ 2357939 w 3473628"/>
              <a:gd name="connsiteY464" fmla="*/ 1495148 h 2831071"/>
              <a:gd name="connsiteX465" fmla="*/ 2365130 w 3473628"/>
              <a:gd name="connsiteY465" fmla="*/ 1468539 h 2831071"/>
              <a:gd name="connsiteX466" fmla="*/ 2343411 w 3473628"/>
              <a:gd name="connsiteY466" fmla="*/ 1383509 h 2831071"/>
              <a:gd name="connsiteX467" fmla="*/ 2328594 w 3473628"/>
              <a:gd name="connsiteY467" fmla="*/ 1282957 h 2831071"/>
              <a:gd name="connsiteX468" fmla="*/ 2324428 w 3473628"/>
              <a:gd name="connsiteY468" fmla="*/ 1207999 h 2831071"/>
              <a:gd name="connsiteX469" fmla="*/ 2305735 w 3473628"/>
              <a:gd name="connsiteY469" fmla="*/ 1175628 h 2831071"/>
              <a:gd name="connsiteX470" fmla="*/ 2240559 w 3473628"/>
              <a:gd name="connsiteY470" fmla="*/ 1175918 h 2831071"/>
              <a:gd name="connsiteX471" fmla="*/ 2155964 w 3473628"/>
              <a:gd name="connsiteY471" fmla="*/ 1209574 h 2831071"/>
              <a:gd name="connsiteX472" fmla="*/ 2105750 w 3473628"/>
              <a:gd name="connsiteY472" fmla="*/ 1260223 h 2831071"/>
              <a:gd name="connsiteX473" fmla="*/ 2085171 w 3473628"/>
              <a:gd name="connsiteY473" fmla="*/ 1297774 h 2831071"/>
              <a:gd name="connsiteX474" fmla="*/ 2074664 w 3473628"/>
              <a:gd name="connsiteY474" fmla="*/ 1286977 h 2831071"/>
              <a:gd name="connsiteX475" fmla="*/ 2069918 w 3473628"/>
              <a:gd name="connsiteY475" fmla="*/ 1234028 h 2831071"/>
              <a:gd name="connsiteX476" fmla="*/ 2108050 w 3473628"/>
              <a:gd name="connsiteY476" fmla="*/ 1171587 h 2831071"/>
              <a:gd name="connsiteX477" fmla="*/ 2189910 w 3473628"/>
              <a:gd name="connsiteY477" fmla="*/ 1136045 h 2831071"/>
              <a:gd name="connsiteX478" fmla="*/ 2269759 w 3473628"/>
              <a:gd name="connsiteY478" fmla="*/ 1132294 h 2831071"/>
              <a:gd name="connsiteX479" fmla="*/ 2308450 w 3473628"/>
              <a:gd name="connsiteY479" fmla="*/ 1125683 h 2831071"/>
              <a:gd name="connsiteX480" fmla="*/ 2307290 w 3473628"/>
              <a:gd name="connsiteY480" fmla="*/ 1074765 h 2831071"/>
              <a:gd name="connsiteX481" fmla="*/ 2297653 w 3473628"/>
              <a:gd name="connsiteY481" fmla="*/ 1036778 h 2831071"/>
              <a:gd name="connsiteX482" fmla="*/ 2262982 w 3473628"/>
              <a:gd name="connsiteY482" fmla="*/ 1022831 h 2831071"/>
              <a:gd name="connsiteX483" fmla="*/ 2194655 w 3473628"/>
              <a:gd name="connsiteY483" fmla="*/ 1035493 h 2831071"/>
              <a:gd name="connsiteX484" fmla="*/ 2144296 w 3473628"/>
              <a:gd name="connsiteY484" fmla="*/ 1081811 h 2831071"/>
              <a:gd name="connsiteX485" fmla="*/ 2106310 w 3473628"/>
              <a:gd name="connsiteY485" fmla="*/ 1120088 h 2831071"/>
              <a:gd name="connsiteX486" fmla="*/ 2043434 w 3473628"/>
              <a:gd name="connsiteY486" fmla="*/ 1152894 h 2831071"/>
              <a:gd name="connsiteX487" fmla="*/ 1998401 w 3473628"/>
              <a:gd name="connsiteY487" fmla="*/ 1194756 h 2831071"/>
              <a:gd name="connsiteX488" fmla="*/ 1991645 w 3473628"/>
              <a:gd name="connsiteY488" fmla="*/ 1239354 h 2831071"/>
              <a:gd name="connsiteX489" fmla="*/ 2014669 w 3473628"/>
              <a:gd name="connsiteY489" fmla="*/ 1279351 h 2831071"/>
              <a:gd name="connsiteX490" fmla="*/ 2051350 w 3473628"/>
              <a:gd name="connsiteY490" fmla="*/ 1309566 h 2831071"/>
              <a:gd name="connsiteX491" fmla="*/ 2064157 w 3473628"/>
              <a:gd name="connsiteY491" fmla="*/ 1331865 h 2831071"/>
              <a:gd name="connsiteX492" fmla="*/ 2053505 w 3473628"/>
              <a:gd name="connsiteY492" fmla="*/ 1376173 h 2831071"/>
              <a:gd name="connsiteX493" fmla="*/ 2057671 w 3473628"/>
              <a:gd name="connsiteY493" fmla="*/ 1437598 h 2831071"/>
              <a:gd name="connsiteX494" fmla="*/ 2084715 w 3473628"/>
              <a:gd name="connsiteY494" fmla="*/ 1526939 h 2831071"/>
              <a:gd name="connsiteX495" fmla="*/ 2142556 w 3473628"/>
              <a:gd name="connsiteY495" fmla="*/ 1590374 h 2831071"/>
              <a:gd name="connsiteX496" fmla="*/ 2188583 w 3473628"/>
              <a:gd name="connsiteY496" fmla="*/ 1652525 h 2831071"/>
              <a:gd name="connsiteX497" fmla="*/ 2211753 w 3473628"/>
              <a:gd name="connsiteY497" fmla="*/ 1709350 h 2831071"/>
              <a:gd name="connsiteX498" fmla="*/ 2213038 w 3473628"/>
              <a:gd name="connsiteY498" fmla="*/ 1751502 h 2831071"/>
              <a:gd name="connsiteX499" fmla="*/ 2193619 w 3473628"/>
              <a:gd name="connsiteY499" fmla="*/ 1786463 h 2831071"/>
              <a:gd name="connsiteX500" fmla="*/ 2145416 w 3473628"/>
              <a:gd name="connsiteY500" fmla="*/ 1826170 h 2831071"/>
              <a:gd name="connsiteX501" fmla="*/ 2094062 w 3473628"/>
              <a:gd name="connsiteY501" fmla="*/ 1865877 h 2831071"/>
              <a:gd name="connsiteX502" fmla="*/ 2067452 w 3473628"/>
              <a:gd name="connsiteY502" fmla="*/ 1897668 h 2831071"/>
              <a:gd name="connsiteX503" fmla="*/ 2076654 w 3473628"/>
              <a:gd name="connsiteY503" fmla="*/ 1913791 h 2831071"/>
              <a:gd name="connsiteX504" fmla="*/ 2097668 w 3473628"/>
              <a:gd name="connsiteY504" fmla="*/ 1937955 h 2831071"/>
              <a:gd name="connsiteX505" fmla="*/ 2095077 w 3473628"/>
              <a:gd name="connsiteY505" fmla="*/ 2004416 h 2831071"/>
              <a:gd name="connsiteX506" fmla="*/ 2059391 w 3473628"/>
              <a:gd name="connsiteY506" fmla="*/ 2109155 h 2831071"/>
              <a:gd name="connsiteX507" fmla="*/ 1969325 w 3473628"/>
              <a:gd name="connsiteY507" fmla="*/ 2331853 h 2831071"/>
              <a:gd name="connsiteX508" fmla="*/ 1904584 w 3473628"/>
              <a:gd name="connsiteY508" fmla="*/ 2574405 h 2831071"/>
              <a:gd name="connsiteX509" fmla="*/ 1892502 w 3473628"/>
              <a:gd name="connsiteY509" fmla="*/ 2764443 h 2831071"/>
              <a:gd name="connsiteX510" fmla="*/ 2038812 w 3473628"/>
              <a:gd name="connsiteY510" fmla="*/ 2824874 h 2831071"/>
              <a:gd name="connsiteX511" fmla="*/ 2686909 w 3473628"/>
              <a:gd name="connsiteY511" fmla="*/ 2831070 h 2831071"/>
              <a:gd name="connsiteX512" fmla="*/ 3473628 w 3473628"/>
              <a:gd name="connsiteY512" fmla="*/ 2831070 h 2831071"/>
              <a:gd name="connsiteX0" fmla="*/ 1279760 w 3473628"/>
              <a:gd name="connsiteY0" fmla="*/ 2592559 h 2831069"/>
              <a:gd name="connsiteX1" fmla="*/ 1214873 w 3473628"/>
              <a:gd name="connsiteY1" fmla="*/ 2517746 h 2831069"/>
              <a:gd name="connsiteX2" fmla="*/ 1186254 w 3473628"/>
              <a:gd name="connsiteY2" fmla="*/ 2427970 h 2831069"/>
              <a:gd name="connsiteX3" fmla="*/ 1188409 w 3473628"/>
              <a:gd name="connsiteY3" fmla="*/ 2366980 h 2831069"/>
              <a:gd name="connsiteX4" fmla="*/ 1213734 w 3473628"/>
              <a:gd name="connsiteY4" fmla="*/ 2320662 h 2831069"/>
              <a:gd name="connsiteX5" fmla="*/ 1209568 w 3473628"/>
              <a:gd name="connsiteY5" fmla="*/ 2270448 h 2831069"/>
              <a:gd name="connsiteX6" fmla="*/ 1120808 w 3473628"/>
              <a:gd name="connsiteY6" fmla="*/ 2115662 h 2831069"/>
              <a:gd name="connsiteX7" fmla="*/ 1030182 w 3473628"/>
              <a:gd name="connsiteY7" fmla="*/ 1957124 h 2831069"/>
              <a:gd name="connsiteX8" fmla="*/ 963576 w 3473628"/>
              <a:gd name="connsiteY8" fmla="*/ 1924173 h 2831069"/>
              <a:gd name="connsiteX9" fmla="*/ 805764 w 3473628"/>
              <a:gd name="connsiteY9" fmla="*/ 1954244 h 2831069"/>
              <a:gd name="connsiteX10" fmla="*/ 604929 w 3473628"/>
              <a:gd name="connsiteY10" fmla="*/ 1989060 h 2831069"/>
              <a:gd name="connsiteX11" fmla="*/ 477332 w 3473628"/>
              <a:gd name="connsiteY11" fmla="*/ 1993661 h 2831069"/>
              <a:gd name="connsiteX12" fmla="*/ 361672 w 3473628"/>
              <a:gd name="connsiteY12" fmla="*/ 2000852 h 2831069"/>
              <a:gd name="connsiteX13" fmla="*/ 98687 w 3473628"/>
              <a:gd name="connsiteY13" fmla="*/ 2062567 h 2831069"/>
              <a:gd name="connsiteX14" fmla="*/ 3316 w 3473628"/>
              <a:gd name="connsiteY14" fmla="*/ 2090047 h 2831069"/>
              <a:gd name="connsiteX15" fmla="*/ 45468 w 3473628"/>
              <a:gd name="connsiteY15" fmla="*/ 2164135 h 2831069"/>
              <a:gd name="connsiteX16" fmla="*/ 243277 w 3473628"/>
              <a:gd name="connsiteY16" fmla="*/ 2417629 h 2831069"/>
              <a:gd name="connsiteX17" fmla="*/ 343270 w 3473628"/>
              <a:gd name="connsiteY17" fmla="*/ 2553723 h 2831069"/>
              <a:gd name="connsiteX18" fmla="*/ 396634 w 3473628"/>
              <a:gd name="connsiteY18" fmla="*/ 2608392 h 2831069"/>
              <a:gd name="connsiteX19" fmla="*/ 442102 w 3473628"/>
              <a:gd name="connsiteY19" fmla="*/ 2644348 h 2831069"/>
              <a:gd name="connsiteX20" fmla="*/ 450018 w 3473628"/>
              <a:gd name="connsiteY20" fmla="*/ 2670108 h 2831069"/>
              <a:gd name="connsiteX21" fmla="*/ 431180 w 3473628"/>
              <a:gd name="connsiteY21" fmla="*/ 2687516 h 2831069"/>
              <a:gd name="connsiteX22" fmla="*/ 385007 w 3473628"/>
              <a:gd name="connsiteY22" fmla="*/ 2665507 h 2831069"/>
              <a:gd name="connsiteX23" fmla="*/ 320266 w 3473628"/>
              <a:gd name="connsiteY23" fmla="*/ 2569991 h 2831069"/>
              <a:gd name="connsiteX24" fmla="*/ 307459 w 3473628"/>
              <a:gd name="connsiteY24" fmla="*/ 2513166 h 2831069"/>
              <a:gd name="connsiteX25" fmla="*/ 319396 w 3473628"/>
              <a:gd name="connsiteY25" fmla="*/ 2499923 h 2831069"/>
              <a:gd name="connsiteX26" fmla="*/ 348015 w 3473628"/>
              <a:gd name="connsiteY26" fmla="*/ 2524378 h 2831069"/>
              <a:gd name="connsiteX27" fmla="*/ 378086 w 3473628"/>
              <a:gd name="connsiteY27" fmla="*/ 2562364 h 2831069"/>
              <a:gd name="connsiteX28" fmla="*/ 409731 w 3473628"/>
              <a:gd name="connsiteY28" fmla="*/ 2581348 h 2831069"/>
              <a:gd name="connsiteX29" fmla="*/ 431740 w 3473628"/>
              <a:gd name="connsiteY29" fmla="*/ 2604372 h 2831069"/>
              <a:gd name="connsiteX30" fmla="*/ 455323 w 3473628"/>
              <a:gd name="connsiteY30" fmla="*/ 2623645 h 2831069"/>
              <a:gd name="connsiteX31" fmla="*/ 472006 w 3473628"/>
              <a:gd name="connsiteY31" fmla="*/ 2654005 h 2831069"/>
              <a:gd name="connsiteX32" fmla="*/ 483798 w 3473628"/>
              <a:gd name="connsiteY32" fmla="*/ 2705649 h 2831069"/>
              <a:gd name="connsiteX33" fmla="*/ 515029 w 3473628"/>
              <a:gd name="connsiteY33" fmla="*/ 2761707 h 2831069"/>
              <a:gd name="connsiteX34" fmla="*/ 593924 w 3473628"/>
              <a:gd name="connsiteY34" fmla="*/ 2781975 h 2831069"/>
              <a:gd name="connsiteX35" fmla="*/ 917921 w 3473628"/>
              <a:gd name="connsiteY35" fmla="*/ 2784234 h 2831069"/>
              <a:gd name="connsiteX36" fmla="*/ 1481859 w 3473628"/>
              <a:gd name="connsiteY36" fmla="*/ 2784234 h 2831069"/>
              <a:gd name="connsiteX37" fmla="*/ 1611175 w 3473628"/>
              <a:gd name="connsiteY37" fmla="*/ 2760402 h 2831069"/>
              <a:gd name="connsiteX38" fmla="*/ 1530415 w 3473628"/>
              <a:gd name="connsiteY38" fmla="*/ 2653819 h 2831069"/>
              <a:gd name="connsiteX39" fmla="*/ 1485506 w 3473628"/>
              <a:gd name="connsiteY39" fmla="*/ 2582508 h 2831069"/>
              <a:gd name="connsiteX40" fmla="*/ 1444639 w 3473628"/>
              <a:gd name="connsiteY40" fmla="*/ 2563380 h 2831069"/>
              <a:gd name="connsiteX41" fmla="*/ 1360914 w 3473628"/>
              <a:gd name="connsiteY41" fmla="*/ 2569701 h 2831069"/>
              <a:gd name="connsiteX42" fmla="*/ 1305374 w 3473628"/>
              <a:gd name="connsiteY42" fmla="*/ 2561204 h 2831069"/>
              <a:gd name="connsiteX43" fmla="*/ 1259906 w 3473628"/>
              <a:gd name="connsiteY43" fmla="*/ 2517187 h 2831069"/>
              <a:gd name="connsiteX44" fmla="*/ 1228551 w 3473628"/>
              <a:gd name="connsiteY44" fmla="*/ 2442519 h 2831069"/>
              <a:gd name="connsiteX45" fmla="*/ 1227121 w 3473628"/>
              <a:gd name="connsiteY45" fmla="*/ 2364680 h 2831069"/>
              <a:gd name="connsiteX46" fmla="*/ 1271139 w 3473628"/>
              <a:gd name="connsiteY46" fmla="*/ 2317491 h 2831069"/>
              <a:gd name="connsiteX47" fmla="*/ 1254021 w 3473628"/>
              <a:gd name="connsiteY47" fmla="*/ 2254201 h 2831069"/>
              <a:gd name="connsiteX48" fmla="*/ 1118217 w 3473628"/>
              <a:gd name="connsiteY48" fmla="*/ 2041429 h 2831069"/>
              <a:gd name="connsiteX49" fmla="*/ 1021105 w 3473628"/>
              <a:gd name="connsiteY49" fmla="*/ 1888363 h 2831069"/>
              <a:gd name="connsiteX50" fmla="*/ 969171 w 3473628"/>
              <a:gd name="connsiteY50" fmla="*/ 1865338 h 2831069"/>
              <a:gd name="connsiteX51" fmla="*/ 890048 w 3473628"/>
              <a:gd name="connsiteY51" fmla="*/ 1886477 h 2831069"/>
              <a:gd name="connsiteX52" fmla="*/ 773808 w 3473628"/>
              <a:gd name="connsiteY52" fmla="*/ 1916837 h 2831069"/>
              <a:gd name="connsiteX53" fmla="*/ 552974 w 3473628"/>
              <a:gd name="connsiteY53" fmla="*/ 1960565 h 2831069"/>
              <a:gd name="connsiteX54" fmla="*/ 460463 w 3473628"/>
              <a:gd name="connsiteY54" fmla="*/ 1968771 h 2831069"/>
              <a:gd name="connsiteX55" fmla="*/ 390251 w 3473628"/>
              <a:gd name="connsiteY55" fmla="*/ 1936110 h 2831069"/>
              <a:gd name="connsiteX56" fmla="*/ 237329 w 3473628"/>
              <a:gd name="connsiteY56" fmla="*/ 1817280 h 2831069"/>
              <a:gd name="connsiteX57" fmla="*/ 148859 w 3473628"/>
              <a:gd name="connsiteY57" fmla="*/ 1724478 h 2831069"/>
              <a:gd name="connsiteX58" fmla="*/ 135326 w 3473628"/>
              <a:gd name="connsiteY58" fmla="*/ 1660753 h 2831069"/>
              <a:gd name="connsiteX59" fmla="*/ 160361 w 3473628"/>
              <a:gd name="connsiteY59" fmla="*/ 1619326 h 2831069"/>
              <a:gd name="connsiteX60" fmla="*/ 206534 w 3473628"/>
              <a:gd name="connsiteY60" fmla="*/ 1610829 h 2831069"/>
              <a:gd name="connsiteX61" fmla="*/ 299894 w 3473628"/>
              <a:gd name="connsiteY61" fmla="*/ 1646370 h 2831069"/>
              <a:gd name="connsiteX62" fmla="*/ 372552 w 3473628"/>
              <a:gd name="connsiteY62" fmla="*/ 1668959 h 2831069"/>
              <a:gd name="connsiteX63" fmla="*/ 375723 w 3473628"/>
              <a:gd name="connsiteY63" fmla="*/ 1692688 h 2831069"/>
              <a:gd name="connsiteX64" fmla="*/ 313282 w 3473628"/>
              <a:gd name="connsiteY64" fmla="*/ 1712832 h 2831069"/>
              <a:gd name="connsiteX65" fmla="*/ 211134 w 3473628"/>
              <a:gd name="connsiteY65" fmla="*/ 1685787 h 2831069"/>
              <a:gd name="connsiteX66" fmla="*/ 161356 w 3473628"/>
              <a:gd name="connsiteY66" fmla="*/ 1648235 h 2831069"/>
              <a:gd name="connsiteX67" fmla="*/ 166391 w 3473628"/>
              <a:gd name="connsiteY67" fmla="*/ 1605586 h 2831069"/>
              <a:gd name="connsiteX68" fmla="*/ 200192 w 3473628"/>
              <a:gd name="connsiteY68" fmla="*/ 1577816 h 2831069"/>
              <a:gd name="connsiteX69" fmla="*/ 287232 w 3473628"/>
              <a:gd name="connsiteY69" fmla="*/ 1590830 h 2831069"/>
              <a:gd name="connsiteX70" fmla="*/ 369009 w 3473628"/>
              <a:gd name="connsiteY70" fmla="*/ 1618953 h 2831069"/>
              <a:gd name="connsiteX71" fmla="*/ 419927 w 3473628"/>
              <a:gd name="connsiteY71" fmla="*/ 1621046 h 2831069"/>
              <a:gd name="connsiteX72" fmla="*/ 508625 w 3473628"/>
              <a:gd name="connsiteY72" fmla="*/ 1559682 h 2831069"/>
              <a:gd name="connsiteX73" fmla="*/ 603872 w 3473628"/>
              <a:gd name="connsiteY73" fmla="*/ 1496164 h 2831069"/>
              <a:gd name="connsiteX74" fmla="*/ 672489 w 3473628"/>
              <a:gd name="connsiteY74" fmla="*/ 1469699 h 2831069"/>
              <a:gd name="connsiteX75" fmla="*/ 740318 w 3473628"/>
              <a:gd name="connsiteY75" fmla="*/ 1459835 h 2831069"/>
              <a:gd name="connsiteX76" fmla="*/ 810675 w 3473628"/>
              <a:gd name="connsiteY76" fmla="*/ 1421288 h 2831069"/>
              <a:gd name="connsiteX77" fmla="*/ 854631 w 3473628"/>
              <a:gd name="connsiteY77" fmla="*/ 1394969 h 2831069"/>
              <a:gd name="connsiteX78" fmla="*/ 862982 w 3473628"/>
              <a:gd name="connsiteY78" fmla="*/ 1380214 h 2831069"/>
              <a:gd name="connsiteX79" fmla="*/ 851688 w 3473628"/>
              <a:gd name="connsiteY79" fmla="*/ 1366412 h 2831069"/>
              <a:gd name="connsiteX80" fmla="*/ 827524 w 3473628"/>
              <a:gd name="connsiteY80" fmla="*/ 1363614 h 2831069"/>
              <a:gd name="connsiteX81" fmla="*/ 824291 w 3473628"/>
              <a:gd name="connsiteY81" fmla="*/ 1354910 h 2831069"/>
              <a:gd name="connsiteX82" fmla="*/ 846652 w 3473628"/>
              <a:gd name="connsiteY82" fmla="*/ 1340030 h 2831069"/>
              <a:gd name="connsiteX83" fmla="*/ 880308 w 3473628"/>
              <a:gd name="connsiteY83" fmla="*/ 1319161 h 2831069"/>
              <a:gd name="connsiteX84" fmla="*/ 897363 w 3473628"/>
              <a:gd name="connsiteY84" fmla="*/ 1302831 h 2831069"/>
              <a:gd name="connsiteX85" fmla="*/ 886794 w 3473628"/>
              <a:gd name="connsiteY85" fmla="*/ 1295930 h 2831069"/>
              <a:gd name="connsiteX86" fmla="*/ 844642 w 3473628"/>
              <a:gd name="connsiteY86" fmla="*/ 1306934 h 2831069"/>
              <a:gd name="connsiteX87" fmla="*/ 809536 w 3473628"/>
              <a:gd name="connsiteY87" fmla="*/ 1335347 h 2831069"/>
              <a:gd name="connsiteX88" fmla="*/ 787029 w 3473628"/>
              <a:gd name="connsiteY88" fmla="*/ 1349667 h 2831069"/>
              <a:gd name="connsiteX89" fmla="*/ 782139 w 3473628"/>
              <a:gd name="connsiteY89" fmla="*/ 1343346 h 2831069"/>
              <a:gd name="connsiteX90" fmla="*/ 804583 w 3473628"/>
              <a:gd name="connsiteY90" fmla="*/ 1325296 h 2831069"/>
              <a:gd name="connsiteX91" fmla="*/ 816810 w 3473628"/>
              <a:gd name="connsiteY91" fmla="*/ 1307743 h 2831069"/>
              <a:gd name="connsiteX92" fmla="*/ 811276 w 3473628"/>
              <a:gd name="connsiteY92" fmla="*/ 1290977 h 2831069"/>
              <a:gd name="connsiteX93" fmla="*/ 791713 w 3473628"/>
              <a:gd name="connsiteY93" fmla="*/ 1290832 h 2831069"/>
              <a:gd name="connsiteX94" fmla="*/ 761933 w 3473628"/>
              <a:gd name="connsiteY94" fmla="*/ 1313856 h 2831069"/>
              <a:gd name="connsiteX95" fmla="*/ 742515 w 3473628"/>
              <a:gd name="connsiteY95" fmla="*/ 1324218 h 2831069"/>
              <a:gd name="connsiteX96" fmla="*/ 739862 w 3473628"/>
              <a:gd name="connsiteY96" fmla="*/ 1318457 h 2831069"/>
              <a:gd name="connsiteX97" fmla="*/ 752296 w 3473628"/>
              <a:gd name="connsiteY97" fmla="*/ 1300406 h 2831069"/>
              <a:gd name="connsiteX98" fmla="*/ 772585 w 3473628"/>
              <a:gd name="connsiteY98" fmla="*/ 1280615 h 2831069"/>
              <a:gd name="connsiteX99" fmla="*/ 776108 w 3473628"/>
              <a:gd name="connsiteY99" fmla="*/ 1263994 h 2831069"/>
              <a:gd name="connsiteX100" fmla="*/ 761083 w 3473628"/>
              <a:gd name="connsiteY100" fmla="*/ 1258026 h 2831069"/>
              <a:gd name="connsiteX101" fmla="*/ 718869 w 3473628"/>
              <a:gd name="connsiteY101" fmla="*/ 1273051 h 2831069"/>
              <a:gd name="connsiteX102" fmla="*/ 639600 w 3473628"/>
              <a:gd name="connsiteY102" fmla="*/ 1331181 h 2831069"/>
              <a:gd name="connsiteX103" fmla="*/ 569678 w 3473628"/>
              <a:gd name="connsiteY103" fmla="*/ 1382100 h 2831069"/>
              <a:gd name="connsiteX104" fmla="*/ 456173 w 3473628"/>
              <a:gd name="connsiteY104" fmla="*/ 1442530 h 2831069"/>
              <a:gd name="connsiteX105" fmla="*/ 325406 w 3473628"/>
              <a:gd name="connsiteY105" fmla="*/ 1515188 h 2831069"/>
              <a:gd name="connsiteX106" fmla="*/ 239526 w 3473628"/>
              <a:gd name="connsiteY106" fmla="*/ 1551144 h 2831069"/>
              <a:gd name="connsiteX107" fmla="*/ 218388 w 3473628"/>
              <a:gd name="connsiteY107" fmla="*/ 1575453 h 2831069"/>
              <a:gd name="connsiteX108" fmla="*/ 272912 w 3473628"/>
              <a:gd name="connsiteY108" fmla="*/ 1602208 h 2831069"/>
              <a:gd name="connsiteX109" fmla="*/ 357797 w 3473628"/>
              <a:gd name="connsiteY109" fmla="*/ 1635863 h 2831069"/>
              <a:gd name="connsiteX110" fmla="*/ 403410 w 3473628"/>
              <a:gd name="connsiteY110" fmla="*/ 1653271 h 2831069"/>
              <a:gd name="connsiteX111" fmla="*/ 416073 w 3473628"/>
              <a:gd name="connsiteY111" fmla="*/ 1682036 h 2831069"/>
              <a:gd name="connsiteX112" fmla="*/ 440817 w 3473628"/>
              <a:gd name="connsiteY112" fmla="*/ 1705060 h 2831069"/>
              <a:gd name="connsiteX113" fmla="*/ 514469 w 3473628"/>
              <a:gd name="connsiteY113" fmla="*/ 1733680 h 2831069"/>
              <a:gd name="connsiteX114" fmla="*/ 651288 w 3473628"/>
              <a:gd name="connsiteY114" fmla="*/ 1765905 h 2831069"/>
              <a:gd name="connsiteX115" fmla="*/ 768109 w 3473628"/>
              <a:gd name="connsiteY115" fmla="*/ 1785179 h 2831069"/>
              <a:gd name="connsiteX116" fmla="*/ 837306 w 3473628"/>
              <a:gd name="connsiteY116" fmla="*/ 1824740 h 2831069"/>
              <a:gd name="connsiteX117" fmla="*/ 840621 w 3473628"/>
              <a:gd name="connsiteY117" fmla="*/ 1854666 h 2831069"/>
              <a:gd name="connsiteX118" fmla="*/ 790843 w 3473628"/>
              <a:gd name="connsiteY118" fmla="*/ 1883430 h 2831069"/>
              <a:gd name="connsiteX119" fmla="*/ 713874 w 3473628"/>
              <a:gd name="connsiteY119" fmla="*/ 1902413 h 2831069"/>
              <a:gd name="connsiteX120" fmla="*/ 703367 w 3473628"/>
              <a:gd name="connsiteY120" fmla="*/ 1887741 h 2831069"/>
              <a:gd name="connsiteX121" fmla="*/ 735158 w 3473628"/>
              <a:gd name="connsiteY121" fmla="*/ 1840843 h 2831069"/>
              <a:gd name="connsiteX122" fmla="*/ 785662 w 3473628"/>
              <a:gd name="connsiteY122" fmla="*/ 1808037 h 2831069"/>
              <a:gd name="connsiteX123" fmla="*/ 864640 w 3473628"/>
              <a:gd name="connsiteY123" fmla="*/ 1809757 h 2831069"/>
              <a:gd name="connsiteX124" fmla="*/ 904637 w 3473628"/>
              <a:gd name="connsiteY124" fmla="*/ 1789468 h 2831069"/>
              <a:gd name="connsiteX125" fmla="*/ 916284 w 3473628"/>
              <a:gd name="connsiteY125" fmla="*/ 1745161 h 2831069"/>
              <a:gd name="connsiteX126" fmla="*/ 912119 w 3473628"/>
              <a:gd name="connsiteY126" fmla="*/ 1675238 h 2831069"/>
              <a:gd name="connsiteX127" fmla="*/ 918025 w 3473628"/>
              <a:gd name="connsiteY127" fmla="*/ 1647904 h 2831069"/>
              <a:gd name="connsiteX128" fmla="*/ 946230 w 3473628"/>
              <a:gd name="connsiteY128" fmla="*/ 1644588 h 2831069"/>
              <a:gd name="connsiteX129" fmla="*/ 993128 w 3473628"/>
              <a:gd name="connsiteY129" fmla="*/ 1664587 h 2831069"/>
              <a:gd name="connsiteX130" fmla="*/ 1043632 w 3473628"/>
              <a:gd name="connsiteY130" fmla="*/ 1685455 h 2831069"/>
              <a:gd name="connsiteX131" fmla="*/ 1091110 w 3473628"/>
              <a:gd name="connsiteY131" fmla="*/ 1667032 h 2831069"/>
              <a:gd name="connsiteX132" fmla="*/ 1113844 w 3473628"/>
              <a:gd name="connsiteY132" fmla="*/ 1609046 h 2831069"/>
              <a:gd name="connsiteX133" fmla="*/ 1137573 w 3473628"/>
              <a:gd name="connsiteY133" fmla="*/ 1536244 h 2831069"/>
              <a:gd name="connsiteX134" fmla="*/ 1175270 w 3473628"/>
              <a:gd name="connsiteY134" fmla="*/ 1484165 h 2831069"/>
              <a:gd name="connsiteX135" fmla="*/ 1215847 w 3473628"/>
              <a:gd name="connsiteY135" fmla="*/ 1437702 h 2831069"/>
              <a:gd name="connsiteX136" fmla="*/ 1213837 w 3473628"/>
              <a:gd name="connsiteY136" fmla="*/ 1405911 h 2831069"/>
              <a:gd name="connsiteX137" fmla="*/ 1160743 w 3473628"/>
              <a:gd name="connsiteY137" fmla="*/ 1359449 h 2831069"/>
              <a:gd name="connsiteX138" fmla="*/ 1072273 w 3473628"/>
              <a:gd name="connsiteY138" fmla="*/ 1326207 h 2831069"/>
              <a:gd name="connsiteX139" fmla="*/ 969420 w 3473628"/>
              <a:gd name="connsiteY139" fmla="*/ 1337709 h 2831069"/>
              <a:gd name="connsiteX140" fmla="*/ 912160 w 3473628"/>
              <a:gd name="connsiteY140" fmla="*/ 1380152 h 2831069"/>
              <a:gd name="connsiteX141" fmla="*/ 896327 w 3473628"/>
              <a:gd name="connsiteY141" fmla="*/ 1448333 h 2831069"/>
              <a:gd name="connsiteX142" fmla="*/ 877489 w 3473628"/>
              <a:gd name="connsiteY142" fmla="*/ 1512784 h 2831069"/>
              <a:gd name="connsiteX143" fmla="*/ 860806 w 3473628"/>
              <a:gd name="connsiteY143" fmla="*/ 1564138 h 2831069"/>
              <a:gd name="connsiteX144" fmla="*/ 859936 w 3473628"/>
              <a:gd name="connsiteY144" fmla="*/ 1636216 h 2831069"/>
              <a:gd name="connsiteX145" fmla="*/ 882670 w 3473628"/>
              <a:gd name="connsiteY145" fmla="*/ 1693040 h 2831069"/>
              <a:gd name="connsiteX146" fmla="*/ 939930 w 3473628"/>
              <a:gd name="connsiteY146" fmla="*/ 1728001 h 2831069"/>
              <a:gd name="connsiteX147" fmla="*/ 1032856 w 3473628"/>
              <a:gd name="connsiteY147" fmla="*/ 1733618 h 2831069"/>
              <a:gd name="connsiteX148" fmla="*/ 1121326 w 3473628"/>
              <a:gd name="connsiteY148" fmla="*/ 1688440 h 2831069"/>
              <a:gd name="connsiteX149" fmla="*/ 1171830 w 3473628"/>
              <a:gd name="connsiteY149" fmla="*/ 1627304 h 2831069"/>
              <a:gd name="connsiteX150" fmla="*/ 1192263 w 3473628"/>
              <a:gd name="connsiteY150" fmla="*/ 1592343 h 2831069"/>
              <a:gd name="connsiteX151" fmla="*/ 1215433 w 3473628"/>
              <a:gd name="connsiteY151" fmla="*/ 1590478 h 2831069"/>
              <a:gd name="connsiteX152" fmla="*/ 1223059 w 3473628"/>
              <a:gd name="connsiteY152" fmla="*/ 1624569 h 2831069"/>
              <a:gd name="connsiteX153" fmla="*/ 1193569 w 3473628"/>
              <a:gd name="connsiteY153" fmla="*/ 1655219 h 2831069"/>
              <a:gd name="connsiteX154" fmla="*/ 1160328 w 3473628"/>
              <a:gd name="connsiteY154" fmla="*/ 1650909 h 2831069"/>
              <a:gd name="connsiteX155" fmla="*/ 1152121 w 3473628"/>
              <a:gd name="connsiteY155" fmla="*/ 1619844 h 2831069"/>
              <a:gd name="connsiteX156" fmla="*/ 1169239 w 3473628"/>
              <a:gd name="connsiteY156" fmla="*/ 1577836 h 2831069"/>
              <a:gd name="connsiteX157" fmla="*/ 1208511 w 3473628"/>
              <a:gd name="connsiteY157" fmla="*/ 1555683 h 2831069"/>
              <a:gd name="connsiteX158" fmla="*/ 1223039 w 3473628"/>
              <a:gd name="connsiteY158" fmla="*/ 1534814 h 2831069"/>
              <a:gd name="connsiteX159" fmla="*/ 1221173 w 3473628"/>
              <a:gd name="connsiteY159" fmla="*/ 1493822 h 2831069"/>
              <a:gd name="connsiteX160" fmla="*/ 1192263 w 3473628"/>
              <a:gd name="connsiteY160" fmla="*/ 1435837 h 2831069"/>
              <a:gd name="connsiteX161" fmla="*/ 1126527 w 3473628"/>
              <a:gd name="connsiteY161" fmla="*/ 1373105 h 2831069"/>
              <a:gd name="connsiteX162" fmla="*/ 1015178 w 3473628"/>
              <a:gd name="connsiteY162" fmla="*/ 1361604 h 2831069"/>
              <a:gd name="connsiteX163" fmla="*/ 929299 w 3473628"/>
              <a:gd name="connsiteY163" fmla="*/ 1399591 h 2831069"/>
              <a:gd name="connsiteX164" fmla="*/ 891312 w 3473628"/>
              <a:gd name="connsiteY164" fmla="*/ 1413683 h 2831069"/>
              <a:gd name="connsiteX165" fmla="*/ 880805 w 3473628"/>
              <a:gd name="connsiteY165" fmla="*/ 1385623 h 2831069"/>
              <a:gd name="connsiteX166" fmla="*/ 887271 w 3473628"/>
              <a:gd name="connsiteY166" fmla="*/ 1343035 h 2831069"/>
              <a:gd name="connsiteX167" fmla="*/ 919351 w 3473628"/>
              <a:gd name="connsiteY167" fmla="*/ 1314270 h 2831069"/>
              <a:gd name="connsiteX168" fmla="*/ 976031 w 3473628"/>
              <a:gd name="connsiteY168" fmla="*/ 1293402 h 2831069"/>
              <a:gd name="connsiteX169" fmla="*/ 1018183 w 3473628"/>
              <a:gd name="connsiteY169" fmla="*/ 1281900 h 2831069"/>
              <a:gd name="connsiteX170" fmla="*/ 1050844 w 3473628"/>
              <a:gd name="connsiteY170" fmla="*/ 1268947 h 2831069"/>
              <a:gd name="connsiteX171" fmla="*/ 1109244 w 3473628"/>
              <a:gd name="connsiteY171" fmla="*/ 1272118 h 2831069"/>
              <a:gd name="connsiteX172" fmla="*/ 1183622 w 3473628"/>
              <a:gd name="connsiteY172" fmla="*/ 1306209 h 2831069"/>
              <a:gd name="connsiteX173" fmla="*/ 1247202 w 3473628"/>
              <a:gd name="connsiteY173" fmla="*/ 1382017 h 2831069"/>
              <a:gd name="connsiteX174" fmla="*/ 1276983 w 3473628"/>
              <a:gd name="connsiteY174" fmla="*/ 1470777 h 2831069"/>
              <a:gd name="connsiteX175" fmla="*/ 1290785 w 3473628"/>
              <a:gd name="connsiteY175" fmla="*/ 1538959 h 2831069"/>
              <a:gd name="connsiteX176" fmla="*/ 1286184 w 3473628"/>
              <a:gd name="connsiteY176" fmla="*/ 1598664 h 2831069"/>
              <a:gd name="connsiteX177" fmla="*/ 1251223 w 3473628"/>
              <a:gd name="connsiteY177" fmla="*/ 1657789 h 2831069"/>
              <a:gd name="connsiteX178" fmla="*/ 1190792 w 3473628"/>
              <a:gd name="connsiteY178" fmla="*/ 1692460 h 2831069"/>
              <a:gd name="connsiteX179" fmla="*/ 1155396 w 3473628"/>
              <a:gd name="connsiteY179" fmla="*/ 1717349 h 2831069"/>
              <a:gd name="connsiteX180" fmla="*/ 1128786 w 3473628"/>
              <a:gd name="connsiteY180" fmla="*/ 1768848 h 2831069"/>
              <a:gd name="connsiteX181" fmla="*/ 1124766 w 3473628"/>
              <a:gd name="connsiteY181" fmla="*/ 1813156 h 2831069"/>
              <a:gd name="connsiteX182" fmla="*/ 1143459 w 3473628"/>
              <a:gd name="connsiteY182" fmla="*/ 1838045 h 2831069"/>
              <a:gd name="connsiteX183" fmla="*/ 1176700 w 3473628"/>
              <a:gd name="connsiteY183" fmla="*/ 1874581 h 2831069"/>
              <a:gd name="connsiteX184" fmla="*/ 1211951 w 3473628"/>
              <a:gd name="connsiteY184" fmla="*/ 1930971 h 2831069"/>
              <a:gd name="connsiteX185" fmla="*/ 1269791 w 3473628"/>
              <a:gd name="connsiteY185" fmla="*/ 1970678 h 2831069"/>
              <a:gd name="connsiteX186" fmla="*/ 1289790 w 3473628"/>
              <a:gd name="connsiteY186" fmla="*/ 2016996 h 2831069"/>
              <a:gd name="connsiteX187" fmla="*/ 1236696 w 3473628"/>
              <a:gd name="connsiteY187" fmla="*/ 2105031 h 2831069"/>
              <a:gd name="connsiteX188" fmla="*/ 1189362 w 3473628"/>
              <a:gd name="connsiteY188" fmla="*/ 2099269 h 2831069"/>
              <a:gd name="connsiteX189" fmla="*/ 1126921 w 3473628"/>
              <a:gd name="connsiteY189" fmla="*/ 1994386 h 2831069"/>
              <a:gd name="connsiteX190" fmla="*/ 1124621 w 3473628"/>
              <a:gd name="connsiteY190" fmla="*/ 1948773 h 2831069"/>
              <a:gd name="connsiteX191" fmla="*/ 1178855 w 3473628"/>
              <a:gd name="connsiteY191" fmla="*/ 1910226 h 2831069"/>
              <a:gd name="connsiteX192" fmla="*/ 1235245 w 3473628"/>
              <a:gd name="connsiteY192" fmla="*/ 1918288 h 2831069"/>
              <a:gd name="connsiteX193" fmla="*/ 1332792 w 3473628"/>
              <a:gd name="connsiteY193" fmla="*/ 1988065 h 2831069"/>
              <a:gd name="connsiteX194" fmla="*/ 1387316 w 3473628"/>
              <a:gd name="connsiteY194" fmla="*/ 2070650 h 2831069"/>
              <a:gd name="connsiteX195" fmla="*/ 1383710 w 3473628"/>
              <a:gd name="connsiteY195" fmla="*/ 2126190 h 2831069"/>
              <a:gd name="connsiteX196" fmla="*/ 1348459 w 3473628"/>
              <a:gd name="connsiteY196" fmla="*/ 2203448 h 2831069"/>
              <a:gd name="connsiteX197" fmla="*/ 1311923 w 3473628"/>
              <a:gd name="connsiteY197" fmla="*/ 2248771 h 2831069"/>
              <a:gd name="connsiteX198" fmla="*/ 1270786 w 3473628"/>
              <a:gd name="connsiteY198" fmla="*/ 2226907 h 2831069"/>
              <a:gd name="connsiteX199" fmla="*/ 1256694 w 3473628"/>
              <a:gd name="connsiteY199" fmla="*/ 2197417 h 2831069"/>
              <a:gd name="connsiteX200" fmla="*/ 1262745 w 3473628"/>
              <a:gd name="connsiteY200" fmla="*/ 2172093 h 2831069"/>
              <a:gd name="connsiteX201" fmla="*/ 1299427 w 3473628"/>
              <a:gd name="connsiteY201" fmla="*/ 2127640 h 2831069"/>
              <a:gd name="connsiteX202" fmla="*/ 1357826 w 3473628"/>
              <a:gd name="connsiteY202" fmla="*/ 2086068 h 2831069"/>
              <a:gd name="connsiteX203" fmla="*/ 1403999 w 3473628"/>
              <a:gd name="connsiteY203" fmla="*/ 2048372 h 2831069"/>
              <a:gd name="connsiteX204" fmla="*/ 1428453 w 3473628"/>
              <a:gd name="connsiteY204" fmla="*/ 2028228 h 2831069"/>
              <a:gd name="connsiteX205" fmla="*/ 1435644 w 3473628"/>
              <a:gd name="connsiteY205" fmla="*/ 2043481 h 2831069"/>
              <a:gd name="connsiteX206" fmla="*/ 1439375 w 3473628"/>
              <a:gd name="connsiteY206" fmla="*/ 2107062 h 2831069"/>
              <a:gd name="connsiteX207" fmla="*/ 1432039 w 3473628"/>
              <a:gd name="connsiteY207" fmla="*/ 2164902 h 2831069"/>
              <a:gd name="connsiteX208" fmla="*/ 1405864 w 3473628"/>
              <a:gd name="connsiteY208" fmla="*/ 2266469 h 2831069"/>
              <a:gd name="connsiteX209" fmla="*/ 1412765 w 3473628"/>
              <a:gd name="connsiteY209" fmla="*/ 2328330 h 2831069"/>
              <a:gd name="connsiteX210" fmla="*/ 1440245 w 3473628"/>
              <a:gd name="connsiteY210" fmla="*/ 2353074 h 2831069"/>
              <a:gd name="connsiteX211" fmla="*/ 1475932 w 3473628"/>
              <a:gd name="connsiteY211" fmla="*/ 2367457 h 2831069"/>
              <a:gd name="connsiteX212" fmla="*/ 1511038 w 3473628"/>
              <a:gd name="connsiteY212" fmla="*/ 2382710 h 2831069"/>
              <a:gd name="connsiteX213" fmla="*/ 1536217 w 3473628"/>
              <a:gd name="connsiteY213" fmla="*/ 2415225 h 2831069"/>
              <a:gd name="connsiteX214" fmla="*/ 1543408 w 3473628"/>
              <a:gd name="connsiteY214" fmla="*/ 2463843 h 2831069"/>
              <a:gd name="connsiteX215" fmla="*/ 1512758 w 3473628"/>
              <a:gd name="connsiteY215" fmla="*/ 2507156 h 2831069"/>
              <a:gd name="connsiteX216" fmla="*/ 1467083 w 3473628"/>
              <a:gd name="connsiteY216" fmla="*/ 2522844 h 2831069"/>
              <a:gd name="connsiteX217" fmla="*/ 1422195 w 3473628"/>
              <a:gd name="connsiteY217" fmla="*/ 2523860 h 2831069"/>
              <a:gd name="connsiteX218" fmla="*/ 1366738 w 3473628"/>
              <a:gd name="connsiteY218" fmla="*/ 2540832 h 2831069"/>
              <a:gd name="connsiteX219" fmla="*/ 1320420 w 3473628"/>
              <a:gd name="connsiteY219" fmla="*/ 2536667 h 2831069"/>
              <a:gd name="connsiteX220" fmla="*/ 1321788 w 3473628"/>
              <a:gd name="connsiteY220" fmla="*/ 2519549 h 2831069"/>
              <a:gd name="connsiteX221" fmla="*/ 1369846 w 3473628"/>
              <a:gd name="connsiteY221" fmla="*/ 2497893 h 2831069"/>
              <a:gd name="connsiteX222" fmla="*/ 1396891 w 3473628"/>
              <a:gd name="connsiteY222" fmla="*/ 2480277 h 2831069"/>
              <a:gd name="connsiteX223" fmla="*/ 1381286 w 3473628"/>
              <a:gd name="connsiteY223" fmla="*/ 2474102 h 2831069"/>
              <a:gd name="connsiteX224" fmla="*/ 1307986 w 3473628"/>
              <a:gd name="connsiteY224" fmla="*/ 2503094 h 2831069"/>
              <a:gd name="connsiteX225" fmla="*/ 1275760 w 3473628"/>
              <a:gd name="connsiteY225" fmla="*/ 2503820 h 2831069"/>
              <a:gd name="connsiteX226" fmla="*/ 1277190 w 3473628"/>
              <a:gd name="connsiteY226" fmla="*/ 2490515 h 2831069"/>
              <a:gd name="connsiteX227" fmla="*/ 1302287 w 3473628"/>
              <a:gd name="connsiteY227" fmla="*/ 2478495 h 2831069"/>
              <a:gd name="connsiteX228" fmla="*/ 1350407 w 3473628"/>
              <a:gd name="connsiteY228" fmla="*/ 2445109 h 2831069"/>
              <a:gd name="connsiteX229" fmla="*/ 1346946 w 3473628"/>
              <a:gd name="connsiteY229" fmla="*/ 2435120 h 2831069"/>
              <a:gd name="connsiteX230" fmla="*/ 1292774 w 3473628"/>
              <a:gd name="connsiteY230" fmla="*/ 2461812 h 2831069"/>
              <a:gd name="connsiteX231" fmla="*/ 1261834 w 3473628"/>
              <a:gd name="connsiteY231" fmla="*/ 2459719 h 2831069"/>
              <a:gd name="connsiteX232" fmla="*/ 1265149 w 3473628"/>
              <a:gd name="connsiteY232" fmla="*/ 2438933 h 2831069"/>
              <a:gd name="connsiteX233" fmla="*/ 1303053 w 3473628"/>
              <a:gd name="connsiteY233" fmla="*/ 2411308 h 2831069"/>
              <a:gd name="connsiteX234" fmla="*/ 1318513 w 3473628"/>
              <a:gd name="connsiteY234" fmla="*/ 2393175 h 2831069"/>
              <a:gd name="connsiteX235" fmla="*/ 1306783 w 3473628"/>
              <a:gd name="connsiteY235" fmla="*/ 2385984 h 2831069"/>
              <a:gd name="connsiteX236" fmla="*/ 1268590 w 3473628"/>
              <a:gd name="connsiteY236" fmla="*/ 2403392 h 2831069"/>
              <a:gd name="connsiteX237" fmla="*/ 1243410 w 3473628"/>
              <a:gd name="connsiteY237" fmla="*/ 2405257 h 2831069"/>
              <a:gd name="connsiteX238" fmla="*/ 1242685 w 3473628"/>
              <a:gd name="connsiteY238" fmla="*/ 2382461 h 2831069"/>
              <a:gd name="connsiteX239" fmla="*/ 1284402 w 3473628"/>
              <a:gd name="connsiteY239" fmla="*/ 2341469 h 2831069"/>
              <a:gd name="connsiteX240" fmla="*/ 1360935 w 3473628"/>
              <a:gd name="connsiteY240" fmla="*/ 2306218 h 2831069"/>
              <a:gd name="connsiteX241" fmla="*/ 1411004 w 3473628"/>
              <a:gd name="connsiteY241" fmla="*/ 2303047 h 2831069"/>
              <a:gd name="connsiteX242" fmla="*/ 1438484 w 3473628"/>
              <a:gd name="connsiteY242" fmla="*/ 2295131 h 2831069"/>
              <a:gd name="connsiteX243" fmla="*/ 1468409 w 3473628"/>
              <a:gd name="connsiteY243" fmla="*/ 2243777 h 2831069"/>
              <a:gd name="connsiteX244" fmla="*/ 1532570 w 3473628"/>
              <a:gd name="connsiteY244" fmla="*/ 2156301 h 2831069"/>
              <a:gd name="connsiteX245" fmla="*/ 1610761 w 3473628"/>
              <a:gd name="connsiteY245" fmla="*/ 2074152 h 2831069"/>
              <a:gd name="connsiteX246" fmla="*/ 1628957 w 3473628"/>
              <a:gd name="connsiteY246" fmla="*/ 2041864 h 2831069"/>
              <a:gd name="connsiteX247" fmla="*/ 1628604 w 3473628"/>
              <a:gd name="connsiteY247" fmla="*/ 2021078 h 2831069"/>
              <a:gd name="connsiteX248" fmla="*/ 1642841 w 3473628"/>
              <a:gd name="connsiteY248" fmla="*/ 2001308 h 2831069"/>
              <a:gd name="connsiteX249" fmla="*/ 1697863 w 3473628"/>
              <a:gd name="connsiteY249" fmla="*/ 1963611 h 2831069"/>
              <a:gd name="connsiteX250" fmla="*/ 1768718 w 3473628"/>
              <a:gd name="connsiteY250" fmla="*/ 1914703 h 2831069"/>
              <a:gd name="connsiteX251" fmla="*/ 1816549 w 3473628"/>
              <a:gd name="connsiteY251" fmla="*/ 1881109 h 2831069"/>
              <a:gd name="connsiteX252" fmla="*/ 1846039 w 3473628"/>
              <a:gd name="connsiteY252" fmla="*/ 1836221 h 2831069"/>
              <a:gd name="connsiteX253" fmla="*/ 1863882 w 3473628"/>
              <a:gd name="connsiteY253" fmla="*/ 1739400 h 2831069"/>
              <a:gd name="connsiteX254" fmla="*/ 1862162 w 3473628"/>
              <a:gd name="connsiteY254" fmla="*/ 1654225 h 2831069"/>
              <a:gd name="connsiteX255" fmla="*/ 1849355 w 3473628"/>
              <a:gd name="connsiteY255" fmla="*/ 1586312 h 2831069"/>
              <a:gd name="connsiteX256" fmla="*/ 1804322 w 3473628"/>
              <a:gd name="connsiteY256" fmla="*/ 1511499 h 2831069"/>
              <a:gd name="connsiteX257" fmla="*/ 1748512 w 3473628"/>
              <a:gd name="connsiteY257" fmla="*/ 1463296 h 2831069"/>
              <a:gd name="connsiteX258" fmla="*/ 1688662 w 3473628"/>
              <a:gd name="connsiteY258" fmla="*/ 1445017 h 2831069"/>
              <a:gd name="connsiteX259" fmla="*/ 1629682 w 3473628"/>
              <a:gd name="connsiteY259" fmla="*/ 1434655 h 2831069"/>
              <a:gd name="connsiteX260" fmla="*/ 1565521 w 3473628"/>
              <a:gd name="connsiteY260" fmla="*/ 1420708 h 2831069"/>
              <a:gd name="connsiteX261" fmla="*/ 1482377 w 3473628"/>
              <a:gd name="connsiteY261" fmla="*/ 1428044 h 2831069"/>
              <a:gd name="connsiteX262" fmla="*/ 1425117 w 3473628"/>
              <a:gd name="connsiteY262" fmla="*/ 1469036 h 2831069"/>
              <a:gd name="connsiteX263" fmla="*/ 1416910 w 3473628"/>
              <a:gd name="connsiteY263" fmla="*/ 1533923 h 2831069"/>
              <a:gd name="connsiteX264" fmla="*/ 1436618 w 3473628"/>
              <a:gd name="connsiteY264" fmla="*/ 1580240 h 2831069"/>
              <a:gd name="connsiteX265" fmla="*/ 1448265 w 3473628"/>
              <a:gd name="connsiteY265" fmla="*/ 1638081 h 2831069"/>
              <a:gd name="connsiteX266" fmla="*/ 1432577 w 3473628"/>
              <a:gd name="connsiteY266" fmla="*/ 1733037 h 2831069"/>
              <a:gd name="connsiteX267" fmla="*/ 1436598 w 3473628"/>
              <a:gd name="connsiteY267" fmla="*/ 1799063 h 2831069"/>
              <a:gd name="connsiteX268" fmla="*/ 1493568 w 3473628"/>
              <a:gd name="connsiteY268" fmla="*/ 1841216 h 2831069"/>
              <a:gd name="connsiteX269" fmla="*/ 1619299 w 3473628"/>
              <a:gd name="connsiteY269" fmla="*/ 1854168 h 2831069"/>
              <a:gd name="connsiteX270" fmla="*/ 1704039 w 3473628"/>
              <a:gd name="connsiteY270" fmla="*/ 1837050 h 2831069"/>
              <a:gd name="connsiteX271" fmla="*/ 1739290 w 3473628"/>
              <a:gd name="connsiteY271" fmla="*/ 1788577 h 2831069"/>
              <a:gd name="connsiteX272" fmla="*/ 1754108 w 3473628"/>
              <a:gd name="connsiteY272" fmla="*/ 1758507 h 2831069"/>
              <a:gd name="connsiteX273" fmla="*/ 1769071 w 3473628"/>
              <a:gd name="connsiteY273" fmla="*/ 1758507 h 2831069"/>
              <a:gd name="connsiteX274" fmla="*/ 1773526 w 3473628"/>
              <a:gd name="connsiteY274" fmla="*/ 1787562 h 2831069"/>
              <a:gd name="connsiteX275" fmla="*/ 1747621 w 3473628"/>
              <a:gd name="connsiteY275" fmla="*/ 1819497 h 2831069"/>
              <a:gd name="connsiteX276" fmla="*/ 1719271 w 3473628"/>
              <a:gd name="connsiteY276" fmla="*/ 1806110 h 2831069"/>
              <a:gd name="connsiteX277" fmla="*/ 1727478 w 3473628"/>
              <a:gd name="connsiteY277" fmla="*/ 1762092 h 2831069"/>
              <a:gd name="connsiteX278" fmla="*/ 1757258 w 3473628"/>
              <a:gd name="connsiteY278" fmla="*/ 1731297 h 2831069"/>
              <a:gd name="connsiteX279" fmla="*/ 1781857 w 3473628"/>
              <a:gd name="connsiteY279" fmla="*/ 1696626 h 2831069"/>
              <a:gd name="connsiteX280" fmla="*/ 1759123 w 3473628"/>
              <a:gd name="connsiteY280" fmla="*/ 1625563 h 2831069"/>
              <a:gd name="connsiteX281" fmla="*/ 1710650 w 3473628"/>
              <a:gd name="connsiteY281" fmla="*/ 1549175 h 2831069"/>
              <a:gd name="connsiteX282" fmla="*/ 1628065 w 3473628"/>
              <a:gd name="connsiteY282" fmla="*/ 1512349 h 2831069"/>
              <a:gd name="connsiteX283" fmla="*/ 1535989 w 3473628"/>
              <a:gd name="connsiteY283" fmla="*/ 1521260 h 2831069"/>
              <a:gd name="connsiteX284" fmla="*/ 1469528 w 3473628"/>
              <a:gd name="connsiteY284" fmla="*/ 1574624 h 2831069"/>
              <a:gd name="connsiteX285" fmla="*/ 1448100 w 3473628"/>
              <a:gd name="connsiteY285" fmla="*/ 1608280 h 2831069"/>
              <a:gd name="connsiteX286" fmla="*/ 1425946 w 3473628"/>
              <a:gd name="connsiteY286" fmla="*/ 1663384 h 2831069"/>
              <a:gd name="connsiteX287" fmla="*/ 1406527 w 3473628"/>
              <a:gd name="connsiteY287" fmla="*/ 1760351 h 2831069"/>
              <a:gd name="connsiteX288" fmla="*/ 1422215 w 3473628"/>
              <a:gd name="connsiteY288" fmla="*/ 1829693 h 2831069"/>
              <a:gd name="connsiteX289" fmla="*/ 1452866 w 3473628"/>
              <a:gd name="connsiteY289" fmla="*/ 1880115 h 2831069"/>
              <a:gd name="connsiteX290" fmla="*/ 1472139 w 3473628"/>
              <a:gd name="connsiteY290" fmla="*/ 1939737 h 2831069"/>
              <a:gd name="connsiteX291" fmla="*/ 1476885 w 3473628"/>
              <a:gd name="connsiteY291" fmla="*/ 1996769 h 2831069"/>
              <a:gd name="connsiteX292" fmla="*/ 1459332 w 3473628"/>
              <a:gd name="connsiteY292" fmla="*/ 2060205 h 2831069"/>
              <a:gd name="connsiteX293" fmla="*/ 1462212 w 3473628"/>
              <a:gd name="connsiteY293" fmla="*/ 2092430 h 2831069"/>
              <a:gd name="connsiteX294" fmla="*/ 1501339 w 3473628"/>
              <a:gd name="connsiteY294" fmla="*/ 2073157 h 2831069"/>
              <a:gd name="connsiteX295" fmla="*/ 1597083 w 3473628"/>
              <a:gd name="connsiteY295" fmla="*/ 2002592 h 2831069"/>
              <a:gd name="connsiteX296" fmla="*/ 1667586 w 3473628"/>
              <a:gd name="connsiteY296" fmla="*/ 1957705 h 2831069"/>
              <a:gd name="connsiteX297" fmla="*/ 1726856 w 3473628"/>
              <a:gd name="connsiteY297" fmla="*/ 1927987 h 2831069"/>
              <a:gd name="connsiteX298" fmla="*/ 1753258 w 3473628"/>
              <a:gd name="connsiteY298" fmla="*/ 1933520 h 2831069"/>
              <a:gd name="connsiteX299" fmla="*/ 1781816 w 3473628"/>
              <a:gd name="connsiteY299" fmla="*/ 1986034 h 2831069"/>
              <a:gd name="connsiteX300" fmla="*/ 1823616 w 3473628"/>
              <a:gd name="connsiteY300" fmla="*/ 2024809 h 2831069"/>
              <a:gd name="connsiteX301" fmla="*/ 1853044 w 3473628"/>
              <a:gd name="connsiteY301" fmla="*/ 2039129 h 2831069"/>
              <a:gd name="connsiteX302" fmla="*/ 1845417 w 3473628"/>
              <a:gd name="connsiteY302" fmla="*/ 2056392 h 2831069"/>
              <a:gd name="connsiteX303" fmla="*/ 1802685 w 3473628"/>
              <a:gd name="connsiteY303" fmla="*/ 2090420 h 2831069"/>
              <a:gd name="connsiteX304" fmla="*/ 1764283 w 3473628"/>
              <a:gd name="connsiteY304" fmla="*/ 2152281 h 2831069"/>
              <a:gd name="connsiteX305" fmla="*/ 1702132 w 3473628"/>
              <a:gd name="connsiteY305" fmla="*/ 2291753 h 2831069"/>
              <a:gd name="connsiteX306" fmla="*/ 1672207 w 3473628"/>
              <a:gd name="connsiteY306" fmla="*/ 2356639 h 2831069"/>
              <a:gd name="connsiteX307" fmla="*/ 1654654 w 3473628"/>
              <a:gd name="connsiteY307" fmla="*/ 2363043 h 2831069"/>
              <a:gd name="connsiteX308" fmla="*/ 1613082 w 3473628"/>
              <a:gd name="connsiteY308" fmla="*/ 2345054 h 2831069"/>
              <a:gd name="connsiteX309" fmla="*/ 1559925 w 3473628"/>
              <a:gd name="connsiteY309" fmla="*/ 2330174 h 2831069"/>
              <a:gd name="connsiteX310" fmla="*/ 1518498 w 3473628"/>
              <a:gd name="connsiteY310" fmla="*/ 2333345 h 2831069"/>
              <a:gd name="connsiteX311" fmla="*/ 1485112 w 3473628"/>
              <a:gd name="connsiteY311" fmla="*/ 2345075 h 2831069"/>
              <a:gd name="connsiteX312" fmla="*/ 1462813 w 3473628"/>
              <a:gd name="connsiteY312" fmla="*/ 2341759 h 2831069"/>
              <a:gd name="connsiteX313" fmla="*/ 1462523 w 3473628"/>
              <a:gd name="connsiteY313" fmla="*/ 2316435 h 2831069"/>
              <a:gd name="connsiteX314" fmla="*/ 1514022 w 3473628"/>
              <a:gd name="connsiteY314" fmla="*/ 2230907 h 2831069"/>
              <a:gd name="connsiteX315" fmla="*/ 1633868 w 3473628"/>
              <a:gd name="connsiteY315" fmla="*/ 2086462 h 2831069"/>
              <a:gd name="connsiteX316" fmla="*/ 1761050 w 3473628"/>
              <a:gd name="connsiteY316" fmla="*/ 2009494 h 2831069"/>
              <a:gd name="connsiteX317" fmla="*/ 1835718 w 3473628"/>
              <a:gd name="connsiteY317" fmla="*/ 2007773 h 2831069"/>
              <a:gd name="connsiteX318" fmla="*/ 1915422 w 3473628"/>
              <a:gd name="connsiteY318" fmla="*/ 2040579 h 2831069"/>
              <a:gd name="connsiteX319" fmla="*/ 1956414 w 3473628"/>
              <a:gd name="connsiteY319" fmla="*/ 2094378 h 2831069"/>
              <a:gd name="connsiteX320" fmla="*/ 1981593 w 3473628"/>
              <a:gd name="connsiteY320" fmla="*/ 2161420 h 2831069"/>
              <a:gd name="connsiteX321" fmla="*/ 1998421 w 3473628"/>
              <a:gd name="connsiteY321" fmla="*/ 2191781 h 2831069"/>
              <a:gd name="connsiteX322" fmla="*/ 2004473 w 3473628"/>
              <a:gd name="connsiteY322" fmla="*/ 2185874 h 2831069"/>
              <a:gd name="connsiteX323" fmla="*/ 1997717 w 3473628"/>
              <a:gd name="connsiteY323" fmla="*/ 2138106 h 2831069"/>
              <a:gd name="connsiteX324" fmla="*/ 1965781 w 3473628"/>
              <a:gd name="connsiteY324" fmla="*/ 2073364 h 2831069"/>
              <a:gd name="connsiteX325" fmla="*/ 1892688 w 3473628"/>
              <a:gd name="connsiteY325" fmla="*/ 2059127 h 2831069"/>
              <a:gd name="connsiteX326" fmla="*/ 1816155 w 3473628"/>
              <a:gd name="connsiteY326" fmla="*/ 2115517 h 2831069"/>
              <a:gd name="connsiteX327" fmla="*/ 1767682 w 3473628"/>
              <a:gd name="connsiteY327" fmla="*/ 2216504 h 2831069"/>
              <a:gd name="connsiteX328" fmla="*/ 1756740 w 3473628"/>
              <a:gd name="connsiteY328" fmla="*/ 2315771 h 2831069"/>
              <a:gd name="connsiteX329" fmla="*/ 1733280 w 3473628"/>
              <a:gd name="connsiteY329" fmla="*/ 2398211 h 2831069"/>
              <a:gd name="connsiteX330" fmla="*/ 1632148 w 3473628"/>
              <a:gd name="connsiteY330" fmla="*/ 2384554 h 2831069"/>
              <a:gd name="connsiteX331" fmla="*/ 1539637 w 3473628"/>
              <a:gd name="connsiteY331" fmla="*/ 2352183 h 2831069"/>
              <a:gd name="connsiteX332" fmla="*/ 1522519 w 3473628"/>
              <a:gd name="connsiteY332" fmla="*/ 2359229 h 2831069"/>
              <a:gd name="connsiteX333" fmla="*/ 1543947 w 3473628"/>
              <a:gd name="connsiteY333" fmla="*/ 2385549 h 2831069"/>
              <a:gd name="connsiteX334" fmla="*/ 1564381 w 3473628"/>
              <a:gd name="connsiteY334" fmla="*/ 2430727 h 2831069"/>
              <a:gd name="connsiteX335" fmla="*/ 1559200 w 3473628"/>
              <a:gd name="connsiteY335" fmla="*/ 2486412 h 2831069"/>
              <a:gd name="connsiteX336" fmla="*/ 1529710 w 3473628"/>
              <a:gd name="connsiteY336" fmla="*/ 2562364 h 2831069"/>
              <a:gd name="connsiteX337" fmla="*/ 1544963 w 3473628"/>
              <a:gd name="connsiteY337" fmla="*/ 2634587 h 2831069"/>
              <a:gd name="connsiteX338" fmla="*/ 1609124 w 3473628"/>
              <a:gd name="connsiteY338" fmla="*/ 2669984 h 2831069"/>
              <a:gd name="connsiteX339" fmla="*/ 1709821 w 3473628"/>
              <a:gd name="connsiteY339" fmla="*/ 2685526 h 2831069"/>
              <a:gd name="connsiteX340" fmla="*/ 1825481 w 3473628"/>
              <a:gd name="connsiteY340" fmla="*/ 2710706 h 2831069"/>
              <a:gd name="connsiteX341" fmla="*/ 1849666 w 3473628"/>
              <a:gd name="connsiteY341" fmla="*/ 2737274 h 2831069"/>
              <a:gd name="connsiteX342" fmla="*/ 1827284 w 3473628"/>
              <a:gd name="connsiteY342" fmla="*/ 2775385 h 2831069"/>
              <a:gd name="connsiteX343" fmla="*/ 1859468 w 3473628"/>
              <a:gd name="connsiteY343" fmla="*/ 2784130 h 2831069"/>
              <a:gd name="connsiteX344" fmla="*/ 2089565 w 3473628"/>
              <a:gd name="connsiteY344" fmla="*/ 2784130 h 2831069"/>
              <a:gd name="connsiteX345" fmla="*/ 2566897 w 3473628"/>
              <a:gd name="connsiteY345" fmla="*/ 2782162 h 2831069"/>
              <a:gd name="connsiteX346" fmla="*/ 2687966 w 3473628"/>
              <a:gd name="connsiteY346" fmla="*/ 2759884 h 2831069"/>
              <a:gd name="connsiteX347" fmla="*/ 2680464 w 3473628"/>
              <a:gd name="connsiteY347" fmla="*/ 2692303 h 2831069"/>
              <a:gd name="connsiteX348" fmla="*/ 2633566 w 3473628"/>
              <a:gd name="connsiteY348" fmla="*/ 2631872 h 2831069"/>
              <a:gd name="connsiteX349" fmla="*/ 2492291 w 3473628"/>
              <a:gd name="connsiteY349" fmla="*/ 2565701 h 2831069"/>
              <a:gd name="connsiteX350" fmla="*/ 2424110 w 3473628"/>
              <a:gd name="connsiteY350" fmla="*/ 2476651 h 2831069"/>
              <a:gd name="connsiteX351" fmla="*/ 2465247 w 3473628"/>
              <a:gd name="connsiteY351" fmla="*/ 2186330 h 2831069"/>
              <a:gd name="connsiteX352" fmla="*/ 2494592 w 3473628"/>
              <a:gd name="connsiteY352" fmla="*/ 1978159 h 2831069"/>
              <a:gd name="connsiteX353" fmla="*/ 2532289 w 3473628"/>
              <a:gd name="connsiteY353" fmla="*/ 1883202 h 2831069"/>
              <a:gd name="connsiteX354" fmla="*/ 2600200 w 3473628"/>
              <a:gd name="connsiteY354" fmla="*/ 1837175 h 2831069"/>
              <a:gd name="connsiteX355" fmla="*/ 2643928 w 3473628"/>
              <a:gd name="connsiteY355" fmla="*/ 1758051 h 2831069"/>
              <a:gd name="connsiteX356" fmla="*/ 2671553 w 3473628"/>
              <a:gd name="connsiteY356" fmla="*/ 1632029 h 2831069"/>
              <a:gd name="connsiteX357" fmla="*/ 2694577 w 3473628"/>
              <a:gd name="connsiteY357" fmla="*/ 1561817 h 2831069"/>
              <a:gd name="connsiteX358" fmla="*/ 2707239 w 3473628"/>
              <a:gd name="connsiteY358" fmla="*/ 1548305 h 2831069"/>
              <a:gd name="connsiteX359" fmla="*/ 2696877 w 3473628"/>
              <a:gd name="connsiteY359" fmla="*/ 1616217 h 2831069"/>
              <a:gd name="connsiteX360" fmla="*/ 2656300 w 3473628"/>
              <a:gd name="connsiteY360" fmla="*/ 1792308 h 2831069"/>
              <a:gd name="connsiteX361" fmla="*/ 2576306 w 3473628"/>
              <a:gd name="connsiteY361" fmla="*/ 1905377 h 2831069"/>
              <a:gd name="connsiteX362" fmla="*/ 2484810 w 3473628"/>
              <a:gd name="connsiteY362" fmla="*/ 1918329 h 2831069"/>
              <a:gd name="connsiteX363" fmla="*/ 2405251 w 3473628"/>
              <a:gd name="connsiteY363" fmla="*/ 1822813 h 2831069"/>
              <a:gd name="connsiteX364" fmla="*/ 2384113 w 3473628"/>
              <a:gd name="connsiteY364" fmla="*/ 1673912 h 2831069"/>
              <a:gd name="connsiteX365" fmla="*/ 2378642 w 3473628"/>
              <a:gd name="connsiteY365" fmla="*/ 1541984 h 2831069"/>
              <a:gd name="connsiteX366" fmla="*/ 2373751 w 3473628"/>
              <a:gd name="connsiteY366" fmla="*/ 1415527 h 2831069"/>
              <a:gd name="connsiteX367" fmla="*/ 2347141 w 3473628"/>
              <a:gd name="connsiteY367" fmla="*/ 1246918 h 2831069"/>
              <a:gd name="connsiteX368" fmla="*/ 2334769 w 3473628"/>
              <a:gd name="connsiteY368" fmla="*/ 1142615 h 2831069"/>
              <a:gd name="connsiteX369" fmla="*/ 2329153 w 3473628"/>
              <a:gd name="connsiteY369" fmla="*/ 1065211 h 2831069"/>
              <a:gd name="connsiteX370" fmla="*/ 2304554 w 3473628"/>
              <a:gd name="connsiteY370" fmla="*/ 939335 h 2831069"/>
              <a:gd name="connsiteX371" fmla="*/ 2256641 w 3473628"/>
              <a:gd name="connsiteY371" fmla="*/ 796630 h 2831069"/>
              <a:gd name="connsiteX372" fmla="*/ 2230736 w 3473628"/>
              <a:gd name="connsiteY372" fmla="*/ 692327 h 2831069"/>
              <a:gd name="connsiteX373" fmla="*/ 2239502 w 3473628"/>
              <a:gd name="connsiteY373" fmla="*/ 643564 h 2831069"/>
              <a:gd name="connsiteX374" fmla="*/ 2294026 w 3473628"/>
              <a:gd name="connsiteY374" fmla="*/ 635647 h 2831069"/>
              <a:gd name="connsiteX375" fmla="*/ 2342789 w 3473628"/>
              <a:gd name="connsiteY375" fmla="*/ 621700 h 2831069"/>
              <a:gd name="connsiteX376" fmla="*/ 2378621 w 3473628"/>
              <a:gd name="connsiteY376" fmla="*/ 587174 h 2831069"/>
              <a:gd name="connsiteX377" fmla="*/ 2391283 w 3473628"/>
              <a:gd name="connsiteY377" fmla="*/ 534080 h 2831069"/>
              <a:gd name="connsiteX378" fmla="*/ 2374601 w 3473628"/>
              <a:gd name="connsiteY378" fmla="*/ 480426 h 2831069"/>
              <a:gd name="connsiteX379" fmla="*/ 2310004 w 3473628"/>
              <a:gd name="connsiteY379" fmla="*/ 360020 h 2831069"/>
              <a:gd name="connsiteX380" fmla="*/ 2266567 w 3473628"/>
              <a:gd name="connsiteY380" fmla="*/ 280171 h 2831069"/>
              <a:gd name="connsiteX381" fmla="*/ 2203691 w 3473628"/>
              <a:gd name="connsiteY381" fmla="*/ 213564 h 2831069"/>
              <a:gd name="connsiteX382" fmla="*/ 2153622 w 3473628"/>
              <a:gd name="connsiteY382" fmla="*/ 194291 h 2831069"/>
              <a:gd name="connsiteX383" fmla="*/ 2109315 w 3473628"/>
              <a:gd name="connsiteY383" fmla="*/ 218310 h 2831069"/>
              <a:gd name="connsiteX384" fmla="*/ 2085731 w 3473628"/>
              <a:gd name="connsiteY384" fmla="*/ 264214 h 2831069"/>
              <a:gd name="connsiteX385" fmla="*/ 2085006 w 3473628"/>
              <a:gd name="connsiteY385" fmla="*/ 308666 h 2831069"/>
              <a:gd name="connsiteX386" fmla="*/ 2107595 w 3473628"/>
              <a:gd name="connsiteY386" fmla="*/ 327794 h 2831069"/>
              <a:gd name="connsiteX387" fmla="*/ 2138245 w 3473628"/>
              <a:gd name="connsiteY387" fmla="*/ 329660 h 2831069"/>
              <a:gd name="connsiteX388" fmla="*/ 2151343 w 3473628"/>
              <a:gd name="connsiteY388" fmla="*/ 299299 h 2831069"/>
              <a:gd name="connsiteX389" fmla="*/ 2155508 w 3473628"/>
              <a:gd name="connsiteY389" fmla="*/ 263053 h 2831069"/>
              <a:gd name="connsiteX390" fmla="*/ 2173641 w 3473628"/>
              <a:gd name="connsiteY390" fmla="*/ 251261 h 2831069"/>
              <a:gd name="connsiteX391" fmla="*/ 2215068 w 3473628"/>
              <a:gd name="connsiteY391" fmla="*/ 262058 h 2831069"/>
              <a:gd name="connsiteX392" fmla="*/ 2248019 w 3473628"/>
              <a:gd name="connsiteY392" fmla="*/ 269975 h 2831069"/>
              <a:gd name="connsiteX393" fmla="*/ 2262257 w 3473628"/>
              <a:gd name="connsiteY393" fmla="*/ 259903 h 2831069"/>
              <a:gd name="connsiteX394" fmla="*/ 2259749 w 3473628"/>
              <a:gd name="connsiteY394" fmla="*/ 230993 h 2831069"/>
              <a:gd name="connsiteX395" fmla="*/ 2231337 w 3473628"/>
              <a:gd name="connsiteY395" fmla="*/ 190851 h 2831069"/>
              <a:gd name="connsiteX396" fmla="*/ 2181351 w 3473628"/>
              <a:gd name="connsiteY396" fmla="*/ 163309 h 2831069"/>
              <a:gd name="connsiteX397" fmla="*/ 2141354 w 3473628"/>
              <a:gd name="connsiteY397" fmla="*/ 157548 h 2831069"/>
              <a:gd name="connsiteX398" fmla="*/ 2113377 w 3473628"/>
              <a:gd name="connsiteY398" fmla="*/ 169485 h 2831069"/>
              <a:gd name="connsiteX399" fmla="*/ 2082726 w 3473628"/>
              <a:gd name="connsiteY399" fmla="*/ 176469 h 2831069"/>
              <a:gd name="connsiteX400" fmla="*/ 2031870 w 3473628"/>
              <a:gd name="connsiteY400" fmla="*/ 162086 h 2831069"/>
              <a:gd name="connsiteX401" fmla="*/ 1991955 w 3473628"/>
              <a:gd name="connsiteY401" fmla="*/ 137280 h 2831069"/>
              <a:gd name="connsiteX402" fmla="*/ 1950528 w 3473628"/>
              <a:gd name="connsiteY402" fmla="*/ 77222 h 2831069"/>
              <a:gd name="connsiteX403" fmla="*/ 1938737 w 3473628"/>
              <a:gd name="connsiteY403" fmla="*/ 27008 h 2831069"/>
              <a:gd name="connsiteX404" fmla="*/ 1947669 w 3473628"/>
              <a:gd name="connsiteY404" fmla="*/ 1725 h 2831069"/>
              <a:gd name="connsiteX405" fmla="*/ 1970755 w 3473628"/>
              <a:gd name="connsiteY405" fmla="*/ 8461 h 2831069"/>
              <a:gd name="connsiteX406" fmla="*/ 2009260 w 3473628"/>
              <a:gd name="connsiteY406" fmla="*/ 49494 h 2831069"/>
              <a:gd name="connsiteX407" fmla="*/ 2058292 w 3473628"/>
              <a:gd name="connsiteY407" fmla="*/ 104412 h 2831069"/>
              <a:gd name="connsiteX408" fmla="*/ 2093544 w 3473628"/>
              <a:gd name="connsiteY408" fmla="*/ 149010 h 2831069"/>
              <a:gd name="connsiteX409" fmla="*/ 2084487 w 3473628"/>
              <a:gd name="connsiteY409" fmla="*/ 165837 h 2831069"/>
              <a:gd name="connsiteX410" fmla="*/ 2039599 w 3473628"/>
              <a:gd name="connsiteY410" fmla="*/ 172593 h 2831069"/>
              <a:gd name="connsiteX411" fmla="*/ 2028657 w 3473628"/>
              <a:gd name="connsiteY411" fmla="*/ 186976 h 2831069"/>
              <a:gd name="connsiteX412" fmla="*/ 2037424 w 3473628"/>
              <a:gd name="connsiteY412" fmla="*/ 210435 h 2831069"/>
              <a:gd name="connsiteX413" fmla="*/ 2052531 w 3473628"/>
              <a:gd name="connsiteY413" fmla="*/ 240360 h 2831069"/>
              <a:gd name="connsiteX414" fmla="*/ 2063183 w 3473628"/>
              <a:gd name="connsiteY414" fmla="*/ 276606 h 2831069"/>
              <a:gd name="connsiteX415" fmla="*/ 2061173 w 3473628"/>
              <a:gd name="connsiteY415" fmla="*/ 308832 h 2831069"/>
              <a:gd name="connsiteX416" fmla="*/ 2047226 w 3473628"/>
              <a:gd name="connsiteY416" fmla="*/ 318324 h 2831069"/>
              <a:gd name="connsiteX417" fmla="*/ 2037009 w 3473628"/>
              <a:gd name="connsiteY417" fmla="*/ 303216 h 2831069"/>
              <a:gd name="connsiteX418" fmla="*/ 2039890 w 3473628"/>
              <a:gd name="connsiteY418" fmla="*/ 281932 h 2831069"/>
              <a:gd name="connsiteX419" fmla="*/ 2037589 w 3473628"/>
              <a:gd name="connsiteY419" fmla="*/ 253168 h 2831069"/>
              <a:gd name="connsiteX420" fmla="*/ 2017301 w 3473628"/>
              <a:gd name="connsiteY420" fmla="*/ 238640 h 2831069"/>
              <a:gd name="connsiteX421" fmla="*/ 1980039 w 3473628"/>
              <a:gd name="connsiteY421" fmla="*/ 250142 h 2831069"/>
              <a:gd name="connsiteX422" fmla="*/ 1965367 w 3473628"/>
              <a:gd name="connsiteY422" fmla="*/ 281207 h 2831069"/>
              <a:gd name="connsiteX423" fmla="*/ 1979604 w 3473628"/>
              <a:gd name="connsiteY423" fmla="*/ 326820 h 2831069"/>
              <a:gd name="connsiteX424" fmla="*/ 2042625 w 3473628"/>
              <a:gd name="connsiteY424" fmla="*/ 396598 h 2831069"/>
              <a:gd name="connsiteX425" fmla="*/ 2145208 w 3473628"/>
              <a:gd name="connsiteY425" fmla="*/ 455288 h 2831069"/>
              <a:gd name="connsiteX426" fmla="*/ 2223752 w 3473628"/>
              <a:gd name="connsiteY426" fmla="*/ 542183 h 2831069"/>
              <a:gd name="connsiteX427" fmla="*/ 2264889 w 3473628"/>
              <a:gd name="connsiteY427" fmla="*/ 604624 h 2831069"/>
              <a:gd name="connsiteX428" fmla="*/ 2331640 w 3473628"/>
              <a:gd name="connsiteY428" fmla="*/ 595132 h 2831069"/>
              <a:gd name="connsiteX429" fmla="*/ 2408753 w 3473628"/>
              <a:gd name="connsiteY429" fmla="*/ 561746 h 2831069"/>
              <a:gd name="connsiteX430" fmla="*/ 2486157 w 3473628"/>
              <a:gd name="connsiteY430" fmla="*/ 631088 h 2831069"/>
              <a:gd name="connsiteX431" fmla="*/ 2597797 w 3473628"/>
              <a:gd name="connsiteY431" fmla="*/ 831052 h 2831069"/>
              <a:gd name="connsiteX432" fmla="*/ 2689292 w 3473628"/>
              <a:gd name="connsiteY432" fmla="*/ 1008013 h 2831069"/>
              <a:gd name="connsiteX433" fmla="*/ 2728999 w 3473628"/>
              <a:gd name="connsiteY433" fmla="*/ 1141081 h 2831069"/>
              <a:gd name="connsiteX434" fmla="*/ 2722098 w 3473628"/>
              <a:gd name="connsiteY434" fmla="*/ 1265963 h 2831069"/>
              <a:gd name="connsiteX435" fmla="*/ 2726409 w 3473628"/>
              <a:gd name="connsiteY435" fmla="*/ 1370556 h 2831069"/>
              <a:gd name="connsiteX436" fmla="*/ 2748998 w 3473628"/>
              <a:gd name="connsiteY436" fmla="*/ 1502194 h 2831069"/>
              <a:gd name="connsiteX437" fmla="*/ 2793596 w 3473628"/>
              <a:gd name="connsiteY437" fmla="*/ 1683756 h 2831069"/>
              <a:gd name="connsiteX438" fmla="*/ 2841924 w 3473628"/>
              <a:gd name="connsiteY438" fmla="*/ 1899699 h 2831069"/>
              <a:gd name="connsiteX439" fmla="*/ 2835872 w 3473628"/>
              <a:gd name="connsiteY439" fmla="*/ 2160094 h 2831069"/>
              <a:gd name="connsiteX440" fmla="*/ 2789119 w 3473628"/>
              <a:gd name="connsiteY440" fmla="*/ 2458476 h 2831069"/>
              <a:gd name="connsiteX441" fmla="*/ 2737620 w 3473628"/>
              <a:gd name="connsiteY441" fmla="*/ 2693547 h 2831069"/>
              <a:gd name="connsiteX442" fmla="*/ 2657626 w 3473628"/>
              <a:gd name="connsiteY442" fmla="*/ 2723762 h 2831069"/>
              <a:gd name="connsiteX443" fmla="*/ 2479816 w 3473628"/>
              <a:gd name="connsiteY443" fmla="*/ 2656720 h 2831069"/>
              <a:gd name="connsiteX444" fmla="*/ 2254237 w 3473628"/>
              <a:gd name="connsiteY444" fmla="*/ 2611832 h 2831069"/>
              <a:gd name="connsiteX445" fmla="*/ 2082166 w 3473628"/>
              <a:gd name="connsiteY445" fmla="*/ 2636287 h 2831069"/>
              <a:gd name="connsiteX446" fmla="*/ 1994401 w 3473628"/>
              <a:gd name="connsiteY446" fmla="*/ 2663621 h 2831069"/>
              <a:gd name="connsiteX447" fmla="*/ 1965346 w 3473628"/>
              <a:gd name="connsiteY447" fmla="*/ 2610382 h 2831069"/>
              <a:gd name="connsiteX448" fmla="*/ 1972537 w 3473628"/>
              <a:gd name="connsiteY448" fmla="*/ 2529538 h 2831069"/>
              <a:gd name="connsiteX449" fmla="*/ 2001302 w 3473628"/>
              <a:gd name="connsiteY449" fmla="*/ 2410127 h 2831069"/>
              <a:gd name="connsiteX450" fmla="*/ 2065173 w 3473628"/>
              <a:gd name="connsiteY450" fmla="*/ 2234762 h 2831069"/>
              <a:gd name="connsiteX451" fmla="*/ 2185164 w 3473628"/>
              <a:gd name="connsiteY451" fmla="*/ 1982428 h 2831069"/>
              <a:gd name="connsiteX452" fmla="*/ 2272639 w 3473628"/>
              <a:gd name="connsiteY452" fmla="*/ 1790940 h 2831069"/>
              <a:gd name="connsiteX453" fmla="*/ 2341691 w 3473628"/>
              <a:gd name="connsiteY453" fmla="*/ 1698284 h 2831069"/>
              <a:gd name="connsiteX454" fmla="*/ 2369026 w 3473628"/>
              <a:gd name="connsiteY454" fmla="*/ 1632962 h 2831069"/>
              <a:gd name="connsiteX455" fmla="*/ 2351473 w 3473628"/>
              <a:gd name="connsiteY455" fmla="*/ 1607927 h 2831069"/>
              <a:gd name="connsiteX456" fmla="*/ 2270774 w 3473628"/>
              <a:gd name="connsiteY456" fmla="*/ 1653541 h 2831069"/>
              <a:gd name="connsiteX457" fmla="*/ 2210343 w 3473628"/>
              <a:gd name="connsiteY457" fmla="*/ 1626206 h 2831069"/>
              <a:gd name="connsiteX458" fmla="*/ 2164585 w 3473628"/>
              <a:gd name="connsiteY458" fmla="*/ 1571972 h 2831069"/>
              <a:gd name="connsiteX459" fmla="*/ 2149623 w 3473628"/>
              <a:gd name="connsiteY459" fmla="*/ 1525364 h 2831069"/>
              <a:gd name="connsiteX460" fmla="*/ 2171776 w 3473628"/>
              <a:gd name="connsiteY460" fmla="*/ 1480476 h 2831069"/>
              <a:gd name="connsiteX461" fmla="*/ 2219690 w 3473628"/>
              <a:gd name="connsiteY461" fmla="*/ 1471710 h 2831069"/>
              <a:gd name="connsiteX462" fmla="*/ 2304575 w 3473628"/>
              <a:gd name="connsiteY462" fmla="*/ 1491128 h 2831069"/>
              <a:gd name="connsiteX463" fmla="*/ 2357939 w 3473628"/>
              <a:gd name="connsiteY463" fmla="*/ 1495148 h 2831069"/>
              <a:gd name="connsiteX464" fmla="*/ 2365130 w 3473628"/>
              <a:gd name="connsiteY464" fmla="*/ 1468539 h 2831069"/>
              <a:gd name="connsiteX465" fmla="*/ 2343411 w 3473628"/>
              <a:gd name="connsiteY465" fmla="*/ 1383509 h 2831069"/>
              <a:gd name="connsiteX466" fmla="*/ 2328594 w 3473628"/>
              <a:gd name="connsiteY466" fmla="*/ 1282957 h 2831069"/>
              <a:gd name="connsiteX467" fmla="*/ 2324428 w 3473628"/>
              <a:gd name="connsiteY467" fmla="*/ 1207999 h 2831069"/>
              <a:gd name="connsiteX468" fmla="*/ 2305735 w 3473628"/>
              <a:gd name="connsiteY468" fmla="*/ 1175628 h 2831069"/>
              <a:gd name="connsiteX469" fmla="*/ 2240559 w 3473628"/>
              <a:gd name="connsiteY469" fmla="*/ 1175918 h 2831069"/>
              <a:gd name="connsiteX470" fmla="*/ 2155964 w 3473628"/>
              <a:gd name="connsiteY470" fmla="*/ 1209574 h 2831069"/>
              <a:gd name="connsiteX471" fmla="*/ 2105750 w 3473628"/>
              <a:gd name="connsiteY471" fmla="*/ 1260223 h 2831069"/>
              <a:gd name="connsiteX472" fmla="*/ 2085171 w 3473628"/>
              <a:gd name="connsiteY472" fmla="*/ 1297774 h 2831069"/>
              <a:gd name="connsiteX473" fmla="*/ 2074664 w 3473628"/>
              <a:gd name="connsiteY473" fmla="*/ 1286977 h 2831069"/>
              <a:gd name="connsiteX474" fmla="*/ 2069918 w 3473628"/>
              <a:gd name="connsiteY474" fmla="*/ 1234028 h 2831069"/>
              <a:gd name="connsiteX475" fmla="*/ 2108050 w 3473628"/>
              <a:gd name="connsiteY475" fmla="*/ 1171587 h 2831069"/>
              <a:gd name="connsiteX476" fmla="*/ 2189910 w 3473628"/>
              <a:gd name="connsiteY476" fmla="*/ 1136045 h 2831069"/>
              <a:gd name="connsiteX477" fmla="*/ 2269759 w 3473628"/>
              <a:gd name="connsiteY477" fmla="*/ 1132294 h 2831069"/>
              <a:gd name="connsiteX478" fmla="*/ 2308450 w 3473628"/>
              <a:gd name="connsiteY478" fmla="*/ 1125683 h 2831069"/>
              <a:gd name="connsiteX479" fmla="*/ 2307290 w 3473628"/>
              <a:gd name="connsiteY479" fmla="*/ 1074765 h 2831069"/>
              <a:gd name="connsiteX480" fmla="*/ 2297653 w 3473628"/>
              <a:gd name="connsiteY480" fmla="*/ 1036778 h 2831069"/>
              <a:gd name="connsiteX481" fmla="*/ 2262982 w 3473628"/>
              <a:gd name="connsiteY481" fmla="*/ 1022831 h 2831069"/>
              <a:gd name="connsiteX482" fmla="*/ 2194655 w 3473628"/>
              <a:gd name="connsiteY482" fmla="*/ 1035493 h 2831069"/>
              <a:gd name="connsiteX483" fmla="*/ 2144296 w 3473628"/>
              <a:gd name="connsiteY483" fmla="*/ 1081811 h 2831069"/>
              <a:gd name="connsiteX484" fmla="*/ 2106310 w 3473628"/>
              <a:gd name="connsiteY484" fmla="*/ 1120088 h 2831069"/>
              <a:gd name="connsiteX485" fmla="*/ 2043434 w 3473628"/>
              <a:gd name="connsiteY485" fmla="*/ 1152894 h 2831069"/>
              <a:gd name="connsiteX486" fmla="*/ 1998401 w 3473628"/>
              <a:gd name="connsiteY486" fmla="*/ 1194756 h 2831069"/>
              <a:gd name="connsiteX487" fmla="*/ 1991645 w 3473628"/>
              <a:gd name="connsiteY487" fmla="*/ 1239354 h 2831069"/>
              <a:gd name="connsiteX488" fmla="*/ 2014669 w 3473628"/>
              <a:gd name="connsiteY488" fmla="*/ 1279351 h 2831069"/>
              <a:gd name="connsiteX489" fmla="*/ 2051350 w 3473628"/>
              <a:gd name="connsiteY489" fmla="*/ 1309566 h 2831069"/>
              <a:gd name="connsiteX490" fmla="*/ 2064157 w 3473628"/>
              <a:gd name="connsiteY490" fmla="*/ 1331865 h 2831069"/>
              <a:gd name="connsiteX491" fmla="*/ 2053505 w 3473628"/>
              <a:gd name="connsiteY491" fmla="*/ 1376173 h 2831069"/>
              <a:gd name="connsiteX492" fmla="*/ 2057671 w 3473628"/>
              <a:gd name="connsiteY492" fmla="*/ 1437598 h 2831069"/>
              <a:gd name="connsiteX493" fmla="*/ 2084715 w 3473628"/>
              <a:gd name="connsiteY493" fmla="*/ 1526939 h 2831069"/>
              <a:gd name="connsiteX494" fmla="*/ 2142556 w 3473628"/>
              <a:gd name="connsiteY494" fmla="*/ 1590374 h 2831069"/>
              <a:gd name="connsiteX495" fmla="*/ 2188583 w 3473628"/>
              <a:gd name="connsiteY495" fmla="*/ 1652525 h 2831069"/>
              <a:gd name="connsiteX496" fmla="*/ 2211753 w 3473628"/>
              <a:gd name="connsiteY496" fmla="*/ 1709350 h 2831069"/>
              <a:gd name="connsiteX497" fmla="*/ 2213038 w 3473628"/>
              <a:gd name="connsiteY497" fmla="*/ 1751502 h 2831069"/>
              <a:gd name="connsiteX498" fmla="*/ 2193619 w 3473628"/>
              <a:gd name="connsiteY498" fmla="*/ 1786463 h 2831069"/>
              <a:gd name="connsiteX499" fmla="*/ 2145416 w 3473628"/>
              <a:gd name="connsiteY499" fmla="*/ 1826170 h 2831069"/>
              <a:gd name="connsiteX500" fmla="*/ 2094062 w 3473628"/>
              <a:gd name="connsiteY500" fmla="*/ 1865877 h 2831069"/>
              <a:gd name="connsiteX501" fmla="*/ 2067452 w 3473628"/>
              <a:gd name="connsiteY501" fmla="*/ 1897668 h 2831069"/>
              <a:gd name="connsiteX502" fmla="*/ 2076654 w 3473628"/>
              <a:gd name="connsiteY502" fmla="*/ 1913791 h 2831069"/>
              <a:gd name="connsiteX503" fmla="*/ 2097668 w 3473628"/>
              <a:gd name="connsiteY503" fmla="*/ 1937955 h 2831069"/>
              <a:gd name="connsiteX504" fmla="*/ 2095077 w 3473628"/>
              <a:gd name="connsiteY504" fmla="*/ 2004416 h 2831069"/>
              <a:gd name="connsiteX505" fmla="*/ 2059391 w 3473628"/>
              <a:gd name="connsiteY505" fmla="*/ 2109155 h 2831069"/>
              <a:gd name="connsiteX506" fmla="*/ 1969325 w 3473628"/>
              <a:gd name="connsiteY506" fmla="*/ 2331853 h 2831069"/>
              <a:gd name="connsiteX507" fmla="*/ 1904584 w 3473628"/>
              <a:gd name="connsiteY507" fmla="*/ 2574405 h 2831069"/>
              <a:gd name="connsiteX508" fmla="*/ 1892502 w 3473628"/>
              <a:gd name="connsiteY508" fmla="*/ 2764443 h 2831069"/>
              <a:gd name="connsiteX509" fmla="*/ 2038812 w 3473628"/>
              <a:gd name="connsiteY509" fmla="*/ 2824874 h 2831069"/>
              <a:gd name="connsiteX510" fmla="*/ 2686909 w 3473628"/>
              <a:gd name="connsiteY510" fmla="*/ 2831070 h 2831069"/>
              <a:gd name="connsiteX511" fmla="*/ 3473628 w 3473628"/>
              <a:gd name="connsiteY511" fmla="*/ 2831070 h 2831069"/>
              <a:gd name="connsiteX0" fmla="*/ 1214873 w 3473628"/>
              <a:gd name="connsiteY0" fmla="*/ 2517746 h 2831071"/>
              <a:gd name="connsiteX1" fmla="*/ 1186254 w 3473628"/>
              <a:gd name="connsiteY1" fmla="*/ 2427970 h 2831071"/>
              <a:gd name="connsiteX2" fmla="*/ 1188409 w 3473628"/>
              <a:gd name="connsiteY2" fmla="*/ 2366980 h 2831071"/>
              <a:gd name="connsiteX3" fmla="*/ 1213734 w 3473628"/>
              <a:gd name="connsiteY3" fmla="*/ 2320662 h 2831071"/>
              <a:gd name="connsiteX4" fmla="*/ 1209568 w 3473628"/>
              <a:gd name="connsiteY4" fmla="*/ 2270448 h 2831071"/>
              <a:gd name="connsiteX5" fmla="*/ 1120808 w 3473628"/>
              <a:gd name="connsiteY5" fmla="*/ 2115662 h 2831071"/>
              <a:gd name="connsiteX6" fmla="*/ 1030182 w 3473628"/>
              <a:gd name="connsiteY6" fmla="*/ 1957124 h 2831071"/>
              <a:gd name="connsiteX7" fmla="*/ 963576 w 3473628"/>
              <a:gd name="connsiteY7" fmla="*/ 1924173 h 2831071"/>
              <a:gd name="connsiteX8" fmla="*/ 805764 w 3473628"/>
              <a:gd name="connsiteY8" fmla="*/ 1954244 h 2831071"/>
              <a:gd name="connsiteX9" fmla="*/ 604929 w 3473628"/>
              <a:gd name="connsiteY9" fmla="*/ 1989060 h 2831071"/>
              <a:gd name="connsiteX10" fmla="*/ 477332 w 3473628"/>
              <a:gd name="connsiteY10" fmla="*/ 1993661 h 2831071"/>
              <a:gd name="connsiteX11" fmla="*/ 361672 w 3473628"/>
              <a:gd name="connsiteY11" fmla="*/ 2000852 h 2831071"/>
              <a:gd name="connsiteX12" fmla="*/ 98687 w 3473628"/>
              <a:gd name="connsiteY12" fmla="*/ 2062567 h 2831071"/>
              <a:gd name="connsiteX13" fmla="*/ 3316 w 3473628"/>
              <a:gd name="connsiteY13" fmla="*/ 2090047 h 2831071"/>
              <a:gd name="connsiteX14" fmla="*/ 45468 w 3473628"/>
              <a:gd name="connsiteY14" fmla="*/ 2164135 h 2831071"/>
              <a:gd name="connsiteX15" fmla="*/ 243277 w 3473628"/>
              <a:gd name="connsiteY15" fmla="*/ 2417629 h 2831071"/>
              <a:gd name="connsiteX16" fmla="*/ 343270 w 3473628"/>
              <a:gd name="connsiteY16" fmla="*/ 2553723 h 2831071"/>
              <a:gd name="connsiteX17" fmla="*/ 396634 w 3473628"/>
              <a:gd name="connsiteY17" fmla="*/ 2608392 h 2831071"/>
              <a:gd name="connsiteX18" fmla="*/ 442102 w 3473628"/>
              <a:gd name="connsiteY18" fmla="*/ 2644348 h 2831071"/>
              <a:gd name="connsiteX19" fmla="*/ 450018 w 3473628"/>
              <a:gd name="connsiteY19" fmla="*/ 2670108 h 2831071"/>
              <a:gd name="connsiteX20" fmla="*/ 431180 w 3473628"/>
              <a:gd name="connsiteY20" fmla="*/ 2687516 h 2831071"/>
              <a:gd name="connsiteX21" fmla="*/ 385007 w 3473628"/>
              <a:gd name="connsiteY21" fmla="*/ 2665507 h 2831071"/>
              <a:gd name="connsiteX22" fmla="*/ 320266 w 3473628"/>
              <a:gd name="connsiteY22" fmla="*/ 2569991 h 2831071"/>
              <a:gd name="connsiteX23" fmla="*/ 307459 w 3473628"/>
              <a:gd name="connsiteY23" fmla="*/ 2513166 h 2831071"/>
              <a:gd name="connsiteX24" fmla="*/ 319396 w 3473628"/>
              <a:gd name="connsiteY24" fmla="*/ 2499923 h 2831071"/>
              <a:gd name="connsiteX25" fmla="*/ 348015 w 3473628"/>
              <a:gd name="connsiteY25" fmla="*/ 2524378 h 2831071"/>
              <a:gd name="connsiteX26" fmla="*/ 378086 w 3473628"/>
              <a:gd name="connsiteY26" fmla="*/ 2562364 h 2831071"/>
              <a:gd name="connsiteX27" fmla="*/ 409731 w 3473628"/>
              <a:gd name="connsiteY27" fmla="*/ 2581348 h 2831071"/>
              <a:gd name="connsiteX28" fmla="*/ 431740 w 3473628"/>
              <a:gd name="connsiteY28" fmla="*/ 2604372 h 2831071"/>
              <a:gd name="connsiteX29" fmla="*/ 455323 w 3473628"/>
              <a:gd name="connsiteY29" fmla="*/ 2623645 h 2831071"/>
              <a:gd name="connsiteX30" fmla="*/ 472006 w 3473628"/>
              <a:gd name="connsiteY30" fmla="*/ 2654005 h 2831071"/>
              <a:gd name="connsiteX31" fmla="*/ 483798 w 3473628"/>
              <a:gd name="connsiteY31" fmla="*/ 2705649 h 2831071"/>
              <a:gd name="connsiteX32" fmla="*/ 515029 w 3473628"/>
              <a:gd name="connsiteY32" fmla="*/ 2761707 h 2831071"/>
              <a:gd name="connsiteX33" fmla="*/ 593924 w 3473628"/>
              <a:gd name="connsiteY33" fmla="*/ 2781975 h 2831071"/>
              <a:gd name="connsiteX34" fmla="*/ 917921 w 3473628"/>
              <a:gd name="connsiteY34" fmla="*/ 2784234 h 2831071"/>
              <a:gd name="connsiteX35" fmla="*/ 1481859 w 3473628"/>
              <a:gd name="connsiteY35" fmla="*/ 2784234 h 2831071"/>
              <a:gd name="connsiteX36" fmla="*/ 1611175 w 3473628"/>
              <a:gd name="connsiteY36" fmla="*/ 2760402 h 2831071"/>
              <a:gd name="connsiteX37" fmla="*/ 1530415 w 3473628"/>
              <a:gd name="connsiteY37" fmla="*/ 2653819 h 2831071"/>
              <a:gd name="connsiteX38" fmla="*/ 1485506 w 3473628"/>
              <a:gd name="connsiteY38" fmla="*/ 2582508 h 2831071"/>
              <a:gd name="connsiteX39" fmla="*/ 1444639 w 3473628"/>
              <a:gd name="connsiteY39" fmla="*/ 2563380 h 2831071"/>
              <a:gd name="connsiteX40" fmla="*/ 1360914 w 3473628"/>
              <a:gd name="connsiteY40" fmla="*/ 2569701 h 2831071"/>
              <a:gd name="connsiteX41" fmla="*/ 1305374 w 3473628"/>
              <a:gd name="connsiteY41" fmla="*/ 2561204 h 2831071"/>
              <a:gd name="connsiteX42" fmla="*/ 1259906 w 3473628"/>
              <a:gd name="connsiteY42" fmla="*/ 2517187 h 2831071"/>
              <a:gd name="connsiteX43" fmla="*/ 1228551 w 3473628"/>
              <a:gd name="connsiteY43" fmla="*/ 2442519 h 2831071"/>
              <a:gd name="connsiteX44" fmla="*/ 1227121 w 3473628"/>
              <a:gd name="connsiteY44" fmla="*/ 2364680 h 2831071"/>
              <a:gd name="connsiteX45" fmla="*/ 1271139 w 3473628"/>
              <a:gd name="connsiteY45" fmla="*/ 2317491 h 2831071"/>
              <a:gd name="connsiteX46" fmla="*/ 1254021 w 3473628"/>
              <a:gd name="connsiteY46" fmla="*/ 2254201 h 2831071"/>
              <a:gd name="connsiteX47" fmla="*/ 1118217 w 3473628"/>
              <a:gd name="connsiteY47" fmla="*/ 2041429 h 2831071"/>
              <a:gd name="connsiteX48" fmla="*/ 1021105 w 3473628"/>
              <a:gd name="connsiteY48" fmla="*/ 1888363 h 2831071"/>
              <a:gd name="connsiteX49" fmla="*/ 969171 w 3473628"/>
              <a:gd name="connsiteY49" fmla="*/ 1865338 h 2831071"/>
              <a:gd name="connsiteX50" fmla="*/ 890048 w 3473628"/>
              <a:gd name="connsiteY50" fmla="*/ 1886477 h 2831071"/>
              <a:gd name="connsiteX51" fmla="*/ 773808 w 3473628"/>
              <a:gd name="connsiteY51" fmla="*/ 1916837 h 2831071"/>
              <a:gd name="connsiteX52" fmla="*/ 552974 w 3473628"/>
              <a:gd name="connsiteY52" fmla="*/ 1960565 h 2831071"/>
              <a:gd name="connsiteX53" fmla="*/ 460463 w 3473628"/>
              <a:gd name="connsiteY53" fmla="*/ 1968771 h 2831071"/>
              <a:gd name="connsiteX54" fmla="*/ 390251 w 3473628"/>
              <a:gd name="connsiteY54" fmla="*/ 1936110 h 2831071"/>
              <a:gd name="connsiteX55" fmla="*/ 237329 w 3473628"/>
              <a:gd name="connsiteY55" fmla="*/ 1817280 h 2831071"/>
              <a:gd name="connsiteX56" fmla="*/ 148859 w 3473628"/>
              <a:gd name="connsiteY56" fmla="*/ 1724478 h 2831071"/>
              <a:gd name="connsiteX57" fmla="*/ 135326 w 3473628"/>
              <a:gd name="connsiteY57" fmla="*/ 1660753 h 2831071"/>
              <a:gd name="connsiteX58" fmla="*/ 160361 w 3473628"/>
              <a:gd name="connsiteY58" fmla="*/ 1619326 h 2831071"/>
              <a:gd name="connsiteX59" fmla="*/ 206534 w 3473628"/>
              <a:gd name="connsiteY59" fmla="*/ 1610829 h 2831071"/>
              <a:gd name="connsiteX60" fmla="*/ 299894 w 3473628"/>
              <a:gd name="connsiteY60" fmla="*/ 1646370 h 2831071"/>
              <a:gd name="connsiteX61" fmla="*/ 372552 w 3473628"/>
              <a:gd name="connsiteY61" fmla="*/ 1668959 h 2831071"/>
              <a:gd name="connsiteX62" fmla="*/ 375723 w 3473628"/>
              <a:gd name="connsiteY62" fmla="*/ 1692688 h 2831071"/>
              <a:gd name="connsiteX63" fmla="*/ 313282 w 3473628"/>
              <a:gd name="connsiteY63" fmla="*/ 1712832 h 2831071"/>
              <a:gd name="connsiteX64" fmla="*/ 211134 w 3473628"/>
              <a:gd name="connsiteY64" fmla="*/ 1685787 h 2831071"/>
              <a:gd name="connsiteX65" fmla="*/ 161356 w 3473628"/>
              <a:gd name="connsiteY65" fmla="*/ 1648235 h 2831071"/>
              <a:gd name="connsiteX66" fmla="*/ 166391 w 3473628"/>
              <a:gd name="connsiteY66" fmla="*/ 1605586 h 2831071"/>
              <a:gd name="connsiteX67" fmla="*/ 200192 w 3473628"/>
              <a:gd name="connsiteY67" fmla="*/ 1577816 h 2831071"/>
              <a:gd name="connsiteX68" fmla="*/ 287232 w 3473628"/>
              <a:gd name="connsiteY68" fmla="*/ 1590830 h 2831071"/>
              <a:gd name="connsiteX69" fmla="*/ 369009 w 3473628"/>
              <a:gd name="connsiteY69" fmla="*/ 1618953 h 2831071"/>
              <a:gd name="connsiteX70" fmla="*/ 419927 w 3473628"/>
              <a:gd name="connsiteY70" fmla="*/ 1621046 h 2831071"/>
              <a:gd name="connsiteX71" fmla="*/ 508625 w 3473628"/>
              <a:gd name="connsiteY71" fmla="*/ 1559682 h 2831071"/>
              <a:gd name="connsiteX72" fmla="*/ 603872 w 3473628"/>
              <a:gd name="connsiteY72" fmla="*/ 1496164 h 2831071"/>
              <a:gd name="connsiteX73" fmla="*/ 672489 w 3473628"/>
              <a:gd name="connsiteY73" fmla="*/ 1469699 h 2831071"/>
              <a:gd name="connsiteX74" fmla="*/ 740318 w 3473628"/>
              <a:gd name="connsiteY74" fmla="*/ 1459835 h 2831071"/>
              <a:gd name="connsiteX75" fmla="*/ 810675 w 3473628"/>
              <a:gd name="connsiteY75" fmla="*/ 1421288 h 2831071"/>
              <a:gd name="connsiteX76" fmla="*/ 854631 w 3473628"/>
              <a:gd name="connsiteY76" fmla="*/ 1394969 h 2831071"/>
              <a:gd name="connsiteX77" fmla="*/ 862982 w 3473628"/>
              <a:gd name="connsiteY77" fmla="*/ 1380214 h 2831071"/>
              <a:gd name="connsiteX78" fmla="*/ 851688 w 3473628"/>
              <a:gd name="connsiteY78" fmla="*/ 1366412 h 2831071"/>
              <a:gd name="connsiteX79" fmla="*/ 827524 w 3473628"/>
              <a:gd name="connsiteY79" fmla="*/ 1363614 h 2831071"/>
              <a:gd name="connsiteX80" fmla="*/ 824291 w 3473628"/>
              <a:gd name="connsiteY80" fmla="*/ 1354910 h 2831071"/>
              <a:gd name="connsiteX81" fmla="*/ 846652 w 3473628"/>
              <a:gd name="connsiteY81" fmla="*/ 1340030 h 2831071"/>
              <a:gd name="connsiteX82" fmla="*/ 880308 w 3473628"/>
              <a:gd name="connsiteY82" fmla="*/ 1319161 h 2831071"/>
              <a:gd name="connsiteX83" fmla="*/ 897363 w 3473628"/>
              <a:gd name="connsiteY83" fmla="*/ 1302831 h 2831071"/>
              <a:gd name="connsiteX84" fmla="*/ 886794 w 3473628"/>
              <a:gd name="connsiteY84" fmla="*/ 1295930 h 2831071"/>
              <a:gd name="connsiteX85" fmla="*/ 844642 w 3473628"/>
              <a:gd name="connsiteY85" fmla="*/ 1306934 h 2831071"/>
              <a:gd name="connsiteX86" fmla="*/ 809536 w 3473628"/>
              <a:gd name="connsiteY86" fmla="*/ 1335347 h 2831071"/>
              <a:gd name="connsiteX87" fmla="*/ 787029 w 3473628"/>
              <a:gd name="connsiteY87" fmla="*/ 1349667 h 2831071"/>
              <a:gd name="connsiteX88" fmla="*/ 782139 w 3473628"/>
              <a:gd name="connsiteY88" fmla="*/ 1343346 h 2831071"/>
              <a:gd name="connsiteX89" fmla="*/ 804583 w 3473628"/>
              <a:gd name="connsiteY89" fmla="*/ 1325296 h 2831071"/>
              <a:gd name="connsiteX90" fmla="*/ 816810 w 3473628"/>
              <a:gd name="connsiteY90" fmla="*/ 1307743 h 2831071"/>
              <a:gd name="connsiteX91" fmla="*/ 811276 w 3473628"/>
              <a:gd name="connsiteY91" fmla="*/ 1290977 h 2831071"/>
              <a:gd name="connsiteX92" fmla="*/ 791713 w 3473628"/>
              <a:gd name="connsiteY92" fmla="*/ 1290832 h 2831071"/>
              <a:gd name="connsiteX93" fmla="*/ 761933 w 3473628"/>
              <a:gd name="connsiteY93" fmla="*/ 1313856 h 2831071"/>
              <a:gd name="connsiteX94" fmla="*/ 742515 w 3473628"/>
              <a:gd name="connsiteY94" fmla="*/ 1324218 h 2831071"/>
              <a:gd name="connsiteX95" fmla="*/ 739862 w 3473628"/>
              <a:gd name="connsiteY95" fmla="*/ 1318457 h 2831071"/>
              <a:gd name="connsiteX96" fmla="*/ 752296 w 3473628"/>
              <a:gd name="connsiteY96" fmla="*/ 1300406 h 2831071"/>
              <a:gd name="connsiteX97" fmla="*/ 772585 w 3473628"/>
              <a:gd name="connsiteY97" fmla="*/ 1280615 h 2831071"/>
              <a:gd name="connsiteX98" fmla="*/ 776108 w 3473628"/>
              <a:gd name="connsiteY98" fmla="*/ 1263994 h 2831071"/>
              <a:gd name="connsiteX99" fmla="*/ 761083 w 3473628"/>
              <a:gd name="connsiteY99" fmla="*/ 1258026 h 2831071"/>
              <a:gd name="connsiteX100" fmla="*/ 718869 w 3473628"/>
              <a:gd name="connsiteY100" fmla="*/ 1273051 h 2831071"/>
              <a:gd name="connsiteX101" fmla="*/ 639600 w 3473628"/>
              <a:gd name="connsiteY101" fmla="*/ 1331181 h 2831071"/>
              <a:gd name="connsiteX102" fmla="*/ 569678 w 3473628"/>
              <a:gd name="connsiteY102" fmla="*/ 1382100 h 2831071"/>
              <a:gd name="connsiteX103" fmla="*/ 456173 w 3473628"/>
              <a:gd name="connsiteY103" fmla="*/ 1442530 h 2831071"/>
              <a:gd name="connsiteX104" fmla="*/ 325406 w 3473628"/>
              <a:gd name="connsiteY104" fmla="*/ 1515188 h 2831071"/>
              <a:gd name="connsiteX105" fmla="*/ 239526 w 3473628"/>
              <a:gd name="connsiteY105" fmla="*/ 1551144 h 2831071"/>
              <a:gd name="connsiteX106" fmla="*/ 218388 w 3473628"/>
              <a:gd name="connsiteY106" fmla="*/ 1575453 h 2831071"/>
              <a:gd name="connsiteX107" fmla="*/ 272912 w 3473628"/>
              <a:gd name="connsiteY107" fmla="*/ 1602208 h 2831071"/>
              <a:gd name="connsiteX108" fmla="*/ 357797 w 3473628"/>
              <a:gd name="connsiteY108" fmla="*/ 1635863 h 2831071"/>
              <a:gd name="connsiteX109" fmla="*/ 403410 w 3473628"/>
              <a:gd name="connsiteY109" fmla="*/ 1653271 h 2831071"/>
              <a:gd name="connsiteX110" fmla="*/ 416073 w 3473628"/>
              <a:gd name="connsiteY110" fmla="*/ 1682036 h 2831071"/>
              <a:gd name="connsiteX111" fmla="*/ 440817 w 3473628"/>
              <a:gd name="connsiteY111" fmla="*/ 1705060 h 2831071"/>
              <a:gd name="connsiteX112" fmla="*/ 514469 w 3473628"/>
              <a:gd name="connsiteY112" fmla="*/ 1733680 h 2831071"/>
              <a:gd name="connsiteX113" fmla="*/ 651288 w 3473628"/>
              <a:gd name="connsiteY113" fmla="*/ 1765905 h 2831071"/>
              <a:gd name="connsiteX114" fmla="*/ 768109 w 3473628"/>
              <a:gd name="connsiteY114" fmla="*/ 1785179 h 2831071"/>
              <a:gd name="connsiteX115" fmla="*/ 837306 w 3473628"/>
              <a:gd name="connsiteY115" fmla="*/ 1824740 h 2831071"/>
              <a:gd name="connsiteX116" fmla="*/ 840621 w 3473628"/>
              <a:gd name="connsiteY116" fmla="*/ 1854666 h 2831071"/>
              <a:gd name="connsiteX117" fmla="*/ 790843 w 3473628"/>
              <a:gd name="connsiteY117" fmla="*/ 1883430 h 2831071"/>
              <a:gd name="connsiteX118" fmla="*/ 713874 w 3473628"/>
              <a:gd name="connsiteY118" fmla="*/ 1902413 h 2831071"/>
              <a:gd name="connsiteX119" fmla="*/ 703367 w 3473628"/>
              <a:gd name="connsiteY119" fmla="*/ 1887741 h 2831071"/>
              <a:gd name="connsiteX120" fmla="*/ 735158 w 3473628"/>
              <a:gd name="connsiteY120" fmla="*/ 1840843 h 2831071"/>
              <a:gd name="connsiteX121" fmla="*/ 785662 w 3473628"/>
              <a:gd name="connsiteY121" fmla="*/ 1808037 h 2831071"/>
              <a:gd name="connsiteX122" fmla="*/ 864640 w 3473628"/>
              <a:gd name="connsiteY122" fmla="*/ 1809757 h 2831071"/>
              <a:gd name="connsiteX123" fmla="*/ 904637 w 3473628"/>
              <a:gd name="connsiteY123" fmla="*/ 1789468 h 2831071"/>
              <a:gd name="connsiteX124" fmla="*/ 916284 w 3473628"/>
              <a:gd name="connsiteY124" fmla="*/ 1745161 h 2831071"/>
              <a:gd name="connsiteX125" fmla="*/ 912119 w 3473628"/>
              <a:gd name="connsiteY125" fmla="*/ 1675238 h 2831071"/>
              <a:gd name="connsiteX126" fmla="*/ 918025 w 3473628"/>
              <a:gd name="connsiteY126" fmla="*/ 1647904 h 2831071"/>
              <a:gd name="connsiteX127" fmla="*/ 946230 w 3473628"/>
              <a:gd name="connsiteY127" fmla="*/ 1644588 h 2831071"/>
              <a:gd name="connsiteX128" fmla="*/ 993128 w 3473628"/>
              <a:gd name="connsiteY128" fmla="*/ 1664587 h 2831071"/>
              <a:gd name="connsiteX129" fmla="*/ 1043632 w 3473628"/>
              <a:gd name="connsiteY129" fmla="*/ 1685455 h 2831071"/>
              <a:gd name="connsiteX130" fmla="*/ 1091110 w 3473628"/>
              <a:gd name="connsiteY130" fmla="*/ 1667032 h 2831071"/>
              <a:gd name="connsiteX131" fmla="*/ 1113844 w 3473628"/>
              <a:gd name="connsiteY131" fmla="*/ 1609046 h 2831071"/>
              <a:gd name="connsiteX132" fmla="*/ 1137573 w 3473628"/>
              <a:gd name="connsiteY132" fmla="*/ 1536244 h 2831071"/>
              <a:gd name="connsiteX133" fmla="*/ 1175270 w 3473628"/>
              <a:gd name="connsiteY133" fmla="*/ 1484165 h 2831071"/>
              <a:gd name="connsiteX134" fmla="*/ 1215847 w 3473628"/>
              <a:gd name="connsiteY134" fmla="*/ 1437702 h 2831071"/>
              <a:gd name="connsiteX135" fmla="*/ 1213837 w 3473628"/>
              <a:gd name="connsiteY135" fmla="*/ 1405911 h 2831071"/>
              <a:gd name="connsiteX136" fmla="*/ 1160743 w 3473628"/>
              <a:gd name="connsiteY136" fmla="*/ 1359449 h 2831071"/>
              <a:gd name="connsiteX137" fmla="*/ 1072273 w 3473628"/>
              <a:gd name="connsiteY137" fmla="*/ 1326207 h 2831071"/>
              <a:gd name="connsiteX138" fmla="*/ 969420 w 3473628"/>
              <a:gd name="connsiteY138" fmla="*/ 1337709 h 2831071"/>
              <a:gd name="connsiteX139" fmla="*/ 912160 w 3473628"/>
              <a:gd name="connsiteY139" fmla="*/ 1380152 h 2831071"/>
              <a:gd name="connsiteX140" fmla="*/ 896327 w 3473628"/>
              <a:gd name="connsiteY140" fmla="*/ 1448333 h 2831071"/>
              <a:gd name="connsiteX141" fmla="*/ 877489 w 3473628"/>
              <a:gd name="connsiteY141" fmla="*/ 1512784 h 2831071"/>
              <a:gd name="connsiteX142" fmla="*/ 860806 w 3473628"/>
              <a:gd name="connsiteY142" fmla="*/ 1564138 h 2831071"/>
              <a:gd name="connsiteX143" fmla="*/ 859936 w 3473628"/>
              <a:gd name="connsiteY143" fmla="*/ 1636216 h 2831071"/>
              <a:gd name="connsiteX144" fmla="*/ 882670 w 3473628"/>
              <a:gd name="connsiteY144" fmla="*/ 1693040 h 2831071"/>
              <a:gd name="connsiteX145" fmla="*/ 939930 w 3473628"/>
              <a:gd name="connsiteY145" fmla="*/ 1728001 h 2831071"/>
              <a:gd name="connsiteX146" fmla="*/ 1032856 w 3473628"/>
              <a:gd name="connsiteY146" fmla="*/ 1733618 h 2831071"/>
              <a:gd name="connsiteX147" fmla="*/ 1121326 w 3473628"/>
              <a:gd name="connsiteY147" fmla="*/ 1688440 h 2831071"/>
              <a:gd name="connsiteX148" fmla="*/ 1171830 w 3473628"/>
              <a:gd name="connsiteY148" fmla="*/ 1627304 h 2831071"/>
              <a:gd name="connsiteX149" fmla="*/ 1192263 w 3473628"/>
              <a:gd name="connsiteY149" fmla="*/ 1592343 h 2831071"/>
              <a:gd name="connsiteX150" fmla="*/ 1215433 w 3473628"/>
              <a:gd name="connsiteY150" fmla="*/ 1590478 h 2831071"/>
              <a:gd name="connsiteX151" fmla="*/ 1223059 w 3473628"/>
              <a:gd name="connsiteY151" fmla="*/ 1624569 h 2831071"/>
              <a:gd name="connsiteX152" fmla="*/ 1193569 w 3473628"/>
              <a:gd name="connsiteY152" fmla="*/ 1655219 h 2831071"/>
              <a:gd name="connsiteX153" fmla="*/ 1160328 w 3473628"/>
              <a:gd name="connsiteY153" fmla="*/ 1650909 h 2831071"/>
              <a:gd name="connsiteX154" fmla="*/ 1152121 w 3473628"/>
              <a:gd name="connsiteY154" fmla="*/ 1619844 h 2831071"/>
              <a:gd name="connsiteX155" fmla="*/ 1169239 w 3473628"/>
              <a:gd name="connsiteY155" fmla="*/ 1577836 h 2831071"/>
              <a:gd name="connsiteX156" fmla="*/ 1208511 w 3473628"/>
              <a:gd name="connsiteY156" fmla="*/ 1555683 h 2831071"/>
              <a:gd name="connsiteX157" fmla="*/ 1223039 w 3473628"/>
              <a:gd name="connsiteY157" fmla="*/ 1534814 h 2831071"/>
              <a:gd name="connsiteX158" fmla="*/ 1221173 w 3473628"/>
              <a:gd name="connsiteY158" fmla="*/ 1493822 h 2831071"/>
              <a:gd name="connsiteX159" fmla="*/ 1192263 w 3473628"/>
              <a:gd name="connsiteY159" fmla="*/ 1435837 h 2831071"/>
              <a:gd name="connsiteX160" fmla="*/ 1126527 w 3473628"/>
              <a:gd name="connsiteY160" fmla="*/ 1373105 h 2831071"/>
              <a:gd name="connsiteX161" fmla="*/ 1015178 w 3473628"/>
              <a:gd name="connsiteY161" fmla="*/ 1361604 h 2831071"/>
              <a:gd name="connsiteX162" fmla="*/ 929299 w 3473628"/>
              <a:gd name="connsiteY162" fmla="*/ 1399591 h 2831071"/>
              <a:gd name="connsiteX163" fmla="*/ 891312 w 3473628"/>
              <a:gd name="connsiteY163" fmla="*/ 1413683 h 2831071"/>
              <a:gd name="connsiteX164" fmla="*/ 880805 w 3473628"/>
              <a:gd name="connsiteY164" fmla="*/ 1385623 h 2831071"/>
              <a:gd name="connsiteX165" fmla="*/ 887271 w 3473628"/>
              <a:gd name="connsiteY165" fmla="*/ 1343035 h 2831071"/>
              <a:gd name="connsiteX166" fmla="*/ 919351 w 3473628"/>
              <a:gd name="connsiteY166" fmla="*/ 1314270 h 2831071"/>
              <a:gd name="connsiteX167" fmla="*/ 976031 w 3473628"/>
              <a:gd name="connsiteY167" fmla="*/ 1293402 h 2831071"/>
              <a:gd name="connsiteX168" fmla="*/ 1018183 w 3473628"/>
              <a:gd name="connsiteY168" fmla="*/ 1281900 h 2831071"/>
              <a:gd name="connsiteX169" fmla="*/ 1050844 w 3473628"/>
              <a:gd name="connsiteY169" fmla="*/ 1268947 h 2831071"/>
              <a:gd name="connsiteX170" fmla="*/ 1109244 w 3473628"/>
              <a:gd name="connsiteY170" fmla="*/ 1272118 h 2831071"/>
              <a:gd name="connsiteX171" fmla="*/ 1183622 w 3473628"/>
              <a:gd name="connsiteY171" fmla="*/ 1306209 h 2831071"/>
              <a:gd name="connsiteX172" fmla="*/ 1247202 w 3473628"/>
              <a:gd name="connsiteY172" fmla="*/ 1382017 h 2831071"/>
              <a:gd name="connsiteX173" fmla="*/ 1276983 w 3473628"/>
              <a:gd name="connsiteY173" fmla="*/ 1470777 h 2831071"/>
              <a:gd name="connsiteX174" fmla="*/ 1290785 w 3473628"/>
              <a:gd name="connsiteY174" fmla="*/ 1538959 h 2831071"/>
              <a:gd name="connsiteX175" fmla="*/ 1286184 w 3473628"/>
              <a:gd name="connsiteY175" fmla="*/ 1598664 h 2831071"/>
              <a:gd name="connsiteX176" fmla="*/ 1251223 w 3473628"/>
              <a:gd name="connsiteY176" fmla="*/ 1657789 h 2831071"/>
              <a:gd name="connsiteX177" fmla="*/ 1190792 w 3473628"/>
              <a:gd name="connsiteY177" fmla="*/ 1692460 h 2831071"/>
              <a:gd name="connsiteX178" fmla="*/ 1155396 w 3473628"/>
              <a:gd name="connsiteY178" fmla="*/ 1717349 h 2831071"/>
              <a:gd name="connsiteX179" fmla="*/ 1128786 w 3473628"/>
              <a:gd name="connsiteY179" fmla="*/ 1768848 h 2831071"/>
              <a:gd name="connsiteX180" fmla="*/ 1124766 w 3473628"/>
              <a:gd name="connsiteY180" fmla="*/ 1813156 h 2831071"/>
              <a:gd name="connsiteX181" fmla="*/ 1143459 w 3473628"/>
              <a:gd name="connsiteY181" fmla="*/ 1838045 h 2831071"/>
              <a:gd name="connsiteX182" fmla="*/ 1176700 w 3473628"/>
              <a:gd name="connsiteY182" fmla="*/ 1874581 h 2831071"/>
              <a:gd name="connsiteX183" fmla="*/ 1211951 w 3473628"/>
              <a:gd name="connsiteY183" fmla="*/ 1930971 h 2831071"/>
              <a:gd name="connsiteX184" fmla="*/ 1269791 w 3473628"/>
              <a:gd name="connsiteY184" fmla="*/ 1970678 h 2831071"/>
              <a:gd name="connsiteX185" fmla="*/ 1289790 w 3473628"/>
              <a:gd name="connsiteY185" fmla="*/ 2016996 h 2831071"/>
              <a:gd name="connsiteX186" fmla="*/ 1236696 w 3473628"/>
              <a:gd name="connsiteY186" fmla="*/ 2105031 h 2831071"/>
              <a:gd name="connsiteX187" fmla="*/ 1189362 w 3473628"/>
              <a:gd name="connsiteY187" fmla="*/ 2099269 h 2831071"/>
              <a:gd name="connsiteX188" fmla="*/ 1126921 w 3473628"/>
              <a:gd name="connsiteY188" fmla="*/ 1994386 h 2831071"/>
              <a:gd name="connsiteX189" fmla="*/ 1124621 w 3473628"/>
              <a:gd name="connsiteY189" fmla="*/ 1948773 h 2831071"/>
              <a:gd name="connsiteX190" fmla="*/ 1178855 w 3473628"/>
              <a:gd name="connsiteY190" fmla="*/ 1910226 h 2831071"/>
              <a:gd name="connsiteX191" fmla="*/ 1235245 w 3473628"/>
              <a:gd name="connsiteY191" fmla="*/ 1918288 h 2831071"/>
              <a:gd name="connsiteX192" fmla="*/ 1332792 w 3473628"/>
              <a:gd name="connsiteY192" fmla="*/ 1988065 h 2831071"/>
              <a:gd name="connsiteX193" fmla="*/ 1387316 w 3473628"/>
              <a:gd name="connsiteY193" fmla="*/ 2070650 h 2831071"/>
              <a:gd name="connsiteX194" fmla="*/ 1383710 w 3473628"/>
              <a:gd name="connsiteY194" fmla="*/ 2126190 h 2831071"/>
              <a:gd name="connsiteX195" fmla="*/ 1348459 w 3473628"/>
              <a:gd name="connsiteY195" fmla="*/ 2203448 h 2831071"/>
              <a:gd name="connsiteX196" fmla="*/ 1311923 w 3473628"/>
              <a:gd name="connsiteY196" fmla="*/ 2248771 h 2831071"/>
              <a:gd name="connsiteX197" fmla="*/ 1270786 w 3473628"/>
              <a:gd name="connsiteY197" fmla="*/ 2226907 h 2831071"/>
              <a:gd name="connsiteX198" fmla="*/ 1256694 w 3473628"/>
              <a:gd name="connsiteY198" fmla="*/ 2197417 h 2831071"/>
              <a:gd name="connsiteX199" fmla="*/ 1262745 w 3473628"/>
              <a:gd name="connsiteY199" fmla="*/ 2172093 h 2831071"/>
              <a:gd name="connsiteX200" fmla="*/ 1299427 w 3473628"/>
              <a:gd name="connsiteY200" fmla="*/ 2127640 h 2831071"/>
              <a:gd name="connsiteX201" fmla="*/ 1357826 w 3473628"/>
              <a:gd name="connsiteY201" fmla="*/ 2086068 h 2831071"/>
              <a:gd name="connsiteX202" fmla="*/ 1403999 w 3473628"/>
              <a:gd name="connsiteY202" fmla="*/ 2048372 h 2831071"/>
              <a:gd name="connsiteX203" fmla="*/ 1428453 w 3473628"/>
              <a:gd name="connsiteY203" fmla="*/ 2028228 h 2831071"/>
              <a:gd name="connsiteX204" fmla="*/ 1435644 w 3473628"/>
              <a:gd name="connsiteY204" fmla="*/ 2043481 h 2831071"/>
              <a:gd name="connsiteX205" fmla="*/ 1439375 w 3473628"/>
              <a:gd name="connsiteY205" fmla="*/ 2107062 h 2831071"/>
              <a:gd name="connsiteX206" fmla="*/ 1432039 w 3473628"/>
              <a:gd name="connsiteY206" fmla="*/ 2164902 h 2831071"/>
              <a:gd name="connsiteX207" fmla="*/ 1405864 w 3473628"/>
              <a:gd name="connsiteY207" fmla="*/ 2266469 h 2831071"/>
              <a:gd name="connsiteX208" fmla="*/ 1412765 w 3473628"/>
              <a:gd name="connsiteY208" fmla="*/ 2328330 h 2831071"/>
              <a:gd name="connsiteX209" fmla="*/ 1440245 w 3473628"/>
              <a:gd name="connsiteY209" fmla="*/ 2353074 h 2831071"/>
              <a:gd name="connsiteX210" fmla="*/ 1475932 w 3473628"/>
              <a:gd name="connsiteY210" fmla="*/ 2367457 h 2831071"/>
              <a:gd name="connsiteX211" fmla="*/ 1511038 w 3473628"/>
              <a:gd name="connsiteY211" fmla="*/ 2382710 h 2831071"/>
              <a:gd name="connsiteX212" fmla="*/ 1536217 w 3473628"/>
              <a:gd name="connsiteY212" fmla="*/ 2415225 h 2831071"/>
              <a:gd name="connsiteX213" fmla="*/ 1543408 w 3473628"/>
              <a:gd name="connsiteY213" fmla="*/ 2463843 h 2831071"/>
              <a:gd name="connsiteX214" fmla="*/ 1512758 w 3473628"/>
              <a:gd name="connsiteY214" fmla="*/ 2507156 h 2831071"/>
              <a:gd name="connsiteX215" fmla="*/ 1467083 w 3473628"/>
              <a:gd name="connsiteY215" fmla="*/ 2522844 h 2831071"/>
              <a:gd name="connsiteX216" fmla="*/ 1422195 w 3473628"/>
              <a:gd name="connsiteY216" fmla="*/ 2523860 h 2831071"/>
              <a:gd name="connsiteX217" fmla="*/ 1366738 w 3473628"/>
              <a:gd name="connsiteY217" fmla="*/ 2540832 h 2831071"/>
              <a:gd name="connsiteX218" fmla="*/ 1320420 w 3473628"/>
              <a:gd name="connsiteY218" fmla="*/ 2536667 h 2831071"/>
              <a:gd name="connsiteX219" fmla="*/ 1321788 w 3473628"/>
              <a:gd name="connsiteY219" fmla="*/ 2519549 h 2831071"/>
              <a:gd name="connsiteX220" fmla="*/ 1369846 w 3473628"/>
              <a:gd name="connsiteY220" fmla="*/ 2497893 h 2831071"/>
              <a:gd name="connsiteX221" fmla="*/ 1396891 w 3473628"/>
              <a:gd name="connsiteY221" fmla="*/ 2480277 h 2831071"/>
              <a:gd name="connsiteX222" fmla="*/ 1381286 w 3473628"/>
              <a:gd name="connsiteY222" fmla="*/ 2474102 h 2831071"/>
              <a:gd name="connsiteX223" fmla="*/ 1307986 w 3473628"/>
              <a:gd name="connsiteY223" fmla="*/ 2503094 h 2831071"/>
              <a:gd name="connsiteX224" fmla="*/ 1275760 w 3473628"/>
              <a:gd name="connsiteY224" fmla="*/ 2503820 h 2831071"/>
              <a:gd name="connsiteX225" fmla="*/ 1277190 w 3473628"/>
              <a:gd name="connsiteY225" fmla="*/ 2490515 h 2831071"/>
              <a:gd name="connsiteX226" fmla="*/ 1302287 w 3473628"/>
              <a:gd name="connsiteY226" fmla="*/ 2478495 h 2831071"/>
              <a:gd name="connsiteX227" fmla="*/ 1350407 w 3473628"/>
              <a:gd name="connsiteY227" fmla="*/ 2445109 h 2831071"/>
              <a:gd name="connsiteX228" fmla="*/ 1346946 w 3473628"/>
              <a:gd name="connsiteY228" fmla="*/ 2435120 h 2831071"/>
              <a:gd name="connsiteX229" fmla="*/ 1292774 w 3473628"/>
              <a:gd name="connsiteY229" fmla="*/ 2461812 h 2831071"/>
              <a:gd name="connsiteX230" fmla="*/ 1261834 w 3473628"/>
              <a:gd name="connsiteY230" fmla="*/ 2459719 h 2831071"/>
              <a:gd name="connsiteX231" fmla="*/ 1265149 w 3473628"/>
              <a:gd name="connsiteY231" fmla="*/ 2438933 h 2831071"/>
              <a:gd name="connsiteX232" fmla="*/ 1303053 w 3473628"/>
              <a:gd name="connsiteY232" fmla="*/ 2411308 h 2831071"/>
              <a:gd name="connsiteX233" fmla="*/ 1318513 w 3473628"/>
              <a:gd name="connsiteY233" fmla="*/ 2393175 h 2831071"/>
              <a:gd name="connsiteX234" fmla="*/ 1306783 w 3473628"/>
              <a:gd name="connsiteY234" fmla="*/ 2385984 h 2831071"/>
              <a:gd name="connsiteX235" fmla="*/ 1268590 w 3473628"/>
              <a:gd name="connsiteY235" fmla="*/ 2403392 h 2831071"/>
              <a:gd name="connsiteX236" fmla="*/ 1243410 w 3473628"/>
              <a:gd name="connsiteY236" fmla="*/ 2405257 h 2831071"/>
              <a:gd name="connsiteX237" fmla="*/ 1242685 w 3473628"/>
              <a:gd name="connsiteY237" fmla="*/ 2382461 h 2831071"/>
              <a:gd name="connsiteX238" fmla="*/ 1284402 w 3473628"/>
              <a:gd name="connsiteY238" fmla="*/ 2341469 h 2831071"/>
              <a:gd name="connsiteX239" fmla="*/ 1360935 w 3473628"/>
              <a:gd name="connsiteY239" fmla="*/ 2306218 h 2831071"/>
              <a:gd name="connsiteX240" fmla="*/ 1411004 w 3473628"/>
              <a:gd name="connsiteY240" fmla="*/ 2303047 h 2831071"/>
              <a:gd name="connsiteX241" fmla="*/ 1438484 w 3473628"/>
              <a:gd name="connsiteY241" fmla="*/ 2295131 h 2831071"/>
              <a:gd name="connsiteX242" fmla="*/ 1468409 w 3473628"/>
              <a:gd name="connsiteY242" fmla="*/ 2243777 h 2831071"/>
              <a:gd name="connsiteX243" fmla="*/ 1532570 w 3473628"/>
              <a:gd name="connsiteY243" fmla="*/ 2156301 h 2831071"/>
              <a:gd name="connsiteX244" fmla="*/ 1610761 w 3473628"/>
              <a:gd name="connsiteY244" fmla="*/ 2074152 h 2831071"/>
              <a:gd name="connsiteX245" fmla="*/ 1628957 w 3473628"/>
              <a:gd name="connsiteY245" fmla="*/ 2041864 h 2831071"/>
              <a:gd name="connsiteX246" fmla="*/ 1628604 w 3473628"/>
              <a:gd name="connsiteY246" fmla="*/ 2021078 h 2831071"/>
              <a:gd name="connsiteX247" fmla="*/ 1642841 w 3473628"/>
              <a:gd name="connsiteY247" fmla="*/ 2001308 h 2831071"/>
              <a:gd name="connsiteX248" fmla="*/ 1697863 w 3473628"/>
              <a:gd name="connsiteY248" fmla="*/ 1963611 h 2831071"/>
              <a:gd name="connsiteX249" fmla="*/ 1768718 w 3473628"/>
              <a:gd name="connsiteY249" fmla="*/ 1914703 h 2831071"/>
              <a:gd name="connsiteX250" fmla="*/ 1816549 w 3473628"/>
              <a:gd name="connsiteY250" fmla="*/ 1881109 h 2831071"/>
              <a:gd name="connsiteX251" fmla="*/ 1846039 w 3473628"/>
              <a:gd name="connsiteY251" fmla="*/ 1836221 h 2831071"/>
              <a:gd name="connsiteX252" fmla="*/ 1863882 w 3473628"/>
              <a:gd name="connsiteY252" fmla="*/ 1739400 h 2831071"/>
              <a:gd name="connsiteX253" fmla="*/ 1862162 w 3473628"/>
              <a:gd name="connsiteY253" fmla="*/ 1654225 h 2831071"/>
              <a:gd name="connsiteX254" fmla="*/ 1849355 w 3473628"/>
              <a:gd name="connsiteY254" fmla="*/ 1586312 h 2831071"/>
              <a:gd name="connsiteX255" fmla="*/ 1804322 w 3473628"/>
              <a:gd name="connsiteY255" fmla="*/ 1511499 h 2831071"/>
              <a:gd name="connsiteX256" fmla="*/ 1748512 w 3473628"/>
              <a:gd name="connsiteY256" fmla="*/ 1463296 h 2831071"/>
              <a:gd name="connsiteX257" fmla="*/ 1688662 w 3473628"/>
              <a:gd name="connsiteY257" fmla="*/ 1445017 h 2831071"/>
              <a:gd name="connsiteX258" fmla="*/ 1629682 w 3473628"/>
              <a:gd name="connsiteY258" fmla="*/ 1434655 h 2831071"/>
              <a:gd name="connsiteX259" fmla="*/ 1565521 w 3473628"/>
              <a:gd name="connsiteY259" fmla="*/ 1420708 h 2831071"/>
              <a:gd name="connsiteX260" fmla="*/ 1482377 w 3473628"/>
              <a:gd name="connsiteY260" fmla="*/ 1428044 h 2831071"/>
              <a:gd name="connsiteX261" fmla="*/ 1425117 w 3473628"/>
              <a:gd name="connsiteY261" fmla="*/ 1469036 h 2831071"/>
              <a:gd name="connsiteX262" fmla="*/ 1416910 w 3473628"/>
              <a:gd name="connsiteY262" fmla="*/ 1533923 h 2831071"/>
              <a:gd name="connsiteX263" fmla="*/ 1436618 w 3473628"/>
              <a:gd name="connsiteY263" fmla="*/ 1580240 h 2831071"/>
              <a:gd name="connsiteX264" fmla="*/ 1448265 w 3473628"/>
              <a:gd name="connsiteY264" fmla="*/ 1638081 h 2831071"/>
              <a:gd name="connsiteX265" fmla="*/ 1432577 w 3473628"/>
              <a:gd name="connsiteY265" fmla="*/ 1733037 h 2831071"/>
              <a:gd name="connsiteX266" fmla="*/ 1436598 w 3473628"/>
              <a:gd name="connsiteY266" fmla="*/ 1799063 h 2831071"/>
              <a:gd name="connsiteX267" fmla="*/ 1493568 w 3473628"/>
              <a:gd name="connsiteY267" fmla="*/ 1841216 h 2831071"/>
              <a:gd name="connsiteX268" fmla="*/ 1619299 w 3473628"/>
              <a:gd name="connsiteY268" fmla="*/ 1854168 h 2831071"/>
              <a:gd name="connsiteX269" fmla="*/ 1704039 w 3473628"/>
              <a:gd name="connsiteY269" fmla="*/ 1837050 h 2831071"/>
              <a:gd name="connsiteX270" fmla="*/ 1739290 w 3473628"/>
              <a:gd name="connsiteY270" fmla="*/ 1788577 h 2831071"/>
              <a:gd name="connsiteX271" fmla="*/ 1754108 w 3473628"/>
              <a:gd name="connsiteY271" fmla="*/ 1758507 h 2831071"/>
              <a:gd name="connsiteX272" fmla="*/ 1769071 w 3473628"/>
              <a:gd name="connsiteY272" fmla="*/ 1758507 h 2831071"/>
              <a:gd name="connsiteX273" fmla="*/ 1773526 w 3473628"/>
              <a:gd name="connsiteY273" fmla="*/ 1787562 h 2831071"/>
              <a:gd name="connsiteX274" fmla="*/ 1747621 w 3473628"/>
              <a:gd name="connsiteY274" fmla="*/ 1819497 h 2831071"/>
              <a:gd name="connsiteX275" fmla="*/ 1719271 w 3473628"/>
              <a:gd name="connsiteY275" fmla="*/ 1806110 h 2831071"/>
              <a:gd name="connsiteX276" fmla="*/ 1727478 w 3473628"/>
              <a:gd name="connsiteY276" fmla="*/ 1762092 h 2831071"/>
              <a:gd name="connsiteX277" fmla="*/ 1757258 w 3473628"/>
              <a:gd name="connsiteY277" fmla="*/ 1731297 h 2831071"/>
              <a:gd name="connsiteX278" fmla="*/ 1781857 w 3473628"/>
              <a:gd name="connsiteY278" fmla="*/ 1696626 h 2831071"/>
              <a:gd name="connsiteX279" fmla="*/ 1759123 w 3473628"/>
              <a:gd name="connsiteY279" fmla="*/ 1625563 h 2831071"/>
              <a:gd name="connsiteX280" fmla="*/ 1710650 w 3473628"/>
              <a:gd name="connsiteY280" fmla="*/ 1549175 h 2831071"/>
              <a:gd name="connsiteX281" fmla="*/ 1628065 w 3473628"/>
              <a:gd name="connsiteY281" fmla="*/ 1512349 h 2831071"/>
              <a:gd name="connsiteX282" fmla="*/ 1535989 w 3473628"/>
              <a:gd name="connsiteY282" fmla="*/ 1521260 h 2831071"/>
              <a:gd name="connsiteX283" fmla="*/ 1469528 w 3473628"/>
              <a:gd name="connsiteY283" fmla="*/ 1574624 h 2831071"/>
              <a:gd name="connsiteX284" fmla="*/ 1448100 w 3473628"/>
              <a:gd name="connsiteY284" fmla="*/ 1608280 h 2831071"/>
              <a:gd name="connsiteX285" fmla="*/ 1425946 w 3473628"/>
              <a:gd name="connsiteY285" fmla="*/ 1663384 h 2831071"/>
              <a:gd name="connsiteX286" fmla="*/ 1406527 w 3473628"/>
              <a:gd name="connsiteY286" fmla="*/ 1760351 h 2831071"/>
              <a:gd name="connsiteX287" fmla="*/ 1422215 w 3473628"/>
              <a:gd name="connsiteY287" fmla="*/ 1829693 h 2831071"/>
              <a:gd name="connsiteX288" fmla="*/ 1452866 w 3473628"/>
              <a:gd name="connsiteY288" fmla="*/ 1880115 h 2831071"/>
              <a:gd name="connsiteX289" fmla="*/ 1472139 w 3473628"/>
              <a:gd name="connsiteY289" fmla="*/ 1939737 h 2831071"/>
              <a:gd name="connsiteX290" fmla="*/ 1476885 w 3473628"/>
              <a:gd name="connsiteY290" fmla="*/ 1996769 h 2831071"/>
              <a:gd name="connsiteX291" fmla="*/ 1459332 w 3473628"/>
              <a:gd name="connsiteY291" fmla="*/ 2060205 h 2831071"/>
              <a:gd name="connsiteX292" fmla="*/ 1462212 w 3473628"/>
              <a:gd name="connsiteY292" fmla="*/ 2092430 h 2831071"/>
              <a:gd name="connsiteX293" fmla="*/ 1501339 w 3473628"/>
              <a:gd name="connsiteY293" fmla="*/ 2073157 h 2831071"/>
              <a:gd name="connsiteX294" fmla="*/ 1597083 w 3473628"/>
              <a:gd name="connsiteY294" fmla="*/ 2002592 h 2831071"/>
              <a:gd name="connsiteX295" fmla="*/ 1667586 w 3473628"/>
              <a:gd name="connsiteY295" fmla="*/ 1957705 h 2831071"/>
              <a:gd name="connsiteX296" fmla="*/ 1726856 w 3473628"/>
              <a:gd name="connsiteY296" fmla="*/ 1927987 h 2831071"/>
              <a:gd name="connsiteX297" fmla="*/ 1753258 w 3473628"/>
              <a:gd name="connsiteY297" fmla="*/ 1933520 h 2831071"/>
              <a:gd name="connsiteX298" fmla="*/ 1781816 w 3473628"/>
              <a:gd name="connsiteY298" fmla="*/ 1986034 h 2831071"/>
              <a:gd name="connsiteX299" fmla="*/ 1823616 w 3473628"/>
              <a:gd name="connsiteY299" fmla="*/ 2024809 h 2831071"/>
              <a:gd name="connsiteX300" fmla="*/ 1853044 w 3473628"/>
              <a:gd name="connsiteY300" fmla="*/ 2039129 h 2831071"/>
              <a:gd name="connsiteX301" fmla="*/ 1845417 w 3473628"/>
              <a:gd name="connsiteY301" fmla="*/ 2056392 h 2831071"/>
              <a:gd name="connsiteX302" fmla="*/ 1802685 w 3473628"/>
              <a:gd name="connsiteY302" fmla="*/ 2090420 h 2831071"/>
              <a:gd name="connsiteX303" fmla="*/ 1764283 w 3473628"/>
              <a:gd name="connsiteY303" fmla="*/ 2152281 h 2831071"/>
              <a:gd name="connsiteX304" fmla="*/ 1702132 w 3473628"/>
              <a:gd name="connsiteY304" fmla="*/ 2291753 h 2831071"/>
              <a:gd name="connsiteX305" fmla="*/ 1672207 w 3473628"/>
              <a:gd name="connsiteY305" fmla="*/ 2356639 h 2831071"/>
              <a:gd name="connsiteX306" fmla="*/ 1654654 w 3473628"/>
              <a:gd name="connsiteY306" fmla="*/ 2363043 h 2831071"/>
              <a:gd name="connsiteX307" fmla="*/ 1613082 w 3473628"/>
              <a:gd name="connsiteY307" fmla="*/ 2345054 h 2831071"/>
              <a:gd name="connsiteX308" fmla="*/ 1559925 w 3473628"/>
              <a:gd name="connsiteY308" fmla="*/ 2330174 h 2831071"/>
              <a:gd name="connsiteX309" fmla="*/ 1518498 w 3473628"/>
              <a:gd name="connsiteY309" fmla="*/ 2333345 h 2831071"/>
              <a:gd name="connsiteX310" fmla="*/ 1485112 w 3473628"/>
              <a:gd name="connsiteY310" fmla="*/ 2345075 h 2831071"/>
              <a:gd name="connsiteX311" fmla="*/ 1462813 w 3473628"/>
              <a:gd name="connsiteY311" fmla="*/ 2341759 h 2831071"/>
              <a:gd name="connsiteX312" fmla="*/ 1462523 w 3473628"/>
              <a:gd name="connsiteY312" fmla="*/ 2316435 h 2831071"/>
              <a:gd name="connsiteX313" fmla="*/ 1514022 w 3473628"/>
              <a:gd name="connsiteY313" fmla="*/ 2230907 h 2831071"/>
              <a:gd name="connsiteX314" fmla="*/ 1633868 w 3473628"/>
              <a:gd name="connsiteY314" fmla="*/ 2086462 h 2831071"/>
              <a:gd name="connsiteX315" fmla="*/ 1761050 w 3473628"/>
              <a:gd name="connsiteY315" fmla="*/ 2009494 h 2831071"/>
              <a:gd name="connsiteX316" fmla="*/ 1835718 w 3473628"/>
              <a:gd name="connsiteY316" fmla="*/ 2007773 h 2831071"/>
              <a:gd name="connsiteX317" fmla="*/ 1915422 w 3473628"/>
              <a:gd name="connsiteY317" fmla="*/ 2040579 h 2831071"/>
              <a:gd name="connsiteX318" fmla="*/ 1956414 w 3473628"/>
              <a:gd name="connsiteY318" fmla="*/ 2094378 h 2831071"/>
              <a:gd name="connsiteX319" fmla="*/ 1981593 w 3473628"/>
              <a:gd name="connsiteY319" fmla="*/ 2161420 h 2831071"/>
              <a:gd name="connsiteX320" fmla="*/ 1998421 w 3473628"/>
              <a:gd name="connsiteY320" fmla="*/ 2191781 h 2831071"/>
              <a:gd name="connsiteX321" fmla="*/ 2004473 w 3473628"/>
              <a:gd name="connsiteY321" fmla="*/ 2185874 h 2831071"/>
              <a:gd name="connsiteX322" fmla="*/ 1997717 w 3473628"/>
              <a:gd name="connsiteY322" fmla="*/ 2138106 h 2831071"/>
              <a:gd name="connsiteX323" fmla="*/ 1965781 w 3473628"/>
              <a:gd name="connsiteY323" fmla="*/ 2073364 h 2831071"/>
              <a:gd name="connsiteX324" fmla="*/ 1892688 w 3473628"/>
              <a:gd name="connsiteY324" fmla="*/ 2059127 h 2831071"/>
              <a:gd name="connsiteX325" fmla="*/ 1816155 w 3473628"/>
              <a:gd name="connsiteY325" fmla="*/ 2115517 h 2831071"/>
              <a:gd name="connsiteX326" fmla="*/ 1767682 w 3473628"/>
              <a:gd name="connsiteY326" fmla="*/ 2216504 h 2831071"/>
              <a:gd name="connsiteX327" fmla="*/ 1756740 w 3473628"/>
              <a:gd name="connsiteY327" fmla="*/ 2315771 h 2831071"/>
              <a:gd name="connsiteX328" fmla="*/ 1733280 w 3473628"/>
              <a:gd name="connsiteY328" fmla="*/ 2398211 h 2831071"/>
              <a:gd name="connsiteX329" fmla="*/ 1632148 w 3473628"/>
              <a:gd name="connsiteY329" fmla="*/ 2384554 h 2831071"/>
              <a:gd name="connsiteX330" fmla="*/ 1539637 w 3473628"/>
              <a:gd name="connsiteY330" fmla="*/ 2352183 h 2831071"/>
              <a:gd name="connsiteX331" fmla="*/ 1522519 w 3473628"/>
              <a:gd name="connsiteY331" fmla="*/ 2359229 h 2831071"/>
              <a:gd name="connsiteX332" fmla="*/ 1543947 w 3473628"/>
              <a:gd name="connsiteY332" fmla="*/ 2385549 h 2831071"/>
              <a:gd name="connsiteX333" fmla="*/ 1564381 w 3473628"/>
              <a:gd name="connsiteY333" fmla="*/ 2430727 h 2831071"/>
              <a:gd name="connsiteX334" fmla="*/ 1559200 w 3473628"/>
              <a:gd name="connsiteY334" fmla="*/ 2486412 h 2831071"/>
              <a:gd name="connsiteX335" fmla="*/ 1529710 w 3473628"/>
              <a:gd name="connsiteY335" fmla="*/ 2562364 h 2831071"/>
              <a:gd name="connsiteX336" fmla="*/ 1544963 w 3473628"/>
              <a:gd name="connsiteY336" fmla="*/ 2634587 h 2831071"/>
              <a:gd name="connsiteX337" fmla="*/ 1609124 w 3473628"/>
              <a:gd name="connsiteY337" fmla="*/ 2669984 h 2831071"/>
              <a:gd name="connsiteX338" fmla="*/ 1709821 w 3473628"/>
              <a:gd name="connsiteY338" fmla="*/ 2685526 h 2831071"/>
              <a:gd name="connsiteX339" fmla="*/ 1825481 w 3473628"/>
              <a:gd name="connsiteY339" fmla="*/ 2710706 h 2831071"/>
              <a:gd name="connsiteX340" fmla="*/ 1849666 w 3473628"/>
              <a:gd name="connsiteY340" fmla="*/ 2737274 h 2831071"/>
              <a:gd name="connsiteX341" fmla="*/ 1827284 w 3473628"/>
              <a:gd name="connsiteY341" fmla="*/ 2775385 h 2831071"/>
              <a:gd name="connsiteX342" fmla="*/ 1859468 w 3473628"/>
              <a:gd name="connsiteY342" fmla="*/ 2784130 h 2831071"/>
              <a:gd name="connsiteX343" fmla="*/ 2089565 w 3473628"/>
              <a:gd name="connsiteY343" fmla="*/ 2784130 h 2831071"/>
              <a:gd name="connsiteX344" fmla="*/ 2566897 w 3473628"/>
              <a:gd name="connsiteY344" fmla="*/ 2782162 h 2831071"/>
              <a:gd name="connsiteX345" fmla="*/ 2687966 w 3473628"/>
              <a:gd name="connsiteY345" fmla="*/ 2759884 h 2831071"/>
              <a:gd name="connsiteX346" fmla="*/ 2680464 w 3473628"/>
              <a:gd name="connsiteY346" fmla="*/ 2692303 h 2831071"/>
              <a:gd name="connsiteX347" fmla="*/ 2633566 w 3473628"/>
              <a:gd name="connsiteY347" fmla="*/ 2631872 h 2831071"/>
              <a:gd name="connsiteX348" fmla="*/ 2492291 w 3473628"/>
              <a:gd name="connsiteY348" fmla="*/ 2565701 h 2831071"/>
              <a:gd name="connsiteX349" fmla="*/ 2424110 w 3473628"/>
              <a:gd name="connsiteY349" fmla="*/ 2476651 h 2831071"/>
              <a:gd name="connsiteX350" fmla="*/ 2465247 w 3473628"/>
              <a:gd name="connsiteY350" fmla="*/ 2186330 h 2831071"/>
              <a:gd name="connsiteX351" fmla="*/ 2494592 w 3473628"/>
              <a:gd name="connsiteY351" fmla="*/ 1978159 h 2831071"/>
              <a:gd name="connsiteX352" fmla="*/ 2532289 w 3473628"/>
              <a:gd name="connsiteY352" fmla="*/ 1883202 h 2831071"/>
              <a:gd name="connsiteX353" fmla="*/ 2600200 w 3473628"/>
              <a:gd name="connsiteY353" fmla="*/ 1837175 h 2831071"/>
              <a:gd name="connsiteX354" fmla="*/ 2643928 w 3473628"/>
              <a:gd name="connsiteY354" fmla="*/ 1758051 h 2831071"/>
              <a:gd name="connsiteX355" fmla="*/ 2671553 w 3473628"/>
              <a:gd name="connsiteY355" fmla="*/ 1632029 h 2831071"/>
              <a:gd name="connsiteX356" fmla="*/ 2694577 w 3473628"/>
              <a:gd name="connsiteY356" fmla="*/ 1561817 h 2831071"/>
              <a:gd name="connsiteX357" fmla="*/ 2707239 w 3473628"/>
              <a:gd name="connsiteY357" fmla="*/ 1548305 h 2831071"/>
              <a:gd name="connsiteX358" fmla="*/ 2696877 w 3473628"/>
              <a:gd name="connsiteY358" fmla="*/ 1616217 h 2831071"/>
              <a:gd name="connsiteX359" fmla="*/ 2656300 w 3473628"/>
              <a:gd name="connsiteY359" fmla="*/ 1792308 h 2831071"/>
              <a:gd name="connsiteX360" fmla="*/ 2576306 w 3473628"/>
              <a:gd name="connsiteY360" fmla="*/ 1905377 h 2831071"/>
              <a:gd name="connsiteX361" fmla="*/ 2484810 w 3473628"/>
              <a:gd name="connsiteY361" fmla="*/ 1918329 h 2831071"/>
              <a:gd name="connsiteX362" fmla="*/ 2405251 w 3473628"/>
              <a:gd name="connsiteY362" fmla="*/ 1822813 h 2831071"/>
              <a:gd name="connsiteX363" fmla="*/ 2384113 w 3473628"/>
              <a:gd name="connsiteY363" fmla="*/ 1673912 h 2831071"/>
              <a:gd name="connsiteX364" fmla="*/ 2378642 w 3473628"/>
              <a:gd name="connsiteY364" fmla="*/ 1541984 h 2831071"/>
              <a:gd name="connsiteX365" fmla="*/ 2373751 w 3473628"/>
              <a:gd name="connsiteY365" fmla="*/ 1415527 h 2831071"/>
              <a:gd name="connsiteX366" fmla="*/ 2347141 w 3473628"/>
              <a:gd name="connsiteY366" fmla="*/ 1246918 h 2831071"/>
              <a:gd name="connsiteX367" fmla="*/ 2334769 w 3473628"/>
              <a:gd name="connsiteY367" fmla="*/ 1142615 h 2831071"/>
              <a:gd name="connsiteX368" fmla="*/ 2329153 w 3473628"/>
              <a:gd name="connsiteY368" fmla="*/ 1065211 h 2831071"/>
              <a:gd name="connsiteX369" fmla="*/ 2304554 w 3473628"/>
              <a:gd name="connsiteY369" fmla="*/ 939335 h 2831071"/>
              <a:gd name="connsiteX370" fmla="*/ 2256641 w 3473628"/>
              <a:gd name="connsiteY370" fmla="*/ 796630 h 2831071"/>
              <a:gd name="connsiteX371" fmla="*/ 2230736 w 3473628"/>
              <a:gd name="connsiteY371" fmla="*/ 692327 h 2831071"/>
              <a:gd name="connsiteX372" fmla="*/ 2239502 w 3473628"/>
              <a:gd name="connsiteY372" fmla="*/ 643564 h 2831071"/>
              <a:gd name="connsiteX373" fmla="*/ 2294026 w 3473628"/>
              <a:gd name="connsiteY373" fmla="*/ 635647 h 2831071"/>
              <a:gd name="connsiteX374" fmla="*/ 2342789 w 3473628"/>
              <a:gd name="connsiteY374" fmla="*/ 621700 h 2831071"/>
              <a:gd name="connsiteX375" fmla="*/ 2378621 w 3473628"/>
              <a:gd name="connsiteY375" fmla="*/ 587174 h 2831071"/>
              <a:gd name="connsiteX376" fmla="*/ 2391283 w 3473628"/>
              <a:gd name="connsiteY376" fmla="*/ 534080 h 2831071"/>
              <a:gd name="connsiteX377" fmla="*/ 2374601 w 3473628"/>
              <a:gd name="connsiteY377" fmla="*/ 480426 h 2831071"/>
              <a:gd name="connsiteX378" fmla="*/ 2310004 w 3473628"/>
              <a:gd name="connsiteY378" fmla="*/ 360020 h 2831071"/>
              <a:gd name="connsiteX379" fmla="*/ 2266567 w 3473628"/>
              <a:gd name="connsiteY379" fmla="*/ 280171 h 2831071"/>
              <a:gd name="connsiteX380" fmla="*/ 2203691 w 3473628"/>
              <a:gd name="connsiteY380" fmla="*/ 213564 h 2831071"/>
              <a:gd name="connsiteX381" fmla="*/ 2153622 w 3473628"/>
              <a:gd name="connsiteY381" fmla="*/ 194291 h 2831071"/>
              <a:gd name="connsiteX382" fmla="*/ 2109315 w 3473628"/>
              <a:gd name="connsiteY382" fmla="*/ 218310 h 2831071"/>
              <a:gd name="connsiteX383" fmla="*/ 2085731 w 3473628"/>
              <a:gd name="connsiteY383" fmla="*/ 264214 h 2831071"/>
              <a:gd name="connsiteX384" fmla="*/ 2085006 w 3473628"/>
              <a:gd name="connsiteY384" fmla="*/ 308666 h 2831071"/>
              <a:gd name="connsiteX385" fmla="*/ 2107595 w 3473628"/>
              <a:gd name="connsiteY385" fmla="*/ 327794 h 2831071"/>
              <a:gd name="connsiteX386" fmla="*/ 2138245 w 3473628"/>
              <a:gd name="connsiteY386" fmla="*/ 329660 h 2831071"/>
              <a:gd name="connsiteX387" fmla="*/ 2151343 w 3473628"/>
              <a:gd name="connsiteY387" fmla="*/ 299299 h 2831071"/>
              <a:gd name="connsiteX388" fmla="*/ 2155508 w 3473628"/>
              <a:gd name="connsiteY388" fmla="*/ 263053 h 2831071"/>
              <a:gd name="connsiteX389" fmla="*/ 2173641 w 3473628"/>
              <a:gd name="connsiteY389" fmla="*/ 251261 h 2831071"/>
              <a:gd name="connsiteX390" fmla="*/ 2215068 w 3473628"/>
              <a:gd name="connsiteY390" fmla="*/ 262058 h 2831071"/>
              <a:gd name="connsiteX391" fmla="*/ 2248019 w 3473628"/>
              <a:gd name="connsiteY391" fmla="*/ 269975 h 2831071"/>
              <a:gd name="connsiteX392" fmla="*/ 2262257 w 3473628"/>
              <a:gd name="connsiteY392" fmla="*/ 259903 h 2831071"/>
              <a:gd name="connsiteX393" fmla="*/ 2259749 w 3473628"/>
              <a:gd name="connsiteY393" fmla="*/ 230993 h 2831071"/>
              <a:gd name="connsiteX394" fmla="*/ 2231337 w 3473628"/>
              <a:gd name="connsiteY394" fmla="*/ 190851 h 2831071"/>
              <a:gd name="connsiteX395" fmla="*/ 2181351 w 3473628"/>
              <a:gd name="connsiteY395" fmla="*/ 163309 h 2831071"/>
              <a:gd name="connsiteX396" fmla="*/ 2141354 w 3473628"/>
              <a:gd name="connsiteY396" fmla="*/ 157548 h 2831071"/>
              <a:gd name="connsiteX397" fmla="*/ 2113377 w 3473628"/>
              <a:gd name="connsiteY397" fmla="*/ 169485 h 2831071"/>
              <a:gd name="connsiteX398" fmla="*/ 2082726 w 3473628"/>
              <a:gd name="connsiteY398" fmla="*/ 176469 h 2831071"/>
              <a:gd name="connsiteX399" fmla="*/ 2031870 w 3473628"/>
              <a:gd name="connsiteY399" fmla="*/ 162086 h 2831071"/>
              <a:gd name="connsiteX400" fmla="*/ 1991955 w 3473628"/>
              <a:gd name="connsiteY400" fmla="*/ 137280 h 2831071"/>
              <a:gd name="connsiteX401" fmla="*/ 1950528 w 3473628"/>
              <a:gd name="connsiteY401" fmla="*/ 77222 h 2831071"/>
              <a:gd name="connsiteX402" fmla="*/ 1938737 w 3473628"/>
              <a:gd name="connsiteY402" fmla="*/ 27008 h 2831071"/>
              <a:gd name="connsiteX403" fmla="*/ 1947669 w 3473628"/>
              <a:gd name="connsiteY403" fmla="*/ 1725 h 2831071"/>
              <a:gd name="connsiteX404" fmla="*/ 1970755 w 3473628"/>
              <a:gd name="connsiteY404" fmla="*/ 8461 h 2831071"/>
              <a:gd name="connsiteX405" fmla="*/ 2009260 w 3473628"/>
              <a:gd name="connsiteY405" fmla="*/ 49494 h 2831071"/>
              <a:gd name="connsiteX406" fmla="*/ 2058292 w 3473628"/>
              <a:gd name="connsiteY406" fmla="*/ 104412 h 2831071"/>
              <a:gd name="connsiteX407" fmla="*/ 2093544 w 3473628"/>
              <a:gd name="connsiteY407" fmla="*/ 149010 h 2831071"/>
              <a:gd name="connsiteX408" fmla="*/ 2084487 w 3473628"/>
              <a:gd name="connsiteY408" fmla="*/ 165837 h 2831071"/>
              <a:gd name="connsiteX409" fmla="*/ 2039599 w 3473628"/>
              <a:gd name="connsiteY409" fmla="*/ 172593 h 2831071"/>
              <a:gd name="connsiteX410" fmla="*/ 2028657 w 3473628"/>
              <a:gd name="connsiteY410" fmla="*/ 186976 h 2831071"/>
              <a:gd name="connsiteX411" fmla="*/ 2037424 w 3473628"/>
              <a:gd name="connsiteY411" fmla="*/ 210435 h 2831071"/>
              <a:gd name="connsiteX412" fmla="*/ 2052531 w 3473628"/>
              <a:gd name="connsiteY412" fmla="*/ 240360 h 2831071"/>
              <a:gd name="connsiteX413" fmla="*/ 2063183 w 3473628"/>
              <a:gd name="connsiteY413" fmla="*/ 276606 h 2831071"/>
              <a:gd name="connsiteX414" fmla="*/ 2061173 w 3473628"/>
              <a:gd name="connsiteY414" fmla="*/ 308832 h 2831071"/>
              <a:gd name="connsiteX415" fmla="*/ 2047226 w 3473628"/>
              <a:gd name="connsiteY415" fmla="*/ 318324 h 2831071"/>
              <a:gd name="connsiteX416" fmla="*/ 2037009 w 3473628"/>
              <a:gd name="connsiteY416" fmla="*/ 303216 h 2831071"/>
              <a:gd name="connsiteX417" fmla="*/ 2039890 w 3473628"/>
              <a:gd name="connsiteY417" fmla="*/ 281932 h 2831071"/>
              <a:gd name="connsiteX418" fmla="*/ 2037589 w 3473628"/>
              <a:gd name="connsiteY418" fmla="*/ 253168 h 2831071"/>
              <a:gd name="connsiteX419" fmla="*/ 2017301 w 3473628"/>
              <a:gd name="connsiteY419" fmla="*/ 238640 h 2831071"/>
              <a:gd name="connsiteX420" fmla="*/ 1980039 w 3473628"/>
              <a:gd name="connsiteY420" fmla="*/ 250142 h 2831071"/>
              <a:gd name="connsiteX421" fmla="*/ 1965367 w 3473628"/>
              <a:gd name="connsiteY421" fmla="*/ 281207 h 2831071"/>
              <a:gd name="connsiteX422" fmla="*/ 1979604 w 3473628"/>
              <a:gd name="connsiteY422" fmla="*/ 326820 h 2831071"/>
              <a:gd name="connsiteX423" fmla="*/ 2042625 w 3473628"/>
              <a:gd name="connsiteY423" fmla="*/ 396598 h 2831071"/>
              <a:gd name="connsiteX424" fmla="*/ 2145208 w 3473628"/>
              <a:gd name="connsiteY424" fmla="*/ 455288 h 2831071"/>
              <a:gd name="connsiteX425" fmla="*/ 2223752 w 3473628"/>
              <a:gd name="connsiteY425" fmla="*/ 542183 h 2831071"/>
              <a:gd name="connsiteX426" fmla="*/ 2264889 w 3473628"/>
              <a:gd name="connsiteY426" fmla="*/ 604624 h 2831071"/>
              <a:gd name="connsiteX427" fmla="*/ 2331640 w 3473628"/>
              <a:gd name="connsiteY427" fmla="*/ 595132 h 2831071"/>
              <a:gd name="connsiteX428" fmla="*/ 2408753 w 3473628"/>
              <a:gd name="connsiteY428" fmla="*/ 561746 h 2831071"/>
              <a:gd name="connsiteX429" fmla="*/ 2486157 w 3473628"/>
              <a:gd name="connsiteY429" fmla="*/ 631088 h 2831071"/>
              <a:gd name="connsiteX430" fmla="*/ 2597797 w 3473628"/>
              <a:gd name="connsiteY430" fmla="*/ 831052 h 2831071"/>
              <a:gd name="connsiteX431" fmla="*/ 2689292 w 3473628"/>
              <a:gd name="connsiteY431" fmla="*/ 1008013 h 2831071"/>
              <a:gd name="connsiteX432" fmla="*/ 2728999 w 3473628"/>
              <a:gd name="connsiteY432" fmla="*/ 1141081 h 2831071"/>
              <a:gd name="connsiteX433" fmla="*/ 2722098 w 3473628"/>
              <a:gd name="connsiteY433" fmla="*/ 1265963 h 2831071"/>
              <a:gd name="connsiteX434" fmla="*/ 2726409 w 3473628"/>
              <a:gd name="connsiteY434" fmla="*/ 1370556 h 2831071"/>
              <a:gd name="connsiteX435" fmla="*/ 2748998 w 3473628"/>
              <a:gd name="connsiteY435" fmla="*/ 1502194 h 2831071"/>
              <a:gd name="connsiteX436" fmla="*/ 2793596 w 3473628"/>
              <a:gd name="connsiteY436" fmla="*/ 1683756 h 2831071"/>
              <a:gd name="connsiteX437" fmla="*/ 2841924 w 3473628"/>
              <a:gd name="connsiteY437" fmla="*/ 1899699 h 2831071"/>
              <a:gd name="connsiteX438" fmla="*/ 2835872 w 3473628"/>
              <a:gd name="connsiteY438" fmla="*/ 2160094 h 2831071"/>
              <a:gd name="connsiteX439" fmla="*/ 2789119 w 3473628"/>
              <a:gd name="connsiteY439" fmla="*/ 2458476 h 2831071"/>
              <a:gd name="connsiteX440" fmla="*/ 2737620 w 3473628"/>
              <a:gd name="connsiteY440" fmla="*/ 2693547 h 2831071"/>
              <a:gd name="connsiteX441" fmla="*/ 2657626 w 3473628"/>
              <a:gd name="connsiteY441" fmla="*/ 2723762 h 2831071"/>
              <a:gd name="connsiteX442" fmla="*/ 2479816 w 3473628"/>
              <a:gd name="connsiteY442" fmla="*/ 2656720 h 2831071"/>
              <a:gd name="connsiteX443" fmla="*/ 2254237 w 3473628"/>
              <a:gd name="connsiteY443" fmla="*/ 2611832 h 2831071"/>
              <a:gd name="connsiteX444" fmla="*/ 2082166 w 3473628"/>
              <a:gd name="connsiteY444" fmla="*/ 2636287 h 2831071"/>
              <a:gd name="connsiteX445" fmla="*/ 1994401 w 3473628"/>
              <a:gd name="connsiteY445" fmla="*/ 2663621 h 2831071"/>
              <a:gd name="connsiteX446" fmla="*/ 1965346 w 3473628"/>
              <a:gd name="connsiteY446" fmla="*/ 2610382 h 2831071"/>
              <a:gd name="connsiteX447" fmla="*/ 1972537 w 3473628"/>
              <a:gd name="connsiteY447" fmla="*/ 2529538 h 2831071"/>
              <a:gd name="connsiteX448" fmla="*/ 2001302 w 3473628"/>
              <a:gd name="connsiteY448" fmla="*/ 2410127 h 2831071"/>
              <a:gd name="connsiteX449" fmla="*/ 2065173 w 3473628"/>
              <a:gd name="connsiteY449" fmla="*/ 2234762 h 2831071"/>
              <a:gd name="connsiteX450" fmla="*/ 2185164 w 3473628"/>
              <a:gd name="connsiteY450" fmla="*/ 1982428 h 2831071"/>
              <a:gd name="connsiteX451" fmla="*/ 2272639 w 3473628"/>
              <a:gd name="connsiteY451" fmla="*/ 1790940 h 2831071"/>
              <a:gd name="connsiteX452" fmla="*/ 2341691 w 3473628"/>
              <a:gd name="connsiteY452" fmla="*/ 1698284 h 2831071"/>
              <a:gd name="connsiteX453" fmla="*/ 2369026 w 3473628"/>
              <a:gd name="connsiteY453" fmla="*/ 1632962 h 2831071"/>
              <a:gd name="connsiteX454" fmla="*/ 2351473 w 3473628"/>
              <a:gd name="connsiteY454" fmla="*/ 1607927 h 2831071"/>
              <a:gd name="connsiteX455" fmla="*/ 2270774 w 3473628"/>
              <a:gd name="connsiteY455" fmla="*/ 1653541 h 2831071"/>
              <a:gd name="connsiteX456" fmla="*/ 2210343 w 3473628"/>
              <a:gd name="connsiteY456" fmla="*/ 1626206 h 2831071"/>
              <a:gd name="connsiteX457" fmla="*/ 2164585 w 3473628"/>
              <a:gd name="connsiteY457" fmla="*/ 1571972 h 2831071"/>
              <a:gd name="connsiteX458" fmla="*/ 2149623 w 3473628"/>
              <a:gd name="connsiteY458" fmla="*/ 1525364 h 2831071"/>
              <a:gd name="connsiteX459" fmla="*/ 2171776 w 3473628"/>
              <a:gd name="connsiteY459" fmla="*/ 1480476 h 2831071"/>
              <a:gd name="connsiteX460" fmla="*/ 2219690 w 3473628"/>
              <a:gd name="connsiteY460" fmla="*/ 1471710 h 2831071"/>
              <a:gd name="connsiteX461" fmla="*/ 2304575 w 3473628"/>
              <a:gd name="connsiteY461" fmla="*/ 1491128 h 2831071"/>
              <a:gd name="connsiteX462" fmla="*/ 2357939 w 3473628"/>
              <a:gd name="connsiteY462" fmla="*/ 1495148 h 2831071"/>
              <a:gd name="connsiteX463" fmla="*/ 2365130 w 3473628"/>
              <a:gd name="connsiteY463" fmla="*/ 1468539 h 2831071"/>
              <a:gd name="connsiteX464" fmla="*/ 2343411 w 3473628"/>
              <a:gd name="connsiteY464" fmla="*/ 1383509 h 2831071"/>
              <a:gd name="connsiteX465" fmla="*/ 2328594 w 3473628"/>
              <a:gd name="connsiteY465" fmla="*/ 1282957 h 2831071"/>
              <a:gd name="connsiteX466" fmla="*/ 2324428 w 3473628"/>
              <a:gd name="connsiteY466" fmla="*/ 1207999 h 2831071"/>
              <a:gd name="connsiteX467" fmla="*/ 2305735 w 3473628"/>
              <a:gd name="connsiteY467" fmla="*/ 1175628 h 2831071"/>
              <a:gd name="connsiteX468" fmla="*/ 2240559 w 3473628"/>
              <a:gd name="connsiteY468" fmla="*/ 1175918 h 2831071"/>
              <a:gd name="connsiteX469" fmla="*/ 2155964 w 3473628"/>
              <a:gd name="connsiteY469" fmla="*/ 1209574 h 2831071"/>
              <a:gd name="connsiteX470" fmla="*/ 2105750 w 3473628"/>
              <a:gd name="connsiteY470" fmla="*/ 1260223 h 2831071"/>
              <a:gd name="connsiteX471" fmla="*/ 2085171 w 3473628"/>
              <a:gd name="connsiteY471" fmla="*/ 1297774 h 2831071"/>
              <a:gd name="connsiteX472" fmla="*/ 2074664 w 3473628"/>
              <a:gd name="connsiteY472" fmla="*/ 1286977 h 2831071"/>
              <a:gd name="connsiteX473" fmla="*/ 2069918 w 3473628"/>
              <a:gd name="connsiteY473" fmla="*/ 1234028 h 2831071"/>
              <a:gd name="connsiteX474" fmla="*/ 2108050 w 3473628"/>
              <a:gd name="connsiteY474" fmla="*/ 1171587 h 2831071"/>
              <a:gd name="connsiteX475" fmla="*/ 2189910 w 3473628"/>
              <a:gd name="connsiteY475" fmla="*/ 1136045 h 2831071"/>
              <a:gd name="connsiteX476" fmla="*/ 2269759 w 3473628"/>
              <a:gd name="connsiteY476" fmla="*/ 1132294 h 2831071"/>
              <a:gd name="connsiteX477" fmla="*/ 2308450 w 3473628"/>
              <a:gd name="connsiteY477" fmla="*/ 1125683 h 2831071"/>
              <a:gd name="connsiteX478" fmla="*/ 2307290 w 3473628"/>
              <a:gd name="connsiteY478" fmla="*/ 1074765 h 2831071"/>
              <a:gd name="connsiteX479" fmla="*/ 2297653 w 3473628"/>
              <a:gd name="connsiteY479" fmla="*/ 1036778 h 2831071"/>
              <a:gd name="connsiteX480" fmla="*/ 2262982 w 3473628"/>
              <a:gd name="connsiteY480" fmla="*/ 1022831 h 2831071"/>
              <a:gd name="connsiteX481" fmla="*/ 2194655 w 3473628"/>
              <a:gd name="connsiteY481" fmla="*/ 1035493 h 2831071"/>
              <a:gd name="connsiteX482" fmla="*/ 2144296 w 3473628"/>
              <a:gd name="connsiteY482" fmla="*/ 1081811 h 2831071"/>
              <a:gd name="connsiteX483" fmla="*/ 2106310 w 3473628"/>
              <a:gd name="connsiteY483" fmla="*/ 1120088 h 2831071"/>
              <a:gd name="connsiteX484" fmla="*/ 2043434 w 3473628"/>
              <a:gd name="connsiteY484" fmla="*/ 1152894 h 2831071"/>
              <a:gd name="connsiteX485" fmla="*/ 1998401 w 3473628"/>
              <a:gd name="connsiteY485" fmla="*/ 1194756 h 2831071"/>
              <a:gd name="connsiteX486" fmla="*/ 1991645 w 3473628"/>
              <a:gd name="connsiteY486" fmla="*/ 1239354 h 2831071"/>
              <a:gd name="connsiteX487" fmla="*/ 2014669 w 3473628"/>
              <a:gd name="connsiteY487" fmla="*/ 1279351 h 2831071"/>
              <a:gd name="connsiteX488" fmla="*/ 2051350 w 3473628"/>
              <a:gd name="connsiteY488" fmla="*/ 1309566 h 2831071"/>
              <a:gd name="connsiteX489" fmla="*/ 2064157 w 3473628"/>
              <a:gd name="connsiteY489" fmla="*/ 1331865 h 2831071"/>
              <a:gd name="connsiteX490" fmla="*/ 2053505 w 3473628"/>
              <a:gd name="connsiteY490" fmla="*/ 1376173 h 2831071"/>
              <a:gd name="connsiteX491" fmla="*/ 2057671 w 3473628"/>
              <a:gd name="connsiteY491" fmla="*/ 1437598 h 2831071"/>
              <a:gd name="connsiteX492" fmla="*/ 2084715 w 3473628"/>
              <a:gd name="connsiteY492" fmla="*/ 1526939 h 2831071"/>
              <a:gd name="connsiteX493" fmla="*/ 2142556 w 3473628"/>
              <a:gd name="connsiteY493" fmla="*/ 1590374 h 2831071"/>
              <a:gd name="connsiteX494" fmla="*/ 2188583 w 3473628"/>
              <a:gd name="connsiteY494" fmla="*/ 1652525 h 2831071"/>
              <a:gd name="connsiteX495" fmla="*/ 2211753 w 3473628"/>
              <a:gd name="connsiteY495" fmla="*/ 1709350 h 2831071"/>
              <a:gd name="connsiteX496" fmla="*/ 2213038 w 3473628"/>
              <a:gd name="connsiteY496" fmla="*/ 1751502 h 2831071"/>
              <a:gd name="connsiteX497" fmla="*/ 2193619 w 3473628"/>
              <a:gd name="connsiteY497" fmla="*/ 1786463 h 2831071"/>
              <a:gd name="connsiteX498" fmla="*/ 2145416 w 3473628"/>
              <a:gd name="connsiteY498" fmla="*/ 1826170 h 2831071"/>
              <a:gd name="connsiteX499" fmla="*/ 2094062 w 3473628"/>
              <a:gd name="connsiteY499" fmla="*/ 1865877 h 2831071"/>
              <a:gd name="connsiteX500" fmla="*/ 2067452 w 3473628"/>
              <a:gd name="connsiteY500" fmla="*/ 1897668 h 2831071"/>
              <a:gd name="connsiteX501" fmla="*/ 2076654 w 3473628"/>
              <a:gd name="connsiteY501" fmla="*/ 1913791 h 2831071"/>
              <a:gd name="connsiteX502" fmla="*/ 2097668 w 3473628"/>
              <a:gd name="connsiteY502" fmla="*/ 1937955 h 2831071"/>
              <a:gd name="connsiteX503" fmla="*/ 2095077 w 3473628"/>
              <a:gd name="connsiteY503" fmla="*/ 2004416 h 2831071"/>
              <a:gd name="connsiteX504" fmla="*/ 2059391 w 3473628"/>
              <a:gd name="connsiteY504" fmla="*/ 2109155 h 2831071"/>
              <a:gd name="connsiteX505" fmla="*/ 1969325 w 3473628"/>
              <a:gd name="connsiteY505" fmla="*/ 2331853 h 2831071"/>
              <a:gd name="connsiteX506" fmla="*/ 1904584 w 3473628"/>
              <a:gd name="connsiteY506" fmla="*/ 2574405 h 2831071"/>
              <a:gd name="connsiteX507" fmla="*/ 1892502 w 3473628"/>
              <a:gd name="connsiteY507" fmla="*/ 2764443 h 2831071"/>
              <a:gd name="connsiteX508" fmla="*/ 2038812 w 3473628"/>
              <a:gd name="connsiteY508" fmla="*/ 2824874 h 2831071"/>
              <a:gd name="connsiteX509" fmla="*/ 2686909 w 3473628"/>
              <a:gd name="connsiteY509" fmla="*/ 2831070 h 2831071"/>
              <a:gd name="connsiteX510" fmla="*/ 3473628 w 3473628"/>
              <a:gd name="connsiteY510" fmla="*/ 2831070 h 2831071"/>
              <a:gd name="connsiteX0" fmla="*/ 1186254 w 3473628"/>
              <a:gd name="connsiteY0" fmla="*/ 2427970 h 2831069"/>
              <a:gd name="connsiteX1" fmla="*/ 1188409 w 3473628"/>
              <a:gd name="connsiteY1" fmla="*/ 2366980 h 2831069"/>
              <a:gd name="connsiteX2" fmla="*/ 1213734 w 3473628"/>
              <a:gd name="connsiteY2" fmla="*/ 2320662 h 2831069"/>
              <a:gd name="connsiteX3" fmla="*/ 1209568 w 3473628"/>
              <a:gd name="connsiteY3" fmla="*/ 2270448 h 2831069"/>
              <a:gd name="connsiteX4" fmla="*/ 1120808 w 3473628"/>
              <a:gd name="connsiteY4" fmla="*/ 2115662 h 2831069"/>
              <a:gd name="connsiteX5" fmla="*/ 1030182 w 3473628"/>
              <a:gd name="connsiteY5" fmla="*/ 1957124 h 2831069"/>
              <a:gd name="connsiteX6" fmla="*/ 963576 w 3473628"/>
              <a:gd name="connsiteY6" fmla="*/ 1924173 h 2831069"/>
              <a:gd name="connsiteX7" fmla="*/ 805764 w 3473628"/>
              <a:gd name="connsiteY7" fmla="*/ 1954244 h 2831069"/>
              <a:gd name="connsiteX8" fmla="*/ 604929 w 3473628"/>
              <a:gd name="connsiteY8" fmla="*/ 1989060 h 2831069"/>
              <a:gd name="connsiteX9" fmla="*/ 477332 w 3473628"/>
              <a:gd name="connsiteY9" fmla="*/ 1993661 h 2831069"/>
              <a:gd name="connsiteX10" fmla="*/ 361672 w 3473628"/>
              <a:gd name="connsiteY10" fmla="*/ 2000852 h 2831069"/>
              <a:gd name="connsiteX11" fmla="*/ 98687 w 3473628"/>
              <a:gd name="connsiteY11" fmla="*/ 2062567 h 2831069"/>
              <a:gd name="connsiteX12" fmla="*/ 3316 w 3473628"/>
              <a:gd name="connsiteY12" fmla="*/ 2090047 h 2831069"/>
              <a:gd name="connsiteX13" fmla="*/ 45468 w 3473628"/>
              <a:gd name="connsiteY13" fmla="*/ 2164135 h 2831069"/>
              <a:gd name="connsiteX14" fmla="*/ 243277 w 3473628"/>
              <a:gd name="connsiteY14" fmla="*/ 2417629 h 2831069"/>
              <a:gd name="connsiteX15" fmla="*/ 343270 w 3473628"/>
              <a:gd name="connsiteY15" fmla="*/ 2553723 h 2831069"/>
              <a:gd name="connsiteX16" fmla="*/ 396634 w 3473628"/>
              <a:gd name="connsiteY16" fmla="*/ 2608392 h 2831069"/>
              <a:gd name="connsiteX17" fmla="*/ 442102 w 3473628"/>
              <a:gd name="connsiteY17" fmla="*/ 2644348 h 2831069"/>
              <a:gd name="connsiteX18" fmla="*/ 450018 w 3473628"/>
              <a:gd name="connsiteY18" fmla="*/ 2670108 h 2831069"/>
              <a:gd name="connsiteX19" fmla="*/ 431180 w 3473628"/>
              <a:gd name="connsiteY19" fmla="*/ 2687516 h 2831069"/>
              <a:gd name="connsiteX20" fmla="*/ 385007 w 3473628"/>
              <a:gd name="connsiteY20" fmla="*/ 2665507 h 2831069"/>
              <a:gd name="connsiteX21" fmla="*/ 320266 w 3473628"/>
              <a:gd name="connsiteY21" fmla="*/ 2569991 h 2831069"/>
              <a:gd name="connsiteX22" fmla="*/ 307459 w 3473628"/>
              <a:gd name="connsiteY22" fmla="*/ 2513166 h 2831069"/>
              <a:gd name="connsiteX23" fmla="*/ 319396 w 3473628"/>
              <a:gd name="connsiteY23" fmla="*/ 2499923 h 2831069"/>
              <a:gd name="connsiteX24" fmla="*/ 348015 w 3473628"/>
              <a:gd name="connsiteY24" fmla="*/ 2524378 h 2831069"/>
              <a:gd name="connsiteX25" fmla="*/ 378086 w 3473628"/>
              <a:gd name="connsiteY25" fmla="*/ 2562364 h 2831069"/>
              <a:gd name="connsiteX26" fmla="*/ 409731 w 3473628"/>
              <a:gd name="connsiteY26" fmla="*/ 2581348 h 2831069"/>
              <a:gd name="connsiteX27" fmla="*/ 431740 w 3473628"/>
              <a:gd name="connsiteY27" fmla="*/ 2604372 h 2831069"/>
              <a:gd name="connsiteX28" fmla="*/ 455323 w 3473628"/>
              <a:gd name="connsiteY28" fmla="*/ 2623645 h 2831069"/>
              <a:gd name="connsiteX29" fmla="*/ 472006 w 3473628"/>
              <a:gd name="connsiteY29" fmla="*/ 2654005 h 2831069"/>
              <a:gd name="connsiteX30" fmla="*/ 483798 w 3473628"/>
              <a:gd name="connsiteY30" fmla="*/ 2705649 h 2831069"/>
              <a:gd name="connsiteX31" fmla="*/ 515029 w 3473628"/>
              <a:gd name="connsiteY31" fmla="*/ 2761707 h 2831069"/>
              <a:gd name="connsiteX32" fmla="*/ 593924 w 3473628"/>
              <a:gd name="connsiteY32" fmla="*/ 2781975 h 2831069"/>
              <a:gd name="connsiteX33" fmla="*/ 917921 w 3473628"/>
              <a:gd name="connsiteY33" fmla="*/ 2784234 h 2831069"/>
              <a:gd name="connsiteX34" fmla="*/ 1481859 w 3473628"/>
              <a:gd name="connsiteY34" fmla="*/ 2784234 h 2831069"/>
              <a:gd name="connsiteX35" fmla="*/ 1611175 w 3473628"/>
              <a:gd name="connsiteY35" fmla="*/ 2760402 h 2831069"/>
              <a:gd name="connsiteX36" fmla="*/ 1530415 w 3473628"/>
              <a:gd name="connsiteY36" fmla="*/ 2653819 h 2831069"/>
              <a:gd name="connsiteX37" fmla="*/ 1485506 w 3473628"/>
              <a:gd name="connsiteY37" fmla="*/ 2582508 h 2831069"/>
              <a:gd name="connsiteX38" fmla="*/ 1444639 w 3473628"/>
              <a:gd name="connsiteY38" fmla="*/ 2563380 h 2831069"/>
              <a:gd name="connsiteX39" fmla="*/ 1360914 w 3473628"/>
              <a:gd name="connsiteY39" fmla="*/ 2569701 h 2831069"/>
              <a:gd name="connsiteX40" fmla="*/ 1305374 w 3473628"/>
              <a:gd name="connsiteY40" fmla="*/ 2561204 h 2831069"/>
              <a:gd name="connsiteX41" fmla="*/ 1259906 w 3473628"/>
              <a:gd name="connsiteY41" fmla="*/ 2517187 h 2831069"/>
              <a:gd name="connsiteX42" fmla="*/ 1228551 w 3473628"/>
              <a:gd name="connsiteY42" fmla="*/ 2442519 h 2831069"/>
              <a:gd name="connsiteX43" fmla="*/ 1227121 w 3473628"/>
              <a:gd name="connsiteY43" fmla="*/ 2364680 h 2831069"/>
              <a:gd name="connsiteX44" fmla="*/ 1271139 w 3473628"/>
              <a:gd name="connsiteY44" fmla="*/ 2317491 h 2831069"/>
              <a:gd name="connsiteX45" fmla="*/ 1254021 w 3473628"/>
              <a:gd name="connsiteY45" fmla="*/ 2254201 h 2831069"/>
              <a:gd name="connsiteX46" fmla="*/ 1118217 w 3473628"/>
              <a:gd name="connsiteY46" fmla="*/ 2041429 h 2831069"/>
              <a:gd name="connsiteX47" fmla="*/ 1021105 w 3473628"/>
              <a:gd name="connsiteY47" fmla="*/ 1888363 h 2831069"/>
              <a:gd name="connsiteX48" fmla="*/ 969171 w 3473628"/>
              <a:gd name="connsiteY48" fmla="*/ 1865338 h 2831069"/>
              <a:gd name="connsiteX49" fmla="*/ 890048 w 3473628"/>
              <a:gd name="connsiteY49" fmla="*/ 1886477 h 2831069"/>
              <a:gd name="connsiteX50" fmla="*/ 773808 w 3473628"/>
              <a:gd name="connsiteY50" fmla="*/ 1916837 h 2831069"/>
              <a:gd name="connsiteX51" fmla="*/ 552974 w 3473628"/>
              <a:gd name="connsiteY51" fmla="*/ 1960565 h 2831069"/>
              <a:gd name="connsiteX52" fmla="*/ 460463 w 3473628"/>
              <a:gd name="connsiteY52" fmla="*/ 1968771 h 2831069"/>
              <a:gd name="connsiteX53" fmla="*/ 390251 w 3473628"/>
              <a:gd name="connsiteY53" fmla="*/ 1936110 h 2831069"/>
              <a:gd name="connsiteX54" fmla="*/ 237329 w 3473628"/>
              <a:gd name="connsiteY54" fmla="*/ 1817280 h 2831069"/>
              <a:gd name="connsiteX55" fmla="*/ 148859 w 3473628"/>
              <a:gd name="connsiteY55" fmla="*/ 1724478 h 2831069"/>
              <a:gd name="connsiteX56" fmla="*/ 135326 w 3473628"/>
              <a:gd name="connsiteY56" fmla="*/ 1660753 h 2831069"/>
              <a:gd name="connsiteX57" fmla="*/ 160361 w 3473628"/>
              <a:gd name="connsiteY57" fmla="*/ 1619326 h 2831069"/>
              <a:gd name="connsiteX58" fmla="*/ 206534 w 3473628"/>
              <a:gd name="connsiteY58" fmla="*/ 1610829 h 2831069"/>
              <a:gd name="connsiteX59" fmla="*/ 299894 w 3473628"/>
              <a:gd name="connsiteY59" fmla="*/ 1646370 h 2831069"/>
              <a:gd name="connsiteX60" fmla="*/ 372552 w 3473628"/>
              <a:gd name="connsiteY60" fmla="*/ 1668959 h 2831069"/>
              <a:gd name="connsiteX61" fmla="*/ 375723 w 3473628"/>
              <a:gd name="connsiteY61" fmla="*/ 1692688 h 2831069"/>
              <a:gd name="connsiteX62" fmla="*/ 313282 w 3473628"/>
              <a:gd name="connsiteY62" fmla="*/ 1712832 h 2831069"/>
              <a:gd name="connsiteX63" fmla="*/ 211134 w 3473628"/>
              <a:gd name="connsiteY63" fmla="*/ 1685787 h 2831069"/>
              <a:gd name="connsiteX64" fmla="*/ 161356 w 3473628"/>
              <a:gd name="connsiteY64" fmla="*/ 1648235 h 2831069"/>
              <a:gd name="connsiteX65" fmla="*/ 166391 w 3473628"/>
              <a:gd name="connsiteY65" fmla="*/ 1605586 h 2831069"/>
              <a:gd name="connsiteX66" fmla="*/ 200192 w 3473628"/>
              <a:gd name="connsiteY66" fmla="*/ 1577816 h 2831069"/>
              <a:gd name="connsiteX67" fmla="*/ 287232 w 3473628"/>
              <a:gd name="connsiteY67" fmla="*/ 1590830 h 2831069"/>
              <a:gd name="connsiteX68" fmla="*/ 369009 w 3473628"/>
              <a:gd name="connsiteY68" fmla="*/ 1618953 h 2831069"/>
              <a:gd name="connsiteX69" fmla="*/ 419927 w 3473628"/>
              <a:gd name="connsiteY69" fmla="*/ 1621046 h 2831069"/>
              <a:gd name="connsiteX70" fmla="*/ 508625 w 3473628"/>
              <a:gd name="connsiteY70" fmla="*/ 1559682 h 2831069"/>
              <a:gd name="connsiteX71" fmla="*/ 603872 w 3473628"/>
              <a:gd name="connsiteY71" fmla="*/ 1496164 h 2831069"/>
              <a:gd name="connsiteX72" fmla="*/ 672489 w 3473628"/>
              <a:gd name="connsiteY72" fmla="*/ 1469699 h 2831069"/>
              <a:gd name="connsiteX73" fmla="*/ 740318 w 3473628"/>
              <a:gd name="connsiteY73" fmla="*/ 1459835 h 2831069"/>
              <a:gd name="connsiteX74" fmla="*/ 810675 w 3473628"/>
              <a:gd name="connsiteY74" fmla="*/ 1421288 h 2831069"/>
              <a:gd name="connsiteX75" fmla="*/ 854631 w 3473628"/>
              <a:gd name="connsiteY75" fmla="*/ 1394969 h 2831069"/>
              <a:gd name="connsiteX76" fmla="*/ 862982 w 3473628"/>
              <a:gd name="connsiteY76" fmla="*/ 1380214 h 2831069"/>
              <a:gd name="connsiteX77" fmla="*/ 851688 w 3473628"/>
              <a:gd name="connsiteY77" fmla="*/ 1366412 h 2831069"/>
              <a:gd name="connsiteX78" fmla="*/ 827524 w 3473628"/>
              <a:gd name="connsiteY78" fmla="*/ 1363614 h 2831069"/>
              <a:gd name="connsiteX79" fmla="*/ 824291 w 3473628"/>
              <a:gd name="connsiteY79" fmla="*/ 1354910 h 2831069"/>
              <a:gd name="connsiteX80" fmla="*/ 846652 w 3473628"/>
              <a:gd name="connsiteY80" fmla="*/ 1340030 h 2831069"/>
              <a:gd name="connsiteX81" fmla="*/ 880308 w 3473628"/>
              <a:gd name="connsiteY81" fmla="*/ 1319161 h 2831069"/>
              <a:gd name="connsiteX82" fmla="*/ 897363 w 3473628"/>
              <a:gd name="connsiteY82" fmla="*/ 1302831 h 2831069"/>
              <a:gd name="connsiteX83" fmla="*/ 886794 w 3473628"/>
              <a:gd name="connsiteY83" fmla="*/ 1295930 h 2831069"/>
              <a:gd name="connsiteX84" fmla="*/ 844642 w 3473628"/>
              <a:gd name="connsiteY84" fmla="*/ 1306934 h 2831069"/>
              <a:gd name="connsiteX85" fmla="*/ 809536 w 3473628"/>
              <a:gd name="connsiteY85" fmla="*/ 1335347 h 2831069"/>
              <a:gd name="connsiteX86" fmla="*/ 787029 w 3473628"/>
              <a:gd name="connsiteY86" fmla="*/ 1349667 h 2831069"/>
              <a:gd name="connsiteX87" fmla="*/ 782139 w 3473628"/>
              <a:gd name="connsiteY87" fmla="*/ 1343346 h 2831069"/>
              <a:gd name="connsiteX88" fmla="*/ 804583 w 3473628"/>
              <a:gd name="connsiteY88" fmla="*/ 1325296 h 2831069"/>
              <a:gd name="connsiteX89" fmla="*/ 816810 w 3473628"/>
              <a:gd name="connsiteY89" fmla="*/ 1307743 h 2831069"/>
              <a:gd name="connsiteX90" fmla="*/ 811276 w 3473628"/>
              <a:gd name="connsiteY90" fmla="*/ 1290977 h 2831069"/>
              <a:gd name="connsiteX91" fmla="*/ 791713 w 3473628"/>
              <a:gd name="connsiteY91" fmla="*/ 1290832 h 2831069"/>
              <a:gd name="connsiteX92" fmla="*/ 761933 w 3473628"/>
              <a:gd name="connsiteY92" fmla="*/ 1313856 h 2831069"/>
              <a:gd name="connsiteX93" fmla="*/ 742515 w 3473628"/>
              <a:gd name="connsiteY93" fmla="*/ 1324218 h 2831069"/>
              <a:gd name="connsiteX94" fmla="*/ 739862 w 3473628"/>
              <a:gd name="connsiteY94" fmla="*/ 1318457 h 2831069"/>
              <a:gd name="connsiteX95" fmla="*/ 752296 w 3473628"/>
              <a:gd name="connsiteY95" fmla="*/ 1300406 h 2831069"/>
              <a:gd name="connsiteX96" fmla="*/ 772585 w 3473628"/>
              <a:gd name="connsiteY96" fmla="*/ 1280615 h 2831069"/>
              <a:gd name="connsiteX97" fmla="*/ 776108 w 3473628"/>
              <a:gd name="connsiteY97" fmla="*/ 1263994 h 2831069"/>
              <a:gd name="connsiteX98" fmla="*/ 761083 w 3473628"/>
              <a:gd name="connsiteY98" fmla="*/ 1258026 h 2831069"/>
              <a:gd name="connsiteX99" fmla="*/ 718869 w 3473628"/>
              <a:gd name="connsiteY99" fmla="*/ 1273051 h 2831069"/>
              <a:gd name="connsiteX100" fmla="*/ 639600 w 3473628"/>
              <a:gd name="connsiteY100" fmla="*/ 1331181 h 2831069"/>
              <a:gd name="connsiteX101" fmla="*/ 569678 w 3473628"/>
              <a:gd name="connsiteY101" fmla="*/ 1382100 h 2831069"/>
              <a:gd name="connsiteX102" fmla="*/ 456173 w 3473628"/>
              <a:gd name="connsiteY102" fmla="*/ 1442530 h 2831069"/>
              <a:gd name="connsiteX103" fmla="*/ 325406 w 3473628"/>
              <a:gd name="connsiteY103" fmla="*/ 1515188 h 2831069"/>
              <a:gd name="connsiteX104" fmla="*/ 239526 w 3473628"/>
              <a:gd name="connsiteY104" fmla="*/ 1551144 h 2831069"/>
              <a:gd name="connsiteX105" fmla="*/ 218388 w 3473628"/>
              <a:gd name="connsiteY105" fmla="*/ 1575453 h 2831069"/>
              <a:gd name="connsiteX106" fmla="*/ 272912 w 3473628"/>
              <a:gd name="connsiteY106" fmla="*/ 1602208 h 2831069"/>
              <a:gd name="connsiteX107" fmla="*/ 357797 w 3473628"/>
              <a:gd name="connsiteY107" fmla="*/ 1635863 h 2831069"/>
              <a:gd name="connsiteX108" fmla="*/ 403410 w 3473628"/>
              <a:gd name="connsiteY108" fmla="*/ 1653271 h 2831069"/>
              <a:gd name="connsiteX109" fmla="*/ 416073 w 3473628"/>
              <a:gd name="connsiteY109" fmla="*/ 1682036 h 2831069"/>
              <a:gd name="connsiteX110" fmla="*/ 440817 w 3473628"/>
              <a:gd name="connsiteY110" fmla="*/ 1705060 h 2831069"/>
              <a:gd name="connsiteX111" fmla="*/ 514469 w 3473628"/>
              <a:gd name="connsiteY111" fmla="*/ 1733680 h 2831069"/>
              <a:gd name="connsiteX112" fmla="*/ 651288 w 3473628"/>
              <a:gd name="connsiteY112" fmla="*/ 1765905 h 2831069"/>
              <a:gd name="connsiteX113" fmla="*/ 768109 w 3473628"/>
              <a:gd name="connsiteY113" fmla="*/ 1785179 h 2831069"/>
              <a:gd name="connsiteX114" fmla="*/ 837306 w 3473628"/>
              <a:gd name="connsiteY114" fmla="*/ 1824740 h 2831069"/>
              <a:gd name="connsiteX115" fmla="*/ 840621 w 3473628"/>
              <a:gd name="connsiteY115" fmla="*/ 1854666 h 2831069"/>
              <a:gd name="connsiteX116" fmla="*/ 790843 w 3473628"/>
              <a:gd name="connsiteY116" fmla="*/ 1883430 h 2831069"/>
              <a:gd name="connsiteX117" fmla="*/ 713874 w 3473628"/>
              <a:gd name="connsiteY117" fmla="*/ 1902413 h 2831069"/>
              <a:gd name="connsiteX118" fmla="*/ 703367 w 3473628"/>
              <a:gd name="connsiteY118" fmla="*/ 1887741 h 2831069"/>
              <a:gd name="connsiteX119" fmla="*/ 735158 w 3473628"/>
              <a:gd name="connsiteY119" fmla="*/ 1840843 h 2831069"/>
              <a:gd name="connsiteX120" fmla="*/ 785662 w 3473628"/>
              <a:gd name="connsiteY120" fmla="*/ 1808037 h 2831069"/>
              <a:gd name="connsiteX121" fmla="*/ 864640 w 3473628"/>
              <a:gd name="connsiteY121" fmla="*/ 1809757 h 2831069"/>
              <a:gd name="connsiteX122" fmla="*/ 904637 w 3473628"/>
              <a:gd name="connsiteY122" fmla="*/ 1789468 h 2831069"/>
              <a:gd name="connsiteX123" fmla="*/ 916284 w 3473628"/>
              <a:gd name="connsiteY123" fmla="*/ 1745161 h 2831069"/>
              <a:gd name="connsiteX124" fmla="*/ 912119 w 3473628"/>
              <a:gd name="connsiteY124" fmla="*/ 1675238 h 2831069"/>
              <a:gd name="connsiteX125" fmla="*/ 918025 w 3473628"/>
              <a:gd name="connsiteY125" fmla="*/ 1647904 h 2831069"/>
              <a:gd name="connsiteX126" fmla="*/ 946230 w 3473628"/>
              <a:gd name="connsiteY126" fmla="*/ 1644588 h 2831069"/>
              <a:gd name="connsiteX127" fmla="*/ 993128 w 3473628"/>
              <a:gd name="connsiteY127" fmla="*/ 1664587 h 2831069"/>
              <a:gd name="connsiteX128" fmla="*/ 1043632 w 3473628"/>
              <a:gd name="connsiteY128" fmla="*/ 1685455 h 2831069"/>
              <a:gd name="connsiteX129" fmla="*/ 1091110 w 3473628"/>
              <a:gd name="connsiteY129" fmla="*/ 1667032 h 2831069"/>
              <a:gd name="connsiteX130" fmla="*/ 1113844 w 3473628"/>
              <a:gd name="connsiteY130" fmla="*/ 1609046 h 2831069"/>
              <a:gd name="connsiteX131" fmla="*/ 1137573 w 3473628"/>
              <a:gd name="connsiteY131" fmla="*/ 1536244 h 2831069"/>
              <a:gd name="connsiteX132" fmla="*/ 1175270 w 3473628"/>
              <a:gd name="connsiteY132" fmla="*/ 1484165 h 2831069"/>
              <a:gd name="connsiteX133" fmla="*/ 1215847 w 3473628"/>
              <a:gd name="connsiteY133" fmla="*/ 1437702 h 2831069"/>
              <a:gd name="connsiteX134" fmla="*/ 1213837 w 3473628"/>
              <a:gd name="connsiteY134" fmla="*/ 1405911 h 2831069"/>
              <a:gd name="connsiteX135" fmla="*/ 1160743 w 3473628"/>
              <a:gd name="connsiteY135" fmla="*/ 1359449 h 2831069"/>
              <a:gd name="connsiteX136" fmla="*/ 1072273 w 3473628"/>
              <a:gd name="connsiteY136" fmla="*/ 1326207 h 2831069"/>
              <a:gd name="connsiteX137" fmla="*/ 969420 w 3473628"/>
              <a:gd name="connsiteY137" fmla="*/ 1337709 h 2831069"/>
              <a:gd name="connsiteX138" fmla="*/ 912160 w 3473628"/>
              <a:gd name="connsiteY138" fmla="*/ 1380152 h 2831069"/>
              <a:gd name="connsiteX139" fmla="*/ 896327 w 3473628"/>
              <a:gd name="connsiteY139" fmla="*/ 1448333 h 2831069"/>
              <a:gd name="connsiteX140" fmla="*/ 877489 w 3473628"/>
              <a:gd name="connsiteY140" fmla="*/ 1512784 h 2831069"/>
              <a:gd name="connsiteX141" fmla="*/ 860806 w 3473628"/>
              <a:gd name="connsiteY141" fmla="*/ 1564138 h 2831069"/>
              <a:gd name="connsiteX142" fmla="*/ 859936 w 3473628"/>
              <a:gd name="connsiteY142" fmla="*/ 1636216 h 2831069"/>
              <a:gd name="connsiteX143" fmla="*/ 882670 w 3473628"/>
              <a:gd name="connsiteY143" fmla="*/ 1693040 h 2831069"/>
              <a:gd name="connsiteX144" fmla="*/ 939930 w 3473628"/>
              <a:gd name="connsiteY144" fmla="*/ 1728001 h 2831069"/>
              <a:gd name="connsiteX145" fmla="*/ 1032856 w 3473628"/>
              <a:gd name="connsiteY145" fmla="*/ 1733618 h 2831069"/>
              <a:gd name="connsiteX146" fmla="*/ 1121326 w 3473628"/>
              <a:gd name="connsiteY146" fmla="*/ 1688440 h 2831069"/>
              <a:gd name="connsiteX147" fmla="*/ 1171830 w 3473628"/>
              <a:gd name="connsiteY147" fmla="*/ 1627304 h 2831069"/>
              <a:gd name="connsiteX148" fmla="*/ 1192263 w 3473628"/>
              <a:gd name="connsiteY148" fmla="*/ 1592343 h 2831069"/>
              <a:gd name="connsiteX149" fmla="*/ 1215433 w 3473628"/>
              <a:gd name="connsiteY149" fmla="*/ 1590478 h 2831069"/>
              <a:gd name="connsiteX150" fmla="*/ 1223059 w 3473628"/>
              <a:gd name="connsiteY150" fmla="*/ 1624569 h 2831069"/>
              <a:gd name="connsiteX151" fmla="*/ 1193569 w 3473628"/>
              <a:gd name="connsiteY151" fmla="*/ 1655219 h 2831069"/>
              <a:gd name="connsiteX152" fmla="*/ 1160328 w 3473628"/>
              <a:gd name="connsiteY152" fmla="*/ 1650909 h 2831069"/>
              <a:gd name="connsiteX153" fmla="*/ 1152121 w 3473628"/>
              <a:gd name="connsiteY153" fmla="*/ 1619844 h 2831069"/>
              <a:gd name="connsiteX154" fmla="*/ 1169239 w 3473628"/>
              <a:gd name="connsiteY154" fmla="*/ 1577836 h 2831069"/>
              <a:gd name="connsiteX155" fmla="*/ 1208511 w 3473628"/>
              <a:gd name="connsiteY155" fmla="*/ 1555683 h 2831069"/>
              <a:gd name="connsiteX156" fmla="*/ 1223039 w 3473628"/>
              <a:gd name="connsiteY156" fmla="*/ 1534814 h 2831069"/>
              <a:gd name="connsiteX157" fmla="*/ 1221173 w 3473628"/>
              <a:gd name="connsiteY157" fmla="*/ 1493822 h 2831069"/>
              <a:gd name="connsiteX158" fmla="*/ 1192263 w 3473628"/>
              <a:gd name="connsiteY158" fmla="*/ 1435837 h 2831069"/>
              <a:gd name="connsiteX159" fmla="*/ 1126527 w 3473628"/>
              <a:gd name="connsiteY159" fmla="*/ 1373105 h 2831069"/>
              <a:gd name="connsiteX160" fmla="*/ 1015178 w 3473628"/>
              <a:gd name="connsiteY160" fmla="*/ 1361604 h 2831069"/>
              <a:gd name="connsiteX161" fmla="*/ 929299 w 3473628"/>
              <a:gd name="connsiteY161" fmla="*/ 1399591 h 2831069"/>
              <a:gd name="connsiteX162" fmla="*/ 891312 w 3473628"/>
              <a:gd name="connsiteY162" fmla="*/ 1413683 h 2831069"/>
              <a:gd name="connsiteX163" fmla="*/ 880805 w 3473628"/>
              <a:gd name="connsiteY163" fmla="*/ 1385623 h 2831069"/>
              <a:gd name="connsiteX164" fmla="*/ 887271 w 3473628"/>
              <a:gd name="connsiteY164" fmla="*/ 1343035 h 2831069"/>
              <a:gd name="connsiteX165" fmla="*/ 919351 w 3473628"/>
              <a:gd name="connsiteY165" fmla="*/ 1314270 h 2831069"/>
              <a:gd name="connsiteX166" fmla="*/ 976031 w 3473628"/>
              <a:gd name="connsiteY166" fmla="*/ 1293402 h 2831069"/>
              <a:gd name="connsiteX167" fmla="*/ 1018183 w 3473628"/>
              <a:gd name="connsiteY167" fmla="*/ 1281900 h 2831069"/>
              <a:gd name="connsiteX168" fmla="*/ 1050844 w 3473628"/>
              <a:gd name="connsiteY168" fmla="*/ 1268947 h 2831069"/>
              <a:gd name="connsiteX169" fmla="*/ 1109244 w 3473628"/>
              <a:gd name="connsiteY169" fmla="*/ 1272118 h 2831069"/>
              <a:gd name="connsiteX170" fmla="*/ 1183622 w 3473628"/>
              <a:gd name="connsiteY170" fmla="*/ 1306209 h 2831069"/>
              <a:gd name="connsiteX171" fmla="*/ 1247202 w 3473628"/>
              <a:gd name="connsiteY171" fmla="*/ 1382017 h 2831069"/>
              <a:gd name="connsiteX172" fmla="*/ 1276983 w 3473628"/>
              <a:gd name="connsiteY172" fmla="*/ 1470777 h 2831069"/>
              <a:gd name="connsiteX173" fmla="*/ 1290785 w 3473628"/>
              <a:gd name="connsiteY173" fmla="*/ 1538959 h 2831069"/>
              <a:gd name="connsiteX174" fmla="*/ 1286184 w 3473628"/>
              <a:gd name="connsiteY174" fmla="*/ 1598664 h 2831069"/>
              <a:gd name="connsiteX175" fmla="*/ 1251223 w 3473628"/>
              <a:gd name="connsiteY175" fmla="*/ 1657789 h 2831069"/>
              <a:gd name="connsiteX176" fmla="*/ 1190792 w 3473628"/>
              <a:gd name="connsiteY176" fmla="*/ 1692460 h 2831069"/>
              <a:gd name="connsiteX177" fmla="*/ 1155396 w 3473628"/>
              <a:gd name="connsiteY177" fmla="*/ 1717349 h 2831069"/>
              <a:gd name="connsiteX178" fmla="*/ 1128786 w 3473628"/>
              <a:gd name="connsiteY178" fmla="*/ 1768848 h 2831069"/>
              <a:gd name="connsiteX179" fmla="*/ 1124766 w 3473628"/>
              <a:gd name="connsiteY179" fmla="*/ 1813156 h 2831069"/>
              <a:gd name="connsiteX180" fmla="*/ 1143459 w 3473628"/>
              <a:gd name="connsiteY180" fmla="*/ 1838045 h 2831069"/>
              <a:gd name="connsiteX181" fmla="*/ 1176700 w 3473628"/>
              <a:gd name="connsiteY181" fmla="*/ 1874581 h 2831069"/>
              <a:gd name="connsiteX182" fmla="*/ 1211951 w 3473628"/>
              <a:gd name="connsiteY182" fmla="*/ 1930971 h 2831069"/>
              <a:gd name="connsiteX183" fmla="*/ 1269791 w 3473628"/>
              <a:gd name="connsiteY183" fmla="*/ 1970678 h 2831069"/>
              <a:gd name="connsiteX184" fmla="*/ 1289790 w 3473628"/>
              <a:gd name="connsiteY184" fmla="*/ 2016996 h 2831069"/>
              <a:gd name="connsiteX185" fmla="*/ 1236696 w 3473628"/>
              <a:gd name="connsiteY185" fmla="*/ 2105031 h 2831069"/>
              <a:gd name="connsiteX186" fmla="*/ 1189362 w 3473628"/>
              <a:gd name="connsiteY186" fmla="*/ 2099269 h 2831069"/>
              <a:gd name="connsiteX187" fmla="*/ 1126921 w 3473628"/>
              <a:gd name="connsiteY187" fmla="*/ 1994386 h 2831069"/>
              <a:gd name="connsiteX188" fmla="*/ 1124621 w 3473628"/>
              <a:gd name="connsiteY188" fmla="*/ 1948773 h 2831069"/>
              <a:gd name="connsiteX189" fmla="*/ 1178855 w 3473628"/>
              <a:gd name="connsiteY189" fmla="*/ 1910226 h 2831069"/>
              <a:gd name="connsiteX190" fmla="*/ 1235245 w 3473628"/>
              <a:gd name="connsiteY190" fmla="*/ 1918288 h 2831069"/>
              <a:gd name="connsiteX191" fmla="*/ 1332792 w 3473628"/>
              <a:gd name="connsiteY191" fmla="*/ 1988065 h 2831069"/>
              <a:gd name="connsiteX192" fmla="*/ 1387316 w 3473628"/>
              <a:gd name="connsiteY192" fmla="*/ 2070650 h 2831069"/>
              <a:gd name="connsiteX193" fmla="*/ 1383710 w 3473628"/>
              <a:gd name="connsiteY193" fmla="*/ 2126190 h 2831069"/>
              <a:gd name="connsiteX194" fmla="*/ 1348459 w 3473628"/>
              <a:gd name="connsiteY194" fmla="*/ 2203448 h 2831069"/>
              <a:gd name="connsiteX195" fmla="*/ 1311923 w 3473628"/>
              <a:gd name="connsiteY195" fmla="*/ 2248771 h 2831069"/>
              <a:gd name="connsiteX196" fmla="*/ 1270786 w 3473628"/>
              <a:gd name="connsiteY196" fmla="*/ 2226907 h 2831069"/>
              <a:gd name="connsiteX197" fmla="*/ 1256694 w 3473628"/>
              <a:gd name="connsiteY197" fmla="*/ 2197417 h 2831069"/>
              <a:gd name="connsiteX198" fmla="*/ 1262745 w 3473628"/>
              <a:gd name="connsiteY198" fmla="*/ 2172093 h 2831069"/>
              <a:gd name="connsiteX199" fmla="*/ 1299427 w 3473628"/>
              <a:gd name="connsiteY199" fmla="*/ 2127640 h 2831069"/>
              <a:gd name="connsiteX200" fmla="*/ 1357826 w 3473628"/>
              <a:gd name="connsiteY200" fmla="*/ 2086068 h 2831069"/>
              <a:gd name="connsiteX201" fmla="*/ 1403999 w 3473628"/>
              <a:gd name="connsiteY201" fmla="*/ 2048372 h 2831069"/>
              <a:gd name="connsiteX202" fmla="*/ 1428453 w 3473628"/>
              <a:gd name="connsiteY202" fmla="*/ 2028228 h 2831069"/>
              <a:gd name="connsiteX203" fmla="*/ 1435644 w 3473628"/>
              <a:gd name="connsiteY203" fmla="*/ 2043481 h 2831069"/>
              <a:gd name="connsiteX204" fmla="*/ 1439375 w 3473628"/>
              <a:gd name="connsiteY204" fmla="*/ 2107062 h 2831069"/>
              <a:gd name="connsiteX205" fmla="*/ 1432039 w 3473628"/>
              <a:gd name="connsiteY205" fmla="*/ 2164902 h 2831069"/>
              <a:gd name="connsiteX206" fmla="*/ 1405864 w 3473628"/>
              <a:gd name="connsiteY206" fmla="*/ 2266469 h 2831069"/>
              <a:gd name="connsiteX207" fmla="*/ 1412765 w 3473628"/>
              <a:gd name="connsiteY207" fmla="*/ 2328330 h 2831069"/>
              <a:gd name="connsiteX208" fmla="*/ 1440245 w 3473628"/>
              <a:gd name="connsiteY208" fmla="*/ 2353074 h 2831069"/>
              <a:gd name="connsiteX209" fmla="*/ 1475932 w 3473628"/>
              <a:gd name="connsiteY209" fmla="*/ 2367457 h 2831069"/>
              <a:gd name="connsiteX210" fmla="*/ 1511038 w 3473628"/>
              <a:gd name="connsiteY210" fmla="*/ 2382710 h 2831069"/>
              <a:gd name="connsiteX211" fmla="*/ 1536217 w 3473628"/>
              <a:gd name="connsiteY211" fmla="*/ 2415225 h 2831069"/>
              <a:gd name="connsiteX212" fmla="*/ 1543408 w 3473628"/>
              <a:gd name="connsiteY212" fmla="*/ 2463843 h 2831069"/>
              <a:gd name="connsiteX213" fmla="*/ 1512758 w 3473628"/>
              <a:gd name="connsiteY213" fmla="*/ 2507156 h 2831069"/>
              <a:gd name="connsiteX214" fmla="*/ 1467083 w 3473628"/>
              <a:gd name="connsiteY214" fmla="*/ 2522844 h 2831069"/>
              <a:gd name="connsiteX215" fmla="*/ 1422195 w 3473628"/>
              <a:gd name="connsiteY215" fmla="*/ 2523860 h 2831069"/>
              <a:gd name="connsiteX216" fmla="*/ 1366738 w 3473628"/>
              <a:gd name="connsiteY216" fmla="*/ 2540832 h 2831069"/>
              <a:gd name="connsiteX217" fmla="*/ 1320420 w 3473628"/>
              <a:gd name="connsiteY217" fmla="*/ 2536667 h 2831069"/>
              <a:gd name="connsiteX218" fmla="*/ 1321788 w 3473628"/>
              <a:gd name="connsiteY218" fmla="*/ 2519549 h 2831069"/>
              <a:gd name="connsiteX219" fmla="*/ 1369846 w 3473628"/>
              <a:gd name="connsiteY219" fmla="*/ 2497893 h 2831069"/>
              <a:gd name="connsiteX220" fmla="*/ 1396891 w 3473628"/>
              <a:gd name="connsiteY220" fmla="*/ 2480277 h 2831069"/>
              <a:gd name="connsiteX221" fmla="*/ 1381286 w 3473628"/>
              <a:gd name="connsiteY221" fmla="*/ 2474102 h 2831069"/>
              <a:gd name="connsiteX222" fmla="*/ 1307986 w 3473628"/>
              <a:gd name="connsiteY222" fmla="*/ 2503094 h 2831069"/>
              <a:gd name="connsiteX223" fmla="*/ 1275760 w 3473628"/>
              <a:gd name="connsiteY223" fmla="*/ 2503820 h 2831069"/>
              <a:gd name="connsiteX224" fmla="*/ 1277190 w 3473628"/>
              <a:gd name="connsiteY224" fmla="*/ 2490515 h 2831069"/>
              <a:gd name="connsiteX225" fmla="*/ 1302287 w 3473628"/>
              <a:gd name="connsiteY225" fmla="*/ 2478495 h 2831069"/>
              <a:gd name="connsiteX226" fmla="*/ 1350407 w 3473628"/>
              <a:gd name="connsiteY226" fmla="*/ 2445109 h 2831069"/>
              <a:gd name="connsiteX227" fmla="*/ 1346946 w 3473628"/>
              <a:gd name="connsiteY227" fmla="*/ 2435120 h 2831069"/>
              <a:gd name="connsiteX228" fmla="*/ 1292774 w 3473628"/>
              <a:gd name="connsiteY228" fmla="*/ 2461812 h 2831069"/>
              <a:gd name="connsiteX229" fmla="*/ 1261834 w 3473628"/>
              <a:gd name="connsiteY229" fmla="*/ 2459719 h 2831069"/>
              <a:gd name="connsiteX230" fmla="*/ 1265149 w 3473628"/>
              <a:gd name="connsiteY230" fmla="*/ 2438933 h 2831069"/>
              <a:gd name="connsiteX231" fmla="*/ 1303053 w 3473628"/>
              <a:gd name="connsiteY231" fmla="*/ 2411308 h 2831069"/>
              <a:gd name="connsiteX232" fmla="*/ 1318513 w 3473628"/>
              <a:gd name="connsiteY232" fmla="*/ 2393175 h 2831069"/>
              <a:gd name="connsiteX233" fmla="*/ 1306783 w 3473628"/>
              <a:gd name="connsiteY233" fmla="*/ 2385984 h 2831069"/>
              <a:gd name="connsiteX234" fmla="*/ 1268590 w 3473628"/>
              <a:gd name="connsiteY234" fmla="*/ 2403392 h 2831069"/>
              <a:gd name="connsiteX235" fmla="*/ 1243410 w 3473628"/>
              <a:gd name="connsiteY235" fmla="*/ 2405257 h 2831069"/>
              <a:gd name="connsiteX236" fmla="*/ 1242685 w 3473628"/>
              <a:gd name="connsiteY236" fmla="*/ 2382461 h 2831069"/>
              <a:gd name="connsiteX237" fmla="*/ 1284402 w 3473628"/>
              <a:gd name="connsiteY237" fmla="*/ 2341469 h 2831069"/>
              <a:gd name="connsiteX238" fmla="*/ 1360935 w 3473628"/>
              <a:gd name="connsiteY238" fmla="*/ 2306218 h 2831069"/>
              <a:gd name="connsiteX239" fmla="*/ 1411004 w 3473628"/>
              <a:gd name="connsiteY239" fmla="*/ 2303047 h 2831069"/>
              <a:gd name="connsiteX240" fmla="*/ 1438484 w 3473628"/>
              <a:gd name="connsiteY240" fmla="*/ 2295131 h 2831069"/>
              <a:gd name="connsiteX241" fmla="*/ 1468409 w 3473628"/>
              <a:gd name="connsiteY241" fmla="*/ 2243777 h 2831069"/>
              <a:gd name="connsiteX242" fmla="*/ 1532570 w 3473628"/>
              <a:gd name="connsiteY242" fmla="*/ 2156301 h 2831069"/>
              <a:gd name="connsiteX243" fmla="*/ 1610761 w 3473628"/>
              <a:gd name="connsiteY243" fmla="*/ 2074152 h 2831069"/>
              <a:gd name="connsiteX244" fmla="*/ 1628957 w 3473628"/>
              <a:gd name="connsiteY244" fmla="*/ 2041864 h 2831069"/>
              <a:gd name="connsiteX245" fmla="*/ 1628604 w 3473628"/>
              <a:gd name="connsiteY245" fmla="*/ 2021078 h 2831069"/>
              <a:gd name="connsiteX246" fmla="*/ 1642841 w 3473628"/>
              <a:gd name="connsiteY246" fmla="*/ 2001308 h 2831069"/>
              <a:gd name="connsiteX247" fmla="*/ 1697863 w 3473628"/>
              <a:gd name="connsiteY247" fmla="*/ 1963611 h 2831069"/>
              <a:gd name="connsiteX248" fmla="*/ 1768718 w 3473628"/>
              <a:gd name="connsiteY248" fmla="*/ 1914703 h 2831069"/>
              <a:gd name="connsiteX249" fmla="*/ 1816549 w 3473628"/>
              <a:gd name="connsiteY249" fmla="*/ 1881109 h 2831069"/>
              <a:gd name="connsiteX250" fmla="*/ 1846039 w 3473628"/>
              <a:gd name="connsiteY250" fmla="*/ 1836221 h 2831069"/>
              <a:gd name="connsiteX251" fmla="*/ 1863882 w 3473628"/>
              <a:gd name="connsiteY251" fmla="*/ 1739400 h 2831069"/>
              <a:gd name="connsiteX252" fmla="*/ 1862162 w 3473628"/>
              <a:gd name="connsiteY252" fmla="*/ 1654225 h 2831069"/>
              <a:gd name="connsiteX253" fmla="*/ 1849355 w 3473628"/>
              <a:gd name="connsiteY253" fmla="*/ 1586312 h 2831069"/>
              <a:gd name="connsiteX254" fmla="*/ 1804322 w 3473628"/>
              <a:gd name="connsiteY254" fmla="*/ 1511499 h 2831069"/>
              <a:gd name="connsiteX255" fmla="*/ 1748512 w 3473628"/>
              <a:gd name="connsiteY255" fmla="*/ 1463296 h 2831069"/>
              <a:gd name="connsiteX256" fmla="*/ 1688662 w 3473628"/>
              <a:gd name="connsiteY256" fmla="*/ 1445017 h 2831069"/>
              <a:gd name="connsiteX257" fmla="*/ 1629682 w 3473628"/>
              <a:gd name="connsiteY257" fmla="*/ 1434655 h 2831069"/>
              <a:gd name="connsiteX258" fmla="*/ 1565521 w 3473628"/>
              <a:gd name="connsiteY258" fmla="*/ 1420708 h 2831069"/>
              <a:gd name="connsiteX259" fmla="*/ 1482377 w 3473628"/>
              <a:gd name="connsiteY259" fmla="*/ 1428044 h 2831069"/>
              <a:gd name="connsiteX260" fmla="*/ 1425117 w 3473628"/>
              <a:gd name="connsiteY260" fmla="*/ 1469036 h 2831069"/>
              <a:gd name="connsiteX261" fmla="*/ 1416910 w 3473628"/>
              <a:gd name="connsiteY261" fmla="*/ 1533923 h 2831069"/>
              <a:gd name="connsiteX262" fmla="*/ 1436618 w 3473628"/>
              <a:gd name="connsiteY262" fmla="*/ 1580240 h 2831069"/>
              <a:gd name="connsiteX263" fmla="*/ 1448265 w 3473628"/>
              <a:gd name="connsiteY263" fmla="*/ 1638081 h 2831069"/>
              <a:gd name="connsiteX264" fmla="*/ 1432577 w 3473628"/>
              <a:gd name="connsiteY264" fmla="*/ 1733037 h 2831069"/>
              <a:gd name="connsiteX265" fmla="*/ 1436598 w 3473628"/>
              <a:gd name="connsiteY265" fmla="*/ 1799063 h 2831069"/>
              <a:gd name="connsiteX266" fmla="*/ 1493568 w 3473628"/>
              <a:gd name="connsiteY266" fmla="*/ 1841216 h 2831069"/>
              <a:gd name="connsiteX267" fmla="*/ 1619299 w 3473628"/>
              <a:gd name="connsiteY267" fmla="*/ 1854168 h 2831069"/>
              <a:gd name="connsiteX268" fmla="*/ 1704039 w 3473628"/>
              <a:gd name="connsiteY268" fmla="*/ 1837050 h 2831069"/>
              <a:gd name="connsiteX269" fmla="*/ 1739290 w 3473628"/>
              <a:gd name="connsiteY269" fmla="*/ 1788577 h 2831069"/>
              <a:gd name="connsiteX270" fmla="*/ 1754108 w 3473628"/>
              <a:gd name="connsiteY270" fmla="*/ 1758507 h 2831069"/>
              <a:gd name="connsiteX271" fmla="*/ 1769071 w 3473628"/>
              <a:gd name="connsiteY271" fmla="*/ 1758507 h 2831069"/>
              <a:gd name="connsiteX272" fmla="*/ 1773526 w 3473628"/>
              <a:gd name="connsiteY272" fmla="*/ 1787562 h 2831069"/>
              <a:gd name="connsiteX273" fmla="*/ 1747621 w 3473628"/>
              <a:gd name="connsiteY273" fmla="*/ 1819497 h 2831069"/>
              <a:gd name="connsiteX274" fmla="*/ 1719271 w 3473628"/>
              <a:gd name="connsiteY274" fmla="*/ 1806110 h 2831069"/>
              <a:gd name="connsiteX275" fmla="*/ 1727478 w 3473628"/>
              <a:gd name="connsiteY275" fmla="*/ 1762092 h 2831069"/>
              <a:gd name="connsiteX276" fmla="*/ 1757258 w 3473628"/>
              <a:gd name="connsiteY276" fmla="*/ 1731297 h 2831069"/>
              <a:gd name="connsiteX277" fmla="*/ 1781857 w 3473628"/>
              <a:gd name="connsiteY277" fmla="*/ 1696626 h 2831069"/>
              <a:gd name="connsiteX278" fmla="*/ 1759123 w 3473628"/>
              <a:gd name="connsiteY278" fmla="*/ 1625563 h 2831069"/>
              <a:gd name="connsiteX279" fmla="*/ 1710650 w 3473628"/>
              <a:gd name="connsiteY279" fmla="*/ 1549175 h 2831069"/>
              <a:gd name="connsiteX280" fmla="*/ 1628065 w 3473628"/>
              <a:gd name="connsiteY280" fmla="*/ 1512349 h 2831069"/>
              <a:gd name="connsiteX281" fmla="*/ 1535989 w 3473628"/>
              <a:gd name="connsiteY281" fmla="*/ 1521260 h 2831069"/>
              <a:gd name="connsiteX282" fmla="*/ 1469528 w 3473628"/>
              <a:gd name="connsiteY282" fmla="*/ 1574624 h 2831069"/>
              <a:gd name="connsiteX283" fmla="*/ 1448100 w 3473628"/>
              <a:gd name="connsiteY283" fmla="*/ 1608280 h 2831069"/>
              <a:gd name="connsiteX284" fmla="*/ 1425946 w 3473628"/>
              <a:gd name="connsiteY284" fmla="*/ 1663384 h 2831069"/>
              <a:gd name="connsiteX285" fmla="*/ 1406527 w 3473628"/>
              <a:gd name="connsiteY285" fmla="*/ 1760351 h 2831069"/>
              <a:gd name="connsiteX286" fmla="*/ 1422215 w 3473628"/>
              <a:gd name="connsiteY286" fmla="*/ 1829693 h 2831069"/>
              <a:gd name="connsiteX287" fmla="*/ 1452866 w 3473628"/>
              <a:gd name="connsiteY287" fmla="*/ 1880115 h 2831069"/>
              <a:gd name="connsiteX288" fmla="*/ 1472139 w 3473628"/>
              <a:gd name="connsiteY288" fmla="*/ 1939737 h 2831069"/>
              <a:gd name="connsiteX289" fmla="*/ 1476885 w 3473628"/>
              <a:gd name="connsiteY289" fmla="*/ 1996769 h 2831069"/>
              <a:gd name="connsiteX290" fmla="*/ 1459332 w 3473628"/>
              <a:gd name="connsiteY290" fmla="*/ 2060205 h 2831069"/>
              <a:gd name="connsiteX291" fmla="*/ 1462212 w 3473628"/>
              <a:gd name="connsiteY291" fmla="*/ 2092430 h 2831069"/>
              <a:gd name="connsiteX292" fmla="*/ 1501339 w 3473628"/>
              <a:gd name="connsiteY292" fmla="*/ 2073157 h 2831069"/>
              <a:gd name="connsiteX293" fmla="*/ 1597083 w 3473628"/>
              <a:gd name="connsiteY293" fmla="*/ 2002592 h 2831069"/>
              <a:gd name="connsiteX294" fmla="*/ 1667586 w 3473628"/>
              <a:gd name="connsiteY294" fmla="*/ 1957705 h 2831069"/>
              <a:gd name="connsiteX295" fmla="*/ 1726856 w 3473628"/>
              <a:gd name="connsiteY295" fmla="*/ 1927987 h 2831069"/>
              <a:gd name="connsiteX296" fmla="*/ 1753258 w 3473628"/>
              <a:gd name="connsiteY296" fmla="*/ 1933520 h 2831069"/>
              <a:gd name="connsiteX297" fmla="*/ 1781816 w 3473628"/>
              <a:gd name="connsiteY297" fmla="*/ 1986034 h 2831069"/>
              <a:gd name="connsiteX298" fmla="*/ 1823616 w 3473628"/>
              <a:gd name="connsiteY298" fmla="*/ 2024809 h 2831069"/>
              <a:gd name="connsiteX299" fmla="*/ 1853044 w 3473628"/>
              <a:gd name="connsiteY299" fmla="*/ 2039129 h 2831069"/>
              <a:gd name="connsiteX300" fmla="*/ 1845417 w 3473628"/>
              <a:gd name="connsiteY300" fmla="*/ 2056392 h 2831069"/>
              <a:gd name="connsiteX301" fmla="*/ 1802685 w 3473628"/>
              <a:gd name="connsiteY301" fmla="*/ 2090420 h 2831069"/>
              <a:gd name="connsiteX302" fmla="*/ 1764283 w 3473628"/>
              <a:gd name="connsiteY302" fmla="*/ 2152281 h 2831069"/>
              <a:gd name="connsiteX303" fmla="*/ 1702132 w 3473628"/>
              <a:gd name="connsiteY303" fmla="*/ 2291753 h 2831069"/>
              <a:gd name="connsiteX304" fmla="*/ 1672207 w 3473628"/>
              <a:gd name="connsiteY304" fmla="*/ 2356639 h 2831069"/>
              <a:gd name="connsiteX305" fmla="*/ 1654654 w 3473628"/>
              <a:gd name="connsiteY305" fmla="*/ 2363043 h 2831069"/>
              <a:gd name="connsiteX306" fmla="*/ 1613082 w 3473628"/>
              <a:gd name="connsiteY306" fmla="*/ 2345054 h 2831069"/>
              <a:gd name="connsiteX307" fmla="*/ 1559925 w 3473628"/>
              <a:gd name="connsiteY307" fmla="*/ 2330174 h 2831069"/>
              <a:gd name="connsiteX308" fmla="*/ 1518498 w 3473628"/>
              <a:gd name="connsiteY308" fmla="*/ 2333345 h 2831069"/>
              <a:gd name="connsiteX309" fmla="*/ 1485112 w 3473628"/>
              <a:gd name="connsiteY309" fmla="*/ 2345075 h 2831069"/>
              <a:gd name="connsiteX310" fmla="*/ 1462813 w 3473628"/>
              <a:gd name="connsiteY310" fmla="*/ 2341759 h 2831069"/>
              <a:gd name="connsiteX311" fmla="*/ 1462523 w 3473628"/>
              <a:gd name="connsiteY311" fmla="*/ 2316435 h 2831069"/>
              <a:gd name="connsiteX312" fmla="*/ 1514022 w 3473628"/>
              <a:gd name="connsiteY312" fmla="*/ 2230907 h 2831069"/>
              <a:gd name="connsiteX313" fmla="*/ 1633868 w 3473628"/>
              <a:gd name="connsiteY313" fmla="*/ 2086462 h 2831069"/>
              <a:gd name="connsiteX314" fmla="*/ 1761050 w 3473628"/>
              <a:gd name="connsiteY314" fmla="*/ 2009494 h 2831069"/>
              <a:gd name="connsiteX315" fmla="*/ 1835718 w 3473628"/>
              <a:gd name="connsiteY315" fmla="*/ 2007773 h 2831069"/>
              <a:gd name="connsiteX316" fmla="*/ 1915422 w 3473628"/>
              <a:gd name="connsiteY316" fmla="*/ 2040579 h 2831069"/>
              <a:gd name="connsiteX317" fmla="*/ 1956414 w 3473628"/>
              <a:gd name="connsiteY317" fmla="*/ 2094378 h 2831069"/>
              <a:gd name="connsiteX318" fmla="*/ 1981593 w 3473628"/>
              <a:gd name="connsiteY318" fmla="*/ 2161420 h 2831069"/>
              <a:gd name="connsiteX319" fmla="*/ 1998421 w 3473628"/>
              <a:gd name="connsiteY319" fmla="*/ 2191781 h 2831069"/>
              <a:gd name="connsiteX320" fmla="*/ 2004473 w 3473628"/>
              <a:gd name="connsiteY320" fmla="*/ 2185874 h 2831069"/>
              <a:gd name="connsiteX321" fmla="*/ 1997717 w 3473628"/>
              <a:gd name="connsiteY321" fmla="*/ 2138106 h 2831069"/>
              <a:gd name="connsiteX322" fmla="*/ 1965781 w 3473628"/>
              <a:gd name="connsiteY322" fmla="*/ 2073364 h 2831069"/>
              <a:gd name="connsiteX323" fmla="*/ 1892688 w 3473628"/>
              <a:gd name="connsiteY323" fmla="*/ 2059127 h 2831069"/>
              <a:gd name="connsiteX324" fmla="*/ 1816155 w 3473628"/>
              <a:gd name="connsiteY324" fmla="*/ 2115517 h 2831069"/>
              <a:gd name="connsiteX325" fmla="*/ 1767682 w 3473628"/>
              <a:gd name="connsiteY325" fmla="*/ 2216504 h 2831069"/>
              <a:gd name="connsiteX326" fmla="*/ 1756740 w 3473628"/>
              <a:gd name="connsiteY326" fmla="*/ 2315771 h 2831069"/>
              <a:gd name="connsiteX327" fmla="*/ 1733280 w 3473628"/>
              <a:gd name="connsiteY327" fmla="*/ 2398211 h 2831069"/>
              <a:gd name="connsiteX328" fmla="*/ 1632148 w 3473628"/>
              <a:gd name="connsiteY328" fmla="*/ 2384554 h 2831069"/>
              <a:gd name="connsiteX329" fmla="*/ 1539637 w 3473628"/>
              <a:gd name="connsiteY329" fmla="*/ 2352183 h 2831069"/>
              <a:gd name="connsiteX330" fmla="*/ 1522519 w 3473628"/>
              <a:gd name="connsiteY330" fmla="*/ 2359229 h 2831069"/>
              <a:gd name="connsiteX331" fmla="*/ 1543947 w 3473628"/>
              <a:gd name="connsiteY331" fmla="*/ 2385549 h 2831069"/>
              <a:gd name="connsiteX332" fmla="*/ 1564381 w 3473628"/>
              <a:gd name="connsiteY332" fmla="*/ 2430727 h 2831069"/>
              <a:gd name="connsiteX333" fmla="*/ 1559200 w 3473628"/>
              <a:gd name="connsiteY333" fmla="*/ 2486412 h 2831069"/>
              <a:gd name="connsiteX334" fmla="*/ 1529710 w 3473628"/>
              <a:gd name="connsiteY334" fmla="*/ 2562364 h 2831069"/>
              <a:gd name="connsiteX335" fmla="*/ 1544963 w 3473628"/>
              <a:gd name="connsiteY335" fmla="*/ 2634587 h 2831069"/>
              <a:gd name="connsiteX336" fmla="*/ 1609124 w 3473628"/>
              <a:gd name="connsiteY336" fmla="*/ 2669984 h 2831069"/>
              <a:gd name="connsiteX337" fmla="*/ 1709821 w 3473628"/>
              <a:gd name="connsiteY337" fmla="*/ 2685526 h 2831069"/>
              <a:gd name="connsiteX338" fmla="*/ 1825481 w 3473628"/>
              <a:gd name="connsiteY338" fmla="*/ 2710706 h 2831069"/>
              <a:gd name="connsiteX339" fmla="*/ 1849666 w 3473628"/>
              <a:gd name="connsiteY339" fmla="*/ 2737274 h 2831069"/>
              <a:gd name="connsiteX340" fmla="*/ 1827284 w 3473628"/>
              <a:gd name="connsiteY340" fmla="*/ 2775385 h 2831069"/>
              <a:gd name="connsiteX341" fmla="*/ 1859468 w 3473628"/>
              <a:gd name="connsiteY341" fmla="*/ 2784130 h 2831069"/>
              <a:gd name="connsiteX342" fmla="*/ 2089565 w 3473628"/>
              <a:gd name="connsiteY342" fmla="*/ 2784130 h 2831069"/>
              <a:gd name="connsiteX343" fmla="*/ 2566897 w 3473628"/>
              <a:gd name="connsiteY343" fmla="*/ 2782162 h 2831069"/>
              <a:gd name="connsiteX344" fmla="*/ 2687966 w 3473628"/>
              <a:gd name="connsiteY344" fmla="*/ 2759884 h 2831069"/>
              <a:gd name="connsiteX345" fmla="*/ 2680464 w 3473628"/>
              <a:gd name="connsiteY345" fmla="*/ 2692303 h 2831069"/>
              <a:gd name="connsiteX346" fmla="*/ 2633566 w 3473628"/>
              <a:gd name="connsiteY346" fmla="*/ 2631872 h 2831069"/>
              <a:gd name="connsiteX347" fmla="*/ 2492291 w 3473628"/>
              <a:gd name="connsiteY347" fmla="*/ 2565701 h 2831069"/>
              <a:gd name="connsiteX348" fmla="*/ 2424110 w 3473628"/>
              <a:gd name="connsiteY348" fmla="*/ 2476651 h 2831069"/>
              <a:gd name="connsiteX349" fmla="*/ 2465247 w 3473628"/>
              <a:gd name="connsiteY349" fmla="*/ 2186330 h 2831069"/>
              <a:gd name="connsiteX350" fmla="*/ 2494592 w 3473628"/>
              <a:gd name="connsiteY350" fmla="*/ 1978159 h 2831069"/>
              <a:gd name="connsiteX351" fmla="*/ 2532289 w 3473628"/>
              <a:gd name="connsiteY351" fmla="*/ 1883202 h 2831069"/>
              <a:gd name="connsiteX352" fmla="*/ 2600200 w 3473628"/>
              <a:gd name="connsiteY352" fmla="*/ 1837175 h 2831069"/>
              <a:gd name="connsiteX353" fmla="*/ 2643928 w 3473628"/>
              <a:gd name="connsiteY353" fmla="*/ 1758051 h 2831069"/>
              <a:gd name="connsiteX354" fmla="*/ 2671553 w 3473628"/>
              <a:gd name="connsiteY354" fmla="*/ 1632029 h 2831069"/>
              <a:gd name="connsiteX355" fmla="*/ 2694577 w 3473628"/>
              <a:gd name="connsiteY355" fmla="*/ 1561817 h 2831069"/>
              <a:gd name="connsiteX356" fmla="*/ 2707239 w 3473628"/>
              <a:gd name="connsiteY356" fmla="*/ 1548305 h 2831069"/>
              <a:gd name="connsiteX357" fmla="*/ 2696877 w 3473628"/>
              <a:gd name="connsiteY357" fmla="*/ 1616217 h 2831069"/>
              <a:gd name="connsiteX358" fmla="*/ 2656300 w 3473628"/>
              <a:gd name="connsiteY358" fmla="*/ 1792308 h 2831069"/>
              <a:gd name="connsiteX359" fmla="*/ 2576306 w 3473628"/>
              <a:gd name="connsiteY359" fmla="*/ 1905377 h 2831069"/>
              <a:gd name="connsiteX360" fmla="*/ 2484810 w 3473628"/>
              <a:gd name="connsiteY360" fmla="*/ 1918329 h 2831069"/>
              <a:gd name="connsiteX361" fmla="*/ 2405251 w 3473628"/>
              <a:gd name="connsiteY361" fmla="*/ 1822813 h 2831069"/>
              <a:gd name="connsiteX362" fmla="*/ 2384113 w 3473628"/>
              <a:gd name="connsiteY362" fmla="*/ 1673912 h 2831069"/>
              <a:gd name="connsiteX363" fmla="*/ 2378642 w 3473628"/>
              <a:gd name="connsiteY363" fmla="*/ 1541984 h 2831069"/>
              <a:gd name="connsiteX364" fmla="*/ 2373751 w 3473628"/>
              <a:gd name="connsiteY364" fmla="*/ 1415527 h 2831069"/>
              <a:gd name="connsiteX365" fmla="*/ 2347141 w 3473628"/>
              <a:gd name="connsiteY365" fmla="*/ 1246918 h 2831069"/>
              <a:gd name="connsiteX366" fmla="*/ 2334769 w 3473628"/>
              <a:gd name="connsiteY366" fmla="*/ 1142615 h 2831069"/>
              <a:gd name="connsiteX367" fmla="*/ 2329153 w 3473628"/>
              <a:gd name="connsiteY367" fmla="*/ 1065211 h 2831069"/>
              <a:gd name="connsiteX368" fmla="*/ 2304554 w 3473628"/>
              <a:gd name="connsiteY368" fmla="*/ 939335 h 2831069"/>
              <a:gd name="connsiteX369" fmla="*/ 2256641 w 3473628"/>
              <a:gd name="connsiteY369" fmla="*/ 796630 h 2831069"/>
              <a:gd name="connsiteX370" fmla="*/ 2230736 w 3473628"/>
              <a:gd name="connsiteY370" fmla="*/ 692327 h 2831069"/>
              <a:gd name="connsiteX371" fmla="*/ 2239502 w 3473628"/>
              <a:gd name="connsiteY371" fmla="*/ 643564 h 2831069"/>
              <a:gd name="connsiteX372" fmla="*/ 2294026 w 3473628"/>
              <a:gd name="connsiteY372" fmla="*/ 635647 h 2831069"/>
              <a:gd name="connsiteX373" fmla="*/ 2342789 w 3473628"/>
              <a:gd name="connsiteY373" fmla="*/ 621700 h 2831069"/>
              <a:gd name="connsiteX374" fmla="*/ 2378621 w 3473628"/>
              <a:gd name="connsiteY374" fmla="*/ 587174 h 2831069"/>
              <a:gd name="connsiteX375" fmla="*/ 2391283 w 3473628"/>
              <a:gd name="connsiteY375" fmla="*/ 534080 h 2831069"/>
              <a:gd name="connsiteX376" fmla="*/ 2374601 w 3473628"/>
              <a:gd name="connsiteY376" fmla="*/ 480426 h 2831069"/>
              <a:gd name="connsiteX377" fmla="*/ 2310004 w 3473628"/>
              <a:gd name="connsiteY377" fmla="*/ 360020 h 2831069"/>
              <a:gd name="connsiteX378" fmla="*/ 2266567 w 3473628"/>
              <a:gd name="connsiteY378" fmla="*/ 280171 h 2831069"/>
              <a:gd name="connsiteX379" fmla="*/ 2203691 w 3473628"/>
              <a:gd name="connsiteY379" fmla="*/ 213564 h 2831069"/>
              <a:gd name="connsiteX380" fmla="*/ 2153622 w 3473628"/>
              <a:gd name="connsiteY380" fmla="*/ 194291 h 2831069"/>
              <a:gd name="connsiteX381" fmla="*/ 2109315 w 3473628"/>
              <a:gd name="connsiteY381" fmla="*/ 218310 h 2831069"/>
              <a:gd name="connsiteX382" fmla="*/ 2085731 w 3473628"/>
              <a:gd name="connsiteY382" fmla="*/ 264214 h 2831069"/>
              <a:gd name="connsiteX383" fmla="*/ 2085006 w 3473628"/>
              <a:gd name="connsiteY383" fmla="*/ 308666 h 2831069"/>
              <a:gd name="connsiteX384" fmla="*/ 2107595 w 3473628"/>
              <a:gd name="connsiteY384" fmla="*/ 327794 h 2831069"/>
              <a:gd name="connsiteX385" fmla="*/ 2138245 w 3473628"/>
              <a:gd name="connsiteY385" fmla="*/ 329660 h 2831069"/>
              <a:gd name="connsiteX386" fmla="*/ 2151343 w 3473628"/>
              <a:gd name="connsiteY386" fmla="*/ 299299 h 2831069"/>
              <a:gd name="connsiteX387" fmla="*/ 2155508 w 3473628"/>
              <a:gd name="connsiteY387" fmla="*/ 263053 h 2831069"/>
              <a:gd name="connsiteX388" fmla="*/ 2173641 w 3473628"/>
              <a:gd name="connsiteY388" fmla="*/ 251261 h 2831069"/>
              <a:gd name="connsiteX389" fmla="*/ 2215068 w 3473628"/>
              <a:gd name="connsiteY389" fmla="*/ 262058 h 2831069"/>
              <a:gd name="connsiteX390" fmla="*/ 2248019 w 3473628"/>
              <a:gd name="connsiteY390" fmla="*/ 269975 h 2831069"/>
              <a:gd name="connsiteX391" fmla="*/ 2262257 w 3473628"/>
              <a:gd name="connsiteY391" fmla="*/ 259903 h 2831069"/>
              <a:gd name="connsiteX392" fmla="*/ 2259749 w 3473628"/>
              <a:gd name="connsiteY392" fmla="*/ 230993 h 2831069"/>
              <a:gd name="connsiteX393" fmla="*/ 2231337 w 3473628"/>
              <a:gd name="connsiteY393" fmla="*/ 190851 h 2831069"/>
              <a:gd name="connsiteX394" fmla="*/ 2181351 w 3473628"/>
              <a:gd name="connsiteY394" fmla="*/ 163309 h 2831069"/>
              <a:gd name="connsiteX395" fmla="*/ 2141354 w 3473628"/>
              <a:gd name="connsiteY395" fmla="*/ 157548 h 2831069"/>
              <a:gd name="connsiteX396" fmla="*/ 2113377 w 3473628"/>
              <a:gd name="connsiteY396" fmla="*/ 169485 h 2831069"/>
              <a:gd name="connsiteX397" fmla="*/ 2082726 w 3473628"/>
              <a:gd name="connsiteY397" fmla="*/ 176469 h 2831069"/>
              <a:gd name="connsiteX398" fmla="*/ 2031870 w 3473628"/>
              <a:gd name="connsiteY398" fmla="*/ 162086 h 2831069"/>
              <a:gd name="connsiteX399" fmla="*/ 1991955 w 3473628"/>
              <a:gd name="connsiteY399" fmla="*/ 137280 h 2831069"/>
              <a:gd name="connsiteX400" fmla="*/ 1950528 w 3473628"/>
              <a:gd name="connsiteY400" fmla="*/ 77222 h 2831069"/>
              <a:gd name="connsiteX401" fmla="*/ 1938737 w 3473628"/>
              <a:gd name="connsiteY401" fmla="*/ 27008 h 2831069"/>
              <a:gd name="connsiteX402" fmla="*/ 1947669 w 3473628"/>
              <a:gd name="connsiteY402" fmla="*/ 1725 h 2831069"/>
              <a:gd name="connsiteX403" fmla="*/ 1970755 w 3473628"/>
              <a:gd name="connsiteY403" fmla="*/ 8461 h 2831069"/>
              <a:gd name="connsiteX404" fmla="*/ 2009260 w 3473628"/>
              <a:gd name="connsiteY404" fmla="*/ 49494 h 2831069"/>
              <a:gd name="connsiteX405" fmla="*/ 2058292 w 3473628"/>
              <a:gd name="connsiteY405" fmla="*/ 104412 h 2831069"/>
              <a:gd name="connsiteX406" fmla="*/ 2093544 w 3473628"/>
              <a:gd name="connsiteY406" fmla="*/ 149010 h 2831069"/>
              <a:gd name="connsiteX407" fmla="*/ 2084487 w 3473628"/>
              <a:gd name="connsiteY407" fmla="*/ 165837 h 2831069"/>
              <a:gd name="connsiteX408" fmla="*/ 2039599 w 3473628"/>
              <a:gd name="connsiteY408" fmla="*/ 172593 h 2831069"/>
              <a:gd name="connsiteX409" fmla="*/ 2028657 w 3473628"/>
              <a:gd name="connsiteY409" fmla="*/ 186976 h 2831069"/>
              <a:gd name="connsiteX410" fmla="*/ 2037424 w 3473628"/>
              <a:gd name="connsiteY410" fmla="*/ 210435 h 2831069"/>
              <a:gd name="connsiteX411" fmla="*/ 2052531 w 3473628"/>
              <a:gd name="connsiteY411" fmla="*/ 240360 h 2831069"/>
              <a:gd name="connsiteX412" fmla="*/ 2063183 w 3473628"/>
              <a:gd name="connsiteY412" fmla="*/ 276606 h 2831069"/>
              <a:gd name="connsiteX413" fmla="*/ 2061173 w 3473628"/>
              <a:gd name="connsiteY413" fmla="*/ 308832 h 2831069"/>
              <a:gd name="connsiteX414" fmla="*/ 2047226 w 3473628"/>
              <a:gd name="connsiteY414" fmla="*/ 318324 h 2831069"/>
              <a:gd name="connsiteX415" fmla="*/ 2037009 w 3473628"/>
              <a:gd name="connsiteY415" fmla="*/ 303216 h 2831069"/>
              <a:gd name="connsiteX416" fmla="*/ 2039890 w 3473628"/>
              <a:gd name="connsiteY416" fmla="*/ 281932 h 2831069"/>
              <a:gd name="connsiteX417" fmla="*/ 2037589 w 3473628"/>
              <a:gd name="connsiteY417" fmla="*/ 253168 h 2831069"/>
              <a:gd name="connsiteX418" fmla="*/ 2017301 w 3473628"/>
              <a:gd name="connsiteY418" fmla="*/ 238640 h 2831069"/>
              <a:gd name="connsiteX419" fmla="*/ 1980039 w 3473628"/>
              <a:gd name="connsiteY419" fmla="*/ 250142 h 2831069"/>
              <a:gd name="connsiteX420" fmla="*/ 1965367 w 3473628"/>
              <a:gd name="connsiteY420" fmla="*/ 281207 h 2831069"/>
              <a:gd name="connsiteX421" fmla="*/ 1979604 w 3473628"/>
              <a:gd name="connsiteY421" fmla="*/ 326820 h 2831069"/>
              <a:gd name="connsiteX422" fmla="*/ 2042625 w 3473628"/>
              <a:gd name="connsiteY422" fmla="*/ 396598 h 2831069"/>
              <a:gd name="connsiteX423" fmla="*/ 2145208 w 3473628"/>
              <a:gd name="connsiteY423" fmla="*/ 455288 h 2831069"/>
              <a:gd name="connsiteX424" fmla="*/ 2223752 w 3473628"/>
              <a:gd name="connsiteY424" fmla="*/ 542183 h 2831069"/>
              <a:gd name="connsiteX425" fmla="*/ 2264889 w 3473628"/>
              <a:gd name="connsiteY425" fmla="*/ 604624 h 2831069"/>
              <a:gd name="connsiteX426" fmla="*/ 2331640 w 3473628"/>
              <a:gd name="connsiteY426" fmla="*/ 595132 h 2831069"/>
              <a:gd name="connsiteX427" fmla="*/ 2408753 w 3473628"/>
              <a:gd name="connsiteY427" fmla="*/ 561746 h 2831069"/>
              <a:gd name="connsiteX428" fmla="*/ 2486157 w 3473628"/>
              <a:gd name="connsiteY428" fmla="*/ 631088 h 2831069"/>
              <a:gd name="connsiteX429" fmla="*/ 2597797 w 3473628"/>
              <a:gd name="connsiteY429" fmla="*/ 831052 h 2831069"/>
              <a:gd name="connsiteX430" fmla="*/ 2689292 w 3473628"/>
              <a:gd name="connsiteY430" fmla="*/ 1008013 h 2831069"/>
              <a:gd name="connsiteX431" fmla="*/ 2728999 w 3473628"/>
              <a:gd name="connsiteY431" fmla="*/ 1141081 h 2831069"/>
              <a:gd name="connsiteX432" fmla="*/ 2722098 w 3473628"/>
              <a:gd name="connsiteY432" fmla="*/ 1265963 h 2831069"/>
              <a:gd name="connsiteX433" fmla="*/ 2726409 w 3473628"/>
              <a:gd name="connsiteY433" fmla="*/ 1370556 h 2831069"/>
              <a:gd name="connsiteX434" fmla="*/ 2748998 w 3473628"/>
              <a:gd name="connsiteY434" fmla="*/ 1502194 h 2831069"/>
              <a:gd name="connsiteX435" fmla="*/ 2793596 w 3473628"/>
              <a:gd name="connsiteY435" fmla="*/ 1683756 h 2831069"/>
              <a:gd name="connsiteX436" fmla="*/ 2841924 w 3473628"/>
              <a:gd name="connsiteY436" fmla="*/ 1899699 h 2831069"/>
              <a:gd name="connsiteX437" fmla="*/ 2835872 w 3473628"/>
              <a:gd name="connsiteY437" fmla="*/ 2160094 h 2831069"/>
              <a:gd name="connsiteX438" fmla="*/ 2789119 w 3473628"/>
              <a:gd name="connsiteY438" fmla="*/ 2458476 h 2831069"/>
              <a:gd name="connsiteX439" fmla="*/ 2737620 w 3473628"/>
              <a:gd name="connsiteY439" fmla="*/ 2693547 h 2831069"/>
              <a:gd name="connsiteX440" fmla="*/ 2657626 w 3473628"/>
              <a:gd name="connsiteY440" fmla="*/ 2723762 h 2831069"/>
              <a:gd name="connsiteX441" fmla="*/ 2479816 w 3473628"/>
              <a:gd name="connsiteY441" fmla="*/ 2656720 h 2831069"/>
              <a:gd name="connsiteX442" fmla="*/ 2254237 w 3473628"/>
              <a:gd name="connsiteY442" fmla="*/ 2611832 h 2831069"/>
              <a:gd name="connsiteX443" fmla="*/ 2082166 w 3473628"/>
              <a:gd name="connsiteY443" fmla="*/ 2636287 h 2831069"/>
              <a:gd name="connsiteX444" fmla="*/ 1994401 w 3473628"/>
              <a:gd name="connsiteY444" fmla="*/ 2663621 h 2831069"/>
              <a:gd name="connsiteX445" fmla="*/ 1965346 w 3473628"/>
              <a:gd name="connsiteY445" fmla="*/ 2610382 h 2831069"/>
              <a:gd name="connsiteX446" fmla="*/ 1972537 w 3473628"/>
              <a:gd name="connsiteY446" fmla="*/ 2529538 h 2831069"/>
              <a:gd name="connsiteX447" fmla="*/ 2001302 w 3473628"/>
              <a:gd name="connsiteY447" fmla="*/ 2410127 h 2831069"/>
              <a:gd name="connsiteX448" fmla="*/ 2065173 w 3473628"/>
              <a:gd name="connsiteY448" fmla="*/ 2234762 h 2831069"/>
              <a:gd name="connsiteX449" fmla="*/ 2185164 w 3473628"/>
              <a:gd name="connsiteY449" fmla="*/ 1982428 h 2831069"/>
              <a:gd name="connsiteX450" fmla="*/ 2272639 w 3473628"/>
              <a:gd name="connsiteY450" fmla="*/ 1790940 h 2831069"/>
              <a:gd name="connsiteX451" fmla="*/ 2341691 w 3473628"/>
              <a:gd name="connsiteY451" fmla="*/ 1698284 h 2831069"/>
              <a:gd name="connsiteX452" fmla="*/ 2369026 w 3473628"/>
              <a:gd name="connsiteY452" fmla="*/ 1632962 h 2831069"/>
              <a:gd name="connsiteX453" fmla="*/ 2351473 w 3473628"/>
              <a:gd name="connsiteY453" fmla="*/ 1607927 h 2831069"/>
              <a:gd name="connsiteX454" fmla="*/ 2270774 w 3473628"/>
              <a:gd name="connsiteY454" fmla="*/ 1653541 h 2831069"/>
              <a:gd name="connsiteX455" fmla="*/ 2210343 w 3473628"/>
              <a:gd name="connsiteY455" fmla="*/ 1626206 h 2831069"/>
              <a:gd name="connsiteX456" fmla="*/ 2164585 w 3473628"/>
              <a:gd name="connsiteY456" fmla="*/ 1571972 h 2831069"/>
              <a:gd name="connsiteX457" fmla="*/ 2149623 w 3473628"/>
              <a:gd name="connsiteY457" fmla="*/ 1525364 h 2831069"/>
              <a:gd name="connsiteX458" fmla="*/ 2171776 w 3473628"/>
              <a:gd name="connsiteY458" fmla="*/ 1480476 h 2831069"/>
              <a:gd name="connsiteX459" fmla="*/ 2219690 w 3473628"/>
              <a:gd name="connsiteY459" fmla="*/ 1471710 h 2831069"/>
              <a:gd name="connsiteX460" fmla="*/ 2304575 w 3473628"/>
              <a:gd name="connsiteY460" fmla="*/ 1491128 h 2831069"/>
              <a:gd name="connsiteX461" fmla="*/ 2357939 w 3473628"/>
              <a:gd name="connsiteY461" fmla="*/ 1495148 h 2831069"/>
              <a:gd name="connsiteX462" fmla="*/ 2365130 w 3473628"/>
              <a:gd name="connsiteY462" fmla="*/ 1468539 h 2831069"/>
              <a:gd name="connsiteX463" fmla="*/ 2343411 w 3473628"/>
              <a:gd name="connsiteY463" fmla="*/ 1383509 h 2831069"/>
              <a:gd name="connsiteX464" fmla="*/ 2328594 w 3473628"/>
              <a:gd name="connsiteY464" fmla="*/ 1282957 h 2831069"/>
              <a:gd name="connsiteX465" fmla="*/ 2324428 w 3473628"/>
              <a:gd name="connsiteY465" fmla="*/ 1207999 h 2831069"/>
              <a:gd name="connsiteX466" fmla="*/ 2305735 w 3473628"/>
              <a:gd name="connsiteY466" fmla="*/ 1175628 h 2831069"/>
              <a:gd name="connsiteX467" fmla="*/ 2240559 w 3473628"/>
              <a:gd name="connsiteY467" fmla="*/ 1175918 h 2831069"/>
              <a:gd name="connsiteX468" fmla="*/ 2155964 w 3473628"/>
              <a:gd name="connsiteY468" fmla="*/ 1209574 h 2831069"/>
              <a:gd name="connsiteX469" fmla="*/ 2105750 w 3473628"/>
              <a:gd name="connsiteY469" fmla="*/ 1260223 h 2831069"/>
              <a:gd name="connsiteX470" fmla="*/ 2085171 w 3473628"/>
              <a:gd name="connsiteY470" fmla="*/ 1297774 h 2831069"/>
              <a:gd name="connsiteX471" fmla="*/ 2074664 w 3473628"/>
              <a:gd name="connsiteY471" fmla="*/ 1286977 h 2831069"/>
              <a:gd name="connsiteX472" fmla="*/ 2069918 w 3473628"/>
              <a:gd name="connsiteY472" fmla="*/ 1234028 h 2831069"/>
              <a:gd name="connsiteX473" fmla="*/ 2108050 w 3473628"/>
              <a:gd name="connsiteY473" fmla="*/ 1171587 h 2831069"/>
              <a:gd name="connsiteX474" fmla="*/ 2189910 w 3473628"/>
              <a:gd name="connsiteY474" fmla="*/ 1136045 h 2831069"/>
              <a:gd name="connsiteX475" fmla="*/ 2269759 w 3473628"/>
              <a:gd name="connsiteY475" fmla="*/ 1132294 h 2831069"/>
              <a:gd name="connsiteX476" fmla="*/ 2308450 w 3473628"/>
              <a:gd name="connsiteY476" fmla="*/ 1125683 h 2831069"/>
              <a:gd name="connsiteX477" fmla="*/ 2307290 w 3473628"/>
              <a:gd name="connsiteY477" fmla="*/ 1074765 h 2831069"/>
              <a:gd name="connsiteX478" fmla="*/ 2297653 w 3473628"/>
              <a:gd name="connsiteY478" fmla="*/ 1036778 h 2831069"/>
              <a:gd name="connsiteX479" fmla="*/ 2262982 w 3473628"/>
              <a:gd name="connsiteY479" fmla="*/ 1022831 h 2831069"/>
              <a:gd name="connsiteX480" fmla="*/ 2194655 w 3473628"/>
              <a:gd name="connsiteY480" fmla="*/ 1035493 h 2831069"/>
              <a:gd name="connsiteX481" fmla="*/ 2144296 w 3473628"/>
              <a:gd name="connsiteY481" fmla="*/ 1081811 h 2831069"/>
              <a:gd name="connsiteX482" fmla="*/ 2106310 w 3473628"/>
              <a:gd name="connsiteY482" fmla="*/ 1120088 h 2831069"/>
              <a:gd name="connsiteX483" fmla="*/ 2043434 w 3473628"/>
              <a:gd name="connsiteY483" fmla="*/ 1152894 h 2831069"/>
              <a:gd name="connsiteX484" fmla="*/ 1998401 w 3473628"/>
              <a:gd name="connsiteY484" fmla="*/ 1194756 h 2831069"/>
              <a:gd name="connsiteX485" fmla="*/ 1991645 w 3473628"/>
              <a:gd name="connsiteY485" fmla="*/ 1239354 h 2831069"/>
              <a:gd name="connsiteX486" fmla="*/ 2014669 w 3473628"/>
              <a:gd name="connsiteY486" fmla="*/ 1279351 h 2831069"/>
              <a:gd name="connsiteX487" fmla="*/ 2051350 w 3473628"/>
              <a:gd name="connsiteY487" fmla="*/ 1309566 h 2831069"/>
              <a:gd name="connsiteX488" fmla="*/ 2064157 w 3473628"/>
              <a:gd name="connsiteY488" fmla="*/ 1331865 h 2831069"/>
              <a:gd name="connsiteX489" fmla="*/ 2053505 w 3473628"/>
              <a:gd name="connsiteY489" fmla="*/ 1376173 h 2831069"/>
              <a:gd name="connsiteX490" fmla="*/ 2057671 w 3473628"/>
              <a:gd name="connsiteY490" fmla="*/ 1437598 h 2831069"/>
              <a:gd name="connsiteX491" fmla="*/ 2084715 w 3473628"/>
              <a:gd name="connsiteY491" fmla="*/ 1526939 h 2831069"/>
              <a:gd name="connsiteX492" fmla="*/ 2142556 w 3473628"/>
              <a:gd name="connsiteY492" fmla="*/ 1590374 h 2831069"/>
              <a:gd name="connsiteX493" fmla="*/ 2188583 w 3473628"/>
              <a:gd name="connsiteY493" fmla="*/ 1652525 h 2831069"/>
              <a:gd name="connsiteX494" fmla="*/ 2211753 w 3473628"/>
              <a:gd name="connsiteY494" fmla="*/ 1709350 h 2831069"/>
              <a:gd name="connsiteX495" fmla="*/ 2213038 w 3473628"/>
              <a:gd name="connsiteY495" fmla="*/ 1751502 h 2831069"/>
              <a:gd name="connsiteX496" fmla="*/ 2193619 w 3473628"/>
              <a:gd name="connsiteY496" fmla="*/ 1786463 h 2831069"/>
              <a:gd name="connsiteX497" fmla="*/ 2145416 w 3473628"/>
              <a:gd name="connsiteY497" fmla="*/ 1826170 h 2831069"/>
              <a:gd name="connsiteX498" fmla="*/ 2094062 w 3473628"/>
              <a:gd name="connsiteY498" fmla="*/ 1865877 h 2831069"/>
              <a:gd name="connsiteX499" fmla="*/ 2067452 w 3473628"/>
              <a:gd name="connsiteY499" fmla="*/ 1897668 h 2831069"/>
              <a:gd name="connsiteX500" fmla="*/ 2076654 w 3473628"/>
              <a:gd name="connsiteY500" fmla="*/ 1913791 h 2831069"/>
              <a:gd name="connsiteX501" fmla="*/ 2097668 w 3473628"/>
              <a:gd name="connsiteY501" fmla="*/ 1937955 h 2831069"/>
              <a:gd name="connsiteX502" fmla="*/ 2095077 w 3473628"/>
              <a:gd name="connsiteY502" fmla="*/ 2004416 h 2831069"/>
              <a:gd name="connsiteX503" fmla="*/ 2059391 w 3473628"/>
              <a:gd name="connsiteY503" fmla="*/ 2109155 h 2831069"/>
              <a:gd name="connsiteX504" fmla="*/ 1969325 w 3473628"/>
              <a:gd name="connsiteY504" fmla="*/ 2331853 h 2831069"/>
              <a:gd name="connsiteX505" fmla="*/ 1904584 w 3473628"/>
              <a:gd name="connsiteY505" fmla="*/ 2574405 h 2831069"/>
              <a:gd name="connsiteX506" fmla="*/ 1892502 w 3473628"/>
              <a:gd name="connsiteY506" fmla="*/ 2764443 h 2831069"/>
              <a:gd name="connsiteX507" fmla="*/ 2038812 w 3473628"/>
              <a:gd name="connsiteY507" fmla="*/ 2824874 h 2831069"/>
              <a:gd name="connsiteX508" fmla="*/ 2686909 w 3473628"/>
              <a:gd name="connsiteY508" fmla="*/ 2831070 h 2831069"/>
              <a:gd name="connsiteX509" fmla="*/ 3473628 w 3473628"/>
              <a:gd name="connsiteY509" fmla="*/ 2831070 h 2831069"/>
              <a:gd name="connsiteX0" fmla="*/ 1188409 w 3473628"/>
              <a:gd name="connsiteY0" fmla="*/ 2366980 h 2831071"/>
              <a:gd name="connsiteX1" fmla="*/ 1213734 w 3473628"/>
              <a:gd name="connsiteY1" fmla="*/ 2320662 h 2831071"/>
              <a:gd name="connsiteX2" fmla="*/ 1209568 w 3473628"/>
              <a:gd name="connsiteY2" fmla="*/ 2270448 h 2831071"/>
              <a:gd name="connsiteX3" fmla="*/ 1120808 w 3473628"/>
              <a:gd name="connsiteY3" fmla="*/ 2115662 h 2831071"/>
              <a:gd name="connsiteX4" fmla="*/ 1030182 w 3473628"/>
              <a:gd name="connsiteY4" fmla="*/ 1957124 h 2831071"/>
              <a:gd name="connsiteX5" fmla="*/ 963576 w 3473628"/>
              <a:gd name="connsiteY5" fmla="*/ 1924173 h 2831071"/>
              <a:gd name="connsiteX6" fmla="*/ 805764 w 3473628"/>
              <a:gd name="connsiteY6" fmla="*/ 1954244 h 2831071"/>
              <a:gd name="connsiteX7" fmla="*/ 604929 w 3473628"/>
              <a:gd name="connsiteY7" fmla="*/ 1989060 h 2831071"/>
              <a:gd name="connsiteX8" fmla="*/ 477332 w 3473628"/>
              <a:gd name="connsiteY8" fmla="*/ 1993661 h 2831071"/>
              <a:gd name="connsiteX9" fmla="*/ 361672 w 3473628"/>
              <a:gd name="connsiteY9" fmla="*/ 2000852 h 2831071"/>
              <a:gd name="connsiteX10" fmla="*/ 98687 w 3473628"/>
              <a:gd name="connsiteY10" fmla="*/ 2062567 h 2831071"/>
              <a:gd name="connsiteX11" fmla="*/ 3316 w 3473628"/>
              <a:gd name="connsiteY11" fmla="*/ 2090047 h 2831071"/>
              <a:gd name="connsiteX12" fmla="*/ 45468 w 3473628"/>
              <a:gd name="connsiteY12" fmla="*/ 2164135 h 2831071"/>
              <a:gd name="connsiteX13" fmla="*/ 243277 w 3473628"/>
              <a:gd name="connsiteY13" fmla="*/ 2417629 h 2831071"/>
              <a:gd name="connsiteX14" fmla="*/ 343270 w 3473628"/>
              <a:gd name="connsiteY14" fmla="*/ 2553723 h 2831071"/>
              <a:gd name="connsiteX15" fmla="*/ 396634 w 3473628"/>
              <a:gd name="connsiteY15" fmla="*/ 2608392 h 2831071"/>
              <a:gd name="connsiteX16" fmla="*/ 442102 w 3473628"/>
              <a:gd name="connsiteY16" fmla="*/ 2644348 h 2831071"/>
              <a:gd name="connsiteX17" fmla="*/ 450018 w 3473628"/>
              <a:gd name="connsiteY17" fmla="*/ 2670108 h 2831071"/>
              <a:gd name="connsiteX18" fmla="*/ 431180 w 3473628"/>
              <a:gd name="connsiteY18" fmla="*/ 2687516 h 2831071"/>
              <a:gd name="connsiteX19" fmla="*/ 385007 w 3473628"/>
              <a:gd name="connsiteY19" fmla="*/ 2665507 h 2831071"/>
              <a:gd name="connsiteX20" fmla="*/ 320266 w 3473628"/>
              <a:gd name="connsiteY20" fmla="*/ 2569991 h 2831071"/>
              <a:gd name="connsiteX21" fmla="*/ 307459 w 3473628"/>
              <a:gd name="connsiteY21" fmla="*/ 2513166 h 2831071"/>
              <a:gd name="connsiteX22" fmla="*/ 319396 w 3473628"/>
              <a:gd name="connsiteY22" fmla="*/ 2499923 h 2831071"/>
              <a:gd name="connsiteX23" fmla="*/ 348015 w 3473628"/>
              <a:gd name="connsiteY23" fmla="*/ 2524378 h 2831071"/>
              <a:gd name="connsiteX24" fmla="*/ 378086 w 3473628"/>
              <a:gd name="connsiteY24" fmla="*/ 2562364 h 2831071"/>
              <a:gd name="connsiteX25" fmla="*/ 409731 w 3473628"/>
              <a:gd name="connsiteY25" fmla="*/ 2581348 h 2831071"/>
              <a:gd name="connsiteX26" fmla="*/ 431740 w 3473628"/>
              <a:gd name="connsiteY26" fmla="*/ 2604372 h 2831071"/>
              <a:gd name="connsiteX27" fmla="*/ 455323 w 3473628"/>
              <a:gd name="connsiteY27" fmla="*/ 2623645 h 2831071"/>
              <a:gd name="connsiteX28" fmla="*/ 472006 w 3473628"/>
              <a:gd name="connsiteY28" fmla="*/ 2654005 h 2831071"/>
              <a:gd name="connsiteX29" fmla="*/ 483798 w 3473628"/>
              <a:gd name="connsiteY29" fmla="*/ 2705649 h 2831071"/>
              <a:gd name="connsiteX30" fmla="*/ 515029 w 3473628"/>
              <a:gd name="connsiteY30" fmla="*/ 2761707 h 2831071"/>
              <a:gd name="connsiteX31" fmla="*/ 593924 w 3473628"/>
              <a:gd name="connsiteY31" fmla="*/ 2781975 h 2831071"/>
              <a:gd name="connsiteX32" fmla="*/ 917921 w 3473628"/>
              <a:gd name="connsiteY32" fmla="*/ 2784234 h 2831071"/>
              <a:gd name="connsiteX33" fmla="*/ 1481859 w 3473628"/>
              <a:gd name="connsiteY33" fmla="*/ 2784234 h 2831071"/>
              <a:gd name="connsiteX34" fmla="*/ 1611175 w 3473628"/>
              <a:gd name="connsiteY34" fmla="*/ 2760402 h 2831071"/>
              <a:gd name="connsiteX35" fmla="*/ 1530415 w 3473628"/>
              <a:gd name="connsiteY35" fmla="*/ 2653819 h 2831071"/>
              <a:gd name="connsiteX36" fmla="*/ 1485506 w 3473628"/>
              <a:gd name="connsiteY36" fmla="*/ 2582508 h 2831071"/>
              <a:gd name="connsiteX37" fmla="*/ 1444639 w 3473628"/>
              <a:gd name="connsiteY37" fmla="*/ 2563380 h 2831071"/>
              <a:gd name="connsiteX38" fmla="*/ 1360914 w 3473628"/>
              <a:gd name="connsiteY38" fmla="*/ 2569701 h 2831071"/>
              <a:gd name="connsiteX39" fmla="*/ 1305374 w 3473628"/>
              <a:gd name="connsiteY39" fmla="*/ 2561204 h 2831071"/>
              <a:gd name="connsiteX40" fmla="*/ 1259906 w 3473628"/>
              <a:gd name="connsiteY40" fmla="*/ 2517187 h 2831071"/>
              <a:gd name="connsiteX41" fmla="*/ 1228551 w 3473628"/>
              <a:gd name="connsiteY41" fmla="*/ 2442519 h 2831071"/>
              <a:gd name="connsiteX42" fmla="*/ 1227121 w 3473628"/>
              <a:gd name="connsiteY42" fmla="*/ 2364680 h 2831071"/>
              <a:gd name="connsiteX43" fmla="*/ 1271139 w 3473628"/>
              <a:gd name="connsiteY43" fmla="*/ 2317491 h 2831071"/>
              <a:gd name="connsiteX44" fmla="*/ 1254021 w 3473628"/>
              <a:gd name="connsiteY44" fmla="*/ 2254201 h 2831071"/>
              <a:gd name="connsiteX45" fmla="*/ 1118217 w 3473628"/>
              <a:gd name="connsiteY45" fmla="*/ 2041429 h 2831071"/>
              <a:gd name="connsiteX46" fmla="*/ 1021105 w 3473628"/>
              <a:gd name="connsiteY46" fmla="*/ 1888363 h 2831071"/>
              <a:gd name="connsiteX47" fmla="*/ 969171 w 3473628"/>
              <a:gd name="connsiteY47" fmla="*/ 1865338 h 2831071"/>
              <a:gd name="connsiteX48" fmla="*/ 890048 w 3473628"/>
              <a:gd name="connsiteY48" fmla="*/ 1886477 h 2831071"/>
              <a:gd name="connsiteX49" fmla="*/ 773808 w 3473628"/>
              <a:gd name="connsiteY49" fmla="*/ 1916837 h 2831071"/>
              <a:gd name="connsiteX50" fmla="*/ 552974 w 3473628"/>
              <a:gd name="connsiteY50" fmla="*/ 1960565 h 2831071"/>
              <a:gd name="connsiteX51" fmla="*/ 460463 w 3473628"/>
              <a:gd name="connsiteY51" fmla="*/ 1968771 h 2831071"/>
              <a:gd name="connsiteX52" fmla="*/ 390251 w 3473628"/>
              <a:gd name="connsiteY52" fmla="*/ 1936110 h 2831071"/>
              <a:gd name="connsiteX53" fmla="*/ 237329 w 3473628"/>
              <a:gd name="connsiteY53" fmla="*/ 1817280 h 2831071"/>
              <a:gd name="connsiteX54" fmla="*/ 148859 w 3473628"/>
              <a:gd name="connsiteY54" fmla="*/ 1724478 h 2831071"/>
              <a:gd name="connsiteX55" fmla="*/ 135326 w 3473628"/>
              <a:gd name="connsiteY55" fmla="*/ 1660753 h 2831071"/>
              <a:gd name="connsiteX56" fmla="*/ 160361 w 3473628"/>
              <a:gd name="connsiteY56" fmla="*/ 1619326 h 2831071"/>
              <a:gd name="connsiteX57" fmla="*/ 206534 w 3473628"/>
              <a:gd name="connsiteY57" fmla="*/ 1610829 h 2831071"/>
              <a:gd name="connsiteX58" fmla="*/ 299894 w 3473628"/>
              <a:gd name="connsiteY58" fmla="*/ 1646370 h 2831071"/>
              <a:gd name="connsiteX59" fmla="*/ 372552 w 3473628"/>
              <a:gd name="connsiteY59" fmla="*/ 1668959 h 2831071"/>
              <a:gd name="connsiteX60" fmla="*/ 375723 w 3473628"/>
              <a:gd name="connsiteY60" fmla="*/ 1692688 h 2831071"/>
              <a:gd name="connsiteX61" fmla="*/ 313282 w 3473628"/>
              <a:gd name="connsiteY61" fmla="*/ 1712832 h 2831071"/>
              <a:gd name="connsiteX62" fmla="*/ 211134 w 3473628"/>
              <a:gd name="connsiteY62" fmla="*/ 1685787 h 2831071"/>
              <a:gd name="connsiteX63" fmla="*/ 161356 w 3473628"/>
              <a:gd name="connsiteY63" fmla="*/ 1648235 h 2831071"/>
              <a:gd name="connsiteX64" fmla="*/ 166391 w 3473628"/>
              <a:gd name="connsiteY64" fmla="*/ 1605586 h 2831071"/>
              <a:gd name="connsiteX65" fmla="*/ 200192 w 3473628"/>
              <a:gd name="connsiteY65" fmla="*/ 1577816 h 2831071"/>
              <a:gd name="connsiteX66" fmla="*/ 287232 w 3473628"/>
              <a:gd name="connsiteY66" fmla="*/ 1590830 h 2831071"/>
              <a:gd name="connsiteX67" fmla="*/ 369009 w 3473628"/>
              <a:gd name="connsiteY67" fmla="*/ 1618953 h 2831071"/>
              <a:gd name="connsiteX68" fmla="*/ 419927 w 3473628"/>
              <a:gd name="connsiteY68" fmla="*/ 1621046 h 2831071"/>
              <a:gd name="connsiteX69" fmla="*/ 508625 w 3473628"/>
              <a:gd name="connsiteY69" fmla="*/ 1559682 h 2831071"/>
              <a:gd name="connsiteX70" fmla="*/ 603872 w 3473628"/>
              <a:gd name="connsiteY70" fmla="*/ 1496164 h 2831071"/>
              <a:gd name="connsiteX71" fmla="*/ 672489 w 3473628"/>
              <a:gd name="connsiteY71" fmla="*/ 1469699 h 2831071"/>
              <a:gd name="connsiteX72" fmla="*/ 740318 w 3473628"/>
              <a:gd name="connsiteY72" fmla="*/ 1459835 h 2831071"/>
              <a:gd name="connsiteX73" fmla="*/ 810675 w 3473628"/>
              <a:gd name="connsiteY73" fmla="*/ 1421288 h 2831071"/>
              <a:gd name="connsiteX74" fmla="*/ 854631 w 3473628"/>
              <a:gd name="connsiteY74" fmla="*/ 1394969 h 2831071"/>
              <a:gd name="connsiteX75" fmla="*/ 862982 w 3473628"/>
              <a:gd name="connsiteY75" fmla="*/ 1380214 h 2831071"/>
              <a:gd name="connsiteX76" fmla="*/ 851688 w 3473628"/>
              <a:gd name="connsiteY76" fmla="*/ 1366412 h 2831071"/>
              <a:gd name="connsiteX77" fmla="*/ 827524 w 3473628"/>
              <a:gd name="connsiteY77" fmla="*/ 1363614 h 2831071"/>
              <a:gd name="connsiteX78" fmla="*/ 824291 w 3473628"/>
              <a:gd name="connsiteY78" fmla="*/ 1354910 h 2831071"/>
              <a:gd name="connsiteX79" fmla="*/ 846652 w 3473628"/>
              <a:gd name="connsiteY79" fmla="*/ 1340030 h 2831071"/>
              <a:gd name="connsiteX80" fmla="*/ 880308 w 3473628"/>
              <a:gd name="connsiteY80" fmla="*/ 1319161 h 2831071"/>
              <a:gd name="connsiteX81" fmla="*/ 897363 w 3473628"/>
              <a:gd name="connsiteY81" fmla="*/ 1302831 h 2831071"/>
              <a:gd name="connsiteX82" fmla="*/ 886794 w 3473628"/>
              <a:gd name="connsiteY82" fmla="*/ 1295930 h 2831071"/>
              <a:gd name="connsiteX83" fmla="*/ 844642 w 3473628"/>
              <a:gd name="connsiteY83" fmla="*/ 1306934 h 2831071"/>
              <a:gd name="connsiteX84" fmla="*/ 809536 w 3473628"/>
              <a:gd name="connsiteY84" fmla="*/ 1335347 h 2831071"/>
              <a:gd name="connsiteX85" fmla="*/ 787029 w 3473628"/>
              <a:gd name="connsiteY85" fmla="*/ 1349667 h 2831071"/>
              <a:gd name="connsiteX86" fmla="*/ 782139 w 3473628"/>
              <a:gd name="connsiteY86" fmla="*/ 1343346 h 2831071"/>
              <a:gd name="connsiteX87" fmla="*/ 804583 w 3473628"/>
              <a:gd name="connsiteY87" fmla="*/ 1325296 h 2831071"/>
              <a:gd name="connsiteX88" fmla="*/ 816810 w 3473628"/>
              <a:gd name="connsiteY88" fmla="*/ 1307743 h 2831071"/>
              <a:gd name="connsiteX89" fmla="*/ 811276 w 3473628"/>
              <a:gd name="connsiteY89" fmla="*/ 1290977 h 2831071"/>
              <a:gd name="connsiteX90" fmla="*/ 791713 w 3473628"/>
              <a:gd name="connsiteY90" fmla="*/ 1290832 h 2831071"/>
              <a:gd name="connsiteX91" fmla="*/ 761933 w 3473628"/>
              <a:gd name="connsiteY91" fmla="*/ 1313856 h 2831071"/>
              <a:gd name="connsiteX92" fmla="*/ 742515 w 3473628"/>
              <a:gd name="connsiteY92" fmla="*/ 1324218 h 2831071"/>
              <a:gd name="connsiteX93" fmla="*/ 739862 w 3473628"/>
              <a:gd name="connsiteY93" fmla="*/ 1318457 h 2831071"/>
              <a:gd name="connsiteX94" fmla="*/ 752296 w 3473628"/>
              <a:gd name="connsiteY94" fmla="*/ 1300406 h 2831071"/>
              <a:gd name="connsiteX95" fmla="*/ 772585 w 3473628"/>
              <a:gd name="connsiteY95" fmla="*/ 1280615 h 2831071"/>
              <a:gd name="connsiteX96" fmla="*/ 776108 w 3473628"/>
              <a:gd name="connsiteY96" fmla="*/ 1263994 h 2831071"/>
              <a:gd name="connsiteX97" fmla="*/ 761083 w 3473628"/>
              <a:gd name="connsiteY97" fmla="*/ 1258026 h 2831071"/>
              <a:gd name="connsiteX98" fmla="*/ 718869 w 3473628"/>
              <a:gd name="connsiteY98" fmla="*/ 1273051 h 2831071"/>
              <a:gd name="connsiteX99" fmla="*/ 639600 w 3473628"/>
              <a:gd name="connsiteY99" fmla="*/ 1331181 h 2831071"/>
              <a:gd name="connsiteX100" fmla="*/ 569678 w 3473628"/>
              <a:gd name="connsiteY100" fmla="*/ 1382100 h 2831071"/>
              <a:gd name="connsiteX101" fmla="*/ 456173 w 3473628"/>
              <a:gd name="connsiteY101" fmla="*/ 1442530 h 2831071"/>
              <a:gd name="connsiteX102" fmla="*/ 325406 w 3473628"/>
              <a:gd name="connsiteY102" fmla="*/ 1515188 h 2831071"/>
              <a:gd name="connsiteX103" fmla="*/ 239526 w 3473628"/>
              <a:gd name="connsiteY103" fmla="*/ 1551144 h 2831071"/>
              <a:gd name="connsiteX104" fmla="*/ 218388 w 3473628"/>
              <a:gd name="connsiteY104" fmla="*/ 1575453 h 2831071"/>
              <a:gd name="connsiteX105" fmla="*/ 272912 w 3473628"/>
              <a:gd name="connsiteY105" fmla="*/ 1602208 h 2831071"/>
              <a:gd name="connsiteX106" fmla="*/ 357797 w 3473628"/>
              <a:gd name="connsiteY106" fmla="*/ 1635863 h 2831071"/>
              <a:gd name="connsiteX107" fmla="*/ 403410 w 3473628"/>
              <a:gd name="connsiteY107" fmla="*/ 1653271 h 2831071"/>
              <a:gd name="connsiteX108" fmla="*/ 416073 w 3473628"/>
              <a:gd name="connsiteY108" fmla="*/ 1682036 h 2831071"/>
              <a:gd name="connsiteX109" fmla="*/ 440817 w 3473628"/>
              <a:gd name="connsiteY109" fmla="*/ 1705060 h 2831071"/>
              <a:gd name="connsiteX110" fmla="*/ 514469 w 3473628"/>
              <a:gd name="connsiteY110" fmla="*/ 1733680 h 2831071"/>
              <a:gd name="connsiteX111" fmla="*/ 651288 w 3473628"/>
              <a:gd name="connsiteY111" fmla="*/ 1765905 h 2831071"/>
              <a:gd name="connsiteX112" fmla="*/ 768109 w 3473628"/>
              <a:gd name="connsiteY112" fmla="*/ 1785179 h 2831071"/>
              <a:gd name="connsiteX113" fmla="*/ 837306 w 3473628"/>
              <a:gd name="connsiteY113" fmla="*/ 1824740 h 2831071"/>
              <a:gd name="connsiteX114" fmla="*/ 840621 w 3473628"/>
              <a:gd name="connsiteY114" fmla="*/ 1854666 h 2831071"/>
              <a:gd name="connsiteX115" fmla="*/ 790843 w 3473628"/>
              <a:gd name="connsiteY115" fmla="*/ 1883430 h 2831071"/>
              <a:gd name="connsiteX116" fmla="*/ 713874 w 3473628"/>
              <a:gd name="connsiteY116" fmla="*/ 1902413 h 2831071"/>
              <a:gd name="connsiteX117" fmla="*/ 703367 w 3473628"/>
              <a:gd name="connsiteY117" fmla="*/ 1887741 h 2831071"/>
              <a:gd name="connsiteX118" fmla="*/ 735158 w 3473628"/>
              <a:gd name="connsiteY118" fmla="*/ 1840843 h 2831071"/>
              <a:gd name="connsiteX119" fmla="*/ 785662 w 3473628"/>
              <a:gd name="connsiteY119" fmla="*/ 1808037 h 2831071"/>
              <a:gd name="connsiteX120" fmla="*/ 864640 w 3473628"/>
              <a:gd name="connsiteY120" fmla="*/ 1809757 h 2831071"/>
              <a:gd name="connsiteX121" fmla="*/ 904637 w 3473628"/>
              <a:gd name="connsiteY121" fmla="*/ 1789468 h 2831071"/>
              <a:gd name="connsiteX122" fmla="*/ 916284 w 3473628"/>
              <a:gd name="connsiteY122" fmla="*/ 1745161 h 2831071"/>
              <a:gd name="connsiteX123" fmla="*/ 912119 w 3473628"/>
              <a:gd name="connsiteY123" fmla="*/ 1675238 h 2831071"/>
              <a:gd name="connsiteX124" fmla="*/ 918025 w 3473628"/>
              <a:gd name="connsiteY124" fmla="*/ 1647904 h 2831071"/>
              <a:gd name="connsiteX125" fmla="*/ 946230 w 3473628"/>
              <a:gd name="connsiteY125" fmla="*/ 1644588 h 2831071"/>
              <a:gd name="connsiteX126" fmla="*/ 993128 w 3473628"/>
              <a:gd name="connsiteY126" fmla="*/ 1664587 h 2831071"/>
              <a:gd name="connsiteX127" fmla="*/ 1043632 w 3473628"/>
              <a:gd name="connsiteY127" fmla="*/ 1685455 h 2831071"/>
              <a:gd name="connsiteX128" fmla="*/ 1091110 w 3473628"/>
              <a:gd name="connsiteY128" fmla="*/ 1667032 h 2831071"/>
              <a:gd name="connsiteX129" fmla="*/ 1113844 w 3473628"/>
              <a:gd name="connsiteY129" fmla="*/ 1609046 h 2831071"/>
              <a:gd name="connsiteX130" fmla="*/ 1137573 w 3473628"/>
              <a:gd name="connsiteY130" fmla="*/ 1536244 h 2831071"/>
              <a:gd name="connsiteX131" fmla="*/ 1175270 w 3473628"/>
              <a:gd name="connsiteY131" fmla="*/ 1484165 h 2831071"/>
              <a:gd name="connsiteX132" fmla="*/ 1215847 w 3473628"/>
              <a:gd name="connsiteY132" fmla="*/ 1437702 h 2831071"/>
              <a:gd name="connsiteX133" fmla="*/ 1213837 w 3473628"/>
              <a:gd name="connsiteY133" fmla="*/ 1405911 h 2831071"/>
              <a:gd name="connsiteX134" fmla="*/ 1160743 w 3473628"/>
              <a:gd name="connsiteY134" fmla="*/ 1359449 h 2831071"/>
              <a:gd name="connsiteX135" fmla="*/ 1072273 w 3473628"/>
              <a:gd name="connsiteY135" fmla="*/ 1326207 h 2831071"/>
              <a:gd name="connsiteX136" fmla="*/ 969420 w 3473628"/>
              <a:gd name="connsiteY136" fmla="*/ 1337709 h 2831071"/>
              <a:gd name="connsiteX137" fmla="*/ 912160 w 3473628"/>
              <a:gd name="connsiteY137" fmla="*/ 1380152 h 2831071"/>
              <a:gd name="connsiteX138" fmla="*/ 896327 w 3473628"/>
              <a:gd name="connsiteY138" fmla="*/ 1448333 h 2831071"/>
              <a:gd name="connsiteX139" fmla="*/ 877489 w 3473628"/>
              <a:gd name="connsiteY139" fmla="*/ 1512784 h 2831071"/>
              <a:gd name="connsiteX140" fmla="*/ 860806 w 3473628"/>
              <a:gd name="connsiteY140" fmla="*/ 1564138 h 2831071"/>
              <a:gd name="connsiteX141" fmla="*/ 859936 w 3473628"/>
              <a:gd name="connsiteY141" fmla="*/ 1636216 h 2831071"/>
              <a:gd name="connsiteX142" fmla="*/ 882670 w 3473628"/>
              <a:gd name="connsiteY142" fmla="*/ 1693040 h 2831071"/>
              <a:gd name="connsiteX143" fmla="*/ 939930 w 3473628"/>
              <a:gd name="connsiteY143" fmla="*/ 1728001 h 2831071"/>
              <a:gd name="connsiteX144" fmla="*/ 1032856 w 3473628"/>
              <a:gd name="connsiteY144" fmla="*/ 1733618 h 2831071"/>
              <a:gd name="connsiteX145" fmla="*/ 1121326 w 3473628"/>
              <a:gd name="connsiteY145" fmla="*/ 1688440 h 2831071"/>
              <a:gd name="connsiteX146" fmla="*/ 1171830 w 3473628"/>
              <a:gd name="connsiteY146" fmla="*/ 1627304 h 2831071"/>
              <a:gd name="connsiteX147" fmla="*/ 1192263 w 3473628"/>
              <a:gd name="connsiteY147" fmla="*/ 1592343 h 2831071"/>
              <a:gd name="connsiteX148" fmla="*/ 1215433 w 3473628"/>
              <a:gd name="connsiteY148" fmla="*/ 1590478 h 2831071"/>
              <a:gd name="connsiteX149" fmla="*/ 1223059 w 3473628"/>
              <a:gd name="connsiteY149" fmla="*/ 1624569 h 2831071"/>
              <a:gd name="connsiteX150" fmla="*/ 1193569 w 3473628"/>
              <a:gd name="connsiteY150" fmla="*/ 1655219 h 2831071"/>
              <a:gd name="connsiteX151" fmla="*/ 1160328 w 3473628"/>
              <a:gd name="connsiteY151" fmla="*/ 1650909 h 2831071"/>
              <a:gd name="connsiteX152" fmla="*/ 1152121 w 3473628"/>
              <a:gd name="connsiteY152" fmla="*/ 1619844 h 2831071"/>
              <a:gd name="connsiteX153" fmla="*/ 1169239 w 3473628"/>
              <a:gd name="connsiteY153" fmla="*/ 1577836 h 2831071"/>
              <a:gd name="connsiteX154" fmla="*/ 1208511 w 3473628"/>
              <a:gd name="connsiteY154" fmla="*/ 1555683 h 2831071"/>
              <a:gd name="connsiteX155" fmla="*/ 1223039 w 3473628"/>
              <a:gd name="connsiteY155" fmla="*/ 1534814 h 2831071"/>
              <a:gd name="connsiteX156" fmla="*/ 1221173 w 3473628"/>
              <a:gd name="connsiteY156" fmla="*/ 1493822 h 2831071"/>
              <a:gd name="connsiteX157" fmla="*/ 1192263 w 3473628"/>
              <a:gd name="connsiteY157" fmla="*/ 1435837 h 2831071"/>
              <a:gd name="connsiteX158" fmla="*/ 1126527 w 3473628"/>
              <a:gd name="connsiteY158" fmla="*/ 1373105 h 2831071"/>
              <a:gd name="connsiteX159" fmla="*/ 1015178 w 3473628"/>
              <a:gd name="connsiteY159" fmla="*/ 1361604 h 2831071"/>
              <a:gd name="connsiteX160" fmla="*/ 929299 w 3473628"/>
              <a:gd name="connsiteY160" fmla="*/ 1399591 h 2831071"/>
              <a:gd name="connsiteX161" fmla="*/ 891312 w 3473628"/>
              <a:gd name="connsiteY161" fmla="*/ 1413683 h 2831071"/>
              <a:gd name="connsiteX162" fmla="*/ 880805 w 3473628"/>
              <a:gd name="connsiteY162" fmla="*/ 1385623 h 2831071"/>
              <a:gd name="connsiteX163" fmla="*/ 887271 w 3473628"/>
              <a:gd name="connsiteY163" fmla="*/ 1343035 h 2831071"/>
              <a:gd name="connsiteX164" fmla="*/ 919351 w 3473628"/>
              <a:gd name="connsiteY164" fmla="*/ 1314270 h 2831071"/>
              <a:gd name="connsiteX165" fmla="*/ 976031 w 3473628"/>
              <a:gd name="connsiteY165" fmla="*/ 1293402 h 2831071"/>
              <a:gd name="connsiteX166" fmla="*/ 1018183 w 3473628"/>
              <a:gd name="connsiteY166" fmla="*/ 1281900 h 2831071"/>
              <a:gd name="connsiteX167" fmla="*/ 1050844 w 3473628"/>
              <a:gd name="connsiteY167" fmla="*/ 1268947 h 2831071"/>
              <a:gd name="connsiteX168" fmla="*/ 1109244 w 3473628"/>
              <a:gd name="connsiteY168" fmla="*/ 1272118 h 2831071"/>
              <a:gd name="connsiteX169" fmla="*/ 1183622 w 3473628"/>
              <a:gd name="connsiteY169" fmla="*/ 1306209 h 2831071"/>
              <a:gd name="connsiteX170" fmla="*/ 1247202 w 3473628"/>
              <a:gd name="connsiteY170" fmla="*/ 1382017 h 2831071"/>
              <a:gd name="connsiteX171" fmla="*/ 1276983 w 3473628"/>
              <a:gd name="connsiteY171" fmla="*/ 1470777 h 2831071"/>
              <a:gd name="connsiteX172" fmla="*/ 1290785 w 3473628"/>
              <a:gd name="connsiteY172" fmla="*/ 1538959 h 2831071"/>
              <a:gd name="connsiteX173" fmla="*/ 1286184 w 3473628"/>
              <a:gd name="connsiteY173" fmla="*/ 1598664 h 2831071"/>
              <a:gd name="connsiteX174" fmla="*/ 1251223 w 3473628"/>
              <a:gd name="connsiteY174" fmla="*/ 1657789 h 2831071"/>
              <a:gd name="connsiteX175" fmla="*/ 1190792 w 3473628"/>
              <a:gd name="connsiteY175" fmla="*/ 1692460 h 2831071"/>
              <a:gd name="connsiteX176" fmla="*/ 1155396 w 3473628"/>
              <a:gd name="connsiteY176" fmla="*/ 1717349 h 2831071"/>
              <a:gd name="connsiteX177" fmla="*/ 1128786 w 3473628"/>
              <a:gd name="connsiteY177" fmla="*/ 1768848 h 2831071"/>
              <a:gd name="connsiteX178" fmla="*/ 1124766 w 3473628"/>
              <a:gd name="connsiteY178" fmla="*/ 1813156 h 2831071"/>
              <a:gd name="connsiteX179" fmla="*/ 1143459 w 3473628"/>
              <a:gd name="connsiteY179" fmla="*/ 1838045 h 2831071"/>
              <a:gd name="connsiteX180" fmla="*/ 1176700 w 3473628"/>
              <a:gd name="connsiteY180" fmla="*/ 1874581 h 2831071"/>
              <a:gd name="connsiteX181" fmla="*/ 1211951 w 3473628"/>
              <a:gd name="connsiteY181" fmla="*/ 1930971 h 2831071"/>
              <a:gd name="connsiteX182" fmla="*/ 1269791 w 3473628"/>
              <a:gd name="connsiteY182" fmla="*/ 1970678 h 2831071"/>
              <a:gd name="connsiteX183" fmla="*/ 1289790 w 3473628"/>
              <a:gd name="connsiteY183" fmla="*/ 2016996 h 2831071"/>
              <a:gd name="connsiteX184" fmla="*/ 1236696 w 3473628"/>
              <a:gd name="connsiteY184" fmla="*/ 2105031 h 2831071"/>
              <a:gd name="connsiteX185" fmla="*/ 1189362 w 3473628"/>
              <a:gd name="connsiteY185" fmla="*/ 2099269 h 2831071"/>
              <a:gd name="connsiteX186" fmla="*/ 1126921 w 3473628"/>
              <a:gd name="connsiteY186" fmla="*/ 1994386 h 2831071"/>
              <a:gd name="connsiteX187" fmla="*/ 1124621 w 3473628"/>
              <a:gd name="connsiteY187" fmla="*/ 1948773 h 2831071"/>
              <a:gd name="connsiteX188" fmla="*/ 1178855 w 3473628"/>
              <a:gd name="connsiteY188" fmla="*/ 1910226 h 2831071"/>
              <a:gd name="connsiteX189" fmla="*/ 1235245 w 3473628"/>
              <a:gd name="connsiteY189" fmla="*/ 1918288 h 2831071"/>
              <a:gd name="connsiteX190" fmla="*/ 1332792 w 3473628"/>
              <a:gd name="connsiteY190" fmla="*/ 1988065 h 2831071"/>
              <a:gd name="connsiteX191" fmla="*/ 1387316 w 3473628"/>
              <a:gd name="connsiteY191" fmla="*/ 2070650 h 2831071"/>
              <a:gd name="connsiteX192" fmla="*/ 1383710 w 3473628"/>
              <a:gd name="connsiteY192" fmla="*/ 2126190 h 2831071"/>
              <a:gd name="connsiteX193" fmla="*/ 1348459 w 3473628"/>
              <a:gd name="connsiteY193" fmla="*/ 2203448 h 2831071"/>
              <a:gd name="connsiteX194" fmla="*/ 1311923 w 3473628"/>
              <a:gd name="connsiteY194" fmla="*/ 2248771 h 2831071"/>
              <a:gd name="connsiteX195" fmla="*/ 1270786 w 3473628"/>
              <a:gd name="connsiteY195" fmla="*/ 2226907 h 2831071"/>
              <a:gd name="connsiteX196" fmla="*/ 1256694 w 3473628"/>
              <a:gd name="connsiteY196" fmla="*/ 2197417 h 2831071"/>
              <a:gd name="connsiteX197" fmla="*/ 1262745 w 3473628"/>
              <a:gd name="connsiteY197" fmla="*/ 2172093 h 2831071"/>
              <a:gd name="connsiteX198" fmla="*/ 1299427 w 3473628"/>
              <a:gd name="connsiteY198" fmla="*/ 2127640 h 2831071"/>
              <a:gd name="connsiteX199" fmla="*/ 1357826 w 3473628"/>
              <a:gd name="connsiteY199" fmla="*/ 2086068 h 2831071"/>
              <a:gd name="connsiteX200" fmla="*/ 1403999 w 3473628"/>
              <a:gd name="connsiteY200" fmla="*/ 2048372 h 2831071"/>
              <a:gd name="connsiteX201" fmla="*/ 1428453 w 3473628"/>
              <a:gd name="connsiteY201" fmla="*/ 2028228 h 2831071"/>
              <a:gd name="connsiteX202" fmla="*/ 1435644 w 3473628"/>
              <a:gd name="connsiteY202" fmla="*/ 2043481 h 2831071"/>
              <a:gd name="connsiteX203" fmla="*/ 1439375 w 3473628"/>
              <a:gd name="connsiteY203" fmla="*/ 2107062 h 2831071"/>
              <a:gd name="connsiteX204" fmla="*/ 1432039 w 3473628"/>
              <a:gd name="connsiteY204" fmla="*/ 2164902 h 2831071"/>
              <a:gd name="connsiteX205" fmla="*/ 1405864 w 3473628"/>
              <a:gd name="connsiteY205" fmla="*/ 2266469 h 2831071"/>
              <a:gd name="connsiteX206" fmla="*/ 1412765 w 3473628"/>
              <a:gd name="connsiteY206" fmla="*/ 2328330 h 2831071"/>
              <a:gd name="connsiteX207" fmla="*/ 1440245 w 3473628"/>
              <a:gd name="connsiteY207" fmla="*/ 2353074 h 2831071"/>
              <a:gd name="connsiteX208" fmla="*/ 1475932 w 3473628"/>
              <a:gd name="connsiteY208" fmla="*/ 2367457 h 2831071"/>
              <a:gd name="connsiteX209" fmla="*/ 1511038 w 3473628"/>
              <a:gd name="connsiteY209" fmla="*/ 2382710 h 2831071"/>
              <a:gd name="connsiteX210" fmla="*/ 1536217 w 3473628"/>
              <a:gd name="connsiteY210" fmla="*/ 2415225 h 2831071"/>
              <a:gd name="connsiteX211" fmla="*/ 1543408 w 3473628"/>
              <a:gd name="connsiteY211" fmla="*/ 2463843 h 2831071"/>
              <a:gd name="connsiteX212" fmla="*/ 1512758 w 3473628"/>
              <a:gd name="connsiteY212" fmla="*/ 2507156 h 2831071"/>
              <a:gd name="connsiteX213" fmla="*/ 1467083 w 3473628"/>
              <a:gd name="connsiteY213" fmla="*/ 2522844 h 2831071"/>
              <a:gd name="connsiteX214" fmla="*/ 1422195 w 3473628"/>
              <a:gd name="connsiteY214" fmla="*/ 2523860 h 2831071"/>
              <a:gd name="connsiteX215" fmla="*/ 1366738 w 3473628"/>
              <a:gd name="connsiteY215" fmla="*/ 2540832 h 2831071"/>
              <a:gd name="connsiteX216" fmla="*/ 1320420 w 3473628"/>
              <a:gd name="connsiteY216" fmla="*/ 2536667 h 2831071"/>
              <a:gd name="connsiteX217" fmla="*/ 1321788 w 3473628"/>
              <a:gd name="connsiteY217" fmla="*/ 2519549 h 2831071"/>
              <a:gd name="connsiteX218" fmla="*/ 1369846 w 3473628"/>
              <a:gd name="connsiteY218" fmla="*/ 2497893 h 2831071"/>
              <a:gd name="connsiteX219" fmla="*/ 1396891 w 3473628"/>
              <a:gd name="connsiteY219" fmla="*/ 2480277 h 2831071"/>
              <a:gd name="connsiteX220" fmla="*/ 1381286 w 3473628"/>
              <a:gd name="connsiteY220" fmla="*/ 2474102 h 2831071"/>
              <a:gd name="connsiteX221" fmla="*/ 1307986 w 3473628"/>
              <a:gd name="connsiteY221" fmla="*/ 2503094 h 2831071"/>
              <a:gd name="connsiteX222" fmla="*/ 1275760 w 3473628"/>
              <a:gd name="connsiteY222" fmla="*/ 2503820 h 2831071"/>
              <a:gd name="connsiteX223" fmla="*/ 1277190 w 3473628"/>
              <a:gd name="connsiteY223" fmla="*/ 2490515 h 2831071"/>
              <a:gd name="connsiteX224" fmla="*/ 1302287 w 3473628"/>
              <a:gd name="connsiteY224" fmla="*/ 2478495 h 2831071"/>
              <a:gd name="connsiteX225" fmla="*/ 1350407 w 3473628"/>
              <a:gd name="connsiteY225" fmla="*/ 2445109 h 2831071"/>
              <a:gd name="connsiteX226" fmla="*/ 1346946 w 3473628"/>
              <a:gd name="connsiteY226" fmla="*/ 2435120 h 2831071"/>
              <a:gd name="connsiteX227" fmla="*/ 1292774 w 3473628"/>
              <a:gd name="connsiteY227" fmla="*/ 2461812 h 2831071"/>
              <a:gd name="connsiteX228" fmla="*/ 1261834 w 3473628"/>
              <a:gd name="connsiteY228" fmla="*/ 2459719 h 2831071"/>
              <a:gd name="connsiteX229" fmla="*/ 1265149 w 3473628"/>
              <a:gd name="connsiteY229" fmla="*/ 2438933 h 2831071"/>
              <a:gd name="connsiteX230" fmla="*/ 1303053 w 3473628"/>
              <a:gd name="connsiteY230" fmla="*/ 2411308 h 2831071"/>
              <a:gd name="connsiteX231" fmla="*/ 1318513 w 3473628"/>
              <a:gd name="connsiteY231" fmla="*/ 2393175 h 2831071"/>
              <a:gd name="connsiteX232" fmla="*/ 1306783 w 3473628"/>
              <a:gd name="connsiteY232" fmla="*/ 2385984 h 2831071"/>
              <a:gd name="connsiteX233" fmla="*/ 1268590 w 3473628"/>
              <a:gd name="connsiteY233" fmla="*/ 2403392 h 2831071"/>
              <a:gd name="connsiteX234" fmla="*/ 1243410 w 3473628"/>
              <a:gd name="connsiteY234" fmla="*/ 2405257 h 2831071"/>
              <a:gd name="connsiteX235" fmla="*/ 1242685 w 3473628"/>
              <a:gd name="connsiteY235" fmla="*/ 2382461 h 2831071"/>
              <a:gd name="connsiteX236" fmla="*/ 1284402 w 3473628"/>
              <a:gd name="connsiteY236" fmla="*/ 2341469 h 2831071"/>
              <a:gd name="connsiteX237" fmla="*/ 1360935 w 3473628"/>
              <a:gd name="connsiteY237" fmla="*/ 2306218 h 2831071"/>
              <a:gd name="connsiteX238" fmla="*/ 1411004 w 3473628"/>
              <a:gd name="connsiteY238" fmla="*/ 2303047 h 2831071"/>
              <a:gd name="connsiteX239" fmla="*/ 1438484 w 3473628"/>
              <a:gd name="connsiteY239" fmla="*/ 2295131 h 2831071"/>
              <a:gd name="connsiteX240" fmla="*/ 1468409 w 3473628"/>
              <a:gd name="connsiteY240" fmla="*/ 2243777 h 2831071"/>
              <a:gd name="connsiteX241" fmla="*/ 1532570 w 3473628"/>
              <a:gd name="connsiteY241" fmla="*/ 2156301 h 2831071"/>
              <a:gd name="connsiteX242" fmla="*/ 1610761 w 3473628"/>
              <a:gd name="connsiteY242" fmla="*/ 2074152 h 2831071"/>
              <a:gd name="connsiteX243" fmla="*/ 1628957 w 3473628"/>
              <a:gd name="connsiteY243" fmla="*/ 2041864 h 2831071"/>
              <a:gd name="connsiteX244" fmla="*/ 1628604 w 3473628"/>
              <a:gd name="connsiteY244" fmla="*/ 2021078 h 2831071"/>
              <a:gd name="connsiteX245" fmla="*/ 1642841 w 3473628"/>
              <a:gd name="connsiteY245" fmla="*/ 2001308 h 2831071"/>
              <a:gd name="connsiteX246" fmla="*/ 1697863 w 3473628"/>
              <a:gd name="connsiteY246" fmla="*/ 1963611 h 2831071"/>
              <a:gd name="connsiteX247" fmla="*/ 1768718 w 3473628"/>
              <a:gd name="connsiteY247" fmla="*/ 1914703 h 2831071"/>
              <a:gd name="connsiteX248" fmla="*/ 1816549 w 3473628"/>
              <a:gd name="connsiteY248" fmla="*/ 1881109 h 2831071"/>
              <a:gd name="connsiteX249" fmla="*/ 1846039 w 3473628"/>
              <a:gd name="connsiteY249" fmla="*/ 1836221 h 2831071"/>
              <a:gd name="connsiteX250" fmla="*/ 1863882 w 3473628"/>
              <a:gd name="connsiteY250" fmla="*/ 1739400 h 2831071"/>
              <a:gd name="connsiteX251" fmla="*/ 1862162 w 3473628"/>
              <a:gd name="connsiteY251" fmla="*/ 1654225 h 2831071"/>
              <a:gd name="connsiteX252" fmla="*/ 1849355 w 3473628"/>
              <a:gd name="connsiteY252" fmla="*/ 1586312 h 2831071"/>
              <a:gd name="connsiteX253" fmla="*/ 1804322 w 3473628"/>
              <a:gd name="connsiteY253" fmla="*/ 1511499 h 2831071"/>
              <a:gd name="connsiteX254" fmla="*/ 1748512 w 3473628"/>
              <a:gd name="connsiteY254" fmla="*/ 1463296 h 2831071"/>
              <a:gd name="connsiteX255" fmla="*/ 1688662 w 3473628"/>
              <a:gd name="connsiteY255" fmla="*/ 1445017 h 2831071"/>
              <a:gd name="connsiteX256" fmla="*/ 1629682 w 3473628"/>
              <a:gd name="connsiteY256" fmla="*/ 1434655 h 2831071"/>
              <a:gd name="connsiteX257" fmla="*/ 1565521 w 3473628"/>
              <a:gd name="connsiteY257" fmla="*/ 1420708 h 2831071"/>
              <a:gd name="connsiteX258" fmla="*/ 1482377 w 3473628"/>
              <a:gd name="connsiteY258" fmla="*/ 1428044 h 2831071"/>
              <a:gd name="connsiteX259" fmla="*/ 1425117 w 3473628"/>
              <a:gd name="connsiteY259" fmla="*/ 1469036 h 2831071"/>
              <a:gd name="connsiteX260" fmla="*/ 1416910 w 3473628"/>
              <a:gd name="connsiteY260" fmla="*/ 1533923 h 2831071"/>
              <a:gd name="connsiteX261" fmla="*/ 1436618 w 3473628"/>
              <a:gd name="connsiteY261" fmla="*/ 1580240 h 2831071"/>
              <a:gd name="connsiteX262" fmla="*/ 1448265 w 3473628"/>
              <a:gd name="connsiteY262" fmla="*/ 1638081 h 2831071"/>
              <a:gd name="connsiteX263" fmla="*/ 1432577 w 3473628"/>
              <a:gd name="connsiteY263" fmla="*/ 1733037 h 2831071"/>
              <a:gd name="connsiteX264" fmla="*/ 1436598 w 3473628"/>
              <a:gd name="connsiteY264" fmla="*/ 1799063 h 2831071"/>
              <a:gd name="connsiteX265" fmla="*/ 1493568 w 3473628"/>
              <a:gd name="connsiteY265" fmla="*/ 1841216 h 2831071"/>
              <a:gd name="connsiteX266" fmla="*/ 1619299 w 3473628"/>
              <a:gd name="connsiteY266" fmla="*/ 1854168 h 2831071"/>
              <a:gd name="connsiteX267" fmla="*/ 1704039 w 3473628"/>
              <a:gd name="connsiteY267" fmla="*/ 1837050 h 2831071"/>
              <a:gd name="connsiteX268" fmla="*/ 1739290 w 3473628"/>
              <a:gd name="connsiteY268" fmla="*/ 1788577 h 2831071"/>
              <a:gd name="connsiteX269" fmla="*/ 1754108 w 3473628"/>
              <a:gd name="connsiteY269" fmla="*/ 1758507 h 2831071"/>
              <a:gd name="connsiteX270" fmla="*/ 1769071 w 3473628"/>
              <a:gd name="connsiteY270" fmla="*/ 1758507 h 2831071"/>
              <a:gd name="connsiteX271" fmla="*/ 1773526 w 3473628"/>
              <a:gd name="connsiteY271" fmla="*/ 1787562 h 2831071"/>
              <a:gd name="connsiteX272" fmla="*/ 1747621 w 3473628"/>
              <a:gd name="connsiteY272" fmla="*/ 1819497 h 2831071"/>
              <a:gd name="connsiteX273" fmla="*/ 1719271 w 3473628"/>
              <a:gd name="connsiteY273" fmla="*/ 1806110 h 2831071"/>
              <a:gd name="connsiteX274" fmla="*/ 1727478 w 3473628"/>
              <a:gd name="connsiteY274" fmla="*/ 1762092 h 2831071"/>
              <a:gd name="connsiteX275" fmla="*/ 1757258 w 3473628"/>
              <a:gd name="connsiteY275" fmla="*/ 1731297 h 2831071"/>
              <a:gd name="connsiteX276" fmla="*/ 1781857 w 3473628"/>
              <a:gd name="connsiteY276" fmla="*/ 1696626 h 2831071"/>
              <a:gd name="connsiteX277" fmla="*/ 1759123 w 3473628"/>
              <a:gd name="connsiteY277" fmla="*/ 1625563 h 2831071"/>
              <a:gd name="connsiteX278" fmla="*/ 1710650 w 3473628"/>
              <a:gd name="connsiteY278" fmla="*/ 1549175 h 2831071"/>
              <a:gd name="connsiteX279" fmla="*/ 1628065 w 3473628"/>
              <a:gd name="connsiteY279" fmla="*/ 1512349 h 2831071"/>
              <a:gd name="connsiteX280" fmla="*/ 1535989 w 3473628"/>
              <a:gd name="connsiteY280" fmla="*/ 1521260 h 2831071"/>
              <a:gd name="connsiteX281" fmla="*/ 1469528 w 3473628"/>
              <a:gd name="connsiteY281" fmla="*/ 1574624 h 2831071"/>
              <a:gd name="connsiteX282" fmla="*/ 1448100 w 3473628"/>
              <a:gd name="connsiteY282" fmla="*/ 1608280 h 2831071"/>
              <a:gd name="connsiteX283" fmla="*/ 1425946 w 3473628"/>
              <a:gd name="connsiteY283" fmla="*/ 1663384 h 2831071"/>
              <a:gd name="connsiteX284" fmla="*/ 1406527 w 3473628"/>
              <a:gd name="connsiteY284" fmla="*/ 1760351 h 2831071"/>
              <a:gd name="connsiteX285" fmla="*/ 1422215 w 3473628"/>
              <a:gd name="connsiteY285" fmla="*/ 1829693 h 2831071"/>
              <a:gd name="connsiteX286" fmla="*/ 1452866 w 3473628"/>
              <a:gd name="connsiteY286" fmla="*/ 1880115 h 2831071"/>
              <a:gd name="connsiteX287" fmla="*/ 1472139 w 3473628"/>
              <a:gd name="connsiteY287" fmla="*/ 1939737 h 2831071"/>
              <a:gd name="connsiteX288" fmla="*/ 1476885 w 3473628"/>
              <a:gd name="connsiteY288" fmla="*/ 1996769 h 2831071"/>
              <a:gd name="connsiteX289" fmla="*/ 1459332 w 3473628"/>
              <a:gd name="connsiteY289" fmla="*/ 2060205 h 2831071"/>
              <a:gd name="connsiteX290" fmla="*/ 1462212 w 3473628"/>
              <a:gd name="connsiteY290" fmla="*/ 2092430 h 2831071"/>
              <a:gd name="connsiteX291" fmla="*/ 1501339 w 3473628"/>
              <a:gd name="connsiteY291" fmla="*/ 2073157 h 2831071"/>
              <a:gd name="connsiteX292" fmla="*/ 1597083 w 3473628"/>
              <a:gd name="connsiteY292" fmla="*/ 2002592 h 2831071"/>
              <a:gd name="connsiteX293" fmla="*/ 1667586 w 3473628"/>
              <a:gd name="connsiteY293" fmla="*/ 1957705 h 2831071"/>
              <a:gd name="connsiteX294" fmla="*/ 1726856 w 3473628"/>
              <a:gd name="connsiteY294" fmla="*/ 1927987 h 2831071"/>
              <a:gd name="connsiteX295" fmla="*/ 1753258 w 3473628"/>
              <a:gd name="connsiteY295" fmla="*/ 1933520 h 2831071"/>
              <a:gd name="connsiteX296" fmla="*/ 1781816 w 3473628"/>
              <a:gd name="connsiteY296" fmla="*/ 1986034 h 2831071"/>
              <a:gd name="connsiteX297" fmla="*/ 1823616 w 3473628"/>
              <a:gd name="connsiteY297" fmla="*/ 2024809 h 2831071"/>
              <a:gd name="connsiteX298" fmla="*/ 1853044 w 3473628"/>
              <a:gd name="connsiteY298" fmla="*/ 2039129 h 2831071"/>
              <a:gd name="connsiteX299" fmla="*/ 1845417 w 3473628"/>
              <a:gd name="connsiteY299" fmla="*/ 2056392 h 2831071"/>
              <a:gd name="connsiteX300" fmla="*/ 1802685 w 3473628"/>
              <a:gd name="connsiteY300" fmla="*/ 2090420 h 2831071"/>
              <a:gd name="connsiteX301" fmla="*/ 1764283 w 3473628"/>
              <a:gd name="connsiteY301" fmla="*/ 2152281 h 2831071"/>
              <a:gd name="connsiteX302" fmla="*/ 1702132 w 3473628"/>
              <a:gd name="connsiteY302" fmla="*/ 2291753 h 2831071"/>
              <a:gd name="connsiteX303" fmla="*/ 1672207 w 3473628"/>
              <a:gd name="connsiteY303" fmla="*/ 2356639 h 2831071"/>
              <a:gd name="connsiteX304" fmla="*/ 1654654 w 3473628"/>
              <a:gd name="connsiteY304" fmla="*/ 2363043 h 2831071"/>
              <a:gd name="connsiteX305" fmla="*/ 1613082 w 3473628"/>
              <a:gd name="connsiteY305" fmla="*/ 2345054 h 2831071"/>
              <a:gd name="connsiteX306" fmla="*/ 1559925 w 3473628"/>
              <a:gd name="connsiteY306" fmla="*/ 2330174 h 2831071"/>
              <a:gd name="connsiteX307" fmla="*/ 1518498 w 3473628"/>
              <a:gd name="connsiteY307" fmla="*/ 2333345 h 2831071"/>
              <a:gd name="connsiteX308" fmla="*/ 1485112 w 3473628"/>
              <a:gd name="connsiteY308" fmla="*/ 2345075 h 2831071"/>
              <a:gd name="connsiteX309" fmla="*/ 1462813 w 3473628"/>
              <a:gd name="connsiteY309" fmla="*/ 2341759 h 2831071"/>
              <a:gd name="connsiteX310" fmla="*/ 1462523 w 3473628"/>
              <a:gd name="connsiteY310" fmla="*/ 2316435 h 2831071"/>
              <a:gd name="connsiteX311" fmla="*/ 1514022 w 3473628"/>
              <a:gd name="connsiteY311" fmla="*/ 2230907 h 2831071"/>
              <a:gd name="connsiteX312" fmla="*/ 1633868 w 3473628"/>
              <a:gd name="connsiteY312" fmla="*/ 2086462 h 2831071"/>
              <a:gd name="connsiteX313" fmla="*/ 1761050 w 3473628"/>
              <a:gd name="connsiteY313" fmla="*/ 2009494 h 2831071"/>
              <a:gd name="connsiteX314" fmla="*/ 1835718 w 3473628"/>
              <a:gd name="connsiteY314" fmla="*/ 2007773 h 2831071"/>
              <a:gd name="connsiteX315" fmla="*/ 1915422 w 3473628"/>
              <a:gd name="connsiteY315" fmla="*/ 2040579 h 2831071"/>
              <a:gd name="connsiteX316" fmla="*/ 1956414 w 3473628"/>
              <a:gd name="connsiteY316" fmla="*/ 2094378 h 2831071"/>
              <a:gd name="connsiteX317" fmla="*/ 1981593 w 3473628"/>
              <a:gd name="connsiteY317" fmla="*/ 2161420 h 2831071"/>
              <a:gd name="connsiteX318" fmla="*/ 1998421 w 3473628"/>
              <a:gd name="connsiteY318" fmla="*/ 2191781 h 2831071"/>
              <a:gd name="connsiteX319" fmla="*/ 2004473 w 3473628"/>
              <a:gd name="connsiteY319" fmla="*/ 2185874 h 2831071"/>
              <a:gd name="connsiteX320" fmla="*/ 1997717 w 3473628"/>
              <a:gd name="connsiteY320" fmla="*/ 2138106 h 2831071"/>
              <a:gd name="connsiteX321" fmla="*/ 1965781 w 3473628"/>
              <a:gd name="connsiteY321" fmla="*/ 2073364 h 2831071"/>
              <a:gd name="connsiteX322" fmla="*/ 1892688 w 3473628"/>
              <a:gd name="connsiteY322" fmla="*/ 2059127 h 2831071"/>
              <a:gd name="connsiteX323" fmla="*/ 1816155 w 3473628"/>
              <a:gd name="connsiteY323" fmla="*/ 2115517 h 2831071"/>
              <a:gd name="connsiteX324" fmla="*/ 1767682 w 3473628"/>
              <a:gd name="connsiteY324" fmla="*/ 2216504 h 2831071"/>
              <a:gd name="connsiteX325" fmla="*/ 1756740 w 3473628"/>
              <a:gd name="connsiteY325" fmla="*/ 2315771 h 2831071"/>
              <a:gd name="connsiteX326" fmla="*/ 1733280 w 3473628"/>
              <a:gd name="connsiteY326" fmla="*/ 2398211 h 2831071"/>
              <a:gd name="connsiteX327" fmla="*/ 1632148 w 3473628"/>
              <a:gd name="connsiteY327" fmla="*/ 2384554 h 2831071"/>
              <a:gd name="connsiteX328" fmla="*/ 1539637 w 3473628"/>
              <a:gd name="connsiteY328" fmla="*/ 2352183 h 2831071"/>
              <a:gd name="connsiteX329" fmla="*/ 1522519 w 3473628"/>
              <a:gd name="connsiteY329" fmla="*/ 2359229 h 2831071"/>
              <a:gd name="connsiteX330" fmla="*/ 1543947 w 3473628"/>
              <a:gd name="connsiteY330" fmla="*/ 2385549 h 2831071"/>
              <a:gd name="connsiteX331" fmla="*/ 1564381 w 3473628"/>
              <a:gd name="connsiteY331" fmla="*/ 2430727 h 2831071"/>
              <a:gd name="connsiteX332" fmla="*/ 1559200 w 3473628"/>
              <a:gd name="connsiteY332" fmla="*/ 2486412 h 2831071"/>
              <a:gd name="connsiteX333" fmla="*/ 1529710 w 3473628"/>
              <a:gd name="connsiteY333" fmla="*/ 2562364 h 2831071"/>
              <a:gd name="connsiteX334" fmla="*/ 1544963 w 3473628"/>
              <a:gd name="connsiteY334" fmla="*/ 2634587 h 2831071"/>
              <a:gd name="connsiteX335" fmla="*/ 1609124 w 3473628"/>
              <a:gd name="connsiteY335" fmla="*/ 2669984 h 2831071"/>
              <a:gd name="connsiteX336" fmla="*/ 1709821 w 3473628"/>
              <a:gd name="connsiteY336" fmla="*/ 2685526 h 2831071"/>
              <a:gd name="connsiteX337" fmla="*/ 1825481 w 3473628"/>
              <a:gd name="connsiteY337" fmla="*/ 2710706 h 2831071"/>
              <a:gd name="connsiteX338" fmla="*/ 1849666 w 3473628"/>
              <a:gd name="connsiteY338" fmla="*/ 2737274 h 2831071"/>
              <a:gd name="connsiteX339" fmla="*/ 1827284 w 3473628"/>
              <a:gd name="connsiteY339" fmla="*/ 2775385 h 2831071"/>
              <a:gd name="connsiteX340" fmla="*/ 1859468 w 3473628"/>
              <a:gd name="connsiteY340" fmla="*/ 2784130 h 2831071"/>
              <a:gd name="connsiteX341" fmla="*/ 2089565 w 3473628"/>
              <a:gd name="connsiteY341" fmla="*/ 2784130 h 2831071"/>
              <a:gd name="connsiteX342" fmla="*/ 2566897 w 3473628"/>
              <a:gd name="connsiteY342" fmla="*/ 2782162 h 2831071"/>
              <a:gd name="connsiteX343" fmla="*/ 2687966 w 3473628"/>
              <a:gd name="connsiteY343" fmla="*/ 2759884 h 2831071"/>
              <a:gd name="connsiteX344" fmla="*/ 2680464 w 3473628"/>
              <a:gd name="connsiteY344" fmla="*/ 2692303 h 2831071"/>
              <a:gd name="connsiteX345" fmla="*/ 2633566 w 3473628"/>
              <a:gd name="connsiteY345" fmla="*/ 2631872 h 2831071"/>
              <a:gd name="connsiteX346" fmla="*/ 2492291 w 3473628"/>
              <a:gd name="connsiteY346" fmla="*/ 2565701 h 2831071"/>
              <a:gd name="connsiteX347" fmla="*/ 2424110 w 3473628"/>
              <a:gd name="connsiteY347" fmla="*/ 2476651 h 2831071"/>
              <a:gd name="connsiteX348" fmla="*/ 2465247 w 3473628"/>
              <a:gd name="connsiteY348" fmla="*/ 2186330 h 2831071"/>
              <a:gd name="connsiteX349" fmla="*/ 2494592 w 3473628"/>
              <a:gd name="connsiteY349" fmla="*/ 1978159 h 2831071"/>
              <a:gd name="connsiteX350" fmla="*/ 2532289 w 3473628"/>
              <a:gd name="connsiteY350" fmla="*/ 1883202 h 2831071"/>
              <a:gd name="connsiteX351" fmla="*/ 2600200 w 3473628"/>
              <a:gd name="connsiteY351" fmla="*/ 1837175 h 2831071"/>
              <a:gd name="connsiteX352" fmla="*/ 2643928 w 3473628"/>
              <a:gd name="connsiteY352" fmla="*/ 1758051 h 2831071"/>
              <a:gd name="connsiteX353" fmla="*/ 2671553 w 3473628"/>
              <a:gd name="connsiteY353" fmla="*/ 1632029 h 2831071"/>
              <a:gd name="connsiteX354" fmla="*/ 2694577 w 3473628"/>
              <a:gd name="connsiteY354" fmla="*/ 1561817 h 2831071"/>
              <a:gd name="connsiteX355" fmla="*/ 2707239 w 3473628"/>
              <a:gd name="connsiteY355" fmla="*/ 1548305 h 2831071"/>
              <a:gd name="connsiteX356" fmla="*/ 2696877 w 3473628"/>
              <a:gd name="connsiteY356" fmla="*/ 1616217 h 2831071"/>
              <a:gd name="connsiteX357" fmla="*/ 2656300 w 3473628"/>
              <a:gd name="connsiteY357" fmla="*/ 1792308 h 2831071"/>
              <a:gd name="connsiteX358" fmla="*/ 2576306 w 3473628"/>
              <a:gd name="connsiteY358" fmla="*/ 1905377 h 2831071"/>
              <a:gd name="connsiteX359" fmla="*/ 2484810 w 3473628"/>
              <a:gd name="connsiteY359" fmla="*/ 1918329 h 2831071"/>
              <a:gd name="connsiteX360" fmla="*/ 2405251 w 3473628"/>
              <a:gd name="connsiteY360" fmla="*/ 1822813 h 2831071"/>
              <a:gd name="connsiteX361" fmla="*/ 2384113 w 3473628"/>
              <a:gd name="connsiteY361" fmla="*/ 1673912 h 2831071"/>
              <a:gd name="connsiteX362" fmla="*/ 2378642 w 3473628"/>
              <a:gd name="connsiteY362" fmla="*/ 1541984 h 2831071"/>
              <a:gd name="connsiteX363" fmla="*/ 2373751 w 3473628"/>
              <a:gd name="connsiteY363" fmla="*/ 1415527 h 2831071"/>
              <a:gd name="connsiteX364" fmla="*/ 2347141 w 3473628"/>
              <a:gd name="connsiteY364" fmla="*/ 1246918 h 2831071"/>
              <a:gd name="connsiteX365" fmla="*/ 2334769 w 3473628"/>
              <a:gd name="connsiteY365" fmla="*/ 1142615 h 2831071"/>
              <a:gd name="connsiteX366" fmla="*/ 2329153 w 3473628"/>
              <a:gd name="connsiteY366" fmla="*/ 1065211 h 2831071"/>
              <a:gd name="connsiteX367" fmla="*/ 2304554 w 3473628"/>
              <a:gd name="connsiteY367" fmla="*/ 939335 h 2831071"/>
              <a:gd name="connsiteX368" fmla="*/ 2256641 w 3473628"/>
              <a:gd name="connsiteY368" fmla="*/ 796630 h 2831071"/>
              <a:gd name="connsiteX369" fmla="*/ 2230736 w 3473628"/>
              <a:gd name="connsiteY369" fmla="*/ 692327 h 2831071"/>
              <a:gd name="connsiteX370" fmla="*/ 2239502 w 3473628"/>
              <a:gd name="connsiteY370" fmla="*/ 643564 h 2831071"/>
              <a:gd name="connsiteX371" fmla="*/ 2294026 w 3473628"/>
              <a:gd name="connsiteY371" fmla="*/ 635647 h 2831071"/>
              <a:gd name="connsiteX372" fmla="*/ 2342789 w 3473628"/>
              <a:gd name="connsiteY372" fmla="*/ 621700 h 2831071"/>
              <a:gd name="connsiteX373" fmla="*/ 2378621 w 3473628"/>
              <a:gd name="connsiteY373" fmla="*/ 587174 h 2831071"/>
              <a:gd name="connsiteX374" fmla="*/ 2391283 w 3473628"/>
              <a:gd name="connsiteY374" fmla="*/ 534080 h 2831071"/>
              <a:gd name="connsiteX375" fmla="*/ 2374601 w 3473628"/>
              <a:gd name="connsiteY375" fmla="*/ 480426 h 2831071"/>
              <a:gd name="connsiteX376" fmla="*/ 2310004 w 3473628"/>
              <a:gd name="connsiteY376" fmla="*/ 360020 h 2831071"/>
              <a:gd name="connsiteX377" fmla="*/ 2266567 w 3473628"/>
              <a:gd name="connsiteY377" fmla="*/ 280171 h 2831071"/>
              <a:gd name="connsiteX378" fmla="*/ 2203691 w 3473628"/>
              <a:gd name="connsiteY378" fmla="*/ 213564 h 2831071"/>
              <a:gd name="connsiteX379" fmla="*/ 2153622 w 3473628"/>
              <a:gd name="connsiteY379" fmla="*/ 194291 h 2831071"/>
              <a:gd name="connsiteX380" fmla="*/ 2109315 w 3473628"/>
              <a:gd name="connsiteY380" fmla="*/ 218310 h 2831071"/>
              <a:gd name="connsiteX381" fmla="*/ 2085731 w 3473628"/>
              <a:gd name="connsiteY381" fmla="*/ 264214 h 2831071"/>
              <a:gd name="connsiteX382" fmla="*/ 2085006 w 3473628"/>
              <a:gd name="connsiteY382" fmla="*/ 308666 h 2831071"/>
              <a:gd name="connsiteX383" fmla="*/ 2107595 w 3473628"/>
              <a:gd name="connsiteY383" fmla="*/ 327794 h 2831071"/>
              <a:gd name="connsiteX384" fmla="*/ 2138245 w 3473628"/>
              <a:gd name="connsiteY384" fmla="*/ 329660 h 2831071"/>
              <a:gd name="connsiteX385" fmla="*/ 2151343 w 3473628"/>
              <a:gd name="connsiteY385" fmla="*/ 299299 h 2831071"/>
              <a:gd name="connsiteX386" fmla="*/ 2155508 w 3473628"/>
              <a:gd name="connsiteY386" fmla="*/ 263053 h 2831071"/>
              <a:gd name="connsiteX387" fmla="*/ 2173641 w 3473628"/>
              <a:gd name="connsiteY387" fmla="*/ 251261 h 2831071"/>
              <a:gd name="connsiteX388" fmla="*/ 2215068 w 3473628"/>
              <a:gd name="connsiteY388" fmla="*/ 262058 h 2831071"/>
              <a:gd name="connsiteX389" fmla="*/ 2248019 w 3473628"/>
              <a:gd name="connsiteY389" fmla="*/ 269975 h 2831071"/>
              <a:gd name="connsiteX390" fmla="*/ 2262257 w 3473628"/>
              <a:gd name="connsiteY390" fmla="*/ 259903 h 2831071"/>
              <a:gd name="connsiteX391" fmla="*/ 2259749 w 3473628"/>
              <a:gd name="connsiteY391" fmla="*/ 230993 h 2831071"/>
              <a:gd name="connsiteX392" fmla="*/ 2231337 w 3473628"/>
              <a:gd name="connsiteY392" fmla="*/ 190851 h 2831071"/>
              <a:gd name="connsiteX393" fmla="*/ 2181351 w 3473628"/>
              <a:gd name="connsiteY393" fmla="*/ 163309 h 2831071"/>
              <a:gd name="connsiteX394" fmla="*/ 2141354 w 3473628"/>
              <a:gd name="connsiteY394" fmla="*/ 157548 h 2831071"/>
              <a:gd name="connsiteX395" fmla="*/ 2113377 w 3473628"/>
              <a:gd name="connsiteY395" fmla="*/ 169485 h 2831071"/>
              <a:gd name="connsiteX396" fmla="*/ 2082726 w 3473628"/>
              <a:gd name="connsiteY396" fmla="*/ 176469 h 2831071"/>
              <a:gd name="connsiteX397" fmla="*/ 2031870 w 3473628"/>
              <a:gd name="connsiteY397" fmla="*/ 162086 h 2831071"/>
              <a:gd name="connsiteX398" fmla="*/ 1991955 w 3473628"/>
              <a:gd name="connsiteY398" fmla="*/ 137280 h 2831071"/>
              <a:gd name="connsiteX399" fmla="*/ 1950528 w 3473628"/>
              <a:gd name="connsiteY399" fmla="*/ 77222 h 2831071"/>
              <a:gd name="connsiteX400" fmla="*/ 1938737 w 3473628"/>
              <a:gd name="connsiteY400" fmla="*/ 27008 h 2831071"/>
              <a:gd name="connsiteX401" fmla="*/ 1947669 w 3473628"/>
              <a:gd name="connsiteY401" fmla="*/ 1725 h 2831071"/>
              <a:gd name="connsiteX402" fmla="*/ 1970755 w 3473628"/>
              <a:gd name="connsiteY402" fmla="*/ 8461 h 2831071"/>
              <a:gd name="connsiteX403" fmla="*/ 2009260 w 3473628"/>
              <a:gd name="connsiteY403" fmla="*/ 49494 h 2831071"/>
              <a:gd name="connsiteX404" fmla="*/ 2058292 w 3473628"/>
              <a:gd name="connsiteY404" fmla="*/ 104412 h 2831071"/>
              <a:gd name="connsiteX405" fmla="*/ 2093544 w 3473628"/>
              <a:gd name="connsiteY405" fmla="*/ 149010 h 2831071"/>
              <a:gd name="connsiteX406" fmla="*/ 2084487 w 3473628"/>
              <a:gd name="connsiteY406" fmla="*/ 165837 h 2831071"/>
              <a:gd name="connsiteX407" fmla="*/ 2039599 w 3473628"/>
              <a:gd name="connsiteY407" fmla="*/ 172593 h 2831071"/>
              <a:gd name="connsiteX408" fmla="*/ 2028657 w 3473628"/>
              <a:gd name="connsiteY408" fmla="*/ 186976 h 2831071"/>
              <a:gd name="connsiteX409" fmla="*/ 2037424 w 3473628"/>
              <a:gd name="connsiteY409" fmla="*/ 210435 h 2831071"/>
              <a:gd name="connsiteX410" fmla="*/ 2052531 w 3473628"/>
              <a:gd name="connsiteY410" fmla="*/ 240360 h 2831071"/>
              <a:gd name="connsiteX411" fmla="*/ 2063183 w 3473628"/>
              <a:gd name="connsiteY411" fmla="*/ 276606 h 2831071"/>
              <a:gd name="connsiteX412" fmla="*/ 2061173 w 3473628"/>
              <a:gd name="connsiteY412" fmla="*/ 308832 h 2831071"/>
              <a:gd name="connsiteX413" fmla="*/ 2047226 w 3473628"/>
              <a:gd name="connsiteY413" fmla="*/ 318324 h 2831071"/>
              <a:gd name="connsiteX414" fmla="*/ 2037009 w 3473628"/>
              <a:gd name="connsiteY414" fmla="*/ 303216 h 2831071"/>
              <a:gd name="connsiteX415" fmla="*/ 2039890 w 3473628"/>
              <a:gd name="connsiteY415" fmla="*/ 281932 h 2831071"/>
              <a:gd name="connsiteX416" fmla="*/ 2037589 w 3473628"/>
              <a:gd name="connsiteY416" fmla="*/ 253168 h 2831071"/>
              <a:gd name="connsiteX417" fmla="*/ 2017301 w 3473628"/>
              <a:gd name="connsiteY417" fmla="*/ 238640 h 2831071"/>
              <a:gd name="connsiteX418" fmla="*/ 1980039 w 3473628"/>
              <a:gd name="connsiteY418" fmla="*/ 250142 h 2831071"/>
              <a:gd name="connsiteX419" fmla="*/ 1965367 w 3473628"/>
              <a:gd name="connsiteY419" fmla="*/ 281207 h 2831071"/>
              <a:gd name="connsiteX420" fmla="*/ 1979604 w 3473628"/>
              <a:gd name="connsiteY420" fmla="*/ 326820 h 2831071"/>
              <a:gd name="connsiteX421" fmla="*/ 2042625 w 3473628"/>
              <a:gd name="connsiteY421" fmla="*/ 396598 h 2831071"/>
              <a:gd name="connsiteX422" fmla="*/ 2145208 w 3473628"/>
              <a:gd name="connsiteY422" fmla="*/ 455288 h 2831071"/>
              <a:gd name="connsiteX423" fmla="*/ 2223752 w 3473628"/>
              <a:gd name="connsiteY423" fmla="*/ 542183 h 2831071"/>
              <a:gd name="connsiteX424" fmla="*/ 2264889 w 3473628"/>
              <a:gd name="connsiteY424" fmla="*/ 604624 h 2831071"/>
              <a:gd name="connsiteX425" fmla="*/ 2331640 w 3473628"/>
              <a:gd name="connsiteY425" fmla="*/ 595132 h 2831071"/>
              <a:gd name="connsiteX426" fmla="*/ 2408753 w 3473628"/>
              <a:gd name="connsiteY426" fmla="*/ 561746 h 2831071"/>
              <a:gd name="connsiteX427" fmla="*/ 2486157 w 3473628"/>
              <a:gd name="connsiteY427" fmla="*/ 631088 h 2831071"/>
              <a:gd name="connsiteX428" fmla="*/ 2597797 w 3473628"/>
              <a:gd name="connsiteY428" fmla="*/ 831052 h 2831071"/>
              <a:gd name="connsiteX429" fmla="*/ 2689292 w 3473628"/>
              <a:gd name="connsiteY429" fmla="*/ 1008013 h 2831071"/>
              <a:gd name="connsiteX430" fmla="*/ 2728999 w 3473628"/>
              <a:gd name="connsiteY430" fmla="*/ 1141081 h 2831071"/>
              <a:gd name="connsiteX431" fmla="*/ 2722098 w 3473628"/>
              <a:gd name="connsiteY431" fmla="*/ 1265963 h 2831071"/>
              <a:gd name="connsiteX432" fmla="*/ 2726409 w 3473628"/>
              <a:gd name="connsiteY432" fmla="*/ 1370556 h 2831071"/>
              <a:gd name="connsiteX433" fmla="*/ 2748998 w 3473628"/>
              <a:gd name="connsiteY433" fmla="*/ 1502194 h 2831071"/>
              <a:gd name="connsiteX434" fmla="*/ 2793596 w 3473628"/>
              <a:gd name="connsiteY434" fmla="*/ 1683756 h 2831071"/>
              <a:gd name="connsiteX435" fmla="*/ 2841924 w 3473628"/>
              <a:gd name="connsiteY435" fmla="*/ 1899699 h 2831071"/>
              <a:gd name="connsiteX436" fmla="*/ 2835872 w 3473628"/>
              <a:gd name="connsiteY436" fmla="*/ 2160094 h 2831071"/>
              <a:gd name="connsiteX437" fmla="*/ 2789119 w 3473628"/>
              <a:gd name="connsiteY437" fmla="*/ 2458476 h 2831071"/>
              <a:gd name="connsiteX438" fmla="*/ 2737620 w 3473628"/>
              <a:gd name="connsiteY438" fmla="*/ 2693547 h 2831071"/>
              <a:gd name="connsiteX439" fmla="*/ 2657626 w 3473628"/>
              <a:gd name="connsiteY439" fmla="*/ 2723762 h 2831071"/>
              <a:gd name="connsiteX440" fmla="*/ 2479816 w 3473628"/>
              <a:gd name="connsiteY440" fmla="*/ 2656720 h 2831071"/>
              <a:gd name="connsiteX441" fmla="*/ 2254237 w 3473628"/>
              <a:gd name="connsiteY441" fmla="*/ 2611832 h 2831071"/>
              <a:gd name="connsiteX442" fmla="*/ 2082166 w 3473628"/>
              <a:gd name="connsiteY442" fmla="*/ 2636287 h 2831071"/>
              <a:gd name="connsiteX443" fmla="*/ 1994401 w 3473628"/>
              <a:gd name="connsiteY443" fmla="*/ 2663621 h 2831071"/>
              <a:gd name="connsiteX444" fmla="*/ 1965346 w 3473628"/>
              <a:gd name="connsiteY444" fmla="*/ 2610382 h 2831071"/>
              <a:gd name="connsiteX445" fmla="*/ 1972537 w 3473628"/>
              <a:gd name="connsiteY445" fmla="*/ 2529538 h 2831071"/>
              <a:gd name="connsiteX446" fmla="*/ 2001302 w 3473628"/>
              <a:gd name="connsiteY446" fmla="*/ 2410127 h 2831071"/>
              <a:gd name="connsiteX447" fmla="*/ 2065173 w 3473628"/>
              <a:gd name="connsiteY447" fmla="*/ 2234762 h 2831071"/>
              <a:gd name="connsiteX448" fmla="*/ 2185164 w 3473628"/>
              <a:gd name="connsiteY448" fmla="*/ 1982428 h 2831071"/>
              <a:gd name="connsiteX449" fmla="*/ 2272639 w 3473628"/>
              <a:gd name="connsiteY449" fmla="*/ 1790940 h 2831071"/>
              <a:gd name="connsiteX450" fmla="*/ 2341691 w 3473628"/>
              <a:gd name="connsiteY450" fmla="*/ 1698284 h 2831071"/>
              <a:gd name="connsiteX451" fmla="*/ 2369026 w 3473628"/>
              <a:gd name="connsiteY451" fmla="*/ 1632962 h 2831071"/>
              <a:gd name="connsiteX452" fmla="*/ 2351473 w 3473628"/>
              <a:gd name="connsiteY452" fmla="*/ 1607927 h 2831071"/>
              <a:gd name="connsiteX453" fmla="*/ 2270774 w 3473628"/>
              <a:gd name="connsiteY453" fmla="*/ 1653541 h 2831071"/>
              <a:gd name="connsiteX454" fmla="*/ 2210343 w 3473628"/>
              <a:gd name="connsiteY454" fmla="*/ 1626206 h 2831071"/>
              <a:gd name="connsiteX455" fmla="*/ 2164585 w 3473628"/>
              <a:gd name="connsiteY455" fmla="*/ 1571972 h 2831071"/>
              <a:gd name="connsiteX456" fmla="*/ 2149623 w 3473628"/>
              <a:gd name="connsiteY456" fmla="*/ 1525364 h 2831071"/>
              <a:gd name="connsiteX457" fmla="*/ 2171776 w 3473628"/>
              <a:gd name="connsiteY457" fmla="*/ 1480476 h 2831071"/>
              <a:gd name="connsiteX458" fmla="*/ 2219690 w 3473628"/>
              <a:gd name="connsiteY458" fmla="*/ 1471710 h 2831071"/>
              <a:gd name="connsiteX459" fmla="*/ 2304575 w 3473628"/>
              <a:gd name="connsiteY459" fmla="*/ 1491128 h 2831071"/>
              <a:gd name="connsiteX460" fmla="*/ 2357939 w 3473628"/>
              <a:gd name="connsiteY460" fmla="*/ 1495148 h 2831071"/>
              <a:gd name="connsiteX461" fmla="*/ 2365130 w 3473628"/>
              <a:gd name="connsiteY461" fmla="*/ 1468539 h 2831071"/>
              <a:gd name="connsiteX462" fmla="*/ 2343411 w 3473628"/>
              <a:gd name="connsiteY462" fmla="*/ 1383509 h 2831071"/>
              <a:gd name="connsiteX463" fmla="*/ 2328594 w 3473628"/>
              <a:gd name="connsiteY463" fmla="*/ 1282957 h 2831071"/>
              <a:gd name="connsiteX464" fmla="*/ 2324428 w 3473628"/>
              <a:gd name="connsiteY464" fmla="*/ 1207999 h 2831071"/>
              <a:gd name="connsiteX465" fmla="*/ 2305735 w 3473628"/>
              <a:gd name="connsiteY465" fmla="*/ 1175628 h 2831071"/>
              <a:gd name="connsiteX466" fmla="*/ 2240559 w 3473628"/>
              <a:gd name="connsiteY466" fmla="*/ 1175918 h 2831071"/>
              <a:gd name="connsiteX467" fmla="*/ 2155964 w 3473628"/>
              <a:gd name="connsiteY467" fmla="*/ 1209574 h 2831071"/>
              <a:gd name="connsiteX468" fmla="*/ 2105750 w 3473628"/>
              <a:gd name="connsiteY468" fmla="*/ 1260223 h 2831071"/>
              <a:gd name="connsiteX469" fmla="*/ 2085171 w 3473628"/>
              <a:gd name="connsiteY469" fmla="*/ 1297774 h 2831071"/>
              <a:gd name="connsiteX470" fmla="*/ 2074664 w 3473628"/>
              <a:gd name="connsiteY470" fmla="*/ 1286977 h 2831071"/>
              <a:gd name="connsiteX471" fmla="*/ 2069918 w 3473628"/>
              <a:gd name="connsiteY471" fmla="*/ 1234028 h 2831071"/>
              <a:gd name="connsiteX472" fmla="*/ 2108050 w 3473628"/>
              <a:gd name="connsiteY472" fmla="*/ 1171587 h 2831071"/>
              <a:gd name="connsiteX473" fmla="*/ 2189910 w 3473628"/>
              <a:gd name="connsiteY473" fmla="*/ 1136045 h 2831071"/>
              <a:gd name="connsiteX474" fmla="*/ 2269759 w 3473628"/>
              <a:gd name="connsiteY474" fmla="*/ 1132294 h 2831071"/>
              <a:gd name="connsiteX475" fmla="*/ 2308450 w 3473628"/>
              <a:gd name="connsiteY475" fmla="*/ 1125683 h 2831071"/>
              <a:gd name="connsiteX476" fmla="*/ 2307290 w 3473628"/>
              <a:gd name="connsiteY476" fmla="*/ 1074765 h 2831071"/>
              <a:gd name="connsiteX477" fmla="*/ 2297653 w 3473628"/>
              <a:gd name="connsiteY477" fmla="*/ 1036778 h 2831071"/>
              <a:gd name="connsiteX478" fmla="*/ 2262982 w 3473628"/>
              <a:gd name="connsiteY478" fmla="*/ 1022831 h 2831071"/>
              <a:gd name="connsiteX479" fmla="*/ 2194655 w 3473628"/>
              <a:gd name="connsiteY479" fmla="*/ 1035493 h 2831071"/>
              <a:gd name="connsiteX480" fmla="*/ 2144296 w 3473628"/>
              <a:gd name="connsiteY480" fmla="*/ 1081811 h 2831071"/>
              <a:gd name="connsiteX481" fmla="*/ 2106310 w 3473628"/>
              <a:gd name="connsiteY481" fmla="*/ 1120088 h 2831071"/>
              <a:gd name="connsiteX482" fmla="*/ 2043434 w 3473628"/>
              <a:gd name="connsiteY482" fmla="*/ 1152894 h 2831071"/>
              <a:gd name="connsiteX483" fmla="*/ 1998401 w 3473628"/>
              <a:gd name="connsiteY483" fmla="*/ 1194756 h 2831071"/>
              <a:gd name="connsiteX484" fmla="*/ 1991645 w 3473628"/>
              <a:gd name="connsiteY484" fmla="*/ 1239354 h 2831071"/>
              <a:gd name="connsiteX485" fmla="*/ 2014669 w 3473628"/>
              <a:gd name="connsiteY485" fmla="*/ 1279351 h 2831071"/>
              <a:gd name="connsiteX486" fmla="*/ 2051350 w 3473628"/>
              <a:gd name="connsiteY486" fmla="*/ 1309566 h 2831071"/>
              <a:gd name="connsiteX487" fmla="*/ 2064157 w 3473628"/>
              <a:gd name="connsiteY487" fmla="*/ 1331865 h 2831071"/>
              <a:gd name="connsiteX488" fmla="*/ 2053505 w 3473628"/>
              <a:gd name="connsiteY488" fmla="*/ 1376173 h 2831071"/>
              <a:gd name="connsiteX489" fmla="*/ 2057671 w 3473628"/>
              <a:gd name="connsiteY489" fmla="*/ 1437598 h 2831071"/>
              <a:gd name="connsiteX490" fmla="*/ 2084715 w 3473628"/>
              <a:gd name="connsiteY490" fmla="*/ 1526939 h 2831071"/>
              <a:gd name="connsiteX491" fmla="*/ 2142556 w 3473628"/>
              <a:gd name="connsiteY491" fmla="*/ 1590374 h 2831071"/>
              <a:gd name="connsiteX492" fmla="*/ 2188583 w 3473628"/>
              <a:gd name="connsiteY492" fmla="*/ 1652525 h 2831071"/>
              <a:gd name="connsiteX493" fmla="*/ 2211753 w 3473628"/>
              <a:gd name="connsiteY493" fmla="*/ 1709350 h 2831071"/>
              <a:gd name="connsiteX494" fmla="*/ 2213038 w 3473628"/>
              <a:gd name="connsiteY494" fmla="*/ 1751502 h 2831071"/>
              <a:gd name="connsiteX495" fmla="*/ 2193619 w 3473628"/>
              <a:gd name="connsiteY495" fmla="*/ 1786463 h 2831071"/>
              <a:gd name="connsiteX496" fmla="*/ 2145416 w 3473628"/>
              <a:gd name="connsiteY496" fmla="*/ 1826170 h 2831071"/>
              <a:gd name="connsiteX497" fmla="*/ 2094062 w 3473628"/>
              <a:gd name="connsiteY497" fmla="*/ 1865877 h 2831071"/>
              <a:gd name="connsiteX498" fmla="*/ 2067452 w 3473628"/>
              <a:gd name="connsiteY498" fmla="*/ 1897668 h 2831071"/>
              <a:gd name="connsiteX499" fmla="*/ 2076654 w 3473628"/>
              <a:gd name="connsiteY499" fmla="*/ 1913791 h 2831071"/>
              <a:gd name="connsiteX500" fmla="*/ 2097668 w 3473628"/>
              <a:gd name="connsiteY500" fmla="*/ 1937955 h 2831071"/>
              <a:gd name="connsiteX501" fmla="*/ 2095077 w 3473628"/>
              <a:gd name="connsiteY501" fmla="*/ 2004416 h 2831071"/>
              <a:gd name="connsiteX502" fmla="*/ 2059391 w 3473628"/>
              <a:gd name="connsiteY502" fmla="*/ 2109155 h 2831071"/>
              <a:gd name="connsiteX503" fmla="*/ 1969325 w 3473628"/>
              <a:gd name="connsiteY503" fmla="*/ 2331853 h 2831071"/>
              <a:gd name="connsiteX504" fmla="*/ 1904584 w 3473628"/>
              <a:gd name="connsiteY504" fmla="*/ 2574405 h 2831071"/>
              <a:gd name="connsiteX505" fmla="*/ 1892502 w 3473628"/>
              <a:gd name="connsiteY505" fmla="*/ 2764443 h 2831071"/>
              <a:gd name="connsiteX506" fmla="*/ 2038812 w 3473628"/>
              <a:gd name="connsiteY506" fmla="*/ 2824874 h 2831071"/>
              <a:gd name="connsiteX507" fmla="*/ 2686909 w 3473628"/>
              <a:gd name="connsiteY507" fmla="*/ 2831070 h 2831071"/>
              <a:gd name="connsiteX508" fmla="*/ 3473628 w 3473628"/>
              <a:gd name="connsiteY508" fmla="*/ 2831070 h 2831071"/>
              <a:gd name="connsiteX0" fmla="*/ 1213734 w 3473628"/>
              <a:gd name="connsiteY0" fmla="*/ 2320662 h 2831069"/>
              <a:gd name="connsiteX1" fmla="*/ 1209568 w 3473628"/>
              <a:gd name="connsiteY1" fmla="*/ 2270448 h 2831069"/>
              <a:gd name="connsiteX2" fmla="*/ 1120808 w 3473628"/>
              <a:gd name="connsiteY2" fmla="*/ 2115662 h 2831069"/>
              <a:gd name="connsiteX3" fmla="*/ 1030182 w 3473628"/>
              <a:gd name="connsiteY3" fmla="*/ 1957124 h 2831069"/>
              <a:gd name="connsiteX4" fmla="*/ 963576 w 3473628"/>
              <a:gd name="connsiteY4" fmla="*/ 1924173 h 2831069"/>
              <a:gd name="connsiteX5" fmla="*/ 805764 w 3473628"/>
              <a:gd name="connsiteY5" fmla="*/ 1954244 h 2831069"/>
              <a:gd name="connsiteX6" fmla="*/ 604929 w 3473628"/>
              <a:gd name="connsiteY6" fmla="*/ 1989060 h 2831069"/>
              <a:gd name="connsiteX7" fmla="*/ 477332 w 3473628"/>
              <a:gd name="connsiteY7" fmla="*/ 1993661 h 2831069"/>
              <a:gd name="connsiteX8" fmla="*/ 361672 w 3473628"/>
              <a:gd name="connsiteY8" fmla="*/ 2000852 h 2831069"/>
              <a:gd name="connsiteX9" fmla="*/ 98687 w 3473628"/>
              <a:gd name="connsiteY9" fmla="*/ 2062567 h 2831069"/>
              <a:gd name="connsiteX10" fmla="*/ 3316 w 3473628"/>
              <a:gd name="connsiteY10" fmla="*/ 2090047 h 2831069"/>
              <a:gd name="connsiteX11" fmla="*/ 45468 w 3473628"/>
              <a:gd name="connsiteY11" fmla="*/ 2164135 h 2831069"/>
              <a:gd name="connsiteX12" fmla="*/ 243277 w 3473628"/>
              <a:gd name="connsiteY12" fmla="*/ 2417629 h 2831069"/>
              <a:gd name="connsiteX13" fmla="*/ 343270 w 3473628"/>
              <a:gd name="connsiteY13" fmla="*/ 2553723 h 2831069"/>
              <a:gd name="connsiteX14" fmla="*/ 396634 w 3473628"/>
              <a:gd name="connsiteY14" fmla="*/ 2608392 h 2831069"/>
              <a:gd name="connsiteX15" fmla="*/ 442102 w 3473628"/>
              <a:gd name="connsiteY15" fmla="*/ 2644348 h 2831069"/>
              <a:gd name="connsiteX16" fmla="*/ 450018 w 3473628"/>
              <a:gd name="connsiteY16" fmla="*/ 2670108 h 2831069"/>
              <a:gd name="connsiteX17" fmla="*/ 431180 w 3473628"/>
              <a:gd name="connsiteY17" fmla="*/ 2687516 h 2831069"/>
              <a:gd name="connsiteX18" fmla="*/ 385007 w 3473628"/>
              <a:gd name="connsiteY18" fmla="*/ 2665507 h 2831069"/>
              <a:gd name="connsiteX19" fmla="*/ 320266 w 3473628"/>
              <a:gd name="connsiteY19" fmla="*/ 2569991 h 2831069"/>
              <a:gd name="connsiteX20" fmla="*/ 307459 w 3473628"/>
              <a:gd name="connsiteY20" fmla="*/ 2513166 h 2831069"/>
              <a:gd name="connsiteX21" fmla="*/ 319396 w 3473628"/>
              <a:gd name="connsiteY21" fmla="*/ 2499923 h 2831069"/>
              <a:gd name="connsiteX22" fmla="*/ 348015 w 3473628"/>
              <a:gd name="connsiteY22" fmla="*/ 2524378 h 2831069"/>
              <a:gd name="connsiteX23" fmla="*/ 378086 w 3473628"/>
              <a:gd name="connsiteY23" fmla="*/ 2562364 h 2831069"/>
              <a:gd name="connsiteX24" fmla="*/ 409731 w 3473628"/>
              <a:gd name="connsiteY24" fmla="*/ 2581348 h 2831069"/>
              <a:gd name="connsiteX25" fmla="*/ 431740 w 3473628"/>
              <a:gd name="connsiteY25" fmla="*/ 2604372 h 2831069"/>
              <a:gd name="connsiteX26" fmla="*/ 455323 w 3473628"/>
              <a:gd name="connsiteY26" fmla="*/ 2623645 h 2831069"/>
              <a:gd name="connsiteX27" fmla="*/ 472006 w 3473628"/>
              <a:gd name="connsiteY27" fmla="*/ 2654005 h 2831069"/>
              <a:gd name="connsiteX28" fmla="*/ 483798 w 3473628"/>
              <a:gd name="connsiteY28" fmla="*/ 2705649 h 2831069"/>
              <a:gd name="connsiteX29" fmla="*/ 515029 w 3473628"/>
              <a:gd name="connsiteY29" fmla="*/ 2761707 h 2831069"/>
              <a:gd name="connsiteX30" fmla="*/ 593924 w 3473628"/>
              <a:gd name="connsiteY30" fmla="*/ 2781975 h 2831069"/>
              <a:gd name="connsiteX31" fmla="*/ 917921 w 3473628"/>
              <a:gd name="connsiteY31" fmla="*/ 2784234 h 2831069"/>
              <a:gd name="connsiteX32" fmla="*/ 1481859 w 3473628"/>
              <a:gd name="connsiteY32" fmla="*/ 2784234 h 2831069"/>
              <a:gd name="connsiteX33" fmla="*/ 1611175 w 3473628"/>
              <a:gd name="connsiteY33" fmla="*/ 2760402 h 2831069"/>
              <a:gd name="connsiteX34" fmla="*/ 1530415 w 3473628"/>
              <a:gd name="connsiteY34" fmla="*/ 2653819 h 2831069"/>
              <a:gd name="connsiteX35" fmla="*/ 1485506 w 3473628"/>
              <a:gd name="connsiteY35" fmla="*/ 2582508 h 2831069"/>
              <a:gd name="connsiteX36" fmla="*/ 1444639 w 3473628"/>
              <a:gd name="connsiteY36" fmla="*/ 2563380 h 2831069"/>
              <a:gd name="connsiteX37" fmla="*/ 1360914 w 3473628"/>
              <a:gd name="connsiteY37" fmla="*/ 2569701 h 2831069"/>
              <a:gd name="connsiteX38" fmla="*/ 1305374 w 3473628"/>
              <a:gd name="connsiteY38" fmla="*/ 2561204 h 2831069"/>
              <a:gd name="connsiteX39" fmla="*/ 1259906 w 3473628"/>
              <a:gd name="connsiteY39" fmla="*/ 2517187 h 2831069"/>
              <a:gd name="connsiteX40" fmla="*/ 1228551 w 3473628"/>
              <a:gd name="connsiteY40" fmla="*/ 2442519 h 2831069"/>
              <a:gd name="connsiteX41" fmla="*/ 1227121 w 3473628"/>
              <a:gd name="connsiteY41" fmla="*/ 2364680 h 2831069"/>
              <a:gd name="connsiteX42" fmla="*/ 1271139 w 3473628"/>
              <a:gd name="connsiteY42" fmla="*/ 2317491 h 2831069"/>
              <a:gd name="connsiteX43" fmla="*/ 1254021 w 3473628"/>
              <a:gd name="connsiteY43" fmla="*/ 2254201 h 2831069"/>
              <a:gd name="connsiteX44" fmla="*/ 1118217 w 3473628"/>
              <a:gd name="connsiteY44" fmla="*/ 2041429 h 2831069"/>
              <a:gd name="connsiteX45" fmla="*/ 1021105 w 3473628"/>
              <a:gd name="connsiteY45" fmla="*/ 1888363 h 2831069"/>
              <a:gd name="connsiteX46" fmla="*/ 969171 w 3473628"/>
              <a:gd name="connsiteY46" fmla="*/ 1865338 h 2831069"/>
              <a:gd name="connsiteX47" fmla="*/ 890048 w 3473628"/>
              <a:gd name="connsiteY47" fmla="*/ 1886477 h 2831069"/>
              <a:gd name="connsiteX48" fmla="*/ 773808 w 3473628"/>
              <a:gd name="connsiteY48" fmla="*/ 1916837 h 2831069"/>
              <a:gd name="connsiteX49" fmla="*/ 552974 w 3473628"/>
              <a:gd name="connsiteY49" fmla="*/ 1960565 h 2831069"/>
              <a:gd name="connsiteX50" fmla="*/ 460463 w 3473628"/>
              <a:gd name="connsiteY50" fmla="*/ 1968771 h 2831069"/>
              <a:gd name="connsiteX51" fmla="*/ 390251 w 3473628"/>
              <a:gd name="connsiteY51" fmla="*/ 1936110 h 2831069"/>
              <a:gd name="connsiteX52" fmla="*/ 237329 w 3473628"/>
              <a:gd name="connsiteY52" fmla="*/ 1817280 h 2831069"/>
              <a:gd name="connsiteX53" fmla="*/ 148859 w 3473628"/>
              <a:gd name="connsiteY53" fmla="*/ 1724478 h 2831069"/>
              <a:gd name="connsiteX54" fmla="*/ 135326 w 3473628"/>
              <a:gd name="connsiteY54" fmla="*/ 1660753 h 2831069"/>
              <a:gd name="connsiteX55" fmla="*/ 160361 w 3473628"/>
              <a:gd name="connsiteY55" fmla="*/ 1619326 h 2831069"/>
              <a:gd name="connsiteX56" fmla="*/ 206534 w 3473628"/>
              <a:gd name="connsiteY56" fmla="*/ 1610829 h 2831069"/>
              <a:gd name="connsiteX57" fmla="*/ 299894 w 3473628"/>
              <a:gd name="connsiteY57" fmla="*/ 1646370 h 2831069"/>
              <a:gd name="connsiteX58" fmla="*/ 372552 w 3473628"/>
              <a:gd name="connsiteY58" fmla="*/ 1668959 h 2831069"/>
              <a:gd name="connsiteX59" fmla="*/ 375723 w 3473628"/>
              <a:gd name="connsiteY59" fmla="*/ 1692688 h 2831069"/>
              <a:gd name="connsiteX60" fmla="*/ 313282 w 3473628"/>
              <a:gd name="connsiteY60" fmla="*/ 1712832 h 2831069"/>
              <a:gd name="connsiteX61" fmla="*/ 211134 w 3473628"/>
              <a:gd name="connsiteY61" fmla="*/ 1685787 h 2831069"/>
              <a:gd name="connsiteX62" fmla="*/ 161356 w 3473628"/>
              <a:gd name="connsiteY62" fmla="*/ 1648235 h 2831069"/>
              <a:gd name="connsiteX63" fmla="*/ 166391 w 3473628"/>
              <a:gd name="connsiteY63" fmla="*/ 1605586 h 2831069"/>
              <a:gd name="connsiteX64" fmla="*/ 200192 w 3473628"/>
              <a:gd name="connsiteY64" fmla="*/ 1577816 h 2831069"/>
              <a:gd name="connsiteX65" fmla="*/ 287232 w 3473628"/>
              <a:gd name="connsiteY65" fmla="*/ 1590830 h 2831069"/>
              <a:gd name="connsiteX66" fmla="*/ 369009 w 3473628"/>
              <a:gd name="connsiteY66" fmla="*/ 1618953 h 2831069"/>
              <a:gd name="connsiteX67" fmla="*/ 419927 w 3473628"/>
              <a:gd name="connsiteY67" fmla="*/ 1621046 h 2831069"/>
              <a:gd name="connsiteX68" fmla="*/ 508625 w 3473628"/>
              <a:gd name="connsiteY68" fmla="*/ 1559682 h 2831069"/>
              <a:gd name="connsiteX69" fmla="*/ 603872 w 3473628"/>
              <a:gd name="connsiteY69" fmla="*/ 1496164 h 2831069"/>
              <a:gd name="connsiteX70" fmla="*/ 672489 w 3473628"/>
              <a:gd name="connsiteY70" fmla="*/ 1469699 h 2831069"/>
              <a:gd name="connsiteX71" fmla="*/ 740318 w 3473628"/>
              <a:gd name="connsiteY71" fmla="*/ 1459835 h 2831069"/>
              <a:gd name="connsiteX72" fmla="*/ 810675 w 3473628"/>
              <a:gd name="connsiteY72" fmla="*/ 1421288 h 2831069"/>
              <a:gd name="connsiteX73" fmla="*/ 854631 w 3473628"/>
              <a:gd name="connsiteY73" fmla="*/ 1394969 h 2831069"/>
              <a:gd name="connsiteX74" fmla="*/ 862982 w 3473628"/>
              <a:gd name="connsiteY74" fmla="*/ 1380214 h 2831069"/>
              <a:gd name="connsiteX75" fmla="*/ 851688 w 3473628"/>
              <a:gd name="connsiteY75" fmla="*/ 1366412 h 2831069"/>
              <a:gd name="connsiteX76" fmla="*/ 827524 w 3473628"/>
              <a:gd name="connsiteY76" fmla="*/ 1363614 h 2831069"/>
              <a:gd name="connsiteX77" fmla="*/ 824291 w 3473628"/>
              <a:gd name="connsiteY77" fmla="*/ 1354910 h 2831069"/>
              <a:gd name="connsiteX78" fmla="*/ 846652 w 3473628"/>
              <a:gd name="connsiteY78" fmla="*/ 1340030 h 2831069"/>
              <a:gd name="connsiteX79" fmla="*/ 880308 w 3473628"/>
              <a:gd name="connsiteY79" fmla="*/ 1319161 h 2831069"/>
              <a:gd name="connsiteX80" fmla="*/ 897363 w 3473628"/>
              <a:gd name="connsiteY80" fmla="*/ 1302831 h 2831069"/>
              <a:gd name="connsiteX81" fmla="*/ 886794 w 3473628"/>
              <a:gd name="connsiteY81" fmla="*/ 1295930 h 2831069"/>
              <a:gd name="connsiteX82" fmla="*/ 844642 w 3473628"/>
              <a:gd name="connsiteY82" fmla="*/ 1306934 h 2831069"/>
              <a:gd name="connsiteX83" fmla="*/ 809536 w 3473628"/>
              <a:gd name="connsiteY83" fmla="*/ 1335347 h 2831069"/>
              <a:gd name="connsiteX84" fmla="*/ 787029 w 3473628"/>
              <a:gd name="connsiteY84" fmla="*/ 1349667 h 2831069"/>
              <a:gd name="connsiteX85" fmla="*/ 782139 w 3473628"/>
              <a:gd name="connsiteY85" fmla="*/ 1343346 h 2831069"/>
              <a:gd name="connsiteX86" fmla="*/ 804583 w 3473628"/>
              <a:gd name="connsiteY86" fmla="*/ 1325296 h 2831069"/>
              <a:gd name="connsiteX87" fmla="*/ 816810 w 3473628"/>
              <a:gd name="connsiteY87" fmla="*/ 1307743 h 2831069"/>
              <a:gd name="connsiteX88" fmla="*/ 811276 w 3473628"/>
              <a:gd name="connsiteY88" fmla="*/ 1290977 h 2831069"/>
              <a:gd name="connsiteX89" fmla="*/ 791713 w 3473628"/>
              <a:gd name="connsiteY89" fmla="*/ 1290832 h 2831069"/>
              <a:gd name="connsiteX90" fmla="*/ 761933 w 3473628"/>
              <a:gd name="connsiteY90" fmla="*/ 1313856 h 2831069"/>
              <a:gd name="connsiteX91" fmla="*/ 742515 w 3473628"/>
              <a:gd name="connsiteY91" fmla="*/ 1324218 h 2831069"/>
              <a:gd name="connsiteX92" fmla="*/ 739862 w 3473628"/>
              <a:gd name="connsiteY92" fmla="*/ 1318457 h 2831069"/>
              <a:gd name="connsiteX93" fmla="*/ 752296 w 3473628"/>
              <a:gd name="connsiteY93" fmla="*/ 1300406 h 2831069"/>
              <a:gd name="connsiteX94" fmla="*/ 772585 w 3473628"/>
              <a:gd name="connsiteY94" fmla="*/ 1280615 h 2831069"/>
              <a:gd name="connsiteX95" fmla="*/ 776108 w 3473628"/>
              <a:gd name="connsiteY95" fmla="*/ 1263994 h 2831069"/>
              <a:gd name="connsiteX96" fmla="*/ 761083 w 3473628"/>
              <a:gd name="connsiteY96" fmla="*/ 1258026 h 2831069"/>
              <a:gd name="connsiteX97" fmla="*/ 718869 w 3473628"/>
              <a:gd name="connsiteY97" fmla="*/ 1273051 h 2831069"/>
              <a:gd name="connsiteX98" fmla="*/ 639600 w 3473628"/>
              <a:gd name="connsiteY98" fmla="*/ 1331181 h 2831069"/>
              <a:gd name="connsiteX99" fmla="*/ 569678 w 3473628"/>
              <a:gd name="connsiteY99" fmla="*/ 1382100 h 2831069"/>
              <a:gd name="connsiteX100" fmla="*/ 456173 w 3473628"/>
              <a:gd name="connsiteY100" fmla="*/ 1442530 h 2831069"/>
              <a:gd name="connsiteX101" fmla="*/ 325406 w 3473628"/>
              <a:gd name="connsiteY101" fmla="*/ 1515188 h 2831069"/>
              <a:gd name="connsiteX102" fmla="*/ 239526 w 3473628"/>
              <a:gd name="connsiteY102" fmla="*/ 1551144 h 2831069"/>
              <a:gd name="connsiteX103" fmla="*/ 218388 w 3473628"/>
              <a:gd name="connsiteY103" fmla="*/ 1575453 h 2831069"/>
              <a:gd name="connsiteX104" fmla="*/ 272912 w 3473628"/>
              <a:gd name="connsiteY104" fmla="*/ 1602208 h 2831069"/>
              <a:gd name="connsiteX105" fmla="*/ 357797 w 3473628"/>
              <a:gd name="connsiteY105" fmla="*/ 1635863 h 2831069"/>
              <a:gd name="connsiteX106" fmla="*/ 403410 w 3473628"/>
              <a:gd name="connsiteY106" fmla="*/ 1653271 h 2831069"/>
              <a:gd name="connsiteX107" fmla="*/ 416073 w 3473628"/>
              <a:gd name="connsiteY107" fmla="*/ 1682036 h 2831069"/>
              <a:gd name="connsiteX108" fmla="*/ 440817 w 3473628"/>
              <a:gd name="connsiteY108" fmla="*/ 1705060 h 2831069"/>
              <a:gd name="connsiteX109" fmla="*/ 514469 w 3473628"/>
              <a:gd name="connsiteY109" fmla="*/ 1733680 h 2831069"/>
              <a:gd name="connsiteX110" fmla="*/ 651288 w 3473628"/>
              <a:gd name="connsiteY110" fmla="*/ 1765905 h 2831069"/>
              <a:gd name="connsiteX111" fmla="*/ 768109 w 3473628"/>
              <a:gd name="connsiteY111" fmla="*/ 1785179 h 2831069"/>
              <a:gd name="connsiteX112" fmla="*/ 837306 w 3473628"/>
              <a:gd name="connsiteY112" fmla="*/ 1824740 h 2831069"/>
              <a:gd name="connsiteX113" fmla="*/ 840621 w 3473628"/>
              <a:gd name="connsiteY113" fmla="*/ 1854666 h 2831069"/>
              <a:gd name="connsiteX114" fmla="*/ 790843 w 3473628"/>
              <a:gd name="connsiteY114" fmla="*/ 1883430 h 2831069"/>
              <a:gd name="connsiteX115" fmla="*/ 713874 w 3473628"/>
              <a:gd name="connsiteY115" fmla="*/ 1902413 h 2831069"/>
              <a:gd name="connsiteX116" fmla="*/ 703367 w 3473628"/>
              <a:gd name="connsiteY116" fmla="*/ 1887741 h 2831069"/>
              <a:gd name="connsiteX117" fmla="*/ 735158 w 3473628"/>
              <a:gd name="connsiteY117" fmla="*/ 1840843 h 2831069"/>
              <a:gd name="connsiteX118" fmla="*/ 785662 w 3473628"/>
              <a:gd name="connsiteY118" fmla="*/ 1808037 h 2831069"/>
              <a:gd name="connsiteX119" fmla="*/ 864640 w 3473628"/>
              <a:gd name="connsiteY119" fmla="*/ 1809757 h 2831069"/>
              <a:gd name="connsiteX120" fmla="*/ 904637 w 3473628"/>
              <a:gd name="connsiteY120" fmla="*/ 1789468 h 2831069"/>
              <a:gd name="connsiteX121" fmla="*/ 916284 w 3473628"/>
              <a:gd name="connsiteY121" fmla="*/ 1745161 h 2831069"/>
              <a:gd name="connsiteX122" fmla="*/ 912119 w 3473628"/>
              <a:gd name="connsiteY122" fmla="*/ 1675238 h 2831069"/>
              <a:gd name="connsiteX123" fmla="*/ 918025 w 3473628"/>
              <a:gd name="connsiteY123" fmla="*/ 1647904 h 2831069"/>
              <a:gd name="connsiteX124" fmla="*/ 946230 w 3473628"/>
              <a:gd name="connsiteY124" fmla="*/ 1644588 h 2831069"/>
              <a:gd name="connsiteX125" fmla="*/ 993128 w 3473628"/>
              <a:gd name="connsiteY125" fmla="*/ 1664587 h 2831069"/>
              <a:gd name="connsiteX126" fmla="*/ 1043632 w 3473628"/>
              <a:gd name="connsiteY126" fmla="*/ 1685455 h 2831069"/>
              <a:gd name="connsiteX127" fmla="*/ 1091110 w 3473628"/>
              <a:gd name="connsiteY127" fmla="*/ 1667032 h 2831069"/>
              <a:gd name="connsiteX128" fmla="*/ 1113844 w 3473628"/>
              <a:gd name="connsiteY128" fmla="*/ 1609046 h 2831069"/>
              <a:gd name="connsiteX129" fmla="*/ 1137573 w 3473628"/>
              <a:gd name="connsiteY129" fmla="*/ 1536244 h 2831069"/>
              <a:gd name="connsiteX130" fmla="*/ 1175270 w 3473628"/>
              <a:gd name="connsiteY130" fmla="*/ 1484165 h 2831069"/>
              <a:gd name="connsiteX131" fmla="*/ 1215847 w 3473628"/>
              <a:gd name="connsiteY131" fmla="*/ 1437702 h 2831069"/>
              <a:gd name="connsiteX132" fmla="*/ 1213837 w 3473628"/>
              <a:gd name="connsiteY132" fmla="*/ 1405911 h 2831069"/>
              <a:gd name="connsiteX133" fmla="*/ 1160743 w 3473628"/>
              <a:gd name="connsiteY133" fmla="*/ 1359449 h 2831069"/>
              <a:gd name="connsiteX134" fmla="*/ 1072273 w 3473628"/>
              <a:gd name="connsiteY134" fmla="*/ 1326207 h 2831069"/>
              <a:gd name="connsiteX135" fmla="*/ 969420 w 3473628"/>
              <a:gd name="connsiteY135" fmla="*/ 1337709 h 2831069"/>
              <a:gd name="connsiteX136" fmla="*/ 912160 w 3473628"/>
              <a:gd name="connsiteY136" fmla="*/ 1380152 h 2831069"/>
              <a:gd name="connsiteX137" fmla="*/ 896327 w 3473628"/>
              <a:gd name="connsiteY137" fmla="*/ 1448333 h 2831069"/>
              <a:gd name="connsiteX138" fmla="*/ 877489 w 3473628"/>
              <a:gd name="connsiteY138" fmla="*/ 1512784 h 2831069"/>
              <a:gd name="connsiteX139" fmla="*/ 860806 w 3473628"/>
              <a:gd name="connsiteY139" fmla="*/ 1564138 h 2831069"/>
              <a:gd name="connsiteX140" fmla="*/ 859936 w 3473628"/>
              <a:gd name="connsiteY140" fmla="*/ 1636216 h 2831069"/>
              <a:gd name="connsiteX141" fmla="*/ 882670 w 3473628"/>
              <a:gd name="connsiteY141" fmla="*/ 1693040 h 2831069"/>
              <a:gd name="connsiteX142" fmla="*/ 939930 w 3473628"/>
              <a:gd name="connsiteY142" fmla="*/ 1728001 h 2831069"/>
              <a:gd name="connsiteX143" fmla="*/ 1032856 w 3473628"/>
              <a:gd name="connsiteY143" fmla="*/ 1733618 h 2831069"/>
              <a:gd name="connsiteX144" fmla="*/ 1121326 w 3473628"/>
              <a:gd name="connsiteY144" fmla="*/ 1688440 h 2831069"/>
              <a:gd name="connsiteX145" fmla="*/ 1171830 w 3473628"/>
              <a:gd name="connsiteY145" fmla="*/ 1627304 h 2831069"/>
              <a:gd name="connsiteX146" fmla="*/ 1192263 w 3473628"/>
              <a:gd name="connsiteY146" fmla="*/ 1592343 h 2831069"/>
              <a:gd name="connsiteX147" fmla="*/ 1215433 w 3473628"/>
              <a:gd name="connsiteY147" fmla="*/ 1590478 h 2831069"/>
              <a:gd name="connsiteX148" fmla="*/ 1223059 w 3473628"/>
              <a:gd name="connsiteY148" fmla="*/ 1624569 h 2831069"/>
              <a:gd name="connsiteX149" fmla="*/ 1193569 w 3473628"/>
              <a:gd name="connsiteY149" fmla="*/ 1655219 h 2831069"/>
              <a:gd name="connsiteX150" fmla="*/ 1160328 w 3473628"/>
              <a:gd name="connsiteY150" fmla="*/ 1650909 h 2831069"/>
              <a:gd name="connsiteX151" fmla="*/ 1152121 w 3473628"/>
              <a:gd name="connsiteY151" fmla="*/ 1619844 h 2831069"/>
              <a:gd name="connsiteX152" fmla="*/ 1169239 w 3473628"/>
              <a:gd name="connsiteY152" fmla="*/ 1577836 h 2831069"/>
              <a:gd name="connsiteX153" fmla="*/ 1208511 w 3473628"/>
              <a:gd name="connsiteY153" fmla="*/ 1555683 h 2831069"/>
              <a:gd name="connsiteX154" fmla="*/ 1223039 w 3473628"/>
              <a:gd name="connsiteY154" fmla="*/ 1534814 h 2831069"/>
              <a:gd name="connsiteX155" fmla="*/ 1221173 w 3473628"/>
              <a:gd name="connsiteY155" fmla="*/ 1493822 h 2831069"/>
              <a:gd name="connsiteX156" fmla="*/ 1192263 w 3473628"/>
              <a:gd name="connsiteY156" fmla="*/ 1435837 h 2831069"/>
              <a:gd name="connsiteX157" fmla="*/ 1126527 w 3473628"/>
              <a:gd name="connsiteY157" fmla="*/ 1373105 h 2831069"/>
              <a:gd name="connsiteX158" fmla="*/ 1015178 w 3473628"/>
              <a:gd name="connsiteY158" fmla="*/ 1361604 h 2831069"/>
              <a:gd name="connsiteX159" fmla="*/ 929299 w 3473628"/>
              <a:gd name="connsiteY159" fmla="*/ 1399591 h 2831069"/>
              <a:gd name="connsiteX160" fmla="*/ 891312 w 3473628"/>
              <a:gd name="connsiteY160" fmla="*/ 1413683 h 2831069"/>
              <a:gd name="connsiteX161" fmla="*/ 880805 w 3473628"/>
              <a:gd name="connsiteY161" fmla="*/ 1385623 h 2831069"/>
              <a:gd name="connsiteX162" fmla="*/ 887271 w 3473628"/>
              <a:gd name="connsiteY162" fmla="*/ 1343035 h 2831069"/>
              <a:gd name="connsiteX163" fmla="*/ 919351 w 3473628"/>
              <a:gd name="connsiteY163" fmla="*/ 1314270 h 2831069"/>
              <a:gd name="connsiteX164" fmla="*/ 976031 w 3473628"/>
              <a:gd name="connsiteY164" fmla="*/ 1293402 h 2831069"/>
              <a:gd name="connsiteX165" fmla="*/ 1018183 w 3473628"/>
              <a:gd name="connsiteY165" fmla="*/ 1281900 h 2831069"/>
              <a:gd name="connsiteX166" fmla="*/ 1050844 w 3473628"/>
              <a:gd name="connsiteY166" fmla="*/ 1268947 h 2831069"/>
              <a:gd name="connsiteX167" fmla="*/ 1109244 w 3473628"/>
              <a:gd name="connsiteY167" fmla="*/ 1272118 h 2831069"/>
              <a:gd name="connsiteX168" fmla="*/ 1183622 w 3473628"/>
              <a:gd name="connsiteY168" fmla="*/ 1306209 h 2831069"/>
              <a:gd name="connsiteX169" fmla="*/ 1247202 w 3473628"/>
              <a:gd name="connsiteY169" fmla="*/ 1382017 h 2831069"/>
              <a:gd name="connsiteX170" fmla="*/ 1276983 w 3473628"/>
              <a:gd name="connsiteY170" fmla="*/ 1470777 h 2831069"/>
              <a:gd name="connsiteX171" fmla="*/ 1290785 w 3473628"/>
              <a:gd name="connsiteY171" fmla="*/ 1538959 h 2831069"/>
              <a:gd name="connsiteX172" fmla="*/ 1286184 w 3473628"/>
              <a:gd name="connsiteY172" fmla="*/ 1598664 h 2831069"/>
              <a:gd name="connsiteX173" fmla="*/ 1251223 w 3473628"/>
              <a:gd name="connsiteY173" fmla="*/ 1657789 h 2831069"/>
              <a:gd name="connsiteX174" fmla="*/ 1190792 w 3473628"/>
              <a:gd name="connsiteY174" fmla="*/ 1692460 h 2831069"/>
              <a:gd name="connsiteX175" fmla="*/ 1155396 w 3473628"/>
              <a:gd name="connsiteY175" fmla="*/ 1717349 h 2831069"/>
              <a:gd name="connsiteX176" fmla="*/ 1128786 w 3473628"/>
              <a:gd name="connsiteY176" fmla="*/ 1768848 h 2831069"/>
              <a:gd name="connsiteX177" fmla="*/ 1124766 w 3473628"/>
              <a:gd name="connsiteY177" fmla="*/ 1813156 h 2831069"/>
              <a:gd name="connsiteX178" fmla="*/ 1143459 w 3473628"/>
              <a:gd name="connsiteY178" fmla="*/ 1838045 h 2831069"/>
              <a:gd name="connsiteX179" fmla="*/ 1176700 w 3473628"/>
              <a:gd name="connsiteY179" fmla="*/ 1874581 h 2831069"/>
              <a:gd name="connsiteX180" fmla="*/ 1211951 w 3473628"/>
              <a:gd name="connsiteY180" fmla="*/ 1930971 h 2831069"/>
              <a:gd name="connsiteX181" fmla="*/ 1269791 w 3473628"/>
              <a:gd name="connsiteY181" fmla="*/ 1970678 h 2831069"/>
              <a:gd name="connsiteX182" fmla="*/ 1289790 w 3473628"/>
              <a:gd name="connsiteY182" fmla="*/ 2016996 h 2831069"/>
              <a:gd name="connsiteX183" fmla="*/ 1236696 w 3473628"/>
              <a:gd name="connsiteY183" fmla="*/ 2105031 h 2831069"/>
              <a:gd name="connsiteX184" fmla="*/ 1189362 w 3473628"/>
              <a:gd name="connsiteY184" fmla="*/ 2099269 h 2831069"/>
              <a:gd name="connsiteX185" fmla="*/ 1126921 w 3473628"/>
              <a:gd name="connsiteY185" fmla="*/ 1994386 h 2831069"/>
              <a:gd name="connsiteX186" fmla="*/ 1124621 w 3473628"/>
              <a:gd name="connsiteY186" fmla="*/ 1948773 h 2831069"/>
              <a:gd name="connsiteX187" fmla="*/ 1178855 w 3473628"/>
              <a:gd name="connsiteY187" fmla="*/ 1910226 h 2831069"/>
              <a:gd name="connsiteX188" fmla="*/ 1235245 w 3473628"/>
              <a:gd name="connsiteY188" fmla="*/ 1918288 h 2831069"/>
              <a:gd name="connsiteX189" fmla="*/ 1332792 w 3473628"/>
              <a:gd name="connsiteY189" fmla="*/ 1988065 h 2831069"/>
              <a:gd name="connsiteX190" fmla="*/ 1387316 w 3473628"/>
              <a:gd name="connsiteY190" fmla="*/ 2070650 h 2831069"/>
              <a:gd name="connsiteX191" fmla="*/ 1383710 w 3473628"/>
              <a:gd name="connsiteY191" fmla="*/ 2126190 h 2831069"/>
              <a:gd name="connsiteX192" fmla="*/ 1348459 w 3473628"/>
              <a:gd name="connsiteY192" fmla="*/ 2203448 h 2831069"/>
              <a:gd name="connsiteX193" fmla="*/ 1311923 w 3473628"/>
              <a:gd name="connsiteY193" fmla="*/ 2248771 h 2831069"/>
              <a:gd name="connsiteX194" fmla="*/ 1270786 w 3473628"/>
              <a:gd name="connsiteY194" fmla="*/ 2226907 h 2831069"/>
              <a:gd name="connsiteX195" fmla="*/ 1256694 w 3473628"/>
              <a:gd name="connsiteY195" fmla="*/ 2197417 h 2831069"/>
              <a:gd name="connsiteX196" fmla="*/ 1262745 w 3473628"/>
              <a:gd name="connsiteY196" fmla="*/ 2172093 h 2831069"/>
              <a:gd name="connsiteX197" fmla="*/ 1299427 w 3473628"/>
              <a:gd name="connsiteY197" fmla="*/ 2127640 h 2831069"/>
              <a:gd name="connsiteX198" fmla="*/ 1357826 w 3473628"/>
              <a:gd name="connsiteY198" fmla="*/ 2086068 h 2831069"/>
              <a:gd name="connsiteX199" fmla="*/ 1403999 w 3473628"/>
              <a:gd name="connsiteY199" fmla="*/ 2048372 h 2831069"/>
              <a:gd name="connsiteX200" fmla="*/ 1428453 w 3473628"/>
              <a:gd name="connsiteY200" fmla="*/ 2028228 h 2831069"/>
              <a:gd name="connsiteX201" fmla="*/ 1435644 w 3473628"/>
              <a:gd name="connsiteY201" fmla="*/ 2043481 h 2831069"/>
              <a:gd name="connsiteX202" fmla="*/ 1439375 w 3473628"/>
              <a:gd name="connsiteY202" fmla="*/ 2107062 h 2831069"/>
              <a:gd name="connsiteX203" fmla="*/ 1432039 w 3473628"/>
              <a:gd name="connsiteY203" fmla="*/ 2164902 h 2831069"/>
              <a:gd name="connsiteX204" fmla="*/ 1405864 w 3473628"/>
              <a:gd name="connsiteY204" fmla="*/ 2266469 h 2831069"/>
              <a:gd name="connsiteX205" fmla="*/ 1412765 w 3473628"/>
              <a:gd name="connsiteY205" fmla="*/ 2328330 h 2831069"/>
              <a:gd name="connsiteX206" fmla="*/ 1440245 w 3473628"/>
              <a:gd name="connsiteY206" fmla="*/ 2353074 h 2831069"/>
              <a:gd name="connsiteX207" fmla="*/ 1475932 w 3473628"/>
              <a:gd name="connsiteY207" fmla="*/ 2367457 h 2831069"/>
              <a:gd name="connsiteX208" fmla="*/ 1511038 w 3473628"/>
              <a:gd name="connsiteY208" fmla="*/ 2382710 h 2831069"/>
              <a:gd name="connsiteX209" fmla="*/ 1536217 w 3473628"/>
              <a:gd name="connsiteY209" fmla="*/ 2415225 h 2831069"/>
              <a:gd name="connsiteX210" fmla="*/ 1543408 w 3473628"/>
              <a:gd name="connsiteY210" fmla="*/ 2463843 h 2831069"/>
              <a:gd name="connsiteX211" fmla="*/ 1512758 w 3473628"/>
              <a:gd name="connsiteY211" fmla="*/ 2507156 h 2831069"/>
              <a:gd name="connsiteX212" fmla="*/ 1467083 w 3473628"/>
              <a:gd name="connsiteY212" fmla="*/ 2522844 h 2831069"/>
              <a:gd name="connsiteX213" fmla="*/ 1422195 w 3473628"/>
              <a:gd name="connsiteY213" fmla="*/ 2523860 h 2831069"/>
              <a:gd name="connsiteX214" fmla="*/ 1366738 w 3473628"/>
              <a:gd name="connsiteY214" fmla="*/ 2540832 h 2831069"/>
              <a:gd name="connsiteX215" fmla="*/ 1320420 w 3473628"/>
              <a:gd name="connsiteY215" fmla="*/ 2536667 h 2831069"/>
              <a:gd name="connsiteX216" fmla="*/ 1321788 w 3473628"/>
              <a:gd name="connsiteY216" fmla="*/ 2519549 h 2831069"/>
              <a:gd name="connsiteX217" fmla="*/ 1369846 w 3473628"/>
              <a:gd name="connsiteY217" fmla="*/ 2497893 h 2831069"/>
              <a:gd name="connsiteX218" fmla="*/ 1396891 w 3473628"/>
              <a:gd name="connsiteY218" fmla="*/ 2480277 h 2831069"/>
              <a:gd name="connsiteX219" fmla="*/ 1381286 w 3473628"/>
              <a:gd name="connsiteY219" fmla="*/ 2474102 h 2831069"/>
              <a:gd name="connsiteX220" fmla="*/ 1307986 w 3473628"/>
              <a:gd name="connsiteY220" fmla="*/ 2503094 h 2831069"/>
              <a:gd name="connsiteX221" fmla="*/ 1275760 w 3473628"/>
              <a:gd name="connsiteY221" fmla="*/ 2503820 h 2831069"/>
              <a:gd name="connsiteX222" fmla="*/ 1277190 w 3473628"/>
              <a:gd name="connsiteY222" fmla="*/ 2490515 h 2831069"/>
              <a:gd name="connsiteX223" fmla="*/ 1302287 w 3473628"/>
              <a:gd name="connsiteY223" fmla="*/ 2478495 h 2831069"/>
              <a:gd name="connsiteX224" fmla="*/ 1350407 w 3473628"/>
              <a:gd name="connsiteY224" fmla="*/ 2445109 h 2831069"/>
              <a:gd name="connsiteX225" fmla="*/ 1346946 w 3473628"/>
              <a:gd name="connsiteY225" fmla="*/ 2435120 h 2831069"/>
              <a:gd name="connsiteX226" fmla="*/ 1292774 w 3473628"/>
              <a:gd name="connsiteY226" fmla="*/ 2461812 h 2831069"/>
              <a:gd name="connsiteX227" fmla="*/ 1261834 w 3473628"/>
              <a:gd name="connsiteY227" fmla="*/ 2459719 h 2831069"/>
              <a:gd name="connsiteX228" fmla="*/ 1265149 w 3473628"/>
              <a:gd name="connsiteY228" fmla="*/ 2438933 h 2831069"/>
              <a:gd name="connsiteX229" fmla="*/ 1303053 w 3473628"/>
              <a:gd name="connsiteY229" fmla="*/ 2411308 h 2831069"/>
              <a:gd name="connsiteX230" fmla="*/ 1318513 w 3473628"/>
              <a:gd name="connsiteY230" fmla="*/ 2393175 h 2831069"/>
              <a:gd name="connsiteX231" fmla="*/ 1306783 w 3473628"/>
              <a:gd name="connsiteY231" fmla="*/ 2385984 h 2831069"/>
              <a:gd name="connsiteX232" fmla="*/ 1268590 w 3473628"/>
              <a:gd name="connsiteY232" fmla="*/ 2403392 h 2831069"/>
              <a:gd name="connsiteX233" fmla="*/ 1243410 w 3473628"/>
              <a:gd name="connsiteY233" fmla="*/ 2405257 h 2831069"/>
              <a:gd name="connsiteX234" fmla="*/ 1242685 w 3473628"/>
              <a:gd name="connsiteY234" fmla="*/ 2382461 h 2831069"/>
              <a:gd name="connsiteX235" fmla="*/ 1284402 w 3473628"/>
              <a:gd name="connsiteY235" fmla="*/ 2341469 h 2831069"/>
              <a:gd name="connsiteX236" fmla="*/ 1360935 w 3473628"/>
              <a:gd name="connsiteY236" fmla="*/ 2306218 h 2831069"/>
              <a:gd name="connsiteX237" fmla="*/ 1411004 w 3473628"/>
              <a:gd name="connsiteY237" fmla="*/ 2303047 h 2831069"/>
              <a:gd name="connsiteX238" fmla="*/ 1438484 w 3473628"/>
              <a:gd name="connsiteY238" fmla="*/ 2295131 h 2831069"/>
              <a:gd name="connsiteX239" fmla="*/ 1468409 w 3473628"/>
              <a:gd name="connsiteY239" fmla="*/ 2243777 h 2831069"/>
              <a:gd name="connsiteX240" fmla="*/ 1532570 w 3473628"/>
              <a:gd name="connsiteY240" fmla="*/ 2156301 h 2831069"/>
              <a:gd name="connsiteX241" fmla="*/ 1610761 w 3473628"/>
              <a:gd name="connsiteY241" fmla="*/ 2074152 h 2831069"/>
              <a:gd name="connsiteX242" fmla="*/ 1628957 w 3473628"/>
              <a:gd name="connsiteY242" fmla="*/ 2041864 h 2831069"/>
              <a:gd name="connsiteX243" fmla="*/ 1628604 w 3473628"/>
              <a:gd name="connsiteY243" fmla="*/ 2021078 h 2831069"/>
              <a:gd name="connsiteX244" fmla="*/ 1642841 w 3473628"/>
              <a:gd name="connsiteY244" fmla="*/ 2001308 h 2831069"/>
              <a:gd name="connsiteX245" fmla="*/ 1697863 w 3473628"/>
              <a:gd name="connsiteY245" fmla="*/ 1963611 h 2831069"/>
              <a:gd name="connsiteX246" fmla="*/ 1768718 w 3473628"/>
              <a:gd name="connsiteY246" fmla="*/ 1914703 h 2831069"/>
              <a:gd name="connsiteX247" fmla="*/ 1816549 w 3473628"/>
              <a:gd name="connsiteY247" fmla="*/ 1881109 h 2831069"/>
              <a:gd name="connsiteX248" fmla="*/ 1846039 w 3473628"/>
              <a:gd name="connsiteY248" fmla="*/ 1836221 h 2831069"/>
              <a:gd name="connsiteX249" fmla="*/ 1863882 w 3473628"/>
              <a:gd name="connsiteY249" fmla="*/ 1739400 h 2831069"/>
              <a:gd name="connsiteX250" fmla="*/ 1862162 w 3473628"/>
              <a:gd name="connsiteY250" fmla="*/ 1654225 h 2831069"/>
              <a:gd name="connsiteX251" fmla="*/ 1849355 w 3473628"/>
              <a:gd name="connsiteY251" fmla="*/ 1586312 h 2831069"/>
              <a:gd name="connsiteX252" fmla="*/ 1804322 w 3473628"/>
              <a:gd name="connsiteY252" fmla="*/ 1511499 h 2831069"/>
              <a:gd name="connsiteX253" fmla="*/ 1748512 w 3473628"/>
              <a:gd name="connsiteY253" fmla="*/ 1463296 h 2831069"/>
              <a:gd name="connsiteX254" fmla="*/ 1688662 w 3473628"/>
              <a:gd name="connsiteY254" fmla="*/ 1445017 h 2831069"/>
              <a:gd name="connsiteX255" fmla="*/ 1629682 w 3473628"/>
              <a:gd name="connsiteY255" fmla="*/ 1434655 h 2831069"/>
              <a:gd name="connsiteX256" fmla="*/ 1565521 w 3473628"/>
              <a:gd name="connsiteY256" fmla="*/ 1420708 h 2831069"/>
              <a:gd name="connsiteX257" fmla="*/ 1482377 w 3473628"/>
              <a:gd name="connsiteY257" fmla="*/ 1428044 h 2831069"/>
              <a:gd name="connsiteX258" fmla="*/ 1425117 w 3473628"/>
              <a:gd name="connsiteY258" fmla="*/ 1469036 h 2831069"/>
              <a:gd name="connsiteX259" fmla="*/ 1416910 w 3473628"/>
              <a:gd name="connsiteY259" fmla="*/ 1533923 h 2831069"/>
              <a:gd name="connsiteX260" fmla="*/ 1436618 w 3473628"/>
              <a:gd name="connsiteY260" fmla="*/ 1580240 h 2831069"/>
              <a:gd name="connsiteX261" fmla="*/ 1448265 w 3473628"/>
              <a:gd name="connsiteY261" fmla="*/ 1638081 h 2831069"/>
              <a:gd name="connsiteX262" fmla="*/ 1432577 w 3473628"/>
              <a:gd name="connsiteY262" fmla="*/ 1733037 h 2831069"/>
              <a:gd name="connsiteX263" fmla="*/ 1436598 w 3473628"/>
              <a:gd name="connsiteY263" fmla="*/ 1799063 h 2831069"/>
              <a:gd name="connsiteX264" fmla="*/ 1493568 w 3473628"/>
              <a:gd name="connsiteY264" fmla="*/ 1841216 h 2831069"/>
              <a:gd name="connsiteX265" fmla="*/ 1619299 w 3473628"/>
              <a:gd name="connsiteY265" fmla="*/ 1854168 h 2831069"/>
              <a:gd name="connsiteX266" fmla="*/ 1704039 w 3473628"/>
              <a:gd name="connsiteY266" fmla="*/ 1837050 h 2831069"/>
              <a:gd name="connsiteX267" fmla="*/ 1739290 w 3473628"/>
              <a:gd name="connsiteY267" fmla="*/ 1788577 h 2831069"/>
              <a:gd name="connsiteX268" fmla="*/ 1754108 w 3473628"/>
              <a:gd name="connsiteY268" fmla="*/ 1758507 h 2831069"/>
              <a:gd name="connsiteX269" fmla="*/ 1769071 w 3473628"/>
              <a:gd name="connsiteY269" fmla="*/ 1758507 h 2831069"/>
              <a:gd name="connsiteX270" fmla="*/ 1773526 w 3473628"/>
              <a:gd name="connsiteY270" fmla="*/ 1787562 h 2831069"/>
              <a:gd name="connsiteX271" fmla="*/ 1747621 w 3473628"/>
              <a:gd name="connsiteY271" fmla="*/ 1819497 h 2831069"/>
              <a:gd name="connsiteX272" fmla="*/ 1719271 w 3473628"/>
              <a:gd name="connsiteY272" fmla="*/ 1806110 h 2831069"/>
              <a:gd name="connsiteX273" fmla="*/ 1727478 w 3473628"/>
              <a:gd name="connsiteY273" fmla="*/ 1762092 h 2831069"/>
              <a:gd name="connsiteX274" fmla="*/ 1757258 w 3473628"/>
              <a:gd name="connsiteY274" fmla="*/ 1731297 h 2831069"/>
              <a:gd name="connsiteX275" fmla="*/ 1781857 w 3473628"/>
              <a:gd name="connsiteY275" fmla="*/ 1696626 h 2831069"/>
              <a:gd name="connsiteX276" fmla="*/ 1759123 w 3473628"/>
              <a:gd name="connsiteY276" fmla="*/ 1625563 h 2831069"/>
              <a:gd name="connsiteX277" fmla="*/ 1710650 w 3473628"/>
              <a:gd name="connsiteY277" fmla="*/ 1549175 h 2831069"/>
              <a:gd name="connsiteX278" fmla="*/ 1628065 w 3473628"/>
              <a:gd name="connsiteY278" fmla="*/ 1512349 h 2831069"/>
              <a:gd name="connsiteX279" fmla="*/ 1535989 w 3473628"/>
              <a:gd name="connsiteY279" fmla="*/ 1521260 h 2831069"/>
              <a:gd name="connsiteX280" fmla="*/ 1469528 w 3473628"/>
              <a:gd name="connsiteY280" fmla="*/ 1574624 h 2831069"/>
              <a:gd name="connsiteX281" fmla="*/ 1448100 w 3473628"/>
              <a:gd name="connsiteY281" fmla="*/ 1608280 h 2831069"/>
              <a:gd name="connsiteX282" fmla="*/ 1425946 w 3473628"/>
              <a:gd name="connsiteY282" fmla="*/ 1663384 h 2831069"/>
              <a:gd name="connsiteX283" fmla="*/ 1406527 w 3473628"/>
              <a:gd name="connsiteY283" fmla="*/ 1760351 h 2831069"/>
              <a:gd name="connsiteX284" fmla="*/ 1422215 w 3473628"/>
              <a:gd name="connsiteY284" fmla="*/ 1829693 h 2831069"/>
              <a:gd name="connsiteX285" fmla="*/ 1452866 w 3473628"/>
              <a:gd name="connsiteY285" fmla="*/ 1880115 h 2831069"/>
              <a:gd name="connsiteX286" fmla="*/ 1472139 w 3473628"/>
              <a:gd name="connsiteY286" fmla="*/ 1939737 h 2831069"/>
              <a:gd name="connsiteX287" fmla="*/ 1476885 w 3473628"/>
              <a:gd name="connsiteY287" fmla="*/ 1996769 h 2831069"/>
              <a:gd name="connsiteX288" fmla="*/ 1459332 w 3473628"/>
              <a:gd name="connsiteY288" fmla="*/ 2060205 h 2831069"/>
              <a:gd name="connsiteX289" fmla="*/ 1462212 w 3473628"/>
              <a:gd name="connsiteY289" fmla="*/ 2092430 h 2831069"/>
              <a:gd name="connsiteX290" fmla="*/ 1501339 w 3473628"/>
              <a:gd name="connsiteY290" fmla="*/ 2073157 h 2831069"/>
              <a:gd name="connsiteX291" fmla="*/ 1597083 w 3473628"/>
              <a:gd name="connsiteY291" fmla="*/ 2002592 h 2831069"/>
              <a:gd name="connsiteX292" fmla="*/ 1667586 w 3473628"/>
              <a:gd name="connsiteY292" fmla="*/ 1957705 h 2831069"/>
              <a:gd name="connsiteX293" fmla="*/ 1726856 w 3473628"/>
              <a:gd name="connsiteY293" fmla="*/ 1927987 h 2831069"/>
              <a:gd name="connsiteX294" fmla="*/ 1753258 w 3473628"/>
              <a:gd name="connsiteY294" fmla="*/ 1933520 h 2831069"/>
              <a:gd name="connsiteX295" fmla="*/ 1781816 w 3473628"/>
              <a:gd name="connsiteY295" fmla="*/ 1986034 h 2831069"/>
              <a:gd name="connsiteX296" fmla="*/ 1823616 w 3473628"/>
              <a:gd name="connsiteY296" fmla="*/ 2024809 h 2831069"/>
              <a:gd name="connsiteX297" fmla="*/ 1853044 w 3473628"/>
              <a:gd name="connsiteY297" fmla="*/ 2039129 h 2831069"/>
              <a:gd name="connsiteX298" fmla="*/ 1845417 w 3473628"/>
              <a:gd name="connsiteY298" fmla="*/ 2056392 h 2831069"/>
              <a:gd name="connsiteX299" fmla="*/ 1802685 w 3473628"/>
              <a:gd name="connsiteY299" fmla="*/ 2090420 h 2831069"/>
              <a:gd name="connsiteX300" fmla="*/ 1764283 w 3473628"/>
              <a:gd name="connsiteY300" fmla="*/ 2152281 h 2831069"/>
              <a:gd name="connsiteX301" fmla="*/ 1702132 w 3473628"/>
              <a:gd name="connsiteY301" fmla="*/ 2291753 h 2831069"/>
              <a:gd name="connsiteX302" fmla="*/ 1672207 w 3473628"/>
              <a:gd name="connsiteY302" fmla="*/ 2356639 h 2831069"/>
              <a:gd name="connsiteX303" fmla="*/ 1654654 w 3473628"/>
              <a:gd name="connsiteY303" fmla="*/ 2363043 h 2831069"/>
              <a:gd name="connsiteX304" fmla="*/ 1613082 w 3473628"/>
              <a:gd name="connsiteY304" fmla="*/ 2345054 h 2831069"/>
              <a:gd name="connsiteX305" fmla="*/ 1559925 w 3473628"/>
              <a:gd name="connsiteY305" fmla="*/ 2330174 h 2831069"/>
              <a:gd name="connsiteX306" fmla="*/ 1518498 w 3473628"/>
              <a:gd name="connsiteY306" fmla="*/ 2333345 h 2831069"/>
              <a:gd name="connsiteX307" fmla="*/ 1485112 w 3473628"/>
              <a:gd name="connsiteY307" fmla="*/ 2345075 h 2831069"/>
              <a:gd name="connsiteX308" fmla="*/ 1462813 w 3473628"/>
              <a:gd name="connsiteY308" fmla="*/ 2341759 h 2831069"/>
              <a:gd name="connsiteX309" fmla="*/ 1462523 w 3473628"/>
              <a:gd name="connsiteY309" fmla="*/ 2316435 h 2831069"/>
              <a:gd name="connsiteX310" fmla="*/ 1514022 w 3473628"/>
              <a:gd name="connsiteY310" fmla="*/ 2230907 h 2831069"/>
              <a:gd name="connsiteX311" fmla="*/ 1633868 w 3473628"/>
              <a:gd name="connsiteY311" fmla="*/ 2086462 h 2831069"/>
              <a:gd name="connsiteX312" fmla="*/ 1761050 w 3473628"/>
              <a:gd name="connsiteY312" fmla="*/ 2009494 h 2831069"/>
              <a:gd name="connsiteX313" fmla="*/ 1835718 w 3473628"/>
              <a:gd name="connsiteY313" fmla="*/ 2007773 h 2831069"/>
              <a:gd name="connsiteX314" fmla="*/ 1915422 w 3473628"/>
              <a:gd name="connsiteY314" fmla="*/ 2040579 h 2831069"/>
              <a:gd name="connsiteX315" fmla="*/ 1956414 w 3473628"/>
              <a:gd name="connsiteY315" fmla="*/ 2094378 h 2831069"/>
              <a:gd name="connsiteX316" fmla="*/ 1981593 w 3473628"/>
              <a:gd name="connsiteY316" fmla="*/ 2161420 h 2831069"/>
              <a:gd name="connsiteX317" fmla="*/ 1998421 w 3473628"/>
              <a:gd name="connsiteY317" fmla="*/ 2191781 h 2831069"/>
              <a:gd name="connsiteX318" fmla="*/ 2004473 w 3473628"/>
              <a:gd name="connsiteY318" fmla="*/ 2185874 h 2831069"/>
              <a:gd name="connsiteX319" fmla="*/ 1997717 w 3473628"/>
              <a:gd name="connsiteY319" fmla="*/ 2138106 h 2831069"/>
              <a:gd name="connsiteX320" fmla="*/ 1965781 w 3473628"/>
              <a:gd name="connsiteY320" fmla="*/ 2073364 h 2831069"/>
              <a:gd name="connsiteX321" fmla="*/ 1892688 w 3473628"/>
              <a:gd name="connsiteY321" fmla="*/ 2059127 h 2831069"/>
              <a:gd name="connsiteX322" fmla="*/ 1816155 w 3473628"/>
              <a:gd name="connsiteY322" fmla="*/ 2115517 h 2831069"/>
              <a:gd name="connsiteX323" fmla="*/ 1767682 w 3473628"/>
              <a:gd name="connsiteY323" fmla="*/ 2216504 h 2831069"/>
              <a:gd name="connsiteX324" fmla="*/ 1756740 w 3473628"/>
              <a:gd name="connsiteY324" fmla="*/ 2315771 h 2831069"/>
              <a:gd name="connsiteX325" fmla="*/ 1733280 w 3473628"/>
              <a:gd name="connsiteY325" fmla="*/ 2398211 h 2831069"/>
              <a:gd name="connsiteX326" fmla="*/ 1632148 w 3473628"/>
              <a:gd name="connsiteY326" fmla="*/ 2384554 h 2831069"/>
              <a:gd name="connsiteX327" fmla="*/ 1539637 w 3473628"/>
              <a:gd name="connsiteY327" fmla="*/ 2352183 h 2831069"/>
              <a:gd name="connsiteX328" fmla="*/ 1522519 w 3473628"/>
              <a:gd name="connsiteY328" fmla="*/ 2359229 h 2831069"/>
              <a:gd name="connsiteX329" fmla="*/ 1543947 w 3473628"/>
              <a:gd name="connsiteY329" fmla="*/ 2385549 h 2831069"/>
              <a:gd name="connsiteX330" fmla="*/ 1564381 w 3473628"/>
              <a:gd name="connsiteY330" fmla="*/ 2430727 h 2831069"/>
              <a:gd name="connsiteX331" fmla="*/ 1559200 w 3473628"/>
              <a:gd name="connsiteY331" fmla="*/ 2486412 h 2831069"/>
              <a:gd name="connsiteX332" fmla="*/ 1529710 w 3473628"/>
              <a:gd name="connsiteY332" fmla="*/ 2562364 h 2831069"/>
              <a:gd name="connsiteX333" fmla="*/ 1544963 w 3473628"/>
              <a:gd name="connsiteY333" fmla="*/ 2634587 h 2831069"/>
              <a:gd name="connsiteX334" fmla="*/ 1609124 w 3473628"/>
              <a:gd name="connsiteY334" fmla="*/ 2669984 h 2831069"/>
              <a:gd name="connsiteX335" fmla="*/ 1709821 w 3473628"/>
              <a:gd name="connsiteY335" fmla="*/ 2685526 h 2831069"/>
              <a:gd name="connsiteX336" fmla="*/ 1825481 w 3473628"/>
              <a:gd name="connsiteY336" fmla="*/ 2710706 h 2831069"/>
              <a:gd name="connsiteX337" fmla="*/ 1849666 w 3473628"/>
              <a:gd name="connsiteY337" fmla="*/ 2737274 h 2831069"/>
              <a:gd name="connsiteX338" fmla="*/ 1827284 w 3473628"/>
              <a:gd name="connsiteY338" fmla="*/ 2775385 h 2831069"/>
              <a:gd name="connsiteX339" fmla="*/ 1859468 w 3473628"/>
              <a:gd name="connsiteY339" fmla="*/ 2784130 h 2831069"/>
              <a:gd name="connsiteX340" fmla="*/ 2089565 w 3473628"/>
              <a:gd name="connsiteY340" fmla="*/ 2784130 h 2831069"/>
              <a:gd name="connsiteX341" fmla="*/ 2566897 w 3473628"/>
              <a:gd name="connsiteY341" fmla="*/ 2782162 h 2831069"/>
              <a:gd name="connsiteX342" fmla="*/ 2687966 w 3473628"/>
              <a:gd name="connsiteY342" fmla="*/ 2759884 h 2831069"/>
              <a:gd name="connsiteX343" fmla="*/ 2680464 w 3473628"/>
              <a:gd name="connsiteY343" fmla="*/ 2692303 h 2831069"/>
              <a:gd name="connsiteX344" fmla="*/ 2633566 w 3473628"/>
              <a:gd name="connsiteY344" fmla="*/ 2631872 h 2831069"/>
              <a:gd name="connsiteX345" fmla="*/ 2492291 w 3473628"/>
              <a:gd name="connsiteY345" fmla="*/ 2565701 h 2831069"/>
              <a:gd name="connsiteX346" fmla="*/ 2424110 w 3473628"/>
              <a:gd name="connsiteY346" fmla="*/ 2476651 h 2831069"/>
              <a:gd name="connsiteX347" fmla="*/ 2465247 w 3473628"/>
              <a:gd name="connsiteY347" fmla="*/ 2186330 h 2831069"/>
              <a:gd name="connsiteX348" fmla="*/ 2494592 w 3473628"/>
              <a:gd name="connsiteY348" fmla="*/ 1978159 h 2831069"/>
              <a:gd name="connsiteX349" fmla="*/ 2532289 w 3473628"/>
              <a:gd name="connsiteY349" fmla="*/ 1883202 h 2831069"/>
              <a:gd name="connsiteX350" fmla="*/ 2600200 w 3473628"/>
              <a:gd name="connsiteY350" fmla="*/ 1837175 h 2831069"/>
              <a:gd name="connsiteX351" fmla="*/ 2643928 w 3473628"/>
              <a:gd name="connsiteY351" fmla="*/ 1758051 h 2831069"/>
              <a:gd name="connsiteX352" fmla="*/ 2671553 w 3473628"/>
              <a:gd name="connsiteY352" fmla="*/ 1632029 h 2831069"/>
              <a:gd name="connsiteX353" fmla="*/ 2694577 w 3473628"/>
              <a:gd name="connsiteY353" fmla="*/ 1561817 h 2831069"/>
              <a:gd name="connsiteX354" fmla="*/ 2707239 w 3473628"/>
              <a:gd name="connsiteY354" fmla="*/ 1548305 h 2831069"/>
              <a:gd name="connsiteX355" fmla="*/ 2696877 w 3473628"/>
              <a:gd name="connsiteY355" fmla="*/ 1616217 h 2831069"/>
              <a:gd name="connsiteX356" fmla="*/ 2656300 w 3473628"/>
              <a:gd name="connsiteY356" fmla="*/ 1792308 h 2831069"/>
              <a:gd name="connsiteX357" fmla="*/ 2576306 w 3473628"/>
              <a:gd name="connsiteY357" fmla="*/ 1905377 h 2831069"/>
              <a:gd name="connsiteX358" fmla="*/ 2484810 w 3473628"/>
              <a:gd name="connsiteY358" fmla="*/ 1918329 h 2831069"/>
              <a:gd name="connsiteX359" fmla="*/ 2405251 w 3473628"/>
              <a:gd name="connsiteY359" fmla="*/ 1822813 h 2831069"/>
              <a:gd name="connsiteX360" fmla="*/ 2384113 w 3473628"/>
              <a:gd name="connsiteY360" fmla="*/ 1673912 h 2831069"/>
              <a:gd name="connsiteX361" fmla="*/ 2378642 w 3473628"/>
              <a:gd name="connsiteY361" fmla="*/ 1541984 h 2831069"/>
              <a:gd name="connsiteX362" fmla="*/ 2373751 w 3473628"/>
              <a:gd name="connsiteY362" fmla="*/ 1415527 h 2831069"/>
              <a:gd name="connsiteX363" fmla="*/ 2347141 w 3473628"/>
              <a:gd name="connsiteY363" fmla="*/ 1246918 h 2831069"/>
              <a:gd name="connsiteX364" fmla="*/ 2334769 w 3473628"/>
              <a:gd name="connsiteY364" fmla="*/ 1142615 h 2831069"/>
              <a:gd name="connsiteX365" fmla="*/ 2329153 w 3473628"/>
              <a:gd name="connsiteY365" fmla="*/ 1065211 h 2831069"/>
              <a:gd name="connsiteX366" fmla="*/ 2304554 w 3473628"/>
              <a:gd name="connsiteY366" fmla="*/ 939335 h 2831069"/>
              <a:gd name="connsiteX367" fmla="*/ 2256641 w 3473628"/>
              <a:gd name="connsiteY367" fmla="*/ 796630 h 2831069"/>
              <a:gd name="connsiteX368" fmla="*/ 2230736 w 3473628"/>
              <a:gd name="connsiteY368" fmla="*/ 692327 h 2831069"/>
              <a:gd name="connsiteX369" fmla="*/ 2239502 w 3473628"/>
              <a:gd name="connsiteY369" fmla="*/ 643564 h 2831069"/>
              <a:gd name="connsiteX370" fmla="*/ 2294026 w 3473628"/>
              <a:gd name="connsiteY370" fmla="*/ 635647 h 2831069"/>
              <a:gd name="connsiteX371" fmla="*/ 2342789 w 3473628"/>
              <a:gd name="connsiteY371" fmla="*/ 621700 h 2831069"/>
              <a:gd name="connsiteX372" fmla="*/ 2378621 w 3473628"/>
              <a:gd name="connsiteY372" fmla="*/ 587174 h 2831069"/>
              <a:gd name="connsiteX373" fmla="*/ 2391283 w 3473628"/>
              <a:gd name="connsiteY373" fmla="*/ 534080 h 2831069"/>
              <a:gd name="connsiteX374" fmla="*/ 2374601 w 3473628"/>
              <a:gd name="connsiteY374" fmla="*/ 480426 h 2831069"/>
              <a:gd name="connsiteX375" fmla="*/ 2310004 w 3473628"/>
              <a:gd name="connsiteY375" fmla="*/ 360020 h 2831069"/>
              <a:gd name="connsiteX376" fmla="*/ 2266567 w 3473628"/>
              <a:gd name="connsiteY376" fmla="*/ 280171 h 2831069"/>
              <a:gd name="connsiteX377" fmla="*/ 2203691 w 3473628"/>
              <a:gd name="connsiteY377" fmla="*/ 213564 h 2831069"/>
              <a:gd name="connsiteX378" fmla="*/ 2153622 w 3473628"/>
              <a:gd name="connsiteY378" fmla="*/ 194291 h 2831069"/>
              <a:gd name="connsiteX379" fmla="*/ 2109315 w 3473628"/>
              <a:gd name="connsiteY379" fmla="*/ 218310 h 2831069"/>
              <a:gd name="connsiteX380" fmla="*/ 2085731 w 3473628"/>
              <a:gd name="connsiteY380" fmla="*/ 264214 h 2831069"/>
              <a:gd name="connsiteX381" fmla="*/ 2085006 w 3473628"/>
              <a:gd name="connsiteY381" fmla="*/ 308666 h 2831069"/>
              <a:gd name="connsiteX382" fmla="*/ 2107595 w 3473628"/>
              <a:gd name="connsiteY382" fmla="*/ 327794 h 2831069"/>
              <a:gd name="connsiteX383" fmla="*/ 2138245 w 3473628"/>
              <a:gd name="connsiteY383" fmla="*/ 329660 h 2831069"/>
              <a:gd name="connsiteX384" fmla="*/ 2151343 w 3473628"/>
              <a:gd name="connsiteY384" fmla="*/ 299299 h 2831069"/>
              <a:gd name="connsiteX385" fmla="*/ 2155508 w 3473628"/>
              <a:gd name="connsiteY385" fmla="*/ 263053 h 2831069"/>
              <a:gd name="connsiteX386" fmla="*/ 2173641 w 3473628"/>
              <a:gd name="connsiteY386" fmla="*/ 251261 h 2831069"/>
              <a:gd name="connsiteX387" fmla="*/ 2215068 w 3473628"/>
              <a:gd name="connsiteY387" fmla="*/ 262058 h 2831069"/>
              <a:gd name="connsiteX388" fmla="*/ 2248019 w 3473628"/>
              <a:gd name="connsiteY388" fmla="*/ 269975 h 2831069"/>
              <a:gd name="connsiteX389" fmla="*/ 2262257 w 3473628"/>
              <a:gd name="connsiteY389" fmla="*/ 259903 h 2831069"/>
              <a:gd name="connsiteX390" fmla="*/ 2259749 w 3473628"/>
              <a:gd name="connsiteY390" fmla="*/ 230993 h 2831069"/>
              <a:gd name="connsiteX391" fmla="*/ 2231337 w 3473628"/>
              <a:gd name="connsiteY391" fmla="*/ 190851 h 2831069"/>
              <a:gd name="connsiteX392" fmla="*/ 2181351 w 3473628"/>
              <a:gd name="connsiteY392" fmla="*/ 163309 h 2831069"/>
              <a:gd name="connsiteX393" fmla="*/ 2141354 w 3473628"/>
              <a:gd name="connsiteY393" fmla="*/ 157548 h 2831069"/>
              <a:gd name="connsiteX394" fmla="*/ 2113377 w 3473628"/>
              <a:gd name="connsiteY394" fmla="*/ 169485 h 2831069"/>
              <a:gd name="connsiteX395" fmla="*/ 2082726 w 3473628"/>
              <a:gd name="connsiteY395" fmla="*/ 176469 h 2831069"/>
              <a:gd name="connsiteX396" fmla="*/ 2031870 w 3473628"/>
              <a:gd name="connsiteY396" fmla="*/ 162086 h 2831069"/>
              <a:gd name="connsiteX397" fmla="*/ 1991955 w 3473628"/>
              <a:gd name="connsiteY397" fmla="*/ 137280 h 2831069"/>
              <a:gd name="connsiteX398" fmla="*/ 1950528 w 3473628"/>
              <a:gd name="connsiteY398" fmla="*/ 77222 h 2831069"/>
              <a:gd name="connsiteX399" fmla="*/ 1938737 w 3473628"/>
              <a:gd name="connsiteY399" fmla="*/ 27008 h 2831069"/>
              <a:gd name="connsiteX400" fmla="*/ 1947669 w 3473628"/>
              <a:gd name="connsiteY400" fmla="*/ 1725 h 2831069"/>
              <a:gd name="connsiteX401" fmla="*/ 1970755 w 3473628"/>
              <a:gd name="connsiteY401" fmla="*/ 8461 h 2831069"/>
              <a:gd name="connsiteX402" fmla="*/ 2009260 w 3473628"/>
              <a:gd name="connsiteY402" fmla="*/ 49494 h 2831069"/>
              <a:gd name="connsiteX403" fmla="*/ 2058292 w 3473628"/>
              <a:gd name="connsiteY403" fmla="*/ 104412 h 2831069"/>
              <a:gd name="connsiteX404" fmla="*/ 2093544 w 3473628"/>
              <a:gd name="connsiteY404" fmla="*/ 149010 h 2831069"/>
              <a:gd name="connsiteX405" fmla="*/ 2084487 w 3473628"/>
              <a:gd name="connsiteY405" fmla="*/ 165837 h 2831069"/>
              <a:gd name="connsiteX406" fmla="*/ 2039599 w 3473628"/>
              <a:gd name="connsiteY406" fmla="*/ 172593 h 2831069"/>
              <a:gd name="connsiteX407" fmla="*/ 2028657 w 3473628"/>
              <a:gd name="connsiteY407" fmla="*/ 186976 h 2831069"/>
              <a:gd name="connsiteX408" fmla="*/ 2037424 w 3473628"/>
              <a:gd name="connsiteY408" fmla="*/ 210435 h 2831069"/>
              <a:gd name="connsiteX409" fmla="*/ 2052531 w 3473628"/>
              <a:gd name="connsiteY409" fmla="*/ 240360 h 2831069"/>
              <a:gd name="connsiteX410" fmla="*/ 2063183 w 3473628"/>
              <a:gd name="connsiteY410" fmla="*/ 276606 h 2831069"/>
              <a:gd name="connsiteX411" fmla="*/ 2061173 w 3473628"/>
              <a:gd name="connsiteY411" fmla="*/ 308832 h 2831069"/>
              <a:gd name="connsiteX412" fmla="*/ 2047226 w 3473628"/>
              <a:gd name="connsiteY412" fmla="*/ 318324 h 2831069"/>
              <a:gd name="connsiteX413" fmla="*/ 2037009 w 3473628"/>
              <a:gd name="connsiteY413" fmla="*/ 303216 h 2831069"/>
              <a:gd name="connsiteX414" fmla="*/ 2039890 w 3473628"/>
              <a:gd name="connsiteY414" fmla="*/ 281932 h 2831069"/>
              <a:gd name="connsiteX415" fmla="*/ 2037589 w 3473628"/>
              <a:gd name="connsiteY415" fmla="*/ 253168 h 2831069"/>
              <a:gd name="connsiteX416" fmla="*/ 2017301 w 3473628"/>
              <a:gd name="connsiteY416" fmla="*/ 238640 h 2831069"/>
              <a:gd name="connsiteX417" fmla="*/ 1980039 w 3473628"/>
              <a:gd name="connsiteY417" fmla="*/ 250142 h 2831069"/>
              <a:gd name="connsiteX418" fmla="*/ 1965367 w 3473628"/>
              <a:gd name="connsiteY418" fmla="*/ 281207 h 2831069"/>
              <a:gd name="connsiteX419" fmla="*/ 1979604 w 3473628"/>
              <a:gd name="connsiteY419" fmla="*/ 326820 h 2831069"/>
              <a:gd name="connsiteX420" fmla="*/ 2042625 w 3473628"/>
              <a:gd name="connsiteY420" fmla="*/ 396598 h 2831069"/>
              <a:gd name="connsiteX421" fmla="*/ 2145208 w 3473628"/>
              <a:gd name="connsiteY421" fmla="*/ 455288 h 2831069"/>
              <a:gd name="connsiteX422" fmla="*/ 2223752 w 3473628"/>
              <a:gd name="connsiteY422" fmla="*/ 542183 h 2831069"/>
              <a:gd name="connsiteX423" fmla="*/ 2264889 w 3473628"/>
              <a:gd name="connsiteY423" fmla="*/ 604624 h 2831069"/>
              <a:gd name="connsiteX424" fmla="*/ 2331640 w 3473628"/>
              <a:gd name="connsiteY424" fmla="*/ 595132 h 2831069"/>
              <a:gd name="connsiteX425" fmla="*/ 2408753 w 3473628"/>
              <a:gd name="connsiteY425" fmla="*/ 561746 h 2831069"/>
              <a:gd name="connsiteX426" fmla="*/ 2486157 w 3473628"/>
              <a:gd name="connsiteY426" fmla="*/ 631088 h 2831069"/>
              <a:gd name="connsiteX427" fmla="*/ 2597797 w 3473628"/>
              <a:gd name="connsiteY427" fmla="*/ 831052 h 2831069"/>
              <a:gd name="connsiteX428" fmla="*/ 2689292 w 3473628"/>
              <a:gd name="connsiteY428" fmla="*/ 1008013 h 2831069"/>
              <a:gd name="connsiteX429" fmla="*/ 2728999 w 3473628"/>
              <a:gd name="connsiteY429" fmla="*/ 1141081 h 2831069"/>
              <a:gd name="connsiteX430" fmla="*/ 2722098 w 3473628"/>
              <a:gd name="connsiteY430" fmla="*/ 1265963 h 2831069"/>
              <a:gd name="connsiteX431" fmla="*/ 2726409 w 3473628"/>
              <a:gd name="connsiteY431" fmla="*/ 1370556 h 2831069"/>
              <a:gd name="connsiteX432" fmla="*/ 2748998 w 3473628"/>
              <a:gd name="connsiteY432" fmla="*/ 1502194 h 2831069"/>
              <a:gd name="connsiteX433" fmla="*/ 2793596 w 3473628"/>
              <a:gd name="connsiteY433" fmla="*/ 1683756 h 2831069"/>
              <a:gd name="connsiteX434" fmla="*/ 2841924 w 3473628"/>
              <a:gd name="connsiteY434" fmla="*/ 1899699 h 2831069"/>
              <a:gd name="connsiteX435" fmla="*/ 2835872 w 3473628"/>
              <a:gd name="connsiteY435" fmla="*/ 2160094 h 2831069"/>
              <a:gd name="connsiteX436" fmla="*/ 2789119 w 3473628"/>
              <a:gd name="connsiteY436" fmla="*/ 2458476 h 2831069"/>
              <a:gd name="connsiteX437" fmla="*/ 2737620 w 3473628"/>
              <a:gd name="connsiteY437" fmla="*/ 2693547 h 2831069"/>
              <a:gd name="connsiteX438" fmla="*/ 2657626 w 3473628"/>
              <a:gd name="connsiteY438" fmla="*/ 2723762 h 2831069"/>
              <a:gd name="connsiteX439" fmla="*/ 2479816 w 3473628"/>
              <a:gd name="connsiteY439" fmla="*/ 2656720 h 2831069"/>
              <a:gd name="connsiteX440" fmla="*/ 2254237 w 3473628"/>
              <a:gd name="connsiteY440" fmla="*/ 2611832 h 2831069"/>
              <a:gd name="connsiteX441" fmla="*/ 2082166 w 3473628"/>
              <a:gd name="connsiteY441" fmla="*/ 2636287 h 2831069"/>
              <a:gd name="connsiteX442" fmla="*/ 1994401 w 3473628"/>
              <a:gd name="connsiteY442" fmla="*/ 2663621 h 2831069"/>
              <a:gd name="connsiteX443" fmla="*/ 1965346 w 3473628"/>
              <a:gd name="connsiteY443" fmla="*/ 2610382 h 2831069"/>
              <a:gd name="connsiteX444" fmla="*/ 1972537 w 3473628"/>
              <a:gd name="connsiteY444" fmla="*/ 2529538 h 2831069"/>
              <a:gd name="connsiteX445" fmla="*/ 2001302 w 3473628"/>
              <a:gd name="connsiteY445" fmla="*/ 2410127 h 2831069"/>
              <a:gd name="connsiteX446" fmla="*/ 2065173 w 3473628"/>
              <a:gd name="connsiteY446" fmla="*/ 2234762 h 2831069"/>
              <a:gd name="connsiteX447" fmla="*/ 2185164 w 3473628"/>
              <a:gd name="connsiteY447" fmla="*/ 1982428 h 2831069"/>
              <a:gd name="connsiteX448" fmla="*/ 2272639 w 3473628"/>
              <a:gd name="connsiteY448" fmla="*/ 1790940 h 2831069"/>
              <a:gd name="connsiteX449" fmla="*/ 2341691 w 3473628"/>
              <a:gd name="connsiteY449" fmla="*/ 1698284 h 2831069"/>
              <a:gd name="connsiteX450" fmla="*/ 2369026 w 3473628"/>
              <a:gd name="connsiteY450" fmla="*/ 1632962 h 2831069"/>
              <a:gd name="connsiteX451" fmla="*/ 2351473 w 3473628"/>
              <a:gd name="connsiteY451" fmla="*/ 1607927 h 2831069"/>
              <a:gd name="connsiteX452" fmla="*/ 2270774 w 3473628"/>
              <a:gd name="connsiteY452" fmla="*/ 1653541 h 2831069"/>
              <a:gd name="connsiteX453" fmla="*/ 2210343 w 3473628"/>
              <a:gd name="connsiteY453" fmla="*/ 1626206 h 2831069"/>
              <a:gd name="connsiteX454" fmla="*/ 2164585 w 3473628"/>
              <a:gd name="connsiteY454" fmla="*/ 1571972 h 2831069"/>
              <a:gd name="connsiteX455" fmla="*/ 2149623 w 3473628"/>
              <a:gd name="connsiteY455" fmla="*/ 1525364 h 2831069"/>
              <a:gd name="connsiteX456" fmla="*/ 2171776 w 3473628"/>
              <a:gd name="connsiteY456" fmla="*/ 1480476 h 2831069"/>
              <a:gd name="connsiteX457" fmla="*/ 2219690 w 3473628"/>
              <a:gd name="connsiteY457" fmla="*/ 1471710 h 2831069"/>
              <a:gd name="connsiteX458" fmla="*/ 2304575 w 3473628"/>
              <a:gd name="connsiteY458" fmla="*/ 1491128 h 2831069"/>
              <a:gd name="connsiteX459" fmla="*/ 2357939 w 3473628"/>
              <a:gd name="connsiteY459" fmla="*/ 1495148 h 2831069"/>
              <a:gd name="connsiteX460" fmla="*/ 2365130 w 3473628"/>
              <a:gd name="connsiteY460" fmla="*/ 1468539 h 2831069"/>
              <a:gd name="connsiteX461" fmla="*/ 2343411 w 3473628"/>
              <a:gd name="connsiteY461" fmla="*/ 1383509 h 2831069"/>
              <a:gd name="connsiteX462" fmla="*/ 2328594 w 3473628"/>
              <a:gd name="connsiteY462" fmla="*/ 1282957 h 2831069"/>
              <a:gd name="connsiteX463" fmla="*/ 2324428 w 3473628"/>
              <a:gd name="connsiteY463" fmla="*/ 1207999 h 2831069"/>
              <a:gd name="connsiteX464" fmla="*/ 2305735 w 3473628"/>
              <a:gd name="connsiteY464" fmla="*/ 1175628 h 2831069"/>
              <a:gd name="connsiteX465" fmla="*/ 2240559 w 3473628"/>
              <a:gd name="connsiteY465" fmla="*/ 1175918 h 2831069"/>
              <a:gd name="connsiteX466" fmla="*/ 2155964 w 3473628"/>
              <a:gd name="connsiteY466" fmla="*/ 1209574 h 2831069"/>
              <a:gd name="connsiteX467" fmla="*/ 2105750 w 3473628"/>
              <a:gd name="connsiteY467" fmla="*/ 1260223 h 2831069"/>
              <a:gd name="connsiteX468" fmla="*/ 2085171 w 3473628"/>
              <a:gd name="connsiteY468" fmla="*/ 1297774 h 2831069"/>
              <a:gd name="connsiteX469" fmla="*/ 2074664 w 3473628"/>
              <a:gd name="connsiteY469" fmla="*/ 1286977 h 2831069"/>
              <a:gd name="connsiteX470" fmla="*/ 2069918 w 3473628"/>
              <a:gd name="connsiteY470" fmla="*/ 1234028 h 2831069"/>
              <a:gd name="connsiteX471" fmla="*/ 2108050 w 3473628"/>
              <a:gd name="connsiteY471" fmla="*/ 1171587 h 2831069"/>
              <a:gd name="connsiteX472" fmla="*/ 2189910 w 3473628"/>
              <a:gd name="connsiteY472" fmla="*/ 1136045 h 2831069"/>
              <a:gd name="connsiteX473" fmla="*/ 2269759 w 3473628"/>
              <a:gd name="connsiteY473" fmla="*/ 1132294 h 2831069"/>
              <a:gd name="connsiteX474" fmla="*/ 2308450 w 3473628"/>
              <a:gd name="connsiteY474" fmla="*/ 1125683 h 2831069"/>
              <a:gd name="connsiteX475" fmla="*/ 2307290 w 3473628"/>
              <a:gd name="connsiteY475" fmla="*/ 1074765 h 2831069"/>
              <a:gd name="connsiteX476" fmla="*/ 2297653 w 3473628"/>
              <a:gd name="connsiteY476" fmla="*/ 1036778 h 2831069"/>
              <a:gd name="connsiteX477" fmla="*/ 2262982 w 3473628"/>
              <a:gd name="connsiteY477" fmla="*/ 1022831 h 2831069"/>
              <a:gd name="connsiteX478" fmla="*/ 2194655 w 3473628"/>
              <a:gd name="connsiteY478" fmla="*/ 1035493 h 2831069"/>
              <a:gd name="connsiteX479" fmla="*/ 2144296 w 3473628"/>
              <a:gd name="connsiteY479" fmla="*/ 1081811 h 2831069"/>
              <a:gd name="connsiteX480" fmla="*/ 2106310 w 3473628"/>
              <a:gd name="connsiteY480" fmla="*/ 1120088 h 2831069"/>
              <a:gd name="connsiteX481" fmla="*/ 2043434 w 3473628"/>
              <a:gd name="connsiteY481" fmla="*/ 1152894 h 2831069"/>
              <a:gd name="connsiteX482" fmla="*/ 1998401 w 3473628"/>
              <a:gd name="connsiteY482" fmla="*/ 1194756 h 2831069"/>
              <a:gd name="connsiteX483" fmla="*/ 1991645 w 3473628"/>
              <a:gd name="connsiteY483" fmla="*/ 1239354 h 2831069"/>
              <a:gd name="connsiteX484" fmla="*/ 2014669 w 3473628"/>
              <a:gd name="connsiteY484" fmla="*/ 1279351 h 2831069"/>
              <a:gd name="connsiteX485" fmla="*/ 2051350 w 3473628"/>
              <a:gd name="connsiteY485" fmla="*/ 1309566 h 2831069"/>
              <a:gd name="connsiteX486" fmla="*/ 2064157 w 3473628"/>
              <a:gd name="connsiteY486" fmla="*/ 1331865 h 2831069"/>
              <a:gd name="connsiteX487" fmla="*/ 2053505 w 3473628"/>
              <a:gd name="connsiteY487" fmla="*/ 1376173 h 2831069"/>
              <a:gd name="connsiteX488" fmla="*/ 2057671 w 3473628"/>
              <a:gd name="connsiteY488" fmla="*/ 1437598 h 2831069"/>
              <a:gd name="connsiteX489" fmla="*/ 2084715 w 3473628"/>
              <a:gd name="connsiteY489" fmla="*/ 1526939 h 2831069"/>
              <a:gd name="connsiteX490" fmla="*/ 2142556 w 3473628"/>
              <a:gd name="connsiteY490" fmla="*/ 1590374 h 2831069"/>
              <a:gd name="connsiteX491" fmla="*/ 2188583 w 3473628"/>
              <a:gd name="connsiteY491" fmla="*/ 1652525 h 2831069"/>
              <a:gd name="connsiteX492" fmla="*/ 2211753 w 3473628"/>
              <a:gd name="connsiteY492" fmla="*/ 1709350 h 2831069"/>
              <a:gd name="connsiteX493" fmla="*/ 2213038 w 3473628"/>
              <a:gd name="connsiteY493" fmla="*/ 1751502 h 2831069"/>
              <a:gd name="connsiteX494" fmla="*/ 2193619 w 3473628"/>
              <a:gd name="connsiteY494" fmla="*/ 1786463 h 2831069"/>
              <a:gd name="connsiteX495" fmla="*/ 2145416 w 3473628"/>
              <a:gd name="connsiteY495" fmla="*/ 1826170 h 2831069"/>
              <a:gd name="connsiteX496" fmla="*/ 2094062 w 3473628"/>
              <a:gd name="connsiteY496" fmla="*/ 1865877 h 2831069"/>
              <a:gd name="connsiteX497" fmla="*/ 2067452 w 3473628"/>
              <a:gd name="connsiteY497" fmla="*/ 1897668 h 2831069"/>
              <a:gd name="connsiteX498" fmla="*/ 2076654 w 3473628"/>
              <a:gd name="connsiteY498" fmla="*/ 1913791 h 2831069"/>
              <a:gd name="connsiteX499" fmla="*/ 2097668 w 3473628"/>
              <a:gd name="connsiteY499" fmla="*/ 1937955 h 2831069"/>
              <a:gd name="connsiteX500" fmla="*/ 2095077 w 3473628"/>
              <a:gd name="connsiteY500" fmla="*/ 2004416 h 2831069"/>
              <a:gd name="connsiteX501" fmla="*/ 2059391 w 3473628"/>
              <a:gd name="connsiteY501" fmla="*/ 2109155 h 2831069"/>
              <a:gd name="connsiteX502" fmla="*/ 1969325 w 3473628"/>
              <a:gd name="connsiteY502" fmla="*/ 2331853 h 2831069"/>
              <a:gd name="connsiteX503" fmla="*/ 1904584 w 3473628"/>
              <a:gd name="connsiteY503" fmla="*/ 2574405 h 2831069"/>
              <a:gd name="connsiteX504" fmla="*/ 1892502 w 3473628"/>
              <a:gd name="connsiteY504" fmla="*/ 2764443 h 2831069"/>
              <a:gd name="connsiteX505" fmla="*/ 2038812 w 3473628"/>
              <a:gd name="connsiteY505" fmla="*/ 2824874 h 2831069"/>
              <a:gd name="connsiteX506" fmla="*/ 2686909 w 3473628"/>
              <a:gd name="connsiteY506" fmla="*/ 2831070 h 2831069"/>
              <a:gd name="connsiteX507" fmla="*/ 3473628 w 3473628"/>
              <a:gd name="connsiteY507" fmla="*/ 2831070 h 2831069"/>
              <a:gd name="connsiteX0" fmla="*/ 1241953 w 3473628"/>
              <a:gd name="connsiteY0" fmla="*/ 2360975 h 2831071"/>
              <a:gd name="connsiteX1" fmla="*/ 1209568 w 3473628"/>
              <a:gd name="connsiteY1" fmla="*/ 2270448 h 2831071"/>
              <a:gd name="connsiteX2" fmla="*/ 1120808 w 3473628"/>
              <a:gd name="connsiteY2" fmla="*/ 2115662 h 2831071"/>
              <a:gd name="connsiteX3" fmla="*/ 1030182 w 3473628"/>
              <a:gd name="connsiteY3" fmla="*/ 1957124 h 2831071"/>
              <a:gd name="connsiteX4" fmla="*/ 963576 w 3473628"/>
              <a:gd name="connsiteY4" fmla="*/ 1924173 h 2831071"/>
              <a:gd name="connsiteX5" fmla="*/ 805764 w 3473628"/>
              <a:gd name="connsiteY5" fmla="*/ 1954244 h 2831071"/>
              <a:gd name="connsiteX6" fmla="*/ 604929 w 3473628"/>
              <a:gd name="connsiteY6" fmla="*/ 1989060 h 2831071"/>
              <a:gd name="connsiteX7" fmla="*/ 477332 w 3473628"/>
              <a:gd name="connsiteY7" fmla="*/ 1993661 h 2831071"/>
              <a:gd name="connsiteX8" fmla="*/ 361672 w 3473628"/>
              <a:gd name="connsiteY8" fmla="*/ 2000852 h 2831071"/>
              <a:gd name="connsiteX9" fmla="*/ 98687 w 3473628"/>
              <a:gd name="connsiteY9" fmla="*/ 2062567 h 2831071"/>
              <a:gd name="connsiteX10" fmla="*/ 3316 w 3473628"/>
              <a:gd name="connsiteY10" fmla="*/ 2090047 h 2831071"/>
              <a:gd name="connsiteX11" fmla="*/ 45468 w 3473628"/>
              <a:gd name="connsiteY11" fmla="*/ 2164135 h 2831071"/>
              <a:gd name="connsiteX12" fmla="*/ 243277 w 3473628"/>
              <a:gd name="connsiteY12" fmla="*/ 2417629 h 2831071"/>
              <a:gd name="connsiteX13" fmla="*/ 343270 w 3473628"/>
              <a:gd name="connsiteY13" fmla="*/ 2553723 h 2831071"/>
              <a:gd name="connsiteX14" fmla="*/ 396634 w 3473628"/>
              <a:gd name="connsiteY14" fmla="*/ 2608392 h 2831071"/>
              <a:gd name="connsiteX15" fmla="*/ 442102 w 3473628"/>
              <a:gd name="connsiteY15" fmla="*/ 2644348 h 2831071"/>
              <a:gd name="connsiteX16" fmla="*/ 450018 w 3473628"/>
              <a:gd name="connsiteY16" fmla="*/ 2670108 h 2831071"/>
              <a:gd name="connsiteX17" fmla="*/ 431180 w 3473628"/>
              <a:gd name="connsiteY17" fmla="*/ 2687516 h 2831071"/>
              <a:gd name="connsiteX18" fmla="*/ 385007 w 3473628"/>
              <a:gd name="connsiteY18" fmla="*/ 2665507 h 2831071"/>
              <a:gd name="connsiteX19" fmla="*/ 320266 w 3473628"/>
              <a:gd name="connsiteY19" fmla="*/ 2569991 h 2831071"/>
              <a:gd name="connsiteX20" fmla="*/ 307459 w 3473628"/>
              <a:gd name="connsiteY20" fmla="*/ 2513166 h 2831071"/>
              <a:gd name="connsiteX21" fmla="*/ 319396 w 3473628"/>
              <a:gd name="connsiteY21" fmla="*/ 2499923 h 2831071"/>
              <a:gd name="connsiteX22" fmla="*/ 348015 w 3473628"/>
              <a:gd name="connsiteY22" fmla="*/ 2524378 h 2831071"/>
              <a:gd name="connsiteX23" fmla="*/ 378086 w 3473628"/>
              <a:gd name="connsiteY23" fmla="*/ 2562364 h 2831071"/>
              <a:gd name="connsiteX24" fmla="*/ 409731 w 3473628"/>
              <a:gd name="connsiteY24" fmla="*/ 2581348 h 2831071"/>
              <a:gd name="connsiteX25" fmla="*/ 431740 w 3473628"/>
              <a:gd name="connsiteY25" fmla="*/ 2604372 h 2831071"/>
              <a:gd name="connsiteX26" fmla="*/ 455323 w 3473628"/>
              <a:gd name="connsiteY26" fmla="*/ 2623645 h 2831071"/>
              <a:gd name="connsiteX27" fmla="*/ 472006 w 3473628"/>
              <a:gd name="connsiteY27" fmla="*/ 2654005 h 2831071"/>
              <a:gd name="connsiteX28" fmla="*/ 483798 w 3473628"/>
              <a:gd name="connsiteY28" fmla="*/ 2705649 h 2831071"/>
              <a:gd name="connsiteX29" fmla="*/ 515029 w 3473628"/>
              <a:gd name="connsiteY29" fmla="*/ 2761707 h 2831071"/>
              <a:gd name="connsiteX30" fmla="*/ 593924 w 3473628"/>
              <a:gd name="connsiteY30" fmla="*/ 2781975 h 2831071"/>
              <a:gd name="connsiteX31" fmla="*/ 917921 w 3473628"/>
              <a:gd name="connsiteY31" fmla="*/ 2784234 h 2831071"/>
              <a:gd name="connsiteX32" fmla="*/ 1481859 w 3473628"/>
              <a:gd name="connsiteY32" fmla="*/ 2784234 h 2831071"/>
              <a:gd name="connsiteX33" fmla="*/ 1611175 w 3473628"/>
              <a:gd name="connsiteY33" fmla="*/ 2760402 h 2831071"/>
              <a:gd name="connsiteX34" fmla="*/ 1530415 w 3473628"/>
              <a:gd name="connsiteY34" fmla="*/ 2653819 h 2831071"/>
              <a:gd name="connsiteX35" fmla="*/ 1485506 w 3473628"/>
              <a:gd name="connsiteY35" fmla="*/ 2582508 h 2831071"/>
              <a:gd name="connsiteX36" fmla="*/ 1444639 w 3473628"/>
              <a:gd name="connsiteY36" fmla="*/ 2563380 h 2831071"/>
              <a:gd name="connsiteX37" fmla="*/ 1360914 w 3473628"/>
              <a:gd name="connsiteY37" fmla="*/ 2569701 h 2831071"/>
              <a:gd name="connsiteX38" fmla="*/ 1305374 w 3473628"/>
              <a:gd name="connsiteY38" fmla="*/ 2561204 h 2831071"/>
              <a:gd name="connsiteX39" fmla="*/ 1259906 w 3473628"/>
              <a:gd name="connsiteY39" fmla="*/ 2517187 h 2831071"/>
              <a:gd name="connsiteX40" fmla="*/ 1228551 w 3473628"/>
              <a:gd name="connsiteY40" fmla="*/ 2442519 h 2831071"/>
              <a:gd name="connsiteX41" fmla="*/ 1227121 w 3473628"/>
              <a:gd name="connsiteY41" fmla="*/ 2364680 h 2831071"/>
              <a:gd name="connsiteX42" fmla="*/ 1271139 w 3473628"/>
              <a:gd name="connsiteY42" fmla="*/ 2317491 h 2831071"/>
              <a:gd name="connsiteX43" fmla="*/ 1254021 w 3473628"/>
              <a:gd name="connsiteY43" fmla="*/ 2254201 h 2831071"/>
              <a:gd name="connsiteX44" fmla="*/ 1118217 w 3473628"/>
              <a:gd name="connsiteY44" fmla="*/ 2041429 h 2831071"/>
              <a:gd name="connsiteX45" fmla="*/ 1021105 w 3473628"/>
              <a:gd name="connsiteY45" fmla="*/ 1888363 h 2831071"/>
              <a:gd name="connsiteX46" fmla="*/ 969171 w 3473628"/>
              <a:gd name="connsiteY46" fmla="*/ 1865338 h 2831071"/>
              <a:gd name="connsiteX47" fmla="*/ 890048 w 3473628"/>
              <a:gd name="connsiteY47" fmla="*/ 1886477 h 2831071"/>
              <a:gd name="connsiteX48" fmla="*/ 773808 w 3473628"/>
              <a:gd name="connsiteY48" fmla="*/ 1916837 h 2831071"/>
              <a:gd name="connsiteX49" fmla="*/ 552974 w 3473628"/>
              <a:gd name="connsiteY49" fmla="*/ 1960565 h 2831071"/>
              <a:gd name="connsiteX50" fmla="*/ 460463 w 3473628"/>
              <a:gd name="connsiteY50" fmla="*/ 1968771 h 2831071"/>
              <a:gd name="connsiteX51" fmla="*/ 390251 w 3473628"/>
              <a:gd name="connsiteY51" fmla="*/ 1936110 h 2831071"/>
              <a:gd name="connsiteX52" fmla="*/ 237329 w 3473628"/>
              <a:gd name="connsiteY52" fmla="*/ 1817280 h 2831071"/>
              <a:gd name="connsiteX53" fmla="*/ 148859 w 3473628"/>
              <a:gd name="connsiteY53" fmla="*/ 1724478 h 2831071"/>
              <a:gd name="connsiteX54" fmla="*/ 135326 w 3473628"/>
              <a:gd name="connsiteY54" fmla="*/ 1660753 h 2831071"/>
              <a:gd name="connsiteX55" fmla="*/ 160361 w 3473628"/>
              <a:gd name="connsiteY55" fmla="*/ 1619326 h 2831071"/>
              <a:gd name="connsiteX56" fmla="*/ 206534 w 3473628"/>
              <a:gd name="connsiteY56" fmla="*/ 1610829 h 2831071"/>
              <a:gd name="connsiteX57" fmla="*/ 299894 w 3473628"/>
              <a:gd name="connsiteY57" fmla="*/ 1646370 h 2831071"/>
              <a:gd name="connsiteX58" fmla="*/ 372552 w 3473628"/>
              <a:gd name="connsiteY58" fmla="*/ 1668959 h 2831071"/>
              <a:gd name="connsiteX59" fmla="*/ 375723 w 3473628"/>
              <a:gd name="connsiteY59" fmla="*/ 1692688 h 2831071"/>
              <a:gd name="connsiteX60" fmla="*/ 313282 w 3473628"/>
              <a:gd name="connsiteY60" fmla="*/ 1712832 h 2831071"/>
              <a:gd name="connsiteX61" fmla="*/ 211134 w 3473628"/>
              <a:gd name="connsiteY61" fmla="*/ 1685787 h 2831071"/>
              <a:gd name="connsiteX62" fmla="*/ 161356 w 3473628"/>
              <a:gd name="connsiteY62" fmla="*/ 1648235 h 2831071"/>
              <a:gd name="connsiteX63" fmla="*/ 166391 w 3473628"/>
              <a:gd name="connsiteY63" fmla="*/ 1605586 h 2831071"/>
              <a:gd name="connsiteX64" fmla="*/ 200192 w 3473628"/>
              <a:gd name="connsiteY64" fmla="*/ 1577816 h 2831071"/>
              <a:gd name="connsiteX65" fmla="*/ 287232 w 3473628"/>
              <a:gd name="connsiteY65" fmla="*/ 1590830 h 2831071"/>
              <a:gd name="connsiteX66" fmla="*/ 369009 w 3473628"/>
              <a:gd name="connsiteY66" fmla="*/ 1618953 h 2831071"/>
              <a:gd name="connsiteX67" fmla="*/ 419927 w 3473628"/>
              <a:gd name="connsiteY67" fmla="*/ 1621046 h 2831071"/>
              <a:gd name="connsiteX68" fmla="*/ 508625 w 3473628"/>
              <a:gd name="connsiteY68" fmla="*/ 1559682 h 2831071"/>
              <a:gd name="connsiteX69" fmla="*/ 603872 w 3473628"/>
              <a:gd name="connsiteY69" fmla="*/ 1496164 h 2831071"/>
              <a:gd name="connsiteX70" fmla="*/ 672489 w 3473628"/>
              <a:gd name="connsiteY70" fmla="*/ 1469699 h 2831071"/>
              <a:gd name="connsiteX71" fmla="*/ 740318 w 3473628"/>
              <a:gd name="connsiteY71" fmla="*/ 1459835 h 2831071"/>
              <a:gd name="connsiteX72" fmla="*/ 810675 w 3473628"/>
              <a:gd name="connsiteY72" fmla="*/ 1421288 h 2831071"/>
              <a:gd name="connsiteX73" fmla="*/ 854631 w 3473628"/>
              <a:gd name="connsiteY73" fmla="*/ 1394969 h 2831071"/>
              <a:gd name="connsiteX74" fmla="*/ 862982 w 3473628"/>
              <a:gd name="connsiteY74" fmla="*/ 1380214 h 2831071"/>
              <a:gd name="connsiteX75" fmla="*/ 851688 w 3473628"/>
              <a:gd name="connsiteY75" fmla="*/ 1366412 h 2831071"/>
              <a:gd name="connsiteX76" fmla="*/ 827524 w 3473628"/>
              <a:gd name="connsiteY76" fmla="*/ 1363614 h 2831071"/>
              <a:gd name="connsiteX77" fmla="*/ 824291 w 3473628"/>
              <a:gd name="connsiteY77" fmla="*/ 1354910 h 2831071"/>
              <a:gd name="connsiteX78" fmla="*/ 846652 w 3473628"/>
              <a:gd name="connsiteY78" fmla="*/ 1340030 h 2831071"/>
              <a:gd name="connsiteX79" fmla="*/ 880308 w 3473628"/>
              <a:gd name="connsiteY79" fmla="*/ 1319161 h 2831071"/>
              <a:gd name="connsiteX80" fmla="*/ 897363 w 3473628"/>
              <a:gd name="connsiteY80" fmla="*/ 1302831 h 2831071"/>
              <a:gd name="connsiteX81" fmla="*/ 886794 w 3473628"/>
              <a:gd name="connsiteY81" fmla="*/ 1295930 h 2831071"/>
              <a:gd name="connsiteX82" fmla="*/ 844642 w 3473628"/>
              <a:gd name="connsiteY82" fmla="*/ 1306934 h 2831071"/>
              <a:gd name="connsiteX83" fmla="*/ 809536 w 3473628"/>
              <a:gd name="connsiteY83" fmla="*/ 1335347 h 2831071"/>
              <a:gd name="connsiteX84" fmla="*/ 787029 w 3473628"/>
              <a:gd name="connsiteY84" fmla="*/ 1349667 h 2831071"/>
              <a:gd name="connsiteX85" fmla="*/ 782139 w 3473628"/>
              <a:gd name="connsiteY85" fmla="*/ 1343346 h 2831071"/>
              <a:gd name="connsiteX86" fmla="*/ 804583 w 3473628"/>
              <a:gd name="connsiteY86" fmla="*/ 1325296 h 2831071"/>
              <a:gd name="connsiteX87" fmla="*/ 816810 w 3473628"/>
              <a:gd name="connsiteY87" fmla="*/ 1307743 h 2831071"/>
              <a:gd name="connsiteX88" fmla="*/ 811276 w 3473628"/>
              <a:gd name="connsiteY88" fmla="*/ 1290977 h 2831071"/>
              <a:gd name="connsiteX89" fmla="*/ 791713 w 3473628"/>
              <a:gd name="connsiteY89" fmla="*/ 1290832 h 2831071"/>
              <a:gd name="connsiteX90" fmla="*/ 761933 w 3473628"/>
              <a:gd name="connsiteY90" fmla="*/ 1313856 h 2831071"/>
              <a:gd name="connsiteX91" fmla="*/ 742515 w 3473628"/>
              <a:gd name="connsiteY91" fmla="*/ 1324218 h 2831071"/>
              <a:gd name="connsiteX92" fmla="*/ 739862 w 3473628"/>
              <a:gd name="connsiteY92" fmla="*/ 1318457 h 2831071"/>
              <a:gd name="connsiteX93" fmla="*/ 752296 w 3473628"/>
              <a:gd name="connsiteY93" fmla="*/ 1300406 h 2831071"/>
              <a:gd name="connsiteX94" fmla="*/ 772585 w 3473628"/>
              <a:gd name="connsiteY94" fmla="*/ 1280615 h 2831071"/>
              <a:gd name="connsiteX95" fmla="*/ 776108 w 3473628"/>
              <a:gd name="connsiteY95" fmla="*/ 1263994 h 2831071"/>
              <a:gd name="connsiteX96" fmla="*/ 761083 w 3473628"/>
              <a:gd name="connsiteY96" fmla="*/ 1258026 h 2831071"/>
              <a:gd name="connsiteX97" fmla="*/ 718869 w 3473628"/>
              <a:gd name="connsiteY97" fmla="*/ 1273051 h 2831071"/>
              <a:gd name="connsiteX98" fmla="*/ 639600 w 3473628"/>
              <a:gd name="connsiteY98" fmla="*/ 1331181 h 2831071"/>
              <a:gd name="connsiteX99" fmla="*/ 569678 w 3473628"/>
              <a:gd name="connsiteY99" fmla="*/ 1382100 h 2831071"/>
              <a:gd name="connsiteX100" fmla="*/ 456173 w 3473628"/>
              <a:gd name="connsiteY100" fmla="*/ 1442530 h 2831071"/>
              <a:gd name="connsiteX101" fmla="*/ 325406 w 3473628"/>
              <a:gd name="connsiteY101" fmla="*/ 1515188 h 2831071"/>
              <a:gd name="connsiteX102" fmla="*/ 239526 w 3473628"/>
              <a:gd name="connsiteY102" fmla="*/ 1551144 h 2831071"/>
              <a:gd name="connsiteX103" fmla="*/ 218388 w 3473628"/>
              <a:gd name="connsiteY103" fmla="*/ 1575453 h 2831071"/>
              <a:gd name="connsiteX104" fmla="*/ 272912 w 3473628"/>
              <a:gd name="connsiteY104" fmla="*/ 1602208 h 2831071"/>
              <a:gd name="connsiteX105" fmla="*/ 357797 w 3473628"/>
              <a:gd name="connsiteY105" fmla="*/ 1635863 h 2831071"/>
              <a:gd name="connsiteX106" fmla="*/ 403410 w 3473628"/>
              <a:gd name="connsiteY106" fmla="*/ 1653271 h 2831071"/>
              <a:gd name="connsiteX107" fmla="*/ 416073 w 3473628"/>
              <a:gd name="connsiteY107" fmla="*/ 1682036 h 2831071"/>
              <a:gd name="connsiteX108" fmla="*/ 440817 w 3473628"/>
              <a:gd name="connsiteY108" fmla="*/ 1705060 h 2831071"/>
              <a:gd name="connsiteX109" fmla="*/ 514469 w 3473628"/>
              <a:gd name="connsiteY109" fmla="*/ 1733680 h 2831071"/>
              <a:gd name="connsiteX110" fmla="*/ 651288 w 3473628"/>
              <a:gd name="connsiteY110" fmla="*/ 1765905 h 2831071"/>
              <a:gd name="connsiteX111" fmla="*/ 768109 w 3473628"/>
              <a:gd name="connsiteY111" fmla="*/ 1785179 h 2831071"/>
              <a:gd name="connsiteX112" fmla="*/ 837306 w 3473628"/>
              <a:gd name="connsiteY112" fmla="*/ 1824740 h 2831071"/>
              <a:gd name="connsiteX113" fmla="*/ 840621 w 3473628"/>
              <a:gd name="connsiteY113" fmla="*/ 1854666 h 2831071"/>
              <a:gd name="connsiteX114" fmla="*/ 790843 w 3473628"/>
              <a:gd name="connsiteY114" fmla="*/ 1883430 h 2831071"/>
              <a:gd name="connsiteX115" fmla="*/ 713874 w 3473628"/>
              <a:gd name="connsiteY115" fmla="*/ 1902413 h 2831071"/>
              <a:gd name="connsiteX116" fmla="*/ 703367 w 3473628"/>
              <a:gd name="connsiteY116" fmla="*/ 1887741 h 2831071"/>
              <a:gd name="connsiteX117" fmla="*/ 735158 w 3473628"/>
              <a:gd name="connsiteY117" fmla="*/ 1840843 h 2831071"/>
              <a:gd name="connsiteX118" fmla="*/ 785662 w 3473628"/>
              <a:gd name="connsiteY118" fmla="*/ 1808037 h 2831071"/>
              <a:gd name="connsiteX119" fmla="*/ 864640 w 3473628"/>
              <a:gd name="connsiteY119" fmla="*/ 1809757 h 2831071"/>
              <a:gd name="connsiteX120" fmla="*/ 904637 w 3473628"/>
              <a:gd name="connsiteY120" fmla="*/ 1789468 h 2831071"/>
              <a:gd name="connsiteX121" fmla="*/ 916284 w 3473628"/>
              <a:gd name="connsiteY121" fmla="*/ 1745161 h 2831071"/>
              <a:gd name="connsiteX122" fmla="*/ 912119 w 3473628"/>
              <a:gd name="connsiteY122" fmla="*/ 1675238 h 2831071"/>
              <a:gd name="connsiteX123" fmla="*/ 918025 w 3473628"/>
              <a:gd name="connsiteY123" fmla="*/ 1647904 h 2831071"/>
              <a:gd name="connsiteX124" fmla="*/ 946230 w 3473628"/>
              <a:gd name="connsiteY124" fmla="*/ 1644588 h 2831071"/>
              <a:gd name="connsiteX125" fmla="*/ 993128 w 3473628"/>
              <a:gd name="connsiteY125" fmla="*/ 1664587 h 2831071"/>
              <a:gd name="connsiteX126" fmla="*/ 1043632 w 3473628"/>
              <a:gd name="connsiteY126" fmla="*/ 1685455 h 2831071"/>
              <a:gd name="connsiteX127" fmla="*/ 1091110 w 3473628"/>
              <a:gd name="connsiteY127" fmla="*/ 1667032 h 2831071"/>
              <a:gd name="connsiteX128" fmla="*/ 1113844 w 3473628"/>
              <a:gd name="connsiteY128" fmla="*/ 1609046 h 2831071"/>
              <a:gd name="connsiteX129" fmla="*/ 1137573 w 3473628"/>
              <a:gd name="connsiteY129" fmla="*/ 1536244 h 2831071"/>
              <a:gd name="connsiteX130" fmla="*/ 1175270 w 3473628"/>
              <a:gd name="connsiteY130" fmla="*/ 1484165 h 2831071"/>
              <a:gd name="connsiteX131" fmla="*/ 1215847 w 3473628"/>
              <a:gd name="connsiteY131" fmla="*/ 1437702 h 2831071"/>
              <a:gd name="connsiteX132" fmla="*/ 1213837 w 3473628"/>
              <a:gd name="connsiteY132" fmla="*/ 1405911 h 2831071"/>
              <a:gd name="connsiteX133" fmla="*/ 1160743 w 3473628"/>
              <a:gd name="connsiteY133" fmla="*/ 1359449 h 2831071"/>
              <a:gd name="connsiteX134" fmla="*/ 1072273 w 3473628"/>
              <a:gd name="connsiteY134" fmla="*/ 1326207 h 2831071"/>
              <a:gd name="connsiteX135" fmla="*/ 969420 w 3473628"/>
              <a:gd name="connsiteY135" fmla="*/ 1337709 h 2831071"/>
              <a:gd name="connsiteX136" fmla="*/ 912160 w 3473628"/>
              <a:gd name="connsiteY136" fmla="*/ 1380152 h 2831071"/>
              <a:gd name="connsiteX137" fmla="*/ 896327 w 3473628"/>
              <a:gd name="connsiteY137" fmla="*/ 1448333 h 2831071"/>
              <a:gd name="connsiteX138" fmla="*/ 877489 w 3473628"/>
              <a:gd name="connsiteY138" fmla="*/ 1512784 h 2831071"/>
              <a:gd name="connsiteX139" fmla="*/ 860806 w 3473628"/>
              <a:gd name="connsiteY139" fmla="*/ 1564138 h 2831071"/>
              <a:gd name="connsiteX140" fmla="*/ 859936 w 3473628"/>
              <a:gd name="connsiteY140" fmla="*/ 1636216 h 2831071"/>
              <a:gd name="connsiteX141" fmla="*/ 882670 w 3473628"/>
              <a:gd name="connsiteY141" fmla="*/ 1693040 h 2831071"/>
              <a:gd name="connsiteX142" fmla="*/ 939930 w 3473628"/>
              <a:gd name="connsiteY142" fmla="*/ 1728001 h 2831071"/>
              <a:gd name="connsiteX143" fmla="*/ 1032856 w 3473628"/>
              <a:gd name="connsiteY143" fmla="*/ 1733618 h 2831071"/>
              <a:gd name="connsiteX144" fmla="*/ 1121326 w 3473628"/>
              <a:gd name="connsiteY144" fmla="*/ 1688440 h 2831071"/>
              <a:gd name="connsiteX145" fmla="*/ 1171830 w 3473628"/>
              <a:gd name="connsiteY145" fmla="*/ 1627304 h 2831071"/>
              <a:gd name="connsiteX146" fmla="*/ 1192263 w 3473628"/>
              <a:gd name="connsiteY146" fmla="*/ 1592343 h 2831071"/>
              <a:gd name="connsiteX147" fmla="*/ 1215433 w 3473628"/>
              <a:gd name="connsiteY147" fmla="*/ 1590478 h 2831071"/>
              <a:gd name="connsiteX148" fmla="*/ 1223059 w 3473628"/>
              <a:gd name="connsiteY148" fmla="*/ 1624569 h 2831071"/>
              <a:gd name="connsiteX149" fmla="*/ 1193569 w 3473628"/>
              <a:gd name="connsiteY149" fmla="*/ 1655219 h 2831071"/>
              <a:gd name="connsiteX150" fmla="*/ 1160328 w 3473628"/>
              <a:gd name="connsiteY150" fmla="*/ 1650909 h 2831071"/>
              <a:gd name="connsiteX151" fmla="*/ 1152121 w 3473628"/>
              <a:gd name="connsiteY151" fmla="*/ 1619844 h 2831071"/>
              <a:gd name="connsiteX152" fmla="*/ 1169239 w 3473628"/>
              <a:gd name="connsiteY152" fmla="*/ 1577836 h 2831071"/>
              <a:gd name="connsiteX153" fmla="*/ 1208511 w 3473628"/>
              <a:gd name="connsiteY153" fmla="*/ 1555683 h 2831071"/>
              <a:gd name="connsiteX154" fmla="*/ 1223039 w 3473628"/>
              <a:gd name="connsiteY154" fmla="*/ 1534814 h 2831071"/>
              <a:gd name="connsiteX155" fmla="*/ 1221173 w 3473628"/>
              <a:gd name="connsiteY155" fmla="*/ 1493822 h 2831071"/>
              <a:gd name="connsiteX156" fmla="*/ 1192263 w 3473628"/>
              <a:gd name="connsiteY156" fmla="*/ 1435837 h 2831071"/>
              <a:gd name="connsiteX157" fmla="*/ 1126527 w 3473628"/>
              <a:gd name="connsiteY157" fmla="*/ 1373105 h 2831071"/>
              <a:gd name="connsiteX158" fmla="*/ 1015178 w 3473628"/>
              <a:gd name="connsiteY158" fmla="*/ 1361604 h 2831071"/>
              <a:gd name="connsiteX159" fmla="*/ 929299 w 3473628"/>
              <a:gd name="connsiteY159" fmla="*/ 1399591 h 2831071"/>
              <a:gd name="connsiteX160" fmla="*/ 891312 w 3473628"/>
              <a:gd name="connsiteY160" fmla="*/ 1413683 h 2831071"/>
              <a:gd name="connsiteX161" fmla="*/ 880805 w 3473628"/>
              <a:gd name="connsiteY161" fmla="*/ 1385623 h 2831071"/>
              <a:gd name="connsiteX162" fmla="*/ 887271 w 3473628"/>
              <a:gd name="connsiteY162" fmla="*/ 1343035 h 2831071"/>
              <a:gd name="connsiteX163" fmla="*/ 919351 w 3473628"/>
              <a:gd name="connsiteY163" fmla="*/ 1314270 h 2831071"/>
              <a:gd name="connsiteX164" fmla="*/ 976031 w 3473628"/>
              <a:gd name="connsiteY164" fmla="*/ 1293402 h 2831071"/>
              <a:gd name="connsiteX165" fmla="*/ 1018183 w 3473628"/>
              <a:gd name="connsiteY165" fmla="*/ 1281900 h 2831071"/>
              <a:gd name="connsiteX166" fmla="*/ 1050844 w 3473628"/>
              <a:gd name="connsiteY166" fmla="*/ 1268947 h 2831071"/>
              <a:gd name="connsiteX167" fmla="*/ 1109244 w 3473628"/>
              <a:gd name="connsiteY167" fmla="*/ 1272118 h 2831071"/>
              <a:gd name="connsiteX168" fmla="*/ 1183622 w 3473628"/>
              <a:gd name="connsiteY168" fmla="*/ 1306209 h 2831071"/>
              <a:gd name="connsiteX169" fmla="*/ 1247202 w 3473628"/>
              <a:gd name="connsiteY169" fmla="*/ 1382017 h 2831071"/>
              <a:gd name="connsiteX170" fmla="*/ 1276983 w 3473628"/>
              <a:gd name="connsiteY170" fmla="*/ 1470777 h 2831071"/>
              <a:gd name="connsiteX171" fmla="*/ 1290785 w 3473628"/>
              <a:gd name="connsiteY171" fmla="*/ 1538959 h 2831071"/>
              <a:gd name="connsiteX172" fmla="*/ 1286184 w 3473628"/>
              <a:gd name="connsiteY172" fmla="*/ 1598664 h 2831071"/>
              <a:gd name="connsiteX173" fmla="*/ 1251223 w 3473628"/>
              <a:gd name="connsiteY173" fmla="*/ 1657789 h 2831071"/>
              <a:gd name="connsiteX174" fmla="*/ 1190792 w 3473628"/>
              <a:gd name="connsiteY174" fmla="*/ 1692460 h 2831071"/>
              <a:gd name="connsiteX175" fmla="*/ 1155396 w 3473628"/>
              <a:gd name="connsiteY175" fmla="*/ 1717349 h 2831071"/>
              <a:gd name="connsiteX176" fmla="*/ 1128786 w 3473628"/>
              <a:gd name="connsiteY176" fmla="*/ 1768848 h 2831071"/>
              <a:gd name="connsiteX177" fmla="*/ 1124766 w 3473628"/>
              <a:gd name="connsiteY177" fmla="*/ 1813156 h 2831071"/>
              <a:gd name="connsiteX178" fmla="*/ 1143459 w 3473628"/>
              <a:gd name="connsiteY178" fmla="*/ 1838045 h 2831071"/>
              <a:gd name="connsiteX179" fmla="*/ 1176700 w 3473628"/>
              <a:gd name="connsiteY179" fmla="*/ 1874581 h 2831071"/>
              <a:gd name="connsiteX180" fmla="*/ 1211951 w 3473628"/>
              <a:gd name="connsiteY180" fmla="*/ 1930971 h 2831071"/>
              <a:gd name="connsiteX181" fmla="*/ 1269791 w 3473628"/>
              <a:gd name="connsiteY181" fmla="*/ 1970678 h 2831071"/>
              <a:gd name="connsiteX182" fmla="*/ 1289790 w 3473628"/>
              <a:gd name="connsiteY182" fmla="*/ 2016996 h 2831071"/>
              <a:gd name="connsiteX183" fmla="*/ 1236696 w 3473628"/>
              <a:gd name="connsiteY183" fmla="*/ 2105031 h 2831071"/>
              <a:gd name="connsiteX184" fmla="*/ 1189362 w 3473628"/>
              <a:gd name="connsiteY184" fmla="*/ 2099269 h 2831071"/>
              <a:gd name="connsiteX185" fmla="*/ 1126921 w 3473628"/>
              <a:gd name="connsiteY185" fmla="*/ 1994386 h 2831071"/>
              <a:gd name="connsiteX186" fmla="*/ 1124621 w 3473628"/>
              <a:gd name="connsiteY186" fmla="*/ 1948773 h 2831071"/>
              <a:gd name="connsiteX187" fmla="*/ 1178855 w 3473628"/>
              <a:gd name="connsiteY187" fmla="*/ 1910226 h 2831071"/>
              <a:gd name="connsiteX188" fmla="*/ 1235245 w 3473628"/>
              <a:gd name="connsiteY188" fmla="*/ 1918288 h 2831071"/>
              <a:gd name="connsiteX189" fmla="*/ 1332792 w 3473628"/>
              <a:gd name="connsiteY189" fmla="*/ 1988065 h 2831071"/>
              <a:gd name="connsiteX190" fmla="*/ 1387316 w 3473628"/>
              <a:gd name="connsiteY190" fmla="*/ 2070650 h 2831071"/>
              <a:gd name="connsiteX191" fmla="*/ 1383710 w 3473628"/>
              <a:gd name="connsiteY191" fmla="*/ 2126190 h 2831071"/>
              <a:gd name="connsiteX192" fmla="*/ 1348459 w 3473628"/>
              <a:gd name="connsiteY192" fmla="*/ 2203448 h 2831071"/>
              <a:gd name="connsiteX193" fmla="*/ 1311923 w 3473628"/>
              <a:gd name="connsiteY193" fmla="*/ 2248771 h 2831071"/>
              <a:gd name="connsiteX194" fmla="*/ 1270786 w 3473628"/>
              <a:gd name="connsiteY194" fmla="*/ 2226907 h 2831071"/>
              <a:gd name="connsiteX195" fmla="*/ 1256694 w 3473628"/>
              <a:gd name="connsiteY195" fmla="*/ 2197417 h 2831071"/>
              <a:gd name="connsiteX196" fmla="*/ 1262745 w 3473628"/>
              <a:gd name="connsiteY196" fmla="*/ 2172093 h 2831071"/>
              <a:gd name="connsiteX197" fmla="*/ 1299427 w 3473628"/>
              <a:gd name="connsiteY197" fmla="*/ 2127640 h 2831071"/>
              <a:gd name="connsiteX198" fmla="*/ 1357826 w 3473628"/>
              <a:gd name="connsiteY198" fmla="*/ 2086068 h 2831071"/>
              <a:gd name="connsiteX199" fmla="*/ 1403999 w 3473628"/>
              <a:gd name="connsiteY199" fmla="*/ 2048372 h 2831071"/>
              <a:gd name="connsiteX200" fmla="*/ 1428453 w 3473628"/>
              <a:gd name="connsiteY200" fmla="*/ 2028228 h 2831071"/>
              <a:gd name="connsiteX201" fmla="*/ 1435644 w 3473628"/>
              <a:gd name="connsiteY201" fmla="*/ 2043481 h 2831071"/>
              <a:gd name="connsiteX202" fmla="*/ 1439375 w 3473628"/>
              <a:gd name="connsiteY202" fmla="*/ 2107062 h 2831071"/>
              <a:gd name="connsiteX203" fmla="*/ 1432039 w 3473628"/>
              <a:gd name="connsiteY203" fmla="*/ 2164902 h 2831071"/>
              <a:gd name="connsiteX204" fmla="*/ 1405864 w 3473628"/>
              <a:gd name="connsiteY204" fmla="*/ 2266469 h 2831071"/>
              <a:gd name="connsiteX205" fmla="*/ 1412765 w 3473628"/>
              <a:gd name="connsiteY205" fmla="*/ 2328330 h 2831071"/>
              <a:gd name="connsiteX206" fmla="*/ 1440245 w 3473628"/>
              <a:gd name="connsiteY206" fmla="*/ 2353074 h 2831071"/>
              <a:gd name="connsiteX207" fmla="*/ 1475932 w 3473628"/>
              <a:gd name="connsiteY207" fmla="*/ 2367457 h 2831071"/>
              <a:gd name="connsiteX208" fmla="*/ 1511038 w 3473628"/>
              <a:gd name="connsiteY208" fmla="*/ 2382710 h 2831071"/>
              <a:gd name="connsiteX209" fmla="*/ 1536217 w 3473628"/>
              <a:gd name="connsiteY209" fmla="*/ 2415225 h 2831071"/>
              <a:gd name="connsiteX210" fmla="*/ 1543408 w 3473628"/>
              <a:gd name="connsiteY210" fmla="*/ 2463843 h 2831071"/>
              <a:gd name="connsiteX211" fmla="*/ 1512758 w 3473628"/>
              <a:gd name="connsiteY211" fmla="*/ 2507156 h 2831071"/>
              <a:gd name="connsiteX212" fmla="*/ 1467083 w 3473628"/>
              <a:gd name="connsiteY212" fmla="*/ 2522844 h 2831071"/>
              <a:gd name="connsiteX213" fmla="*/ 1422195 w 3473628"/>
              <a:gd name="connsiteY213" fmla="*/ 2523860 h 2831071"/>
              <a:gd name="connsiteX214" fmla="*/ 1366738 w 3473628"/>
              <a:gd name="connsiteY214" fmla="*/ 2540832 h 2831071"/>
              <a:gd name="connsiteX215" fmla="*/ 1320420 w 3473628"/>
              <a:gd name="connsiteY215" fmla="*/ 2536667 h 2831071"/>
              <a:gd name="connsiteX216" fmla="*/ 1321788 w 3473628"/>
              <a:gd name="connsiteY216" fmla="*/ 2519549 h 2831071"/>
              <a:gd name="connsiteX217" fmla="*/ 1369846 w 3473628"/>
              <a:gd name="connsiteY217" fmla="*/ 2497893 h 2831071"/>
              <a:gd name="connsiteX218" fmla="*/ 1396891 w 3473628"/>
              <a:gd name="connsiteY218" fmla="*/ 2480277 h 2831071"/>
              <a:gd name="connsiteX219" fmla="*/ 1381286 w 3473628"/>
              <a:gd name="connsiteY219" fmla="*/ 2474102 h 2831071"/>
              <a:gd name="connsiteX220" fmla="*/ 1307986 w 3473628"/>
              <a:gd name="connsiteY220" fmla="*/ 2503094 h 2831071"/>
              <a:gd name="connsiteX221" fmla="*/ 1275760 w 3473628"/>
              <a:gd name="connsiteY221" fmla="*/ 2503820 h 2831071"/>
              <a:gd name="connsiteX222" fmla="*/ 1277190 w 3473628"/>
              <a:gd name="connsiteY222" fmla="*/ 2490515 h 2831071"/>
              <a:gd name="connsiteX223" fmla="*/ 1302287 w 3473628"/>
              <a:gd name="connsiteY223" fmla="*/ 2478495 h 2831071"/>
              <a:gd name="connsiteX224" fmla="*/ 1350407 w 3473628"/>
              <a:gd name="connsiteY224" fmla="*/ 2445109 h 2831071"/>
              <a:gd name="connsiteX225" fmla="*/ 1346946 w 3473628"/>
              <a:gd name="connsiteY225" fmla="*/ 2435120 h 2831071"/>
              <a:gd name="connsiteX226" fmla="*/ 1292774 w 3473628"/>
              <a:gd name="connsiteY226" fmla="*/ 2461812 h 2831071"/>
              <a:gd name="connsiteX227" fmla="*/ 1261834 w 3473628"/>
              <a:gd name="connsiteY227" fmla="*/ 2459719 h 2831071"/>
              <a:gd name="connsiteX228" fmla="*/ 1265149 w 3473628"/>
              <a:gd name="connsiteY228" fmla="*/ 2438933 h 2831071"/>
              <a:gd name="connsiteX229" fmla="*/ 1303053 w 3473628"/>
              <a:gd name="connsiteY229" fmla="*/ 2411308 h 2831071"/>
              <a:gd name="connsiteX230" fmla="*/ 1318513 w 3473628"/>
              <a:gd name="connsiteY230" fmla="*/ 2393175 h 2831071"/>
              <a:gd name="connsiteX231" fmla="*/ 1306783 w 3473628"/>
              <a:gd name="connsiteY231" fmla="*/ 2385984 h 2831071"/>
              <a:gd name="connsiteX232" fmla="*/ 1268590 w 3473628"/>
              <a:gd name="connsiteY232" fmla="*/ 2403392 h 2831071"/>
              <a:gd name="connsiteX233" fmla="*/ 1243410 w 3473628"/>
              <a:gd name="connsiteY233" fmla="*/ 2405257 h 2831071"/>
              <a:gd name="connsiteX234" fmla="*/ 1242685 w 3473628"/>
              <a:gd name="connsiteY234" fmla="*/ 2382461 h 2831071"/>
              <a:gd name="connsiteX235" fmla="*/ 1284402 w 3473628"/>
              <a:gd name="connsiteY235" fmla="*/ 2341469 h 2831071"/>
              <a:gd name="connsiteX236" fmla="*/ 1360935 w 3473628"/>
              <a:gd name="connsiteY236" fmla="*/ 2306218 h 2831071"/>
              <a:gd name="connsiteX237" fmla="*/ 1411004 w 3473628"/>
              <a:gd name="connsiteY237" fmla="*/ 2303047 h 2831071"/>
              <a:gd name="connsiteX238" fmla="*/ 1438484 w 3473628"/>
              <a:gd name="connsiteY238" fmla="*/ 2295131 h 2831071"/>
              <a:gd name="connsiteX239" fmla="*/ 1468409 w 3473628"/>
              <a:gd name="connsiteY239" fmla="*/ 2243777 h 2831071"/>
              <a:gd name="connsiteX240" fmla="*/ 1532570 w 3473628"/>
              <a:gd name="connsiteY240" fmla="*/ 2156301 h 2831071"/>
              <a:gd name="connsiteX241" fmla="*/ 1610761 w 3473628"/>
              <a:gd name="connsiteY241" fmla="*/ 2074152 h 2831071"/>
              <a:gd name="connsiteX242" fmla="*/ 1628957 w 3473628"/>
              <a:gd name="connsiteY242" fmla="*/ 2041864 h 2831071"/>
              <a:gd name="connsiteX243" fmla="*/ 1628604 w 3473628"/>
              <a:gd name="connsiteY243" fmla="*/ 2021078 h 2831071"/>
              <a:gd name="connsiteX244" fmla="*/ 1642841 w 3473628"/>
              <a:gd name="connsiteY244" fmla="*/ 2001308 h 2831071"/>
              <a:gd name="connsiteX245" fmla="*/ 1697863 w 3473628"/>
              <a:gd name="connsiteY245" fmla="*/ 1963611 h 2831071"/>
              <a:gd name="connsiteX246" fmla="*/ 1768718 w 3473628"/>
              <a:gd name="connsiteY246" fmla="*/ 1914703 h 2831071"/>
              <a:gd name="connsiteX247" fmla="*/ 1816549 w 3473628"/>
              <a:gd name="connsiteY247" fmla="*/ 1881109 h 2831071"/>
              <a:gd name="connsiteX248" fmla="*/ 1846039 w 3473628"/>
              <a:gd name="connsiteY248" fmla="*/ 1836221 h 2831071"/>
              <a:gd name="connsiteX249" fmla="*/ 1863882 w 3473628"/>
              <a:gd name="connsiteY249" fmla="*/ 1739400 h 2831071"/>
              <a:gd name="connsiteX250" fmla="*/ 1862162 w 3473628"/>
              <a:gd name="connsiteY250" fmla="*/ 1654225 h 2831071"/>
              <a:gd name="connsiteX251" fmla="*/ 1849355 w 3473628"/>
              <a:gd name="connsiteY251" fmla="*/ 1586312 h 2831071"/>
              <a:gd name="connsiteX252" fmla="*/ 1804322 w 3473628"/>
              <a:gd name="connsiteY252" fmla="*/ 1511499 h 2831071"/>
              <a:gd name="connsiteX253" fmla="*/ 1748512 w 3473628"/>
              <a:gd name="connsiteY253" fmla="*/ 1463296 h 2831071"/>
              <a:gd name="connsiteX254" fmla="*/ 1688662 w 3473628"/>
              <a:gd name="connsiteY254" fmla="*/ 1445017 h 2831071"/>
              <a:gd name="connsiteX255" fmla="*/ 1629682 w 3473628"/>
              <a:gd name="connsiteY255" fmla="*/ 1434655 h 2831071"/>
              <a:gd name="connsiteX256" fmla="*/ 1565521 w 3473628"/>
              <a:gd name="connsiteY256" fmla="*/ 1420708 h 2831071"/>
              <a:gd name="connsiteX257" fmla="*/ 1482377 w 3473628"/>
              <a:gd name="connsiteY257" fmla="*/ 1428044 h 2831071"/>
              <a:gd name="connsiteX258" fmla="*/ 1425117 w 3473628"/>
              <a:gd name="connsiteY258" fmla="*/ 1469036 h 2831071"/>
              <a:gd name="connsiteX259" fmla="*/ 1416910 w 3473628"/>
              <a:gd name="connsiteY259" fmla="*/ 1533923 h 2831071"/>
              <a:gd name="connsiteX260" fmla="*/ 1436618 w 3473628"/>
              <a:gd name="connsiteY260" fmla="*/ 1580240 h 2831071"/>
              <a:gd name="connsiteX261" fmla="*/ 1448265 w 3473628"/>
              <a:gd name="connsiteY261" fmla="*/ 1638081 h 2831071"/>
              <a:gd name="connsiteX262" fmla="*/ 1432577 w 3473628"/>
              <a:gd name="connsiteY262" fmla="*/ 1733037 h 2831071"/>
              <a:gd name="connsiteX263" fmla="*/ 1436598 w 3473628"/>
              <a:gd name="connsiteY263" fmla="*/ 1799063 h 2831071"/>
              <a:gd name="connsiteX264" fmla="*/ 1493568 w 3473628"/>
              <a:gd name="connsiteY264" fmla="*/ 1841216 h 2831071"/>
              <a:gd name="connsiteX265" fmla="*/ 1619299 w 3473628"/>
              <a:gd name="connsiteY265" fmla="*/ 1854168 h 2831071"/>
              <a:gd name="connsiteX266" fmla="*/ 1704039 w 3473628"/>
              <a:gd name="connsiteY266" fmla="*/ 1837050 h 2831071"/>
              <a:gd name="connsiteX267" fmla="*/ 1739290 w 3473628"/>
              <a:gd name="connsiteY267" fmla="*/ 1788577 h 2831071"/>
              <a:gd name="connsiteX268" fmla="*/ 1754108 w 3473628"/>
              <a:gd name="connsiteY268" fmla="*/ 1758507 h 2831071"/>
              <a:gd name="connsiteX269" fmla="*/ 1769071 w 3473628"/>
              <a:gd name="connsiteY269" fmla="*/ 1758507 h 2831071"/>
              <a:gd name="connsiteX270" fmla="*/ 1773526 w 3473628"/>
              <a:gd name="connsiteY270" fmla="*/ 1787562 h 2831071"/>
              <a:gd name="connsiteX271" fmla="*/ 1747621 w 3473628"/>
              <a:gd name="connsiteY271" fmla="*/ 1819497 h 2831071"/>
              <a:gd name="connsiteX272" fmla="*/ 1719271 w 3473628"/>
              <a:gd name="connsiteY272" fmla="*/ 1806110 h 2831071"/>
              <a:gd name="connsiteX273" fmla="*/ 1727478 w 3473628"/>
              <a:gd name="connsiteY273" fmla="*/ 1762092 h 2831071"/>
              <a:gd name="connsiteX274" fmla="*/ 1757258 w 3473628"/>
              <a:gd name="connsiteY274" fmla="*/ 1731297 h 2831071"/>
              <a:gd name="connsiteX275" fmla="*/ 1781857 w 3473628"/>
              <a:gd name="connsiteY275" fmla="*/ 1696626 h 2831071"/>
              <a:gd name="connsiteX276" fmla="*/ 1759123 w 3473628"/>
              <a:gd name="connsiteY276" fmla="*/ 1625563 h 2831071"/>
              <a:gd name="connsiteX277" fmla="*/ 1710650 w 3473628"/>
              <a:gd name="connsiteY277" fmla="*/ 1549175 h 2831071"/>
              <a:gd name="connsiteX278" fmla="*/ 1628065 w 3473628"/>
              <a:gd name="connsiteY278" fmla="*/ 1512349 h 2831071"/>
              <a:gd name="connsiteX279" fmla="*/ 1535989 w 3473628"/>
              <a:gd name="connsiteY279" fmla="*/ 1521260 h 2831071"/>
              <a:gd name="connsiteX280" fmla="*/ 1469528 w 3473628"/>
              <a:gd name="connsiteY280" fmla="*/ 1574624 h 2831071"/>
              <a:gd name="connsiteX281" fmla="*/ 1448100 w 3473628"/>
              <a:gd name="connsiteY281" fmla="*/ 1608280 h 2831071"/>
              <a:gd name="connsiteX282" fmla="*/ 1425946 w 3473628"/>
              <a:gd name="connsiteY282" fmla="*/ 1663384 h 2831071"/>
              <a:gd name="connsiteX283" fmla="*/ 1406527 w 3473628"/>
              <a:gd name="connsiteY283" fmla="*/ 1760351 h 2831071"/>
              <a:gd name="connsiteX284" fmla="*/ 1422215 w 3473628"/>
              <a:gd name="connsiteY284" fmla="*/ 1829693 h 2831071"/>
              <a:gd name="connsiteX285" fmla="*/ 1452866 w 3473628"/>
              <a:gd name="connsiteY285" fmla="*/ 1880115 h 2831071"/>
              <a:gd name="connsiteX286" fmla="*/ 1472139 w 3473628"/>
              <a:gd name="connsiteY286" fmla="*/ 1939737 h 2831071"/>
              <a:gd name="connsiteX287" fmla="*/ 1476885 w 3473628"/>
              <a:gd name="connsiteY287" fmla="*/ 1996769 h 2831071"/>
              <a:gd name="connsiteX288" fmla="*/ 1459332 w 3473628"/>
              <a:gd name="connsiteY288" fmla="*/ 2060205 h 2831071"/>
              <a:gd name="connsiteX289" fmla="*/ 1462212 w 3473628"/>
              <a:gd name="connsiteY289" fmla="*/ 2092430 h 2831071"/>
              <a:gd name="connsiteX290" fmla="*/ 1501339 w 3473628"/>
              <a:gd name="connsiteY290" fmla="*/ 2073157 h 2831071"/>
              <a:gd name="connsiteX291" fmla="*/ 1597083 w 3473628"/>
              <a:gd name="connsiteY291" fmla="*/ 2002592 h 2831071"/>
              <a:gd name="connsiteX292" fmla="*/ 1667586 w 3473628"/>
              <a:gd name="connsiteY292" fmla="*/ 1957705 h 2831071"/>
              <a:gd name="connsiteX293" fmla="*/ 1726856 w 3473628"/>
              <a:gd name="connsiteY293" fmla="*/ 1927987 h 2831071"/>
              <a:gd name="connsiteX294" fmla="*/ 1753258 w 3473628"/>
              <a:gd name="connsiteY294" fmla="*/ 1933520 h 2831071"/>
              <a:gd name="connsiteX295" fmla="*/ 1781816 w 3473628"/>
              <a:gd name="connsiteY295" fmla="*/ 1986034 h 2831071"/>
              <a:gd name="connsiteX296" fmla="*/ 1823616 w 3473628"/>
              <a:gd name="connsiteY296" fmla="*/ 2024809 h 2831071"/>
              <a:gd name="connsiteX297" fmla="*/ 1853044 w 3473628"/>
              <a:gd name="connsiteY297" fmla="*/ 2039129 h 2831071"/>
              <a:gd name="connsiteX298" fmla="*/ 1845417 w 3473628"/>
              <a:gd name="connsiteY298" fmla="*/ 2056392 h 2831071"/>
              <a:gd name="connsiteX299" fmla="*/ 1802685 w 3473628"/>
              <a:gd name="connsiteY299" fmla="*/ 2090420 h 2831071"/>
              <a:gd name="connsiteX300" fmla="*/ 1764283 w 3473628"/>
              <a:gd name="connsiteY300" fmla="*/ 2152281 h 2831071"/>
              <a:gd name="connsiteX301" fmla="*/ 1702132 w 3473628"/>
              <a:gd name="connsiteY301" fmla="*/ 2291753 h 2831071"/>
              <a:gd name="connsiteX302" fmla="*/ 1672207 w 3473628"/>
              <a:gd name="connsiteY302" fmla="*/ 2356639 h 2831071"/>
              <a:gd name="connsiteX303" fmla="*/ 1654654 w 3473628"/>
              <a:gd name="connsiteY303" fmla="*/ 2363043 h 2831071"/>
              <a:gd name="connsiteX304" fmla="*/ 1613082 w 3473628"/>
              <a:gd name="connsiteY304" fmla="*/ 2345054 h 2831071"/>
              <a:gd name="connsiteX305" fmla="*/ 1559925 w 3473628"/>
              <a:gd name="connsiteY305" fmla="*/ 2330174 h 2831071"/>
              <a:gd name="connsiteX306" fmla="*/ 1518498 w 3473628"/>
              <a:gd name="connsiteY306" fmla="*/ 2333345 h 2831071"/>
              <a:gd name="connsiteX307" fmla="*/ 1485112 w 3473628"/>
              <a:gd name="connsiteY307" fmla="*/ 2345075 h 2831071"/>
              <a:gd name="connsiteX308" fmla="*/ 1462813 w 3473628"/>
              <a:gd name="connsiteY308" fmla="*/ 2341759 h 2831071"/>
              <a:gd name="connsiteX309" fmla="*/ 1462523 w 3473628"/>
              <a:gd name="connsiteY309" fmla="*/ 2316435 h 2831071"/>
              <a:gd name="connsiteX310" fmla="*/ 1514022 w 3473628"/>
              <a:gd name="connsiteY310" fmla="*/ 2230907 h 2831071"/>
              <a:gd name="connsiteX311" fmla="*/ 1633868 w 3473628"/>
              <a:gd name="connsiteY311" fmla="*/ 2086462 h 2831071"/>
              <a:gd name="connsiteX312" fmla="*/ 1761050 w 3473628"/>
              <a:gd name="connsiteY312" fmla="*/ 2009494 h 2831071"/>
              <a:gd name="connsiteX313" fmla="*/ 1835718 w 3473628"/>
              <a:gd name="connsiteY313" fmla="*/ 2007773 h 2831071"/>
              <a:gd name="connsiteX314" fmla="*/ 1915422 w 3473628"/>
              <a:gd name="connsiteY314" fmla="*/ 2040579 h 2831071"/>
              <a:gd name="connsiteX315" fmla="*/ 1956414 w 3473628"/>
              <a:gd name="connsiteY315" fmla="*/ 2094378 h 2831071"/>
              <a:gd name="connsiteX316" fmla="*/ 1981593 w 3473628"/>
              <a:gd name="connsiteY316" fmla="*/ 2161420 h 2831071"/>
              <a:gd name="connsiteX317" fmla="*/ 1998421 w 3473628"/>
              <a:gd name="connsiteY317" fmla="*/ 2191781 h 2831071"/>
              <a:gd name="connsiteX318" fmla="*/ 2004473 w 3473628"/>
              <a:gd name="connsiteY318" fmla="*/ 2185874 h 2831071"/>
              <a:gd name="connsiteX319" fmla="*/ 1997717 w 3473628"/>
              <a:gd name="connsiteY319" fmla="*/ 2138106 h 2831071"/>
              <a:gd name="connsiteX320" fmla="*/ 1965781 w 3473628"/>
              <a:gd name="connsiteY320" fmla="*/ 2073364 h 2831071"/>
              <a:gd name="connsiteX321" fmla="*/ 1892688 w 3473628"/>
              <a:gd name="connsiteY321" fmla="*/ 2059127 h 2831071"/>
              <a:gd name="connsiteX322" fmla="*/ 1816155 w 3473628"/>
              <a:gd name="connsiteY322" fmla="*/ 2115517 h 2831071"/>
              <a:gd name="connsiteX323" fmla="*/ 1767682 w 3473628"/>
              <a:gd name="connsiteY323" fmla="*/ 2216504 h 2831071"/>
              <a:gd name="connsiteX324" fmla="*/ 1756740 w 3473628"/>
              <a:gd name="connsiteY324" fmla="*/ 2315771 h 2831071"/>
              <a:gd name="connsiteX325" fmla="*/ 1733280 w 3473628"/>
              <a:gd name="connsiteY325" fmla="*/ 2398211 h 2831071"/>
              <a:gd name="connsiteX326" fmla="*/ 1632148 w 3473628"/>
              <a:gd name="connsiteY326" fmla="*/ 2384554 h 2831071"/>
              <a:gd name="connsiteX327" fmla="*/ 1539637 w 3473628"/>
              <a:gd name="connsiteY327" fmla="*/ 2352183 h 2831071"/>
              <a:gd name="connsiteX328" fmla="*/ 1522519 w 3473628"/>
              <a:gd name="connsiteY328" fmla="*/ 2359229 h 2831071"/>
              <a:gd name="connsiteX329" fmla="*/ 1543947 w 3473628"/>
              <a:gd name="connsiteY329" fmla="*/ 2385549 h 2831071"/>
              <a:gd name="connsiteX330" fmla="*/ 1564381 w 3473628"/>
              <a:gd name="connsiteY330" fmla="*/ 2430727 h 2831071"/>
              <a:gd name="connsiteX331" fmla="*/ 1559200 w 3473628"/>
              <a:gd name="connsiteY331" fmla="*/ 2486412 h 2831071"/>
              <a:gd name="connsiteX332" fmla="*/ 1529710 w 3473628"/>
              <a:gd name="connsiteY332" fmla="*/ 2562364 h 2831071"/>
              <a:gd name="connsiteX333" fmla="*/ 1544963 w 3473628"/>
              <a:gd name="connsiteY333" fmla="*/ 2634587 h 2831071"/>
              <a:gd name="connsiteX334" fmla="*/ 1609124 w 3473628"/>
              <a:gd name="connsiteY334" fmla="*/ 2669984 h 2831071"/>
              <a:gd name="connsiteX335" fmla="*/ 1709821 w 3473628"/>
              <a:gd name="connsiteY335" fmla="*/ 2685526 h 2831071"/>
              <a:gd name="connsiteX336" fmla="*/ 1825481 w 3473628"/>
              <a:gd name="connsiteY336" fmla="*/ 2710706 h 2831071"/>
              <a:gd name="connsiteX337" fmla="*/ 1849666 w 3473628"/>
              <a:gd name="connsiteY337" fmla="*/ 2737274 h 2831071"/>
              <a:gd name="connsiteX338" fmla="*/ 1827284 w 3473628"/>
              <a:gd name="connsiteY338" fmla="*/ 2775385 h 2831071"/>
              <a:gd name="connsiteX339" fmla="*/ 1859468 w 3473628"/>
              <a:gd name="connsiteY339" fmla="*/ 2784130 h 2831071"/>
              <a:gd name="connsiteX340" fmla="*/ 2089565 w 3473628"/>
              <a:gd name="connsiteY340" fmla="*/ 2784130 h 2831071"/>
              <a:gd name="connsiteX341" fmla="*/ 2566897 w 3473628"/>
              <a:gd name="connsiteY341" fmla="*/ 2782162 h 2831071"/>
              <a:gd name="connsiteX342" fmla="*/ 2687966 w 3473628"/>
              <a:gd name="connsiteY342" fmla="*/ 2759884 h 2831071"/>
              <a:gd name="connsiteX343" fmla="*/ 2680464 w 3473628"/>
              <a:gd name="connsiteY343" fmla="*/ 2692303 h 2831071"/>
              <a:gd name="connsiteX344" fmla="*/ 2633566 w 3473628"/>
              <a:gd name="connsiteY344" fmla="*/ 2631872 h 2831071"/>
              <a:gd name="connsiteX345" fmla="*/ 2492291 w 3473628"/>
              <a:gd name="connsiteY345" fmla="*/ 2565701 h 2831071"/>
              <a:gd name="connsiteX346" fmla="*/ 2424110 w 3473628"/>
              <a:gd name="connsiteY346" fmla="*/ 2476651 h 2831071"/>
              <a:gd name="connsiteX347" fmla="*/ 2465247 w 3473628"/>
              <a:gd name="connsiteY347" fmla="*/ 2186330 h 2831071"/>
              <a:gd name="connsiteX348" fmla="*/ 2494592 w 3473628"/>
              <a:gd name="connsiteY348" fmla="*/ 1978159 h 2831071"/>
              <a:gd name="connsiteX349" fmla="*/ 2532289 w 3473628"/>
              <a:gd name="connsiteY349" fmla="*/ 1883202 h 2831071"/>
              <a:gd name="connsiteX350" fmla="*/ 2600200 w 3473628"/>
              <a:gd name="connsiteY350" fmla="*/ 1837175 h 2831071"/>
              <a:gd name="connsiteX351" fmla="*/ 2643928 w 3473628"/>
              <a:gd name="connsiteY351" fmla="*/ 1758051 h 2831071"/>
              <a:gd name="connsiteX352" fmla="*/ 2671553 w 3473628"/>
              <a:gd name="connsiteY352" fmla="*/ 1632029 h 2831071"/>
              <a:gd name="connsiteX353" fmla="*/ 2694577 w 3473628"/>
              <a:gd name="connsiteY353" fmla="*/ 1561817 h 2831071"/>
              <a:gd name="connsiteX354" fmla="*/ 2707239 w 3473628"/>
              <a:gd name="connsiteY354" fmla="*/ 1548305 h 2831071"/>
              <a:gd name="connsiteX355" fmla="*/ 2696877 w 3473628"/>
              <a:gd name="connsiteY355" fmla="*/ 1616217 h 2831071"/>
              <a:gd name="connsiteX356" fmla="*/ 2656300 w 3473628"/>
              <a:gd name="connsiteY356" fmla="*/ 1792308 h 2831071"/>
              <a:gd name="connsiteX357" fmla="*/ 2576306 w 3473628"/>
              <a:gd name="connsiteY357" fmla="*/ 1905377 h 2831071"/>
              <a:gd name="connsiteX358" fmla="*/ 2484810 w 3473628"/>
              <a:gd name="connsiteY358" fmla="*/ 1918329 h 2831071"/>
              <a:gd name="connsiteX359" fmla="*/ 2405251 w 3473628"/>
              <a:gd name="connsiteY359" fmla="*/ 1822813 h 2831071"/>
              <a:gd name="connsiteX360" fmla="*/ 2384113 w 3473628"/>
              <a:gd name="connsiteY360" fmla="*/ 1673912 h 2831071"/>
              <a:gd name="connsiteX361" fmla="*/ 2378642 w 3473628"/>
              <a:gd name="connsiteY361" fmla="*/ 1541984 h 2831071"/>
              <a:gd name="connsiteX362" fmla="*/ 2373751 w 3473628"/>
              <a:gd name="connsiteY362" fmla="*/ 1415527 h 2831071"/>
              <a:gd name="connsiteX363" fmla="*/ 2347141 w 3473628"/>
              <a:gd name="connsiteY363" fmla="*/ 1246918 h 2831071"/>
              <a:gd name="connsiteX364" fmla="*/ 2334769 w 3473628"/>
              <a:gd name="connsiteY364" fmla="*/ 1142615 h 2831071"/>
              <a:gd name="connsiteX365" fmla="*/ 2329153 w 3473628"/>
              <a:gd name="connsiteY365" fmla="*/ 1065211 h 2831071"/>
              <a:gd name="connsiteX366" fmla="*/ 2304554 w 3473628"/>
              <a:gd name="connsiteY366" fmla="*/ 939335 h 2831071"/>
              <a:gd name="connsiteX367" fmla="*/ 2256641 w 3473628"/>
              <a:gd name="connsiteY367" fmla="*/ 796630 h 2831071"/>
              <a:gd name="connsiteX368" fmla="*/ 2230736 w 3473628"/>
              <a:gd name="connsiteY368" fmla="*/ 692327 h 2831071"/>
              <a:gd name="connsiteX369" fmla="*/ 2239502 w 3473628"/>
              <a:gd name="connsiteY369" fmla="*/ 643564 h 2831071"/>
              <a:gd name="connsiteX370" fmla="*/ 2294026 w 3473628"/>
              <a:gd name="connsiteY370" fmla="*/ 635647 h 2831071"/>
              <a:gd name="connsiteX371" fmla="*/ 2342789 w 3473628"/>
              <a:gd name="connsiteY371" fmla="*/ 621700 h 2831071"/>
              <a:gd name="connsiteX372" fmla="*/ 2378621 w 3473628"/>
              <a:gd name="connsiteY372" fmla="*/ 587174 h 2831071"/>
              <a:gd name="connsiteX373" fmla="*/ 2391283 w 3473628"/>
              <a:gd name="connsiteY373" fmla="*/ 534080 h 2831071"/>
              <a:gd name="connsiteX374" fmla="*/ 2374601 w 3473628"/>
              <a:gd name="connsiteY374" fmla="*/ 480426 h 2831071"/>
              <a:gd name="connsiteX375" fmla="*/ 2310004 w 3473628"/>
              <a:gd name="connsiteY375" fmla="*/ 360020 h 2831071"/>
              <a:gd name="connsiteX376" fmla="*/ 2266567 w 3473628"/>
              <a:gd name="connsiteY376" fmla="*/ 280171 h 2831071"/>
              <a:gd name="connsiteX377" fmla="*/ 2203691 w 3473628"/>
              <a:gd name="connsiteY377" fmla="*/ 213564 h 2831071"/>
              <a:gd name="connsiteX378" fmla="*/ 2153622 w 3473628"/>
              <a:gd name="connsiteY378" fmla="*/ 194291 h 2831071"/>
              <a:gd name="connsiteX379" fmla="*/ 2109315 w 3473628"/>
              <a:gd name="connsiteY379" fmla="*/ 218310 h 2831071"/>
              <a:gd name="connsiteX380" fmla="*/ 2085731 w 3473628"/>
              <a:gd name="connsiteY380" fmla="*/ 264214 h 2831071"/>
              <a:gd name="connsiteX381" fmla="*/ 2085006 w 3473628"/>
              <a:gd name="connsiteY381" fmla="*/ 308666 h 2831071"/>
              <a:gd name="connsiteX382" fmla="*/ 2107595 w 3473628"/>
              <a:gd name="connsiteY382" fmla="*/ 327794 h 2831071"/>
              <a:gd name="connsiteX383" fmla="*/ 2138245 w 3473628"/>
              <a:gd name="connsiteY383" fmla="*/ 329660 h 2831071"/>
              <a:gd name="connsiteX384" fmla="*/ 2151343 w 3473628"/>
              <a:gd name="connsiteY384" fmla="*/ 299299 h 2831071"/>
              <a:gd name="connsiteX385" fmla="*/ 2155508 w 3473628"/>
              <a:gd name="connsiteY385" fmla="*/ 263053 h 2831071"/>
              <a:gd name="connsiteX386" fmla="*/ 2173641 w 3473628"/>
              <a:gd name="connsiteY386" fmla="*/ 251261 h 2831071"/>
              <a:gd name="connsiteX387" fmla="*/ 2215068 w 3473628"/>
              <a:gd name="connsiteY387" fmla="*/ 262058 h 2831071"/>
              <a:gd name="connsiteX388" fmla="*/ 2248019 w 3473628"/>
              <a:gd name="connsiteY388" fmla="*/ 269975 h 2831071"/>
              <a:gd name="connsiteX389" fmla="*/ 2262257 w 3473628"/>
              <a:gd name="connsiteY389" fmla="*/ 259903 h 2831071"/>
              <a:gd name="connsiteX390" fmla="*/ 2259749 w 3473628"/>
              <a:gd name="connsiteY390" fmla="*/ 230993 h 2831071"/>
              <a:gd name="connsiteX391" fmla="*/ 2231337 w 3473628"/>
              <a:gd name="connsiteY391" fmla="*/ 190851 h 2831071"/>
              <a:gd name="connsiteX392" fmla="*/ 2181351 w 3473628"/>
              <a:gd name="connsiteY392" fmla="*/ 163309 h 2831071"/>
              <a:gd name="connsiteX393" fmla="*/ 2141354 w 3473628"/>
              <a:gd name="connsiteY393" fmla="*/ 157548 h 2831071"/>
              <a:gd name="connsiteX394" fmla="*/ 2113377 w 3473628"/>
              <a:gd name="connsiteY394" fmla="*/ 169485 h 2831071"/>
              <a:gd name="connsiteX395" fmla="*/ 2082726 w 3473628"/>
              <a:gd name="connsiteY395" fmla="*/ 176469 h 2831071"/>
              <a:gd name="connsiteX396" fmla="*/ 2031870 w 3473628"/>
              <a:gd name="connsiteY396" fmla="*/ 162086 h 2831071"/>
              <a:gd name="connsiteX397" fmla="*/ 1991955 w 3473628"/>
              <a:gd name="connsiteY397" fmla="*/ 137280 h 2831071"/>
              <a:gd name="connsiteX398" fmla="*/ 1950528 w 3473628"/>
              <a:gd name="connsiteY398" fmla="*/ 77222 h 2831071"/>
              <a:gd name="connsiteX399" fmla="*/ 1938737 w 3473628"/>
              <a:gd name="connsiteY399" fmla="*/ 27008 h 2831071"/>
              <a:gd name="connsiteX400" fmla="*/ 1947669 w 3473628"/>
              <a:gd name="connsiteY400" fmla="*/ 1725 h 2831071"/>
              <a:gd name="connsiteX401" fmla="*/ 1970755 w 3473628"/>
              <a:gd name="connsiteY401" fmla="*/ 8461 h 2831071"/>
              <a:gd name="connsiteX402" fmla="*/ 2009260 w 3473628"/>
              <a:gd name="connsiteY402" fmla="*/ 49494 h 2831071"/>
              <a:gd name="connsiteX403" fmla="*/ 2058292 w 3473628"/>
              <a:gd name="connsiteY403" fmla="*/ 104412 h 2831071"/>
              <a:gd name="connsiteX404" fmla="*/ 2093544 w 3473628"/>
              <a:gd name="connsiteY404" fmla="*/ 149010 h 2831071"/>
              <a:gd name="connsiteX405" fmla="*/ 2084487 w 3473628"/>
              <a:gd name="connsiteY405" fmla="*/ 165837 h 2831071"/>
              <a:gd name="connsiteX406" fmla="*/ 2039599 w 3473628"/>
              <a:gd name="connsiteY406" fmla="*/ 172593 h 2831071"/>
              <a:gd name="connsiteX407" fmla="*/ 2028657 w 3473628"/>
              <a:gd name="connsiteY407" fmla="*/ 186976 h 2831071"/>
              <a:gd name="connsiteX408" fmla="*/ 2037424 w 3473628"/>
              <a:gd name="connsiteY408" fmla="*/ 210435 h 2831071"/>
              <a:gd name="connsiteX409" fmla="*/ 2052531 w 3473628"/>
              <a:gd name="connsiteY409" fmla="*/ 240360 h 2831071"/>
              <a:gd name="connsiteX410" fmla="*/ 2063183 w 3473628"/>
              <a:gd name="connsiteY410" fmla="*/ 276606 h 2831071"/>
              <a:gd name="connsiteX411" fmla="*/ 2061173 w 3473628"/>
              <a:gd name="connsiteY411" fmla="*/ 308832 h 2831071"/>
              <a:gd name="connsiteX412" fmla="*/ 2047226 w 3473628"/>
              <a:gd name="connsiteY412" fmla="*/ 318324 h 2831071"/>
              <a:gd name="connsiteX413" fmla="*/ 2037009 w 3473628"/>
              <a:gd name="connsiteY413" fmla="*/ 303216 h 2831071"/>
              <a:gd name="connsiteX414" fmla="*/ 2039890 w 3473628"/>
              <a:gd name="connsiteY414" fmla="*/ 281932 h 2831071"/>
              <a:gd name="connsiteX415" fmla="*/ 2037589 w 3473628"/>
              <a:gd name="connsiteY415" fmla="*/ 253168 h 2831071"/>
              <a:gd name="connsiteX416" fmla="*/ 2017301 w 3473628"/>
              <a:gd name="connsiteY416" fmla="*/ 238640 h 2831071"/>
              <a:gd name="connsiteX417" fmla="*/ 1980039 w 3473628"/>
              <a:gd name="connsiteY417" fmla="*/ 250142 h 2831071"/>
              <a:gd name="connsiteX418" fmla="*/ 1965367 w 3473628"/>
              <a:gd name="connsiteY418" fmla="*/ 281207 h 2831071"/>
              <a:gd name="connsiteX419" fmla="*/ 1979604 w 3473628"/>
              <a:gd name="connsiteY419" fmla="*/ 326820 h 2831071"/>
              <a:gd name="connsiteX420" fmla="*/ 2042625 w 3473628"/>
              <a:gd name="connsiteY420" fmla="*/ 396598 h 2831071"/>
              <a:gd name="connsiteX421" fmla="*/ 2145208 w 3473628"/>
              <a:gd name="connsiteY421" fmla="*/ 455288 h 2831071"/>
              <a:gd name="connsiteX422" fmla="*/ 2223752 w 3473628"/>
              <a:gd name="connsiteY422" fmla="*/ 542183 h 2831071"/>
              <a:gd name="connsiteX423" fmla="*/ 2264889 w 3473628"/>
              <a:gd name="connsiteY423" fmla="*/ 604624 h 2831071"/>
              <a:gd name="connsiteX424" fmla="*/ 2331640 w 3473628"/>
              <a:gd name="connsiteY424" fmla="*/ 595132 h 2831071"/>
              <a:gd name="connsiteX425" fmla="*/ 2408753 w 3473628"/>
              <a:gd name="connsiteY425" fmla="*/ 561746 h 2831071"/>
              <a:gd name="connsiteX426" fmla="*/ 2486157 w 3473628"/>
              <a:gd name="connsiteY426" fmla="*/ 631088 h 2831071"/>
              <a:gd name="connsiteX427" fmla="*/ 2597797 w 3473628"/>
              <a:gd name="connsiteY427" fmla="*/ 831052 h 2831071"/>
              <a:gd name="connsiteX428" fmla="*/ 2689292 w 3473628"/>
              <a:gd name="connsiteY428" fmla="*/ 1008013 h 2831071"/>
              <a:gd name="connsiteX429" fmla="*/ 2728999 w 3473628"/>
              <a:gd name="connsiteY429" fmla="*/ 1141081 h 2831071"/>
              <a:gd name="connsiteX430" fmla="*/ 2722098 w 3473628"/>
              <a:gd name="connsiteY430" fmla="*/ 1265963 h 2831071"/>
              <a:gd name="connsiteX431" fmla="*/ 2726409 w 3473628"/>
              <a:gd name="connsiteY431" fmla="*/ 1370556 h 2831071"/>
              <a:gd name="connsiteX432" fmla="*/ 2748998 w 3473628"/>
              <a:gd name="connsiteY432" fmla="*/ 1502194 h 2831071"/>
              <a:gd name="connsiteX433" fmla="*/ 2793596 w 3473628"/>
              <a:gd name="connsiteY433" fmla="*/ 1683756 h 2831071"/>
              <a:gd name="connsiteX434" fmla="*/ 2841924 w 3473628"/>
              <a:gd name="connsiteY434" fmla="*/ 1899699 h 2831071"/>
              <a:gd name="connsiteX435" fmla="*/ 2835872 w 3473628"/>
              <a:gd name="connsiteY435" fmla="*/ 2160094 h 2831071"/>
              <a:gd name="connsiteX436" fmla="*/ 2789119 w 3473628"/>
              <a:gd name="connsiteY436" fmla="*/ 2458476 h 2831071"/>
              <a:gd name="connsiteX437" fmla="*/ 2737620 w 3473628"/>
              <a:gd name="connsiteY437" fmla="*/ 2693547 h 2831071"/>
              <a:gd name="connsiteX438" fmla="*/ 2657626 w 3473628"/>
              <a:gd name="connsiteY438" fmla="*/ 2723762 h 2831071"/>
              <a:gd name="connsiteX439" fmla="*/ 2479816 w 3473628"/>
              <a:gd name="connsiteY439" fmla="*/ 2656720 h 2831071"/>
              <a:gd name="connsiteX440" fmla="*/ 2254237 w 3473628"/>
              <a:gd name="connsiteY440" fmla="*/ 2611832 h 2831071"/>
              <a:gd name="connsiteX441" fmla="*/ 2082166 w 3473628"/>
              <a:gd name="connsiteY441" fmla="*/ 2636287 h 2831071"/>
              <a:gd name="connsiteX442" fmla="*/ 1994401 w 3473628"/>
              <a:gd name="connsiteY442" fmla="*/ 2663621 h 2831071"/>
              <a:gd name="connsiteX443" fmla="*/ 1965346 w 3473628"/>
              <a:gd name="connsiteY443" fmla="*/ 2610382 h 2831071"/>
              <a:gd name="connsiteX444" fmla="*/ 1972537 w 3473628"/>
              <a:gd name="connsiteY444" fmla="*/ 2529538 h 2831071"/>
              <a:gd name="connsiteX445" fmla="*/ 2001302 w 3473628"/>
              <a:gd name="connsiteY445" fmla="*/ 2410127 h 2831071"/>
              <a:gd name="connsiteX446" fmla="*/ 2065173 w 3473628"/>
              <a:gd name="connsiteY446" fmla="*/ 2234762 h 2831071"/>
              <a:gd name="connsiteX447" fmla="*/ 2185164 w 3473628"/>
              <a:gd name="connsiteY447" fmla="*/ 1982428 h 2831071"/>
              <a:gd name="connsiteX448" fmla="*/ 2272639 w 3473628"/>
              <a:gd name="connsiteY448" fmla="*/ 1790940 h 2831071"/>
              <a:gd name="connsiteX449" fmla="*/ 2341691 w 3473628"/>
              <a:gd name="connsiteY449" fmla="*/ 1698284 h 2831071"/>
              <a:gd name="connsiteX450" fmla="*/ 2369026 w 3473628"/>
              <a:gd name="connsiteY450" fmla="*/ 1632962 h 2831071"/>
              <a:gd name="connsiteX451" fmla="*/ 2351473 w 3473628"/>
              <a:gd name="connsiteY451" fmla="*/ 1607927 h 2831071"/>
              <a:gd name="connsiteX452" fmla="*/ 2270774 w 3473628"/>
              <a:gd name="connsiteY452" fmla="*/ 1653541 h 2831071"/>
              <a:gd name="connsiteX453" fmla="*/ 2210343 w 3473628"/>
              <a:gd name="connsiteY453" fmla="*/ 1626206 h 2831071"/>
              <a:gd name="connsiteX454" fmla="*/ 2164585 w 3473628"/>
              <a:gd name="connsiteY454" fmla="*/ 1571972 h 2831071"/>
              <a:gd name="connsiteX455" fmla="*/ 2149623 w 3473628"/>
              <a:gd name="connsiteY455" fmla="*/ 1525364 h 2831071"/>
              <a:gd name="connsiteX456" fmla="*/ 2171776 w 3473628"/>
              <a:gd name="connsiteY456" fmla="*/ 1480476 h 2831071"/>
              <a:gd name="connsiteX457" fmla="*/ 2219690 w 3473628"/>
              <a:gd name="connsiteY457" fmla="*/ 1471710 h 2831071"/>
              <a:gd name="connsiteX458" fmla="*/ 2304575 w 3473628"/>
              <a:gd name="connsiteY458" fmla="*/ 1491128 h 2831071"/>
              <a:gd name="connsiteX459" fmla="*/ 2357939 w 3473628"/>
              <a:gd name="connsiteY459" fmla="*/ 1495148 h 2831071"/>
              <a:gd name="connsiteX460" fmla="*/ 2365130 w 3473628"/>
              <a:gd name="connsiteY460" fmla="*/ 1468539 h 2831071"/>
              <a:gd name="connsiteX461" fmla="*/ 2343411 w 3473628"/>
              <a:gd name="connsiteY461" fmla="*/ 1383509 h 2831071"/>
              <a:gd name="connsiteX462" fmla="*/ 2328594 w 3473628"/>
              <a:gd name="connsiteY462" fmla="*/ 1282957 h 2831071"/>
              <a:gd name="connsiteX463" fmla="*/ 2324428 w 3473628"/>
              <a:gd name="connsiteY463" fmla="*/ 1207999 h 2831071"/>
              <a:gd name="connsiteX464" fmla="*/ 2305735 w 3473628"/>
              <a:gd name="connsiteY464" fmla="*/ 1175628 h 2831071"/>
              <a:gd name="connsiteX465" fmla="*/ 2240559 w 3473628"/>
              <a:gd name="connsiteY465" fmla="*/ 1175918 h 2831071"/>
              <a:gd name="connsiteX466" fmla="*/ 2155964 w 3473628"/>
              <a:gd name="connsiteY466" fmla="*/ 1209574 h 2831071"/>
              <a:gd name="connsiteX467" fmla="*/ 2105750 w 3473628"/>
              <a:gd name="connsiteY467" fmla="*/ 1260223 h 2831071"/>
              <a:gd name="connsiteX468" fmla="*/ 2085171 w 3473628"/>
              <a:gd name="connsiteY468" fmla="*/ 1297774 h 2831071"/>
              <a:gd name="connsiteX469" fmla="*/ 2074664 w 3473628"/>
              <a:gd name="connsiteY469" fmla="*/ 1286977 h 2831071"/>
              <a:gd name="connsiteX470" fmla="*/ 2069918 w 3473628"/>
              <a:gd name="connsiteY470" fmla="*/ 1234028 h 2831071"/>
              <a:gd name="connsiteX471" fmla="*/ 2108050 w 3473628"/>
              <a:gd name="connsiteY471" fmla="*/ 1171587 h 2831071"/>
              <a:gd name="connsiteX472" fmla="*/ 2189910 w 3473628"/>
              <a:gd name="connsiteY472" fmla="*/ 1136045 h 2831071"/>
              <a:gd name="connsiteX473" fmla="*/ 2269759 w 3473628"/>
              <a:gd name="connsiteY473" fmla="*/ 1132294 h 2831071"/>
              <a:gd name="connsiteX474" fmla="*/ 2308450 w 3473628"/>
              <a:gd name="connsiteY474" fmla="*/ 1125683 h 2831071"/>
              <a:gd name="connsiteX475" fmla="*/ 2307290 w 3473628"/>
              <a:gd name="connsiteY475" fmla="*/ 1074765 h 2831071"/>
              <a:gd name="connsiteX476" fmla="*/ 2297653 w 3473628"/>
              <a:gd name="connsiteY476" fmla="*/ 1036778 h 2831071"/>
              <a:gd name="connsiteX477" fmla="*/ 2262982 w 3473628"/>
              <a:gd name="connsiteY477" fmla="*/ 1022831 h 2831071"/>
              <a:gd name="connsiteX478" fmla="*/ 2194655 w 3473628"/>
              <a:gd name="connsiteY478" fmla="*/ 1035493 h 2831071"/>
              <a:gd name="connsiteX479" fmla="*/ 2144296 w 3473628"/>
              <a:gd name="connsiteY479" fmla="*/ 1081811 h 2831071"/>
              <a:gd name="connsiteX480" fmla="*/ 2106310 w 3473628"/>
              <a:gd name="connsiteY480" fmla="*/ 1120088 h 2831071"/>
              <a:gd name="connsiteX481" fmla="*/ 2043434 w 3473628"/>
              <a:gd name="connsiteY481" fmla="*/ 1152894 h 2831071"/>
              <a:gd name="connsiteX482" fmla="*/ 1998401 w 3473628"/>
              <a:gd name="connsiteY482" fmla="*/ 1194756 h 2831071"/>
              <a:gd name="connsiteX483" fmla="*/ 1991645 w 3473628"/>
              <a:gd name="connsiteY483" fmla="*/ 1239354 h 2831071"/>
              <a:gd name="connsiteX484" fmla="*/ 2014669 w 3473628"/>
              <a:gd name="connsiteY484" fmla="*/ 1279351 h 2831071"/>
              <a:gd name="connsiteX485" fmla="*/ 2051350 w 3473628"/>
              <a:gd name="connsiteY485" fmla="*/ 1309566 h 2831071"/>
              <a:gd name="connsiteX486" fmla="*/ 2064157 w 3473628"/>
              <a:gd name="connsiteY486" fmla="*/ 1331865 h 2831071"/>
              <a:gd name="connsiteX487" fmla="*/ 2053505 w 3473628"/>
              <a:gd name="connsiteY487" fmla="*/ 1376173 h 2831071"/>
              <a:gd name="connsiteX488" fmla="*/ 2057671 w 3473628"/>
              <a:gd name="connsiteY488" fmla="*/ 1437598 h 2831071"/>
              <a:gd name="connsiteX489" fmla="*/ 2084715 w 3473628"/>
              <a:gd name="connsiteY489" fmla="*/ 1526939 h 2831071"/>
              <a:gd name="connsiteX490" fmla="*/ 2142556 w 3473628"/>
              <a:gd name="connsiteY490" fmla="*/ 1590374 h 2831071"/>
              <a:gd name="connsiteX491" fmla="*/ 2188583 w 3473628"/>
              <a:gd name="connsiteY491" fmla="*/ 1652525 h 2831071"/>
              <a:gd name="connsiteX492" fmla="*/ 2211753 w 3473628"/>
              <a:gd name="connsiteY492" fmla="*/ 1709350 h 2831071"/>
              <a:gd name="connsiteX493" fmla="*/ 2213038 w 3473628"/>
              <a:gd name="connsiteY493" fmla="*/ 1751502 h 2831071"/>
              <a:gd name="connsiteX494" fmla="*/ 2193619 w 3473628"/>
              <a:gd name="connsiteY494" fmla="*/ 1786463 h 2831071"/>
              <a:gd name="connsiteX495" fmla="*/ 2145416 w 3473628"/>
              <a:gd name="connsiteY495" fmla="*/ 1826170 h 2831071"/>
              <a:gd name="connsiteX496" fmla="*/ 2094062 w 3473628"/>
              <a:gd name="connsiteY496" fmla="*/ 1865877 h 2831071"/>
              <a:gd name="connsiteX497" fmla="*/ 2067452 w 3473628"/>
              <a:gd name="connsiteY497" fmla="*/ 1897668 h 2831071"/>
              <a:gd name="connsiteX498" fmla="*/ 2076654 w 3473628"/>
              <a:gd name="connsiteY498" fmla="*/ 1913791 h 2831071"/>
              <a:gd name="connsiteX499" fmla="*/ 2097668 w 3473628"/>
              <a:gd name="connsiteY499" fmla="*/ 1937955 h 2831071"/>
              <a:gd name="connsiteX500" fmla="*/ 2095077 w 3473628"/>
              <a:gd name="connsiteY500" fmla="*/ 2004416 h 2831071"/>
              <a:gd name="connsiteX501" fmla="*/ 2059391 w 3473628"/>
              <a:gd name="connsiteY501" fmla="*/ 2109155 h 2831071"/>
              <a:gd name="connsiteX502" fmla="*/ 1969325 w 3473628"/>
              <a:gd name="connsiteY502" fmla="*/ 2331853 h 2831071"/>
              <a:gd name="connsiteX503" fmla="*/ 1904584 w 3473628"/>
              <a:gd name="connsiteY503" fmla="*/ 2574405 h 2831071"/>
              <a:gd name="connsiteX504" fmla="*/ 1892502 w 3473628"/>
              <a:gd name="connsiteY504" fmla="*/ 2764443 h 2831071"/>
              <a:gd name="connsiteX505" fmla="*/ 2038812 w 3473628"/>
              <a:gd name="connsiteY505" fmla="*/ 2824874 h 2831071"/>
              <a:gd name="connsiteX506" fmla="*/ 2686909 w 3473628"/>
              <a:gd name="connsiteY506" fmla="*/ 2831070 h 2831071"/>
              <a:gd name="connsiteX507" fmla="*/ 3473628 w 3473628"/>
              <a:gd name="connsiteY507" fmla="*/ 2831070 h 2831071"/>
              <a:gd name="connsiteX0" fmla="*/ 1241953 w 2846793"/>
              <a:gd name="connsiteY0" fmla="*/ 2360975 h 2831069"/>
              <a:gd name="connsiteX1" fmla="*/ 1209568 w 2846793"/>
              <a:gd name="connsiteY1" fmla="*/ 2270448 h 2831069"/>
              <a:gd name="connsiteX2" fmla="*/ 1120808 w 2846793"/>
              <a:gd name="connsiteY2" fmla="*/ 2115662 h 2831069"/>
              <a:gd name="connsiteX3" fmla="*/ 1030182 w 2846793"/>
              <a:gd name="connsiteY3" fmla="*/ 1957124 h 2831069"/>
              <a:gd name="connsiteX4" fmla="*/ 963576 w 2846793"/>
              <a:gd name="connsiteY4" fmla="*/ 1924173 h 2831069"/>
              <a:gd name="connsiteX5" fmla="*/ 805764 w 2846793"/>
              <a:gd name="connsiteY5" fmla="*/ 1954244 h 2831069"/>
              <a:gd name="connsiteX6" fmla="*/ 604929 w 2846793"/>
              <a:gd name="connsiteY6" fmla="*/ 1989060 h 2831069"/>
              <a:gd name="connsiteX7" fmla="*/ 477332 w 2846793"/>
              <a:gd name="connsiteY7" fmla="*/ 1993661 h 2831069"/>
              <a:gd name="connsiteX8" fmla="*/ 361672 w 2846793"/>
              <a:gd name="connsiteY8" fmla="*/ 2000852 h 2831069"/>
              <a:gd name="connsiteX9" fmla="*/ 98687 w 2846793"/>
              <a:gd name="connsiteY9" fmla="*/ 2062567 h 2831069"/>
              <a:gd name="connsiteX10" fmla="*/ 3316 w 2846793"/>
              <a:gd name="connsiteY10" fmla="*/ 2090047 h 2831069"/>
              <a:gd name="connsiteX11" fmla="*/ 45468 w 2846793"/>
              <a:gd name="connsiteY11" fmla="*/ 2164135 h 2831069"/>
              <a:gd name="connsiteX12" fmla="*/ 243277 w 2846793"/>
              <a:gd name="connsiteY12" fmla="*/ 2417629 h 2831069"/>
              <a:gd name="connsiteX13" fmla="*/ 343270 w 2846793"/>
              <a:gd name="connsiteY13" fmla="*/ 2553723 h 2831069"/>
              <a:gd name="connsiteX14" fmla="*/ 396634 w 2846793"/>
              <a:gd name="connsiteY14" fmla="*/ 2608392 h 2831069"/>
              <a:gd name="connsiteX15" fmla="*/ 442102 w 2846793"/>
              <a:gd name="connsiteY15" fmla="*/ 2644348 h 2831069"/>
              <a:gd name="connsiteX16" fmla="*/ 450018 w 2846793"/>
              <a:gd name="connsiteY16" fmla="*/ 2670108 h 2831069"/>
              <a:gd name="connsiteX17" fmla="*/ 431180 w 2846793"/>
              <a:gd name="connsiteY17" fmla="*/ 2687516 h 2831069"/>
              <a:gd name="connsiteX18" fmla="*/ 385007 w 2846793"/>
              <a:gd name="connsiteY18" fmla="*/ 2665507 h 2831069"/>
              <a:gd name="connsiteX19" fmla="*/ 320266 w 2846793"/>
              <a:gd name="connsiteY19" fmla="*/ 2569991 h 2831069"/>
              <a:gd name="connsiteX20" fmla="*/ 307459 w 2846793"/>
              <a:gd name="connsiteY20" fmla="*/ 2513166 h 2831069"/>
              <a:gd name="connsiteX21" fmla="*/ 319396 w 2846793"/>
              <a:gd name="connsiteY21" fmla="*/ 2499923 h 2831069"/>
              <a:gd name="connsiteX22" fmla="*/ 348015 w 2846793"/>
              <a:gd name="connsiteY22" fmla="*/ 2524378 h 2831069"/>
              <a:gd name="connsiteX23" fmla="*/ 378086 w 2846793"/>
              <a:gd name="connsiteY23" fmla="*/ 2562364 h 2831069"/>
              <a:gd name="connsiteX24" fmla="*/ 409731 w 2846793"/>
              <a:gd name="connsiteY24" fmla="*/ 2581348 h 2831069"/>
              <a:gd name="connsiteX25" fmla="*/ 431740 w 2846793"/>
              <a:gd name="connsiteY25" fmla="*/ 2604372 h 2831069"/>
              <a:gd name="connsiteX26" fmla="*/ 455323 w 2846793"/>
              <a:gd name="connsiteY26" fmla="*/ 2623645 h 2831069"/>
              <a:gd name="connsiteX27" fmla="*/ 472006 w 2846793"/>
              <a:gd name="connsiteY27" fmla="*/ 2654005 h 2831069"/>
              <a:gd name="connsiteX28" fmla="*/ 483798 w 2846793"/>
              <a:gd name="connsiteY28" fmla="*/ 2705649 h 2831069"/>
              <a:gd name="connsiteX29" fmla="*/ 515029 w 2846793"/>
              <a:gd name="connsiteY29" fmla="*/ 2761707 h 2831069"/>
              <a:gd name="connsiteX30" fmla="*/ 593924 w 2846793"/>
              <a:gd name="connsiteY30" fmla="*/ 2781975 h 2831069"/>
              <a:gd name="connsiteX31" fmla="*/ 917921 w 2846793"/>
              <a:gd name="connsiteY31" fmla="*/ 2784234 h 2831069"/>
              <a:gd name="connsiteX32" fmla="*/ 1481859 w 2846793"/>
              <a:gd name="connsiteY32" fmla="*/ 2784234 h 2831069"/>
              <a:gd name="connsiteX33" fmla="*/ 1611175 w 2846793"/>
              <a:gd name="connsiteY33" fmla="*/ 2760402 h 2831069"/>
              <a:gd name="connsiteX34" fmla="*/ 1530415 w 2846793"/>
              <a:gd name="connsiteY34" fmla="*/ 2653819 h 2831069"/>
              <a:gd name="connsiteX35" fmla="*/ 1485506 w 2846793"/>
              <a:gd name="connsiteY35" fmla="*/ 2582508 h 2831069"/>
              <a:gd name="connsiteX36" fmla="*/ 1444639 w 2846793"/>
              <a:gd name="connsiteY36" fmla="*/ 2563380 h 2831069"/>
              <a:gd name="connsiteX37" fmla="*/ 1360914 w 2846793"/>
              <a:gd name="connsiteY37" fmla="*/ 2569701 h 2831069"/>
              <a:gd name="connsiteX38" fmla="*/ 1305374 w 2846793"/>
              <a:gd name="connsiteY38" fmla="*/ 2561204 h 2831069"/>
              <a:gd name="connsiteX39" fmla="*/ 1259906 w 2846793"/>
              <a:gd name="connsiteY39" fmla="*/ 2517187 h 2831069"/>
              <a:gd name="connsiteX40" fmla="*/ 1228551 w 2846793"/>
              <a:gd name="connsiteY40" fmla="*/ 2442519 h 2831069"/>
              <a:gd name="connsiteX41" fmla="*/ 1227121 w 2846793"/>
              <a:gd name="connsiteY41" fmla="*/ 2364680 h 2831069"/>
              <a:gd name="connsiteX42" fmla="*/ 1271139 w 2846793"/>
              <a:gd name="connsiteY42" fmla="*/ 2317491 h 2831069"/>
              <a:gd name="connsiteX43" fmla="*/ 1254021 w 2846793"/>
              <a:gd name="connsiteY43" fmla="*/ 2254201 h 2831069"/>
              <a:gd name="connsiteX44" fmla="*/ 1118217 w 2846793"/>
              <a:gd name="connsiteY44" fmla="*/ 2041429 h 2831069"/>
              <a:gd name="connsiteX45" fmla="*/ 1021105 w 2846793"/>
              <a:gd name="connsiteY45" fmla="*/ 1888363 h 2831069"/>
              <a:gd name="connsiteX46" fmla="*/ 969171 w 2846793"/>
              <a:gd name="connsiteY46" fmla="*/ 1865338 h 2831069"/>
              <a:gd name="connsiteX47" fmla="*/ 890048 w 2846793"/>
              <a:gd name="connsiteY47" fmla="*/ 1886477 h 2831069"/>
              <a:gd name="connsiteX48" fmla="*/ 773808 w 2846793"/>
              <a:gd name="connsiteY48" fmla="*/ 1916837 h 2831069"/>
              <a:gd name="connsiteX49" fmla="*/ 552974 w 2846793"/>
              <a:gd name="connsiteY49" fmla="*/ 1960565 h 2831069"/>
              <a:gd name="connsiteX50" fmla="*/ 460463 w 2846793"/>
              <a:gd name="connsiteY50" fmla="*/ 1968771 h 2831069"/>
              <a:gd name="connsiteX51" fmla="*/ 390251 w 2846793"/>
              <a:gd name="connsiteY51" fmla="*/ 1936110 h 2831069"/>
              <a:gd name="connsiteX52" fmla="*/ 237329 w 2846793"/>
              <a:gd name="connsiteY52" fmla="*/ 1817280 h 2831069"/>
              <a:gd name="connsiteX53" fmla="*/ 148859 w 2846793"/>
              <a:gd name="connsiteY53" fmla="*/ 1724478 h 2831069"/>
              <a:gd name="connsiteX54" fmla="*/ 135326 w 2846793"/>
              <a:gd name="connsiteY54" fmla="*/ 1660753 h 2831069"/>
              <a:gd name="connsiteX55" fmla="*/ 160361 w 2846793"/>
              <a:gd name="connsiteY55" fmla="*/ 1619326 h 2831069"/>
              <a:gd name="connsiteX56" fmla="*/ 206534 w 2846793"/>
              <a:gd name="connsiteY56" fmla="*/ 1610829 h 2831069"/>
              <a:gd name="connsiteX57" fmla="*/ 299894 w 2846793"/>
              <a:gd name="connsiteY57" fmla="*/ 1646370 h 2831069"/>
              <a:gd name="connsiteX58" fmla="*/ 372552 w 2846793"/>
              <a:gd name="connsiteY58" fmla="*/ 1668959 h 2831069"/>
              <a:gd name="connsiteX59" fmla="*/ 375723 w 2846793"/>
              <a:gd name="connsiteY59" fmla="*/ 1692688 h 2831069"/>
              <a:gd name="connsiteX60" fmla="*/ 313282 w 2846793"/>
              <a:gd name="connsiteY60" fmla="*/ 1712832 h 2831069"/>
              <a:gd name="connsiteX61" fmla="*/ 211134 w 2846793"/>
              <a:gd name="connsiteY61" fmla="*/ 1685787 h 2831069"/>
              <a:gd name="connsiteX62" fmla="*/ 161356 w 2846793"/>
              <a:gd name="connsiteY62" fmla="*/ 1648235 h 2831069"/>
              <a:gd name="connsiteX63" fmla="*/ 166391 w 2846793"/>
              <a:gd name="connsiteY63" fmla="*/ 1605586 h 2831069"/>
              <a:gd name="connsiteX64" fmla="*/ 200192 w 2846793"/>
              <a:gd name="connsiteY64" fmla="*/ 1577816 h 2831069"/>
              <a:gd name="connsiteX65" fmla="*/ 287232 w 2846793"/>
              <a:gd name="connsiteY65" fmla="*/ 1590830 h 2831069"/>
              <a:gd name="connsiteX66" fmla="*/ 369009 w 2846793"/>
              <a:gd name="connsiteY66" fmla="*/ 1618953 h 2831069"/>
              <a:gd name="connsiteX67" fmla="*/ 419927 w 2846793"/>
              <a:gd name="connsiteY67" fmla="*/ 1621046 h 2831069"/>
              <a:gd name="connsiteX68" fmla="*/ 508625 w 2846793"/>
              <a:gd name="connsiteY68" fmla="*/ 1559682 h 2831069"/>
              <a:gd name="connsiteX69" fmla="*/ 603872 w 2846793"/>
              <a:gd name="connsiteY69" fmla="*/ 1496164 h 2831069"/>
              <a:gd name="connsiteX70" fmla="*/ 672489 w 2846793"/>
              <a:gd name="connsiteY70" fmla="*/ 1469699 h 2831069"/>
              <a:gd name="connsiteX71" fmla="*/ 740318 w 2846793"/>
              <a:gd name="connsiteY71" fmla="*/ 1459835 h 2831069"/>
              <a:gd name="connsiteX72" fmla="*/ 810675 w 2846793"/>
              <a:gd name="connsiteY72" fmla="*/ 1421288 h 2831069"/>
              <a:gd name="connsiteX73" fmla="*/ 854631 w 2846793"/>
              <a:gd name="connsiteY73" fmla="*/ 1394969 h 2831069"/>
              <a:gd name="connsiteX74" fmla="*/ 862982 w 2846793"/>
              <a:gd name="connsiteY74" fmla="*/ 1380214 h 2831069"/>
              <a:gd name="connsiteX75" fmla="*/ 851688 w 2846793"/>
              <a:gd name="connsiteY75" fmla="*/ 1366412 h 2831069"/>
              <a:gd name="connsiteX76" fmla="*/ 827524 w 2846793"/>
              <a:gd name="connsiteY76" fmla="*/ 1363614 h 2831069"/>
              <a:gd name="connsiteX77" fmla="*/ 824291 w 2846793"/>
              <a:gd name="connsiteY77" fmla="*/ 1354910 h 2831069"/>
              <a:gd name="connsiteX78" fmla="*/ 846652 w 2846793"/>
              <a:gd name="connsiteY78" fmla="*/ 1340030 h 2831069"/>
              <a:gd name="connsiteX79" fmla="*/ 880308 w 2846793"/>
              <a:gd name="connsiteY79" fmla="*/ 1319161 h 2831069"/>
              <a:gd name="connsiteX80" fmla="*/ 897363 w 2846793"/>
              <a:gd name="connsiteY80" fmla="*/ 1302831 h 2831069"/>
              <a:gd name="connsiteX81" fmla="*/ 886794 w 2846793"/>
              <a:gd name="connsiteY81" fmla="*/ 1295930 h 2831069"/>
              <a:gd name="connsiteX82" fmla="*/ 844642 w 2846793"/>
              <a:gd name="connsiteY82" fmla="*/ 1306934 h 2831069"/>
              <a:gd name="connsiteX83" fmla="*/ 809536 w 2846793"/>
              <a:gd name="connsiteY83" fmla="*/ 1335347 h 2831069"/>
              <a:gd name="connsiteX84" fmla="*/ 787029 w 2846793"/>
              <a:gd name="connsiteY84" fmla="*/ 1349667 h 2831069"/>
              <a:gd name="connsiteX85" fmla="*/ 782139 w 2846793"/>
              <a:gd name="connsiteY85" fmla="*/ 1343346 h 2831069"/>
              <a:gd name="connsiteX86" fmla="*/ 804583 w 2846793"/>
              <a:gd name="connsiteY86" fmla="*/ 1325296 h 2831069"/>
              <a:gd name="connsiteX87" fmla="*/ 816810 w 2846793"/>
              <a:gd name="connsiteY87" fmla="*/ 1307743 h 2831069"/>
              <a:gd name="connsiteX88" fmla="*/ 811276 w 2846793"/>
              <a:gd name="connsiteY88" fmla="*/ 1290977 h 2831069"/>
              <a:gd name="connsiteX89" fmla="*/ 791713 w 2846793"/>
              <a:gd name="connsiteY89" fmla="*/ 1290832 h 2831069"/>
              <a:gd name="connsiteX90" fmla="*/ 761933 w 2846793"/>
              <a:gd name="connsiteY90" fmla="*/ 1313856 h 2831069"/>
              <a:gd name="connsiteX91" fmla="*/ 742515 w 2846793"/>
              <a:gd name="connsiteY91" fmla="*/ 1324218 h 2831069"/>
              <a:gd name="connsiteX92" fmla="*/ 739862 w 2846793"/>
              <a:gd name="connsiteY92" fmla="*/ 1318457 h 2831069"/>
              <a:gd name="connsiteX93" fmla="*/ 752296 w 2846793"/>
              <a:gd name="connsiteY93" fmla="*/ 1300406 h 2831069"/>
              <a:gd name="connsiteX94" fmla="*/ 772585 w 2846793"/>
              <a:gd name="connsiteY94" fmla="*/ 1280615 h 2831069"/>
              <a:gd name="connsiteX95" fmla="*/ 776108 w 2846793"/>
              <a:gd name="connsiteY95" fmla="*/ 1263994 h 2831069"/>
              <a:gd name="connsiteX96" fmla="*/ 761083 w 2846793"/>
              <a:gd name="connsiteY96" fmla="*/ 1258026 h 2831069"/>
              <a:gd name="connsiteX97" fmla="*/ 718869 w 2846793"/>
              <a:gd name="connsiteY97" fmla="*/ 1273051 h 2831069"/>
              <a:gd name="connsiteX98" fmla="*/ 639600 w 2846793"/>
              <a:gd name="connsiteY98" fmla="*/ 1331181 h 2831069"/>
              <a:gd name="connsiteX99" fmla="*/ 569678 w 2846793"/>
              <a:gd name="connsiteY99" fmla="*/ 1382100 h 2831069"/>
              <a:gd name="connsiteX100" fmla="*/ 456173 w 2846793"/>
              <a:gd name="connsiteY100" fmla="*/ 1442530 h 2831069"/>
              <a:gd name="connsiteX101" fmla="*/ 325406 w 2846793"/>
              <a:gd name="connsiteY101" fmla="*/ 1515188 h 2831069"/>
              <a:gd name="connsiteX102" fmla="*/ 239526 w 2846793"/>
              <a:gd name="connsiteY102" fmla="*/ 1551144 h 2831069"/>
              <a:gd name="connsiteX103" fmla="*/ 218388 w 2846793"/>
              <a:gd name="connsiteY103" fmla="*/ 1575453 h 2831069"/>
              <a:gd name="connsiteX104" fmla="*/ 272912 w 2846793"/>
              <a:gd name="connsiteY104" fmla="*/ 1602208 h 2831069"/>
              <a:gd name="connsiteX105" fmla="*/ 357797 w 2846793"/>
              <a:gd name="connsiteY105" fmla="*/ 1635863 h 2831069"/>
              <a:gd name="connsiteX106" fmla="*/ 403410 w 2846793"/>
              <a:gd name="connsiteY106" fmla="*/ 1653271 h 2831069"/>
              <a:gd name="connsiteX107" fmla="*/ 416073 w 2846793"/>
              <a:gd name="connsiteY107" fmla="*/ 1682036 h 2831069"/>
              <a:gd name="connsiteX108" fmla="*/ 440817 w 2846793"/>
              <a:gd name="connsiteY108" fmla="*/ 1705060 h 2831069"/>
              <a:gd name="connsiteX109" fmla="*/ 514469 w 2846793"/>
              <a:gd name="connsiteY109" fmla="*/ 1733680 h 2831069"/>
              <a:gd name="connsiteX110" fmla="*/ 651288 w 2846793"/>
              <a:gd name="connsiteY110" fmla="*/ 1765905 h 2831069"/>
              <a:gd name="connsiteX111" fmla="*/ 768109 w 2846793"/>
              <a:gd name="connsiteY111" fmla="*/ 1785179 h 2831069"/>
              <a:gd name="connsiteX112" fmla="*/ 837306 w 2846793"/>
              <a:gd name="connsiteY112" fmla="*/ 1824740 h 2831069"/>
              <a:gd name="connsiteX113" fmla="*/ 840621 w 2846793"/>
              <a:gd name="connsiteY113" fmla="*/ 1854666 h 2831069"/>
              <a:gd name="connsiteX114" fmla="*/ 790843 w 2846793"/>
              <a:gd name="connsiteY114" fmla="*/ 1883430 h 2831069"/>
              <a:gd name="connsiteX115" fmla="*/ 713874 w 2846793"/>
              <a:gd name="connsiteY115" fmla="*/ 1902413 h 2831069"/>
              <a:gd name="connsiteX116" fmla="*/ 703367 w 2846793"/>
              <a:gd name="connsiteY116" fmla="*/ 1887741 h 2831069"/>
              <a:gd name="connsiteX117" fmla="*/ 735158 w 2846793"/>
              <a:gd name="connsiteY117" fmla="*/ 1840843 h 2831069"/>
              <a:gd name="connsiteX118" fmla="*/ 785662 w 2846793"/>
              <a:gd name="connsiteY118" fmla="*/ 1808037 h 2831069"/>
              <a:gd name="connsiteX119" fmla="*/ 864640 w 2846793"/>
              <a:gd name="connsiteY119" fmla="*/ 1809757 h 2831069"/>
              <a:gd name="connsiteX120" fmla="*/ 904637 w 2846793"/>
              <a:gd name="connsiteY120" fmla="*/ 1789468 h 2831069"/>
              <a:gd name="connsiteX121" fmla="*/ 916284 w 2846793"/>
              <a:gd name="connsiteY121" fmla="*/ 1745161 h 2831069"/>
              <a:gd name="connsiteX122" fmla="*/ 912119 w 2846793"/>
              <a:gd name="connsiteY122" fmla="*/ 1675238 h 2831069"/>
              <a:gd name="connsiteX123" fmla="*/ 918025 w 2846793"/>
              <a:gd name="connsiteY123" fmla="*/ 1647904 h 2831069"/>
              <a:gd name="connsiteX124" fmla="*/ 946230 w 2846793"/>
              <a:gd name="connsiteY124" fmla="*/ 1644588 h 2831069"/>
              <a:gd name="connsiteX125" fmla="*/ 993128 w 2846793"/>
              <a:gd name="connsiteY125" fmla="*/ 1664587 h 2831069"/>
              <a:gd name="connsiteX126" fmla="*/ 1043632 w 2846793"/>
              <a:gd name="connsiteY126" fmla="*/ 1685455 h 2831069"/>
              <a:gd name="connsiteX127" fmla="*/ 1091110 w 2846793"/>
              <a:gd name="connsiteY127" fmla="*/ 1667032 h 2831069"/>
              <a:gd name="connsiteX128" fmla="*/ 1113844 w 2846793"/>
              <a:gd name="connsiteY128" fmla="*/ 1609046 h 2831069"/>
              <a:gd name="connsiteX129" fmla="*/ 1137573 w 2846793"/>
              <a:gd name="connsiteY129" fmla="*/ 1536244 h 2831069"/>
              <a:gd name="connsiteX130" fmla="*/ 1175270 w 2846793"/>
              <a:gd name="connsiteY130" fmla="*/ 1484165 h 2831069"/>
              <a:gd name="connsiteX131" fmla="*/ 1215847 w 2846793"/>
              <a:gd name="connsiteY131" fmla="*/ 1437702 h 2831069"/>
              <a:gd name="connsiteX132" fmla="*/ 1213837 w 2846793"/>
              <a:gd name="connsiteY132" fmla="*/ 1405911 h 2831069"/>
              <a:gd name="connsiteX133" fmla="*/ 1160743 w 2846793"/>
              <a:gd name="connsiteY133" fmla="*/ 1359449 h 2831069"/>
              <a:gd name="connsiteX134" fmla="*/ 1072273 w 2846793"/>
              <a:gd name="connsiteY134" fmla="*/ 1326207 h 2831069"/>
              <a:gd name="connsiteX135" fmla="*/ 969420 w 2846793"/>
              <a:gd name="connsiteY135" fmla="*/ 1337709 h 2831069"/>
              <a:gd name="connsiteX136" fmla="*/ 912160 w 2846793"/>
              <a:gd name="connsiteY136" fmla="*/ 1380152 h 2831069"/>
              <a:gd name="connsiteX137" fmla="*/ 896327 w 2846793"/>
              <a:gd name="connsiteY137" fmla="*/ 1448333 h 2831069"/>
              <a:gd name="connsiteX138" fmla="*/ 877489 w 2846793"/>
              <a:gd name="connsiteY138" fmla="*/ 1512784 h 2831069"/>
              <a:gd name="connsiteX139" fmla="*/ 860806 w 2846793"/>
              <a:gd name="connsiteY139" fmla="*/ 1564138 h 2831069"/>
              <a:gd name="connsiteX140" fmla="*/ 859936 w 2846793"/>
              <a:gd name="connsiteY140" fmla="*/ 1636216 h 2831069"/>
              <a:gd name="connsiteX141" fmla="*/ 882670 w 2846793"/>
              <a:gd name="connsiteY141" fmla="*/ 1693040 h 2831069"/>
              <a:gd name="connsiteX142" fmla="*/ 939930 w 2846793"/>
              <a:gd name="connsiteY142" fmla="*/ 1728001 h 2831069"/>
              <a:gd name="connsiteX143" fmla="*/ 1032856 w 2846793"/>
              <a:gd name="connsiteY143" fmla="*/ 1733618 h 2831069"/>
              <a:gd name="connsiteX144" fmla="*/ 1121326 w 2846793"/>
              <a:gd name="connsiteY144" fmla="*/ 1688440 h 2831069"/>
              <a:gd name="connsiteX145" fmla="*/ 1171830 w 2846793"/>
              <a:gd name="connsiteY145" fmla="*/ 1627304 h 2831069"/>
              <a:gd name="connsiteX146" fmla="*/ 1192263 w 2846793"/>
              <a:gd name="connsiteY146" fmla="*/ 1592343 h 2831069"/>
              <a:gd name="connsiteX147" fmla="*/ 1215433 w 2846793"/>
              <a:gd name="connsiteY147" fmla="*/ 1590478 h 2831069"/>
              <a:gd name="connsiteX148" fmla="*/ 1223059 w 2846793"/>
              <a:gd name="connsiteY148" fmla="*/ 1624569 h 2831069"/>
              <a:gd name="connsiteX149" fmla="*/ 1193569 w 2846793"/>
              <a:gd name="connsiteY149" fmla="*/ 1655219 h 2831069"/>
              <a:gd name="connsiteX150" fmla="*/ 1160328 w 2846793"/>
              <a:gd name="connsiteY150" fmla="*/ 1650909 h 2831069"/>
              <a:gd name="connsiteX151" fmla="*/ 1152121 w 2846793"/>
              <a:gd name="connsiteY151" fmla="*/ 1619844 h 2831069"/>
              <a:gd name="connsiteX152" fmla="*/ 1169239 w 2846793"/>
              <a:gd name="connsiteY152" fmla="*/ 1577836 h 2831069"/>
              <a:gd name="connsiteX153" fmla="*/ 1208511 w 2846793"/>
              <a:gd name="connsiteY153" fmla="*/ 1555683 h 2831069"/>
              <a:gd name="connsiteX154" fmla="*/ 1223039 w 2846793"/>
              <a:gd name="connsiteY154" fmla="*/ 1534814 h 2831069"/>
              <a:gd name="connsiteX155" fmla="*/ 1221173 w 2846793"/>
              <a:gd name="connsiteY155" fmla="*/ 1493822 h 2831069"/>
              <a:gd name="connsiteX156" fmla="*/ 1192263 w 2846793"/>
              <a:gd name="connsiteY156" fmla="*/ 1435837 h 2831069"/>
              <a:gd name="connsiteX157" fmla="*/ 1126527 w 2846793"/>
              <a:gd name="connsiteY157" fmla="*/ 1373105 h 2831069"/>
              <a:gd name="connsiteX158" fmla="*/ 1015178 w 2846793"/>
              <a:gd name="connsiteY158" fmla="*/ 1361604 h 2831069"/>
              <a:gd name="connsiteX159" fmla="*/ 929299 w 2846793"/>
              <a:gd name="connsiteY159" fmla="*/ 1399591 h 2831069"/>
              <a:gd name="connsiteX160" fmla="*/ 891312 w 2846793"/>
              <a:gd name="connsiteY160" fmla="*/ 1413683 h 2831069"/>
              <a:gd name="connsiteX161" fmla="*/ 880805 w 2846793"/>
              <a:gd name="connsiteY161" fmla="*/ 1385623 h 2831069"/>
              <a:gd name="connsiteX162" fmla="*/ 887271 w 2846793"/>
              <a:gd name="connsiteY162" fmla="*/ 1343035 h 2831069"/>
              <a:gd name="connsiteX163" fmla="*/ 919351 w 2846793"/>
              <a:gd name="connsiteY163" fmla="*/ 1314270 h 2831069"/>
              <a:gd name="connsiteX164" fmla="*/ 976031 w 2846793"/>
              <a:gd name="connsiteY164" fmla="*/ 1293402 h 2831069"/>
              <a:gd name="connsiteX165" fmla="*/ 1018183 w 2846793"/>
              <a:gd name="connsiteY165" fmla="*/ 1281900 h 2831069"/>
              <a:gd name="connsiteX166" fmla="*/ 1050844 w 2846793"/>
              <a:gd name="connsiteY166" fmla="*/ 1268947 h 2831069"/>
              <a:gd name="connsiteX167" fmla="*/ 1109244 w 2846793"/>
              <a:gd name="connsiteY167" fmla="*/ 1272118 h 2831069"/>
              <a:gd name="connsiteX168" fmla="*/ 1183622 w 2846793"/>
              <a:gd name="connsiteY168" fmla="*/ 1306209 h 2831069"/>
              <a:gd name="connsiteX169" fmla="*/ 1247202 w 2846793"/>
              <a:gd name="connsiteY169" fmla="*/ 1382017 h 2831069"/>
              <a:gd name="connsiteX170" fmla="*/ 1276983 w 2846793"/>
              <a:gd name="connsiteY170" fmla="*/ 1470777 h 2831069"/>
              <a:gd name="connsiteX171" fmla="*/ 1290785 w 2846793"/>
              <a:gd name="connsiteY171" fmla="*/ 1538959 h 2831069"/>
              <a:gd name="connsiteX172" fmla="*/ 1286184 w 2846793"/>
              <a:gd name="connsiteY172" fmla="*/ 1598664 h 2831069"/>
              <a:gd name="connsiteX173" fmla="*/ 1251223 w 2846793"/>
              <a:gd name="connsiteY173" fmla="*/ 1657789 h 2831069"/>
              <a:gd name="connsiteX174" fmla="*/ 1190792 w 2846793"/>
              <a:gd name="connsiteY174" fmla="*/ 1692460 h 2831069"/>
              <a:gd name="connsiteX175" fmla="*/ 1155396 w 2846793"/>
              <a:gd name="connsiteY175" fmla="*/ 1717349 h 2831069"/>
              <a:gd name="connsiteX176" fmla="*/ 1128786 w 2846793"/>
              <a:gd name="connsiteY176" fmla="*/ 1768848 h 2831069"/>
              <a:gd name="connsiteX177" fmla="*/ 1124766 w 2846793"/>
              <a:gd name="connsiteY177" fmla="*/ 1813156 h 2831069"/>
              <a:gd name="connsiteX178" fmla="*/ 1143459 w 2846793"/>
              <a:gd name="connsiteY178" fmla="*/ 1838045 h 2831069"/>
              <a:gd name="connsiteX179" fmla="*/ 1176700 w 2846793"/>
              <a:gd name="connsiteY179" fmla="*/ 1874581 h 2831069"/>
              <a:gd name="connsiteX180" fmla="*/ 1211951 w 2846793"/>
              <a:gd name="connsiteY180" fmla="*/ 1930971 h 2831069"/>
              <a:gd name="connsiteX181" fmla="*/ 1269791 w 2846793"/>
              <a:gd name="connsiteY181" fmla="*/ 1970678 h 2831069"/>
              <a:gd name="connsiteX182" fmla="*/ 1289790 w 2846793"/>
              <a:gd name="connsiteY182" fmla="*/ 2016996 h 2831069"/>
              <a:gd name="connsiteX183" fmla="*/ 1236696 w 2846793"/>
              <a:gd name="connsiteY183" fmla="*/ 2105031 h 2831069"/>
              <a:gd name="connsiteX184" fmla="*/ 1189362 w 2846793"/>
              <a:gd name="connsiteY184" fmla="*/ 2099269 h 2831069"/>
              <a:gd name="connsiteX185" fmla="*/ 1126921 w 2846793"/>
              <a:gd name="connsiteY185" fmla="*/ 1994386 h 2831069"/>
              <a:gd name="connsiteX186" fmla="*/ 1124621 w 2846793"/>
              <a:gd name="connsiteY186" fmla="*/ 1948773 h 2831069"/>
              <a:gd name="connsiteX187" fmla="*/ 1178855 w 2846793"/>
              <a:gd name="connsiteY187" fmla="*/ 1910226 h 2831069"/>
              <a:gd name="connsiteX188" fmla="*/ 1235245 w 2846793"/>
              <a:gd name="connsiteY188" fmla="*/ 1918288 h 2831069"/>
              <a:gd name="connsiteX189" fmla="*/ 1332792 w 2846793"/>
              <a:gd name="connsiteY189" fmla="*/ 1988065 h 2831069"/>
              <a:gd name="connsiteX190" fmla="*/ 1387316 w 2846793"/>
              <a:gd name="connsiteY190" fmla="*/ 2070650 h 2831069"/>
              <a:gd name="connsiteX191" fmla="*/ 1383710 w 2846793"/>
              <a:gd name="connsiteY191" fmla="*/ 2126190 h 2831069"/>
              <a:gd name="connsiteX192" fmla="*/ 1348459 w 2846793"/>
              <a:gd name="connsiteY192" fmla="*/ 2203448 h 2831069"/>
              <a:gd name="connsiteX193" fmla="*/ 1311923 w 2846793"/>
              <a:gd name="connsiteY193" fmla="*/ 2248771 h 2831069"/>
              <a:gd name="connsiteX194" fmla="*/ 1270786 w 2846793"/>
              <a:gd name="connsiteY194" fmla="*/ 2226907 h 2831069"/>
              <a:gd name="connsiteX195" fmla="*/ 1256694 w 2846793"/>
              <a:gd name="connsiteY195" fmla="*/ 2197417 h 2831069"/>
              <a:gd name="connsiteX196" fmla="*/ 1262745 w 2846793"/>
              <a:gd name="connsiteY196" fmla="*/ 2172093 h 2831069"/>
              <a:gd name="connsiteX197" fmla="*/ 1299427 w 2846793"/>
              <a:gd name="connsiteY197" fmla="*/ 2127640 h 2831069"/>
              <a:gd name="connsiteX198" fmla="*/ 1357826 w 2846793"/>
              <a:gd name="connsiteY198" fmla="*/ 2086068 h 2831069"/>
              <a:gd name="connsiteX199" fmla="*/ 1403999 w 2846793"/>
              <a:gd name="connsiteY199" fmla="*/ 2048372 h 2831069"/>
              <a:gd name="connsiteX200" fmla="*/ 1428453 w 2846793"/>
              <a:gd name="connsiteY200" fmla="*/ 2028228 h 2831069"/>
              <a:gd name="connsiteX201" fmla="*/ 1435644 w 2846793"/>
              <a:gd name="connsiteY201" fmla="*/ 2043481 h 2831069"/>
              <a:gd name="connsiteX202" fmla="*/ 1439375 w 2846793"/>
              <a:gd name="connsiteY202" fmla="*/ 2107062 h 2831069"/>
              <a:gd name="connsiteX203" fmla="*/ 1432039 w 2846793"/>
              <a:gd name="connsiteY203" fmla="*/ 2164902 h 2831069"/>
              <a:gd name="connsiteX204" fmla="*/ 1405864 w 2846793"/>
              <a:gd name="connsiteY204" fmla="*/ 2266469 h 2831069"/>
              <a:gd name="connsiteX205" fmla="*/ 1412765 w 2846793"/>
              <a:gd name="connsiteY205" fmla="*/ 2328330 h 2831069"/>
              <a:gd name="connsiteX206" fmla="*/ 1440245 w 2846793"/>
              <a:gd name="connsiteY206" fmla="*/ 2353074 h 2831069"/>
              <a:gd name="connsiteX207" fmla="*/ 1475932 w 2846793"/>
              <a:gd name="connsiteY207" fmla="*/ 2367457 h 2831069"/>
              <a:gd name="connsiteX208" fmla="*/ 1511038 w 2846793"/>
              <a:gd name="connsiteY208" fmla="*/ 2382710 h 2831069"/>
              <a:gd name="connsiteX209" fmla="*/ 1536217 w 2846793"/>
              <a:gd name="connsiteY209" fmla="*/ 2415225 h 2831069"/>
              <a:gd name="connsiteX210" fmla="*/ 1543408 w 2846793"/>
              <a:gd name="connsiteY210" fmla="*/ 2463843 h 2831069"/>
              <a:gd name="connsiteX211" fmla="*/ 1512758 w 2846793"/>
              <a:gd name="connsiteY211" fmla="*/ 2507156 h 2831069"/>
              <a:gd name="connsiteX212" fmla="*/ 1467083 w 2846793"/>
              <a:gd name="connsiteY212" fmla="*/ 2522844 h 2831069"/>
              <a:gd name="connsiteX213" fmla="*/ 1422195 w 2846793"/>
              <a:gd name="connsiteY213" fmla="*/ 2523860 h 2831069"/>
              <a:gd name="connsiteX214" fmla="*/ 1366738 w 2846793"/>
              <a:gd name="connsiteY214" fmla="*/ 2540832 h 2831069"/>
              <a:gd name="connsiteX215" fmla="*/ 1320420 w 2846793"/>
              <a:gd name="connsiteY215" fmla="*/ 2536667 h 2831069"/>
              <a:gd name="connsiteX216" fmla="*/ 1321788 w 2846793"/>
              <a:gd name="connsiteY216" fmla="*/ 2519549 h 2831069"/>
              <a:gd name="connsiteX217" fmla="*/ 1369846 w 2846793"/>
              <a:gd name="connsiteY217" fmla="*/ 2497893 h 2831069"/>
              <a:gd name="connsiteX218" fmla="*/ 1396891 w 2846793"/>
              <a:gd name="connsiteY218" fmla="*/ 2480277 h 2831069"/>
              <a:gd name="connsiteX219" fmla="*/ 1381286 w 2846793"/>
              <a:gd name="connsiteY219" fmla="*/ 2474102 h 2831069"/>
              <a:gd name="connsiteX220" fmla="*/ 1307986 w 2846793"/>
              <a:gd name="connsiteY220" fmla="*/ 2503094 h 2831069"/>
              <a:gd name="connsiteX221" fmla="*/ 1275760 w 2846793"/>
              <a:gd name="connsiteY221" fmla="*/ 2503820 h 2831069"/>
              <a:gd name="connsiteX222" fmla="*/ 1277190 w 2846793"/>
              <a:gd name="connsiteY222" fmla="*/ 2490515 h 2831069"/>
              <a:gd name="connsiteX223" fmla="*/ 1302287 w 2846793"/>
              <a:gd name="connsiteY223" fmla="*/ 2478495 h 2831069"/>
              <a:gd name="connsiteX224" fmla="*/ 1350407 w 2846793"/>
              <a:gd name="connsiteY224" fmla="*/ 2445109 h 2831069"/>
              <a:gd name="connsiteX225" fmla="*/ 1346946 w 2846793"/>
              <a:gd name="connsiteY225" fmla="*/ 2435120 h 2831069"/>
              <a:gd name="connsiteX226" fmla="*/ 1292774 w 2846793"/>
              <a:gd name="connsiteY226" fmla="*/ 2461812 h 2831069"/>
              <a:gd name="connsiteX227" fmla="*/ 1261834 w 2846793"/>
              <a:gd name="connsiteY227" fmla="*/ 2459719 h 2831069"/>
              <a:gd name="connsiteX228" fmla="*/ 1265149 w 2846793"/>
              <a:gd name="connsiteY228" fmla="*/ 2438933 h 2831069"/>
              <a:gd name="connsiteX229" fmla="*/ 1303053 w 2846793"/>
              <a:gd name="connsiteY229" fmla="*/ 2411308 h 2831069"/>
              <a:gd name="connsiteX230" fmla="*/ 1318513 w 2846793"/>
              <a:gd name="connsiteY230" fmla="*/ 2393175 h 2831069"/>
              <a:gd name="connsiteX231" fmla="*/ 1306783 w 2846793"/>
              <a:gd name="connsiteY231" fmla="*/ 2385984 h 2831069"/>
              <a:gd name="connsiteX232" fmla="*/ 1268590 w 2846793"/>
              <a:gd name="connsiteY232" fmla="*/ 2403392 h 2831069"/>
              <a:gd name="connsiteX233" fmla="*/ 1243410 w 2846793"/>
              <a:gd name="connsiteY233" fmla="*/ 2405257 h 2831069"/>
              <a:gd name="connsiteX234" fmla="*/ 1242685 w 2846793"/>
              <a:gd name="connsiteY234" fmla="*/ 2382461 h 2831069"/>
              <a:gd name="connsiteX235" fmla="*/ 1284402 w 2846793"/>
              <a:gd name="connsiteY235" fmla="*/ 2341469 h 2831069"/>
              <a:gd name="connsiteX236" fmla="*/ 1360935 w 2846793"/>
              <a:gd name="connsiteY236" fmla="*/ 2306218 h 2831069"/>
              <a:gd name="connsiteX237" fmla="*/ 1411004 w 2846793"/>
              <a:gd name="connsiteY237" fmla="*/ 2303047 h 2831069"/>
              <a:gd name="connsiteX238" fmla="*/ 1438484 w 2846793"/>
              <a:gd name="connsiteY238" fmla="*/ 2295131 h 2831069"/>
              <a:gd name="connsiteX239" fmla="*/ 1468409 w 2846793"/>
              <a:gd name="connsiteY239" fmla="*/ 2243777 h 2831069"/>
              <a:gd name="connsiteX240" fmla="*/ 1532570 w 2846793"/>
              <a:gd name="connsiteY240" fmla="*/ 2156301 h 2831069"/>
              <a:gd name="connsiteX241" fmla="*/ 1610761 w 2846793"/>
              <a:gd name="connsiteY241" fmla="*/ 2074152 h 2831069"/>
              <a:gd name="connsiteX242" fmla="*/ 1628957 w 2846793"/>
              <a:gd name="connsiteY242" fmla="*/ 2041864 h 2831069"/>
              <a:gd name="connsiteX243" fmla="*/ 1628604 w 2846793"/>
              <a:gd name="connsiteY243" fmla="*/ 2021078 h 2831069"/>
              <a:gd name="connsiteX244" fmla="*/ 1642841 w 2846793"/>
              <a:gd name="connsiteY244" fmla="*/ 2001308 h 2831069"/>
              <a:gd name="connsiteX245" fmla="*/ 1697863 w 2846793"/>
              <a:gd name="connsiteY245" fmla="*/ 1963611 h 2831069"/>
              <a:gd name="connsiteX246" fmla="*/ 1768718 w 2846793"/>
              <a:gd name="connsiteY246" fmla="*/ 1914703 h 2831069"/>
              <a:gd name="connsiteX247" fmla="*/ 1816549 w 2846793"/>
              <a:gd name="connsiteY247" fmla="*/ 1881109 h 2831069"/>
              <a:gd name="connsiteX248" fmla="*/ 1846039 w 2846793"/>
              <a:gd name="connsiteY248" fmla="*/ 1836221 h 2831069"/>
              <a:gd name="connsiteX249" fmla="*/ 1863882 w 2846793"/>
              <a:gd name="connsiteY249" fmla="*/ 1739400 h 2831069"/>
              <a:gd name="connsiteX250" fmla="*/ 1862162 w 2846793"/>
              <a:gd name="connsiteY250" fmla="*/ 1654225 h 2831069"/>
              <a:gd name="connsiteX251" fmla="*/ 1849355 w 2846793"/>
              <a:gd name="connsiteY251" fmla="*/ 1586312 h 2831069"/>
              <a:gd name="connsiteX252" fmla="*/ 1804322 w 2846793"/>
              <a:gd name="connsiteY252" fmla="*/ 1511499 h 2831069"/>
              <a:gd name="connsiteX253" fmla="*/ 1748512 w 2846793"/>
              <a:gd name="connsiteY253" fmla="*/ 1463296 h 2831069"/>
              <a:gd name="connsiteX254" fmla="*/ 1688662 w 2846793"/>
              <a:gd name="connsiteY254" fmla="*/ 1445017 h 2831069"/>
              <a:gd name="connsiteX255" fmla="*/ 1629682 w 2846793"/>
              <a:gd name="connsiteY255" fmla="*/ 1434655 h 2831069"/>
              <a:gd name="connsiteX256" fmla="*/ 1565521 w 2846793"/>
              <a:gd name="connsiteY256" fmla="*/ 1420708 h 2831069"/>
              <a:gd name="connsiteX257" fmla="*/ 1482377 w 2846793"/>
              <a:gd name="connsiteY257" fmla="*/ 1428044 h 2831069"/>
              <a:gd name="connsiteX258" fmla="*/ 1425117 w 2846793"/>
              <a:gd name="connsiteY258" fmla="*/ 1469036 h 2831069"/>
              <a:gd name="connsiteX259" fmla="*/ 1416910 w 2846793"/>
              <a:gd name="connsiteY259" fmla="*/ 1533923 h 2831069"/>
              <a:gd name="connsiteX260" fmla="*/ 1436618 w 2846793"/>
              <a:gd name="connsiteY260" fmla="*/ 1580240 h 2831069"/>
              <a:gd name="connsiteX261" fmla="*/ 1448265 w 2846793"/>
              <a:gd name="connsiteY261" fmla="*/ 1638081 h 2831069"/>
              <a:gd name="connsiteX262" fmla="*/ 1432577 w 2846793"/>
              <a:gd name="connsiteY262" fmla="*/ 1733037 h 2831069"/>
              <a:gd name="connsiteX263" fmla="*/ 1436598 w 2846793"/>
              <a:gd name="connsiteY263" fmla="*/ 1799063 h 2831069"/>
              <a:gd name="connsiteX264" fmla="*/ 1493568 w 2846793"/>
              <a:gd name="connsiteY264" fmla="*/ 1841216 h 2831069"/>
              <a:gd name="connsiteX265" fmla="*/ 1619299 w 2846793"/>
              <a:gd name="connsiteY265" fmla="*/ 1854168 h 2831069"/>
              <a:gd name="connsiteX266" fmla="*/ 1704039 w 2846793"/>
              <a:gd name="connsiteY266" fmla="*/ 1837050 h 2831069"/>
              <a:gd name="connsiteX267" fmla="*/ 1739290 w 2846793"/>
              <a:gd name="connsiteY267" fmla="*/ 1788577 h 2831069"/>
              <a:gd name="connsiteX268" fmla="*/ 1754108 w 2846793"/>
              <a:gd name="connsiteY268" fmla="*/ 1758507 h 2831069"/>
              <a:gd name="connsiteX269" fmla="*/ 1769071 w 2846793"/>
              <a:gd name="connsiteY269" fmla="*/ 1758507 h 2831069"/>
              <a:gd name="connsiteX270" fmla="*/ 1773526 w 2846793"/>
              <a:gd name="connsiteY270" fmla="*/ 1787562 h 2831069"/>
              <a:gd name="connsiteX271" fmla="*/ 1747621 w 2846793"/>
              <a:gd name="connsiteY271" fmla="*/ 1819497 h 2831069"/>
              <a:gd name="connsiteX272" fmla="*/ 1719271 w 2846793"/>
              <a:gd name="connsiteY272" fmla="*/ 1806110 h 2831069"/>
              <a:gd name="connsiteX273" fmla="*/ 1727478 w 2846793"/>
              <a:gd name="connsiteY273" fmla="*/ 1762092 h 2831069"/>
              <a:gd name="connsiteX274" fmla="*/ 1757258 w 2846793"/>
              <a:gd name="connsiteY274" fmla="*/ 1731297 h 2831069"/>
              <a:gd name="connsiteX275" fmla="*/ 1781857 w 2846793"/>
              <a:gd name="connsiteY275" fmla="*/ 1696626 h 2831069"/>
              <a:gd name="connsiteX276" fmla="*/ 1759123 w 2846793"/>
              <a:gd name="connsiteY276" fmla="*/ 1625563 h 2831069"/>
              <a:gd name="connsiteX277" fmla="*/ 1710650 w 2846793"/>
              <a:gd name="connsiteY277" fmla="*/ 1549175 h 2831069"/>
              <a:gd name="connsiteX278" fmla="*/ 1628065 w 2846793"/>
              <a:gd name="connsiteY278" fmla="*/ 1512349 h 2831069"/>
              <a:gd name="connsiteX279" fmla="*/ 1535989 w 2846793"/>
              <a:gd name="connsiteY279" fmla="*/ 1521260 h 2831069"/>
              <a:gd name="connsiteX280" fmla="*/ 1469528 w 2846793"/>
              <a:gd name="connsiteY280" fmla="*/ 1574624 h 2831069"/>
              <a:gd name="connsiteX281" fmla="*/ 1448100 w 2846793"/>
              <a:gd name="connsiteY281" fmla="*/ 1608280 h 2831069"/>
              <a:gd name="connsiteX282" fmla="*/ 1425946 w 2846793"/>
              <a:gd name="connsiteY282" fmla="*/ 1663384 h 2831069"/>
              <a:gd name="connsiteX283" fmla="*/ 1406527 w 2846793"/>
              <a:gd name="connsiteY283" fmla="*/ 1760351 h 2831069"/>
              <a:gd name="connsiteX284" fmla="*/ 1422215 w 2846793"/>
              <a:gd name="connsiteY284" fmla="*/ 1829693 h 2831069"/>
              <a:gd name="connsiteX285" fmla="*/ 1452866 w 2846793"/>
              <a:gd name="connsiteY285" fmla="*/ 1880115 h 2831069"/>
              <a:gd name="connsiteX286" fmla="*/ 1472139 w 2846793"/>
              <a:gd name="connsiteY286" fmla="*/ 1939737 h 2831069"/>
              <a:gd name="connsiteX287" fmla="*/ 1476885 w 2846793"/>
              <a:gd name="connsiteY287" fmla="*/ 1996769 h 2831069"/>
              <a:gd name="connsiteX288" fmla="*/ 1459332 w 2846793"/>
              <a:gd name="connsiteY288" fmla="*/ 2060205 h 2831069"/>
              <a:gd name="connsiteX289" fmla="*/ 1462212 w 2846793"/>
              <a:gd name="connsiteY289" fmla="*/ 2092430 h 2831069"/>
              <a:gd name="connsiteX290" fmla="*/ 1501339 w 2846793"/>
              <a:gd name="connsiteY290" fmla="*/ 2073157 h 2831069"/>
              <a:gd name="connsiteX291" fmla="*/ 1597083 w 2846793"/>
              <a:gd name="connsiteY291" fmla="*/ 2002592 h 2831069"/>
              <a:gd name="connsiteX292" fmla="*/ 1667586 w 2846793"/>
              <a:gd name="connsiteY292" fmla="*/ 1957705 h 2831069"/>
              <a:gd name="connsiteX293" fmla="*/ 1726856 w 2846793"/>
              <a:gd name="connsiteY293" fmla="*/ 1927987 h 2831069"/>
              <a:gd name="connsiteX294" fmla="*/ 1753258 w 2846793"/>
              <a:gd name="connsiteY294" fmla="*/ 1933520 h 2831069"/>
              <a:gd name="connsiteX295" fmla="*/ 1781816 w 2846793"/>
              <a:gd name="connsiteY295" fmla="*/ 1986034 h 2831069"/>
              <a:gd name="connsiteX296" fmla="*/ 1823616 w 2846793"/>
              <a:gd name="connsiteY296" fmla="*/ 2024809 h 2831069"/>
              <a:gd name="connsiteX297" fmla="*/ 1853044 w 2846793"/>
              <a:gd name="connsiteY297" fmla="*/ 2039129 h 2831069"/>
              <a:gd name="connsiteX298" fmla="*/ 1845417 w 2846793"/>
              <a:gd name="connsiteY298" fmla="*/ 2056392 h 2831069"/>
              <a:gd name="connsiteX299" fmla="*/ 1802685 w 2846793"/>
              <a:gd name="connsiteY299" fmla="*/ 2090420 h 2831069"/>
              <a:gd name="connsiteX300" fmla="*/ 1764283 w 2846793"/>
              <a:gd name="connsiteY300" fmla="*/ 2152281 h 2831069"/>
              <a:gd name="connsiteX301" fmla="*/ 1702132 w 2846793"/>
              <a:gd name="connsiteY301" fmla="*/ 2291753 h 2831069"/>
              <a:gd name="connsiteX302" fmla="*/ 1672207 w 2846793"/>
              <a:gd name="connsiteY302" fmla="*/ 2356639 h 2831069"/>
              <a:gd name="connsiteX303" fmla="*/ 1654654 w 2846793"/>
              <a:gd name="connsiteY303" fmla="*/ 2363043 h 2831069"/>
              <a:gd name="connsiteX304" fmla="*/ 1613082 w 2846793"/>
              <a:gd name="connsiteY304" fmla="*/ 2345054 h 2831069"/>
              <a:gd name="connsiteX305" fmla="*/ 1559925 w 2846793"/>
              <a:gd name="connsiteY305" fmla="*/ 2330174 h 2831069"/>
              <a:gd name="connsiteX306" fmla="*/ 1518498 w 2846793"/>
              <a:gd name="connsiteY306" fmla="*/ 2333345 h 2831069"/>
              <a:gd name="connsiteX307" fmla="*/ 1485112 w 2846793"/>
              <a:gd name="connsiteY307" fmla="*/ 2345075 h 2831069"/>
              <a:gd name="connsiteX308" fmla="*/ 1462813 w 2846793"/>
              <a:gd name="connsiteY308" fmla="*/ 2341759 h 2831069"/>
              <a:gd name="connsiteX309" fmla="*/ 1462523 w 2846793"/>
              <a:gd name="connsiteY309" fmla="*/ 2316435 h 2831069"/>
              <a:gd name="connsiteX310" fmla="*/ 1514022 w 2846793"/>
              <a:gd name="connsiteY310" fmla="*/ 2230907 h 2831069"/>
              <a:gd name="connsiteX311" fmla="*/ 1633868 w 2846793"/>
              <a:gd name="connsiteY311" fmla="*/ 2086462 h 2831069"/>
              <a:gd name="connsiteX312" fmla="*/ 1761050 w 2846793"/>
              <a:gd name="connsiteY312" fmla="*/ 2009494 h 2831069"/>
              <a:gd name="connsiteX313" fmla="*/ 1835718 w 2846793"/>
              <a:gd name="connsiteY313" fmla="*/ 2007773 h 2831069"/>
              <a:gd name="connsiteX314" fmla="*/ 1915422 w 2846793"/>
              <a:gd name="connsiteY314" fmla="*/ 2040579 h 2831069"/>
              <a:gd name="connsiteX315" fmla="*/ 1956414 w 2846793"/>
              <a:gd name="connsiteY315" fmla="*/ 2094378 h 2831069"/>
              <a:gd name="connsiteX316" fmla="*/ 1981593 w 2846793"/>
              <a:gd name="connsiteY316" fmla="*/ 2161420 h 2831069"/>
              <a:gd name="connsiteX317" fmla="*/ 1998421 w 2846793"/>
              <a:gd name="connsiteY317" fmla="*/ 2191781 h 2831069"/>
              <a:gd name="connsiteX318" fmla="*/ 2004473 w 2846793"/>
              <a:gd name="connsiteY318" fmla="*/ 2185874 h 2831069"/>
              <a:gd name="connsiteX319" fmla="*/ 1997717 w 2846793"/>
              <a:gd name="connsiteY319" fmla="*/ 2138106 h 2831069"/>
              <a:gd name="connsiteX320" fmla="*/ 1965781 w 2846793"/>
              <a:gd name="connsiteY320" fmla="*/ 2073364 h 2831069"/>
              <a:gd name="connsiteX321" fmla="*/ 1892688 w 2846793"/>
              <a:gd name="connsiteY321" fmla="*/ 2059127 h 2831069"/>
              <a:gd name="connsiteX322" fmla="*/ 1816155 w 2846793"/>
              <a:gd name="connsiteY322" fmla="*/ 2115517 h 2831069"/>
              <a:gd name="connsiteX323" fmla="*/ 1767682 w 2846793"/>
              <a:gd name="connsiteY323" fmla="*/ 2216504 h 2831069"/>
              <a:gd name="connsiteX324" fmla="*/ 1756740 w 2846793"/>
              <a:gd name="connsiteY324" fmla="*/ 2315771 h 2831069"/>
              <a:gd name="connsiteX325" fmla="*/ 1733280 w 2846793"/>
              <a:gd name="connsiteY325" fmla="*/ 2398211 h 2831069"/>
              <a:gd name="connsiteX326" fmla="*/ 1632148 w 2846793"/>
              <a:gd name="connsiteY326" fmla="*/ 2384554 h 2831069"/>
              <a:gd name="connsiteX327" fmla="*/ 1539637 w 2846793"/>
              <a:gd name="connsiteY327" fmla="*/ 2352183 h 2831069"/>
              <a:gd name="connsiteX328" fmla="*/ 1522519 w 2846793"/>
              <a:gd name="connsiteY328" fmla="*/ 2359229 h 2831069"/>
              <a:gd name="connsiteX329" fmla="*/ 1543947 w 2846793"/>
              <a:gd name="connsiteY329" fmla="*/ 2385549 h 2831069"/>
              <a:gd name="connsiteX330" fmla="*/ 1564381 w 2846793"/>
              <a:gd name="connsiteY330" fmla="*/ 2430727 h 2831069"/>
              <a:gd name="connsiteX331" fmla="*/ 1559200 w 2846793"/>
              <a:gd name="connsiteY331" fmla="*/ 2486412 h 2831069"/>
              <a:gd name="connsiteX332" fmla="*/ 1529710 w 2846793"/>
              <a:gd name="connsiteY332" fmla="*/ 2562364 h 2831069"/>
              <a:gd name="connsiteX333" fmla="*/ 1544963 w 2846793"/>
              <a:gd name="connsiteY333" fmla="*/ 2634587 h 2831069"/>
              <a:gd name="connsiteX334" fmla="*/ 1609124 w 2846793"/>
              <a:gd name="connsiteY334" fmla="*/ 2669984 h 2831069"/>
              <a:gd name="connsiteX335" fmla="*/ 1709821 w 2846793"/>
              <a:gd name="connsiteY335" fmla="*/ 2685526 h 2831069"/>
              <a:gd name="connsiteX336" fmla="*/ 1825481 w 2846793"/>
              <a:gd name="connsiteY336" fmla="*/ 2710706 h 2831069"/>
              <a:gd name="connsiteX337" fmla="*/ 1849666 w 2846793"/>
              <a:gd name="connsiteY337" fmla="*/ 2737274 h 2831069"/>
              <a:gd name="connsiteX338" fmla="*/ 1827284 w 2846793"/>
              <a:gd name="connsiteY338" fmla="*/ 2775385 h 2831069"/>
              <a:gd name="connsiteX339" fmla="*/ 1859468 w 2846793"/>
              <a:gd name="connsiteY339" fmla="*/ 2784130 h 2831069"/>
              <a:gd name="connsiteX340" fmla="*/ 2089565 w 2846793"/>
              <a:gd name="connsiteY340" fmla="*/ 2784130 h 2831069"/>
              <a:gd name="connsiteX341" fmla="*/ 2566897 w 2846793"/>
              <a:gd name="connsiteY341" fmla="*/ 2782162 h 2831069"/>
              <a:gd name="connsiteX342" fmla="*/ 2687966 w 2846793"/>
              <a:gd name="connsiteY342" fmla="*/ 2759884 h 2831069"/>
              <a:gd name="connsiteX343" fmla="*/ 2680464 w 2846793"/>
              <a:gd name="connsiteY343" fmla="*/ 2692303 h 2831069"/>
              <a:gd name="connsiteX344" fmla="*/ 2633566 w 2846793"/>
              <a:gd name="connsiteY344" fmla="*/ 2631872 h 2831069"/>
              <a:gd name="connsiteX345" fmla="*/ 2492291 w 2846793"/>
              <a:gd name="connsiteY345" fmla="*/ 2565701 h 2831069"/>
              <a:gd name="connsiteX346" fmla="*/ 2424110 w 2846793"/>
              <a:gd name="connsiteY346" fmla="*/ 2476651 h 2831069"/>
              <a:gd name="connsiteX347" fmla="*/ 2465247 w 2846793"/>
              <a:gd name="connsiteY347" fmla="*/ 2186330 h 2831069"/>
              <a:gd name="connsiteX348" fmla="*/ 2494592 w 2846793"/>
              <a:gd name="connsiteY348" fmla="*/ 1978159 h 2831069"/>
              <a:gd name="connsiteX349" fmla="*/ 2532289 w 2846793"/>
              <a:gd name="connsiteY349" fmla="*/ 1883202 h 2831069"/>
              <a:gd name="connsiteX350" fmla="*/ 2600200 w 2846793"/>
              <a:gd name="connsiteY350" fmla="*/ 1837175 h 2831069"/>
              <a:gd name="connsiteX351" fmla="*/ 2643928 w 2846793"/>
              <a:gd name="connsiteY351" fmla="*/ 1758051 h 2831069"/>
              <a:gd name="connsiteX352" fmla="*/ 2671553 w 2846793"/>
              <a:gd name="connsiteY352" fmla="*/ 1632029 h 2831069"/>
              <a:gd name="connsiteX353" fmla="*/ 2694577 w 2846793"/>
              <a:gd name="connsiteY353" fmla="*/ 1561817 h 2831069"/>
              <a:gd name="connsiteX354" fmla="*/ 2707239 w 2846793"/>
              <a:gd name="connsiteY354" fmla="*/ 1548305 h 2831069"/>
              <a:gd name="connsiteX355" fmla="*/ 2696877 w 2846793"/>
              <a:gd name="connsiteY355" fmla="*/ 1616217 h 2831069"/>
              <a:gd name="connsiteX356" fmla="*/ 2656300 w 2846793"/>
              <a:gd name="connsiteY356" fmla="*/ 1792308 h 2831069"/>
              <a:gd name="connsiteX357" fmla="*/ 2576306 w 2846793"/>
              <a:gd name="connsiteY357" fmla="*/ 1905377 h 2831069"/>
              <a:gd name="connsiteX358" fmla="*/ 2484810 w 2846793"/>
              <a:gd name="connsiteY358" fmla="*/ 1918329 h 2831069"/>
              <a:gd name="connsiteX359" fmla="*/ 2405251 w 2846793"/>
              <a:gd name="connsiteY359" fmla="*/ 1822813 h 2831069"/>
              <a:gd name="connsiteX360" fmla="*/ 2384113 w 2846793"/>
              <a:gd name="connsiteY360" fmla="*/ 1673912 h 2831069"/>
              <a:gd name="connsiteX361" fmla="*/ 2378642 w 2846793"/>
              <a:gd name="connsiteY361" fmla="*/ 1541984 h 2831069"/>
              <a:gd name="connsiteX362" fmla="*/ 2373751 w 2846793"/>
              <a:gd name="connsiteY362" fmla="*/ 1415527 h 2831069"/>
              <a:gd name="connsiteX363" fmla="*/ 2347141 w 2846793"/>
              <a:gd name="connsiteY363" fmla="*/ 1246918 h 2831069"/>
              <a:gd name="connsiteX364" fmla="*/ 2334769 w 2846793"/>
              <a:gd name="connsiteY364" fmla="*/ 1142615 h 2831069"/>
              <a:gd name="connsiteX365" fmla="*/ 2329153 w 2846793"/>
              <a:gd name="connsiteY365" fmla="*/ 1065211 h 2831069"/>
              <a:gd name="connsiteX366" fmla="*/ 2304554 w 2846793"/>
              <a:gd name="connsiteY366" fmla="*/ 939335 h 2831069"/>
              <a:gd name="connsiteX367" fmla="*/ 2256641 w 2846793"/>
              <a:gd name="connsiteY367" fmla="*/ 796630 h 2831069"/>
              <a:gd name="connsiteX368" fmla="*/ 2230736 w 2846793"/>
              <a:gd name="connsiteY368" fmla="*/ 692327 h 2831069"/>
              <a:gd name="connsiteX369" fmla="*/ 2239502 w 2846793"/>
              <a:gd name="connsiteY369" fmla="*/ 643564 h 2831069"/>
              <a:gd name="connsiteX370" fmla="*/ 2294026 w 2846793"/>
              <a:gd name="connsiteY370" fmla="*/ 635647 h 2831069"/>
              <a:gd name="connsiteX371" fmla="*/ 2342789 w 2846793"/>
              <a:gd name="connsiteY371" fmla="*/ 621700 h 2831069"/>
              <a:gd name="connsiteX372" fmla="*/ 2378621 w 2846793"/>
              <a:gd name="connsiteY372" fmla="*/ 587174 h 2831069"/>
              <a:gd name="connsiteX373" fmla="*/ 2391283 w 2846793"/>
              <a:gd name="connsiteY373" fmla="*/ 534080 h 2831069"/>
              <a:gd name="connsiteX374" fmla="*/ 2374601 w 2846793"/>
              <a:gd name="connsiteY374" fmla="*/ 480426 h 2831069"/>
              <a:gd name="connsiteX375" fmla="*/ 2310004 w 2846793"/>
              <a:gd name="connsiteY375" fmla="*/ 360020 h 2831069"/>
              <a:gd name="connsiteX376" fmla="*/ 2266567 w 2846793"/>
              <a:gd name="connsiteY376" fmla="*/ 280171 h 2831069"/>
              <a:gd name="connsiteX377" fmla="*/ 2203691 w 2846793"/>
              <a:gd name="connsiteY377" fmla="*/ 213564 h 2831069"/>
              <a:gd name="connsiteX378" fmla="*/ 2153622 w 2846793"/>
              <a:gd name="connsiteY378" fmla="*/ 194291 h 2831069"/>
              <a:gd name="connsiteX379" fmla="*/ 2109315 w 2846793"/>
              <a:gd name="connsiteY379" fmla="*/ 218310 h 2831069"/>
              <a:gd name="connsiteX380" fmla="*/ 2085731 w 2846793"/>
              <a:gd name="connsiteY380" fmla="*/ 264214 h 2831069"/>
              <a:gd name="connsiteX381" fmla="*/ 2085006 w 2846793"/>
              <a:gd name="connsiteY381" fmla="*/ 308666 h 2831069"/>
              <a:gd name="connsiteX382" fmla="*/ 2107595 w 2846793"/>
              <a:gd name="connsiteY382" fmla="*/ 327794 h 2831069"/>
              <a:gd name="connsiteX383" fmla="*/ 2138245 w 2846793"/>
              <a:gd name="connsiteY383" fmla="*/ 329660 h 2831069"/>
              <a:gd name="connsiteX384" fmla="*/ 2151343 w 2846793"/>
              <a:gd name="connsiteY384" fmla="*/ 299299 h 2831069"/>
              <a:gd name="connsiteX385" fmla="*/ 2155508 w 2846793"/>
              <a:gd name="connsiteY385" fmla="*/ 263053 h 2831069"/>
              <a:gd name="connsiteX386" fmla="*/ 2173641 w 2846793"/>
              <a:gd name="connsiteY386" fmla="*/ 251261 h 2831069"/>
              <a:gd name="connsiteX387" fmla="*/ 2215068 w 2846793"/>
              <a:gd name="connsiteY387" fmla="*/ 262058 h 2831069"/>
              <a:gd name="connsiteX388" fmla="*/ 2248019 w 2846793"/>
              <a:gd name="connsiteY388" fmla="*/ 269975 h 2831069"/>
              <a:gd name="connsiteX389" fmla="*/ 2262257 w 2846793"/>
              <a:gd name="connsiteY389" fmla="*/ 259903 h 2831069"/>
              <a:gd name="connsiteX390" fmla="*/ 2259749 w 2846793"/>
              <a:gd name="connsiteY390" fmla="*/ 230993 h 2831069"/>
              <a:gd name="connsiteX391" fmla="*/ 2231337 w 2846793"/>
              <a:gd name="connsiteY391" fmla="*/ 190851 h 2831069"/>
              <a:gd name="connsiteX392" fmla="*/ 2181351 w 2846793"/>
              <a:gd name="connsiteY392" fmla="*/ 163309 h 2831069"/>
              <a:gd name="connsiteX393" fmla="*/ 2141354 w 2846793"/>
              <a:gd name="connsiteY393" fmla="*/ 157548 h 2831069"/>
              <a:gd name="connsiteX394" fmla="*/ 2113377 w 2846793"/>
              <a:gd name="connsiteY394" fmla="*/ 169485 h 2831069"/>
              <a:gd name="connsiteX395" fmla="*/ 2082726 w 2846793"/>
              <a:gd name="connsiteY395" fmla="*/ 176469 h 2831069"/>
              <a:gd name="connsiteX396" fmla="*/ 2031870 w 2846793"/>
              <a:gd name="connsiteY396" fmla="*/ 162086 h 2831069"/>
              <a:gd name="connsiteX397" fmla="*/ 1991955 w 2846793"/>
              <a:gd name="connsiteY397" fmla="*/ 137280 h 2831069"/>
              <a:gd name="connsiteX398" fmla="*/ 1950528 w 2846793"/>
              <a:gd name="connsiteY398" fmla="*/ 77222 h 2831069"/>
              <a:gd name="connsiteX399" fmla="*/ 1938737 w 2846793"/>
              <a:gd name="connsiteY399" fmla="*/ 27008 h 2831069"/>
              <a:gd name="connsiteX400" fmla="*/ 1947669 w 2846793"/>
              <a:gd name="connsiteY400" fmla="*/ 1725 h 2831069"/>
              <a:gd name="connsiteX401" fmla="*/ 1970755 w 2846793"/>
              <a:gd name="connsiteY401" fmla="*/ 8461 h 2831069"/>
              <a:gd name="connsiteX402" fmla="*/ 2009260 w 2846793"/>
              <a:gd name="connsiteY402" fmla="*/ 49494 h 2831069"/>
              <a:gd name="connsiteX403" fmla="*/ 2058292 w 2846793"/>
              <a:gd name="connsiteY403" fmla="*/ 104412 h 2831069"/>
              <a:gd name="connsiteX404" fmla="*/ 2093544 w 2846793"/>
              <a:gd name="connsiteY404" fmla="*/ 149010 h 2831069"/>
              <a:gd name="connsiteX405" fmla="*/ 2084487 w 2846793"/>
              <a:gd name="connsiteY405" fmla="*/ 165837 h 2831069"/>
              <a:gd name="connsiteX406" fmla="*/ 2039599 w 2846793"/>
              <a:gd name="connsiteY406" fmla="*/ 172593 h 2831069"/>
              <a:gd name="connsiteX407" fmla="*/ 2028657 w 2846793"/>
              <a:gd name="connsiteY407" fmla="*/ 186976 h 2831069"/>
              <a:gd name="connsiteX408" fmla="*/ 2037424 w 2846793"/>
              <a:gd name="connsiteY408" fmla="*/ 210435 h 2831069"/>
              <a:gd name="connsiteX409" fmla="*/ 2052531 w 2846793"/>
              <a:gd name="connsiteY409" fmla="*/ 240360 h 2831069"/>
              <a:gd name="connsiteX410" fmla="*/ 2063183 w 2846793"/>
              <a:gd name="connsiteY410" fmla="*/ 276606 h 2831069"/>
              <a:gd name="connsiteX411" fmla="*/ 2061173 w 2846793"/>
              <a:gd name="connsiteY411" fmla="*/ 308832 h 2831069"/>
              <a:gd name="connsiteX412" fmla="*/ 2047226 w 2846793"/>
              <a:gd name="connsiteY412" fmla="*/ 318324 h 2831069"/>
              <a:gd name="connsiteX413" fmla="*/ 2037009 w 2846793"/>
              <a:gd name="connsiteY413" fmla="*/ 303216 h 2831069"/>
              <a:gd name="connsiteX414" fmla="*/ 2039890 w 2846793"/>
              <a:gd name="connsiteY414" fmla="*/ 281932 h 2831069"/>
              <a:gd name="connsiteX415" fmla="*/ 2037589 w 2846793"/>
              <a:gd name="connsiteY415" fmla="*/ 253168 h 2831069"/>
              <a:gd name="connsiteX416" fmla="*/ 2017301 w 2846793"/>
              <a:gd name="connsiteY416" fmla="*/ 238640 h 2831069"/>
              <a:gd name="connsiteX417" fmla="*/ 1980039 w 2846793"/>
              <a:gd name="connsiteY417" fmla="*/ 250142 h 2831069"/>
              <a:gd name="connsiteX418" fmla="*/ 1965367 w 2846793"/>
              <a:gd name="connsiteY418" fmla="*/ 281207 h 2831069"/>
              <a:gd name="connsiteX419" fmla="*/ 1979604 w 2846793"/>
              <a:gd name="connsiteY419" fmla="*/ 326820 h 2831069"/>
              <a:gd name="connsiteX420" fmla="*/ 2042625 w 2846793"/>
              <a:gd name="connsiteY420" fmla="*/ 396598 h 2831069"/>
              <a:gd name="connsiteX421" fmla="*/ 2145208 w 2846793"/>
              <a:gd name="connsiteY421" fmla="*/ 455288 h 2831069"/>
              <a:gd name="connsiteX422" fmla="*/ 2223752 w 2846793"/>
              <a:gd name="connsiteY422" fmla="*/ 542183 h 2831069"/>
              <a:gd name="connsiteX423" fmla="*/ 2264889 w 2846793"/>
              <a:gd name="connsiteY423" fmla="*/ 604624 h 2831069"/>
              <a:gd name="connsiteX424" fmla="*/ 2331640 w 2846793"/>
              <a:gd name="connsiteY424" fmla="*/ 595132 h 2831069"/>
              <a:gd name="connsiteX425" fmla="*/ 2408753 w 2846793"/>
              <a:gd name="connsiteY425" fmla="*/ 561746 h 2831069"/>
              <a:gd name="connsiteX426" fmla="*/ 2486157 w 2846793"/>
              <a:gd name="connsiteY426" fmla="*/ 631088 h 2831069"/>
              <a:gd name="connsiteX427" fmla="*/ 2597797 w 2846793"/>
              <a:gd name="connsiteY427" fmla="*/ 831052 h 2831069"/>
              <a:gd name="connsiteX428" fmla="*/ 2689292 w 2846793"/>
              <a:gd name="connsiteY428" fmla="*/ 1008013 h 2831069"/>
              <a:gd name="connsiteX429" fmla="*/ 2728999 w 2846793"/>
              <a:gd name="connsiteY429" fmla="*/ 1141081 h 2831069"/>
              <a:gd name="connsiteX430" fmla="*/ 2722098 w 2846793"/>
              <a:gd name="connsiteY430" fmla="*/ 1265963 h 2831069"/>
              <a:gd name="connsiteX431" fmla="*/ 2726409 w 2846793"/>
              <a:gd name="connsiteY431" fmla="*/ 1370556 h 2831069"/>
              <a:gd name="connsiteX432" fmla="*/ 2748998 w 2846793"/>
              <a:gd name="connsiteY432" fmla="*/ 1502194 h 2831069"/>
              <a:gd name="connsiteX433" fmla="*/ 2793596 w 2846793"/>
              <a:gd name="connsiteY433" fmla="*/ 1683756 h 2831069"/>
              <a:gd name="connsiteX434" fmla="*/ 2841924 w 2846793"/>
              <a:gd name="connsiteY434" fmla="*/ 1899699 h 2831069"/>
              <a:gd name="connsiteX435" fmla="*/ 2835872 w 2846793"/>
              <a:gd name="connsiteY435" fmla="*/ 2160094 h 2831069"/>
              <a:gd name="connsiteX436" fmla="*/ 2789119 w 2846793"/>
              <a:gd name="connsiteY436" fmla="*/ 2458476 h 2831069"/>
              <a:gd name="connsiteX437" fmla="*/ 2737620 w 2846793"/>
              <a:gd name="connsiteY437" fmla="*/ 2693547 h 2831069"/>
              <a:gd name="connsiteX438" fmla="*/ 2657626 w 2846793"/>
              <a:gd name="connsiteY438" fmla="*/ 2723762 h 2831069"/>
              <a:gd name="connsiteX439" fmla="*/ 2479816 w 2846793"/>
              <a:gd name="connsiteY439" fmla="*/ 2656720 h 2831069"/>
              <a:gd name="connsiteX440" fmla="*/ 2254237 w 2846793"/>
              <a:gd name="connsiteY440" fmla="*/ 2611832 h 2831069"/>
              <a:gd name="connsiteX441" fmla="*/ 2082166 w 2846793"/>
              <a:gd name="connsiteY441" fmla="*/ 2636287 h 2831069"/>
              <a:gd name="connsiteX442" fmla="*/ 1994401 w 2846793"/>
              <a:gd name="connsiteY442" fmla="*/ 2663621 h 2831069"/>
              <a:gd name="connsiteX443" fmla="*/ 1965346 w 2846793"/>
              <a:gd name="connsiteY443" fmla="*/ 2610382 h 2831069"/>
              <a:gd name="connsiteX444" fmla="*/ 1972537 w 2846793"/>
              <a:gd name="connsiteY444" fmla="*/ 2529538 h 2831069"/>
              <a:gd name="connsiteX445" fmla="*/ 2001302 w 2846793"/>
              <a:gd name="connsiteY445" fmla="*/ 2410127 h 2831069"/>
              <a:gd name="connsiteX446" fmla="*/ 2065173 w 2846793"/>
              <a:gd name="connsiteY446" fmla="*/ 2234762 h 2831069"/>
              <a:gd name="connsiteX447" fmla="*/ 2185164 w 2846793"/>
              <a:gd name="connsiteY447" fmla="*/ 1982428 h 2831069"/>
              <a:gd name="connsiteX448" fmla="*/ 2272639 w 2846793"/>
              <a:gd name="connsiteY448" fmla="*/ 1790940 h 2831069"/>
              <a:gd name="connsiteX449" fmla="*/ 2341691 w 2846793"/>
              <a:gd name="connsiteY449" fmla="*/ 1698284 h 2831069"/>
              <a:gd name="connsiteX450" fmla="*/ 2369026 w 2846793"/>
              <a:gd name="connsiteY450" fmla="*/ 1632962 h 2831069"/>
              <a:gd name="connsiteX451" fmla="*/ 2351473 w 2846793"/>
              <a:gd name="connsiteY451" fmla="*/ 1607927 h 2831069"/>
              <a:gd name="connsiteX452" fmla="*/ 2270774 w 2846793"/>
              <a:gd name="connsiteY452" fmla="*/ 1653541 h 2831069"/>
              <a:gd name="connsiteX453" fmla="*/ 2210343 w 2846793"/>
              <a:gd name="connsiteY453" fmla="*/ 1626206 h 2831069"/>
              <a:gd name="connsiteX454" fmla="*/ 2164585 w 2846793"/>
              <a:gd name="connsiteY454" fmla="*/ 1571972 h 2831069"/>
              <a:gd name="connsiteX455" fmla="*/ 2149623 w 2846793"/>
              <a:gd name="connsiteY455" fmla="*/ 1525364 h 2831069"/>
              <a:gd name="connsiteX456" fmla="*/ 2171776 w 2846793"/>
              <a:gd name="connsiteY456" fmla="*/ 1480476 h 2831069"/>
              <a:gd name="connsiteX457" fmla="*/ 2219690 w 2846793"/>
              <a:gd name="connsiteY457" fmla="*/ 1471710 h 2831069"/>
              <a:gd name="connsiteX458" fmla="*/ 2304575 w 2846793"/>
              <a:gd name="connsiteY458" fmla="*/ 1491128 h 2831069"/>
              <a:gd name="connsiteX459" fmla="*/ 2357939 w 2846793"/>
              <a:gd name="connsiteY459" fmla="*/ 1495148 h 2831069"/>
              <a:gd name="connsiteX460" fmla="*/ 2365130 w 2846793"/>
              <a:gd name="connsiteY460" fmla="*/ 1468539 h 2831069"/>
              <a:gd name="connsiteX461" fmla="*/ 2343411 w 2846793"/>
              <a:gd name="connsiteY461" fmla="*/ 1383509 h 2831069"/>
              <a:gd name="connsiteX462" fmla="*/ 2328594 w 2846793"/>
              <a:gd name="connsiteY462" fmla="*/ 1282957 h 2831069"/>
              <a:gd name="connsiteX463" fmla="*/ 2324428 w 2846793"/>
              <a:gd name="connsiteY463" fmla="*/ 1207999 h 2831069"/>
              <a:gd name="connsiteX464" fmla="*/ 2305735 w 2846793"/>
              <a:gd name="connsiteY464" fmla="*/ 1175628 h 2831069"/>
              <a:gd name="connsiteX465" fmla="*/ 2240559 w 2846793"/>
              <a:gd name="connsiteY465" fmla="*/ 1175918 h 2831069"/>
              <a:gd name="connsiteX466" fmla="*/ 2155964 w 2846793"/>
              <a:gd name="connsiteY466" fmla="*/ 1209574 h 2831069"/>
              <a:gd name="connsiteX467" fmla="*/ 2105750 w 2846793"/>
              <a:gd name="connsiteY467" fmla="*/ 1260223 h 2831069"/>
              <a:gd name="connsiteX468" fmla="*/ 2085171 w 2846793"/>
              <a:gd name="connsiteY468" fmla="*/ 1297774 h 2831069"/>
              <a:gd name="connsiteX469" fmla="*/ 2074664 w 2846793"/>
              <a:gd name="connsiteY469" fmla="*/ 1286977 h 2831069"/>
              <a:gd name="connsiteX470" fmla="*/ 2069918 w 2846793"/>
              <a:gd name="connsiteY470" fmla="*/ 1234028 h 2831069"/>
              <a:gd name="connsiteX471" fmla="*/ 2108050 w 2846793"/>
              <a:gd name="connsiteY471" fmla="*/ 1171587 h 2831069"/>
              <a:gd name="connsiteX472" fmla="*/ 2189910 w 2846793"/>
              <a:gd name="connsiteY472" fmla="*/ 1136045 h 2831069"/>
              <a:gd name="connsiteX473" fmla="*/ 2269759 w 2846793"/>
              <a:gd name="connsiteY473" fmla="*/ 1132294 h 2831069"/>
              <a:gd name="connsiteX474" fmla="*/ 2308450 w 2846793"/>
              <a:gd name="connsiteY474" fmla="*/ 1125683 h 2831069"/>
              <a:gd name="connsiteX475" fmla="*/ 2307290 w 2846793"/>
              <a:gd name="connsiteY475" fmla="*/ 1074765 h 2831069"/>
              <a:gd name="connsiteX476" fmla="*/ 2297653 w 2846793"/>
              <a:gd name="connsiteY476" fmla="*/ 1036778 h 2831069"/>
              <a:gd name="connsiteX477" fmla="*/ 2262982 w 2846793"/>
              <a:gd name="connsiteY477" fmla="*/ 1022831 h 2831069"/>
              <a:gd name="connsiteX478" fmla="*/ 2194655 w 2846793"/>
              <a:gd name="connsiteY478" fmla="*/ 1035493 h 2831069"/>
              <a:gd name="connsiteX479" fmla="*/ 2144296 w 2846793"/>
              <a:gd name="connsiteY479" fmla="*/ 1081811 h 2831069"/>
              <a:gd name="connsiteX480" fmla="*/ 2106310 w 2846793"/>
              <a:gd name="connsiteY480" fmla="*/ 1120088 h 2831069"/>
              <a:gd name="connsiteX481" fmla="*/ 2043434 w 2846793"/>
              <a:gd name="connsiteY481" fmla="*/ 1152894 h 2831069"/>
              <a:gd name="connsiteX482" fmla="*/ 1998401 w 2846793"/>
              <a:gd name="connsiteY482" fmla="*/ 1194756 h 2831069"/>
              <a:gd name="connsiteX483" fmla="*/ 1991645 w 2846793"/>
              <a:gd name="connsiteY483" fmla="*/ 1239354 h 2831069"/>
              <a:gd name="connsiteX484" fmla="*/ 2014669 w 2846793"/>
              <a:gd name="connsiteY484" fmla="*/ 1279351 h 2831069"/>
              <a:gd name="connsiteX485" fmla="*/ 2051350 w 2846793"/>
              <a:gd name="connsiteY485" fmla="*/ 1309566 h 2831069"/>
              <a:gd name="connsiteX486" fmla="*/ 2064157 w 2846793"/>
              <a:gd name="connsiteY486" fmla="*/ 1331865 h 2831069"/>
              <a:gd name="connsiteX487" fmla="*/ 2053505 w 2846793"/>
              <a:gd name="connsiteY487" fmla="*/ 1376173 h 2831069"/>
              <a:gd name="connsiteX488" fmla="*/ 2057671 w 2846793"/>
              <a:gd name="connsiteY488" fmla="*/ 1437598 h 2831069"/>
              <a:gd name="connsiteX489" fmla="*/ 2084715 w 2846793"/>
              <a:gd name="connsiteY489" fmla="*/ 1526939 h 2831069"/>
              <a:gd name="connsiteX490" fmla="*/ 2142556 w 2846793"/>
              <a:gd name="connsiteY490" fmla="*/ 1590374 h 2831069"/>
              <a:gd name="connsiteX491" fmla="*/ 2188583 w 2846793"/>
              <a:gd name="connsiteY491" fmla="*/ 1652525 h 2831069"/>
              <a:gd name="connsiteX492" fmla="*/ 2211753 w 2846793"/>
              <a:gd name="connsiteY492" fmla="*/ 1709350 h 2831069"/>
              <a:gd name="connsiteX493" fmla="*/ 2213038 w 2846793"/>
              <a:gd name="connsiteY493" fmla="*/ 1751502 h 2831069"/>
              <a:gd name="connsiteX494" fmla="*/ 2193619 w 2846793"/>
              <a:gd name="connsiteY494" fmla="*/ 1786463 h 2831069"/>
              <a:gd name="connsiteX495" fmla="*/ 2145416 w 2846793"/>
              <a:gd name="connsiteY495" fmla="*/ 1826170 h 2831069"/>
              <a:gd name="connsiteX496" fmla="*/ 2094062 w 2846793"/>
              <a:gd name="connsiteY496" fmla="*/ 1865877 h 2831069"/>
              <a:gd name="connsiteX497" fmla="*/ 2067452 w 2846793"/>
              <a:gd name="connsiteY497" fmla="*/ 1897668 h 2831069"/>
              <a:gd name="connsiteX498" fmla="*/ 2076654 w 2846793"/>
              <a:gd name="connsiteY498" fmla="*/ 1913791 h 2831069"/>
              <a:gd name="connsiteX499" fmla="*/ 2097668 w 2846793"/>
              <a:gd name="connsiteY499" fmla="*/ 1937955 h 2831069"/>
              <a:gd name="connsiteX500" fmla="*/ 2095077 w 2846793"/>
              <a:gd name="connsiteY500" fmla="*/ 2004416 h 2831069"/>
              <a:gd name="connsiteX501" fmla="*/ 2059391 w 2846793"/>
              <a:gd name="connsiteY501" fmla="*/ 2109155 h 2831069"/>
              <a:gd name="connsiteX502" fmla="*/ 1969325 w 2846793"/>
              <a:gd name="connsiteY502" fmla="*/ 2331853 h 2831069"/>
              <a:gd name="connsiteX503" fmla="*/ 1904584 w 2846793"/>
              <a:gd name="connsiteY503" fmla="*/ 2574405 h 2831069"/>
              <a:gd name="connsiteX504" fmla="*/ 1892502 w 2846793"/>
              <a:gd name="connsiteY504" fmla="*/ 2764443 h 2831069"/>
              <a:gd name="connsiteX505" fmla="*/ 2038812 w 2846793"/>
              <a:gd name="connsiteY505" fmla="*/ 2824874 h 2831069"/>
              <a:gd name="connsiteX506" fmla="*/ 2686909 w 2846793"/>
              <a:gd name="connsiteY506" fmla="*/ 2831070 h 2831069"/>
              <a:gd name="connsiteX0" fmla="*/ 1241953 w 2846795"/>
              <a:gd name="connsiteY0" fmla="*/ 2360975 h 2824875"/>
              <a:gd name="connsiteX1" fmla="*/ 1209568 w 2846795"/>
              <a:gd name="connsiteY1" fmla="*/ 2270448 h 2824875"/>
              <a:gd name="connsiteX2" fmla="*/ 1120808 w 2846795"/>
              <a:gd name="connsiteY2" fmla="*/ 2115662 h 2824875"/>
              <a:gd name="connsiteX3" fmla="*/ 1030182 w 2846795"/>
              <a:gd name="connsiteY3" fmla="*/ 1957124 h 2824875"/>
              <a:gd name="connsiteX4" fmla="*/ 963576 w 2846795"/>
              <a:gd name="connsiteY4" fmla="*/ 1924173 h 2824875"/>
              <a:gd name="connsiteX5" fmla="*/ 805764 w 2846795"/>
              <a:gd name="connsiteY5" fmla="*/ 1954244 h 2824875"/>
              <a:gd name="connsiteX6" fmla="*/ 604929 w 2846795"/>
              <a:gd name="connsiteY6" fmla="*/ 1989060 h 2824875"/>
              <a:gd name="connsiteX7" fmla="*/ 477332 w 2846795"/>
              <a:gd name="connsiteY7" fmla="*/ 1993661 h 2824875"/>
              <a:gd name="connsiteX8" fmla="*/ 361672 w 2846795"/>
              <a:gd name="connsiteY8" fmla="*/ 2000852 h 2824875"/>
              <a:gd name="connsiteX9" fmla="*/ 98687 w 2846795"/>
              <a:gd name="connsiteY9" fmla="*/ 2062567 h 2824875"/>
              <a:gd name="connsiteX10" fmla="*/ 3316 w 2846795"/>
              <a:gd name="connsiteY10" fmla="*/ 2090047 h 2824875"/>
              <a:gd name="connsiteX11" fmla="*/ 45468 w 2846795"/>
              <a:gd name="connsiteY11" fmla="*/ 2164135 h 2824875"/>
              <a:gd name="connsiteX12" fmla="*/ 243277 w 2846795"/>
              <a:gd name="connsiteY12" fmla="*/ 2417629 h 2824875"/>
              <a:gd name="connsiteX13" fmla="*/ 343270 w 2846795"/>
              <a:gd name="connsiteY13" fmla="*/ 2553723 h 2824875"/>
              <a:gd name="connsiteX14" fmla="*/ 396634 w 2846795"/>
              <a:gd name="connsiteY14" fmla="*/ 2608392 h 2824875"/>
              <a:gd name="connsiteX15" fmla="*/ 442102 w 2846795"/>
              <a:gd name="connsiteY15" fmla="*/ 2644348 h 2824875"/>
              <a:gd name="connsiteX16" fmla="*/ 450018 w 2846795"/>
              <a:gd name="connsiteY16" fmla="*/ 2670108 h 2824875"/>
              <a:gd name="connsiteX17" fmla="*/ 431180 w 2846795"/>
              <a:gd name="connsiteY17" fmla="*/ 2687516 h 2824875"/>
              <a:gd name="connsiteX18" fmla="*/ 385007 w 2846795"/>
              <a:gd name="connsiteY18" fmla="*/ 2665507 h 2824875"/>
              <a:gd name="connsiteX19" fmla="*/ 320266 w 2846795"/>
              <a:gd name="connsiteY19" fmla="*/ 2569991 h 2824875"/>
              <a:gd name="connsiteX20" fmla="*/ 307459 w 2846795"/>
              <a:gd name="connsiteY20" fmla="*/ 2513166 h 2824875"/>
              <a:gd name="connsiteX21" fmla="*/ 319396 w 2846795"/>
              <a:gd name="connsiteY21" fmla="*/ 2499923 h 2824875"/>
              <a:gd name="connsiteX22" fmla="*/ 348015 w 2846795"/>
              <a:gd name="connsiteY22" fmla="*/ 2524378 h 2824875"/>
              <a:gd name="connsiteX23" fmla="*/ 378086 w 2846795"/>
              <a:gd name="connsiteY23" fmla="*/ 2562364 h 2824875"/>
              <a:gd name="connsiteX24" fmla="*/ 409731 w 2846795"/>
              <a:gd name="connsiteY24" fmla="*/ 2581348 h 2824875"/>
              <a:gd name="connsiteX25" fmla="*/ 431740 w 2846795"/>
              <a:gd name="connsiteY25" fmla="*/ 2604372 h 2824875"/>
              <a:gd name="connsiteX26" fmla="*/ 455323 w 2846795"/>
              <a:gd name="connsiteY26" fmla="*/ 2623645 h 2824875"/>
              <a:gd name="connsiteX27" fmla="*/ 472006 w 2846795"/>
              <a:gd name="connsiteY27" fmla="*/ 2654005 h 2824875"/>
              <a:gd name="connsiteX28" fmla="*/ 483798 w 2846795"/>
              <a:gd name="connsiteY28" fmla="*/ 2705649 h 2824875"/>
              <a:gd name="connsiteX29" fmla="*/ 515029 w 2846795"/>
              <a:gd name="connsiteY29" fmla="*/ 2761707 h 2824875"/>
              <a:gd name="connsiteX30" fmla="*/ 593924 w 2846795"/>
              <a:gd name="connsiteY30" fmla="*/ 2781975 h 2824875"/>
              <a:gd name="connsiteX31" fmla="*/ 917921 w 2846795"/>
              <a:gd name="connsiteY31" fmla="*/ 2784234 h 2824875"/>
              <a:gd name="connsiteX32" fmla="*/ 1481859 w 2846795"/>
              <a:gd name="connsiteY32" fmla="*/ 2784234 h 2824875"/>
              <a:gd name="connsiteX33" fmla="*/ 1611175 w 2846795"/>
              <a:gd name="connsiteY33" fmla="*/ 2760402 h 2824875"/>
              <a:gd name="connsiteX34" fmla="*/ 1530415 w 2846795"/>
              <a:gd name="connsiteY34" fmla="*/ 2653819 h 2824875"/>
              <a:gd name="connsiteX35" fmla="*/ 1485506 w 2846795"/>
              <a:gd name="connsiteY35" fmla="*/ 2582508 h 2824875"/>
              <a:gd name="connsiteX36" fmla="*/ 1444639 w 2846795"/>
              <a:gd name="connsiteY36" fmla="*/ 2563380 h 2824875"/>
              <a:gd name="connsiteX37" fmla="*/ 1360914 w 2846795"/>
              <a:gd name="connsiteY37" fmla="*/ 2569701 h 2824875"/>
              <a:gd name="connsiteX38" fmla="*/ 1305374 w 2846795"/>
              <a:gd name="connsiteY38" fmla="*/ 2561204 h 2824875"/>
              <a:gd name="connsiteX39" fmla="*/ 1259906 w 2846795"/>
              <a:gd name="connsiteY39" fmla="*/ 2517187 h 2824875"/>
              <a:gd name="connsiteX40" fmla="*/ 1228551 w 2846795"/>
              <a:gd name="connsiteY40" fmla="*/ 2442519 h 2824875"/>
              <a:gd name="connsiteX41" fmla="*/ 1227121 w 2846795"/>
              <a:gd name="connsiteY41" fmla="*/ 2364680 h 2824875"/>
              <a:gd name="connsiteX42" fmla="*/ 1271139 w 2846795"/>
              <a:gd name="connsiteY42" fmla="*/ 2317491 h 2824875"/>
              <a:gd name="connsiteX43" fmla="*/ 1254021 w 2846795"/>
              <a:gd name="connsiteY43" fmla="*/ 2254201 h 2824875"/>
              <a:gd name="connsiteX44" fmla="*/ 1118217 w 2846795"/>
              <a:gd name="connsiteY44" fmla="*/ 2041429 h 2824875"/>
              <a:gd name="connsiteX45" fmla="*/ 1021105 w 2846795"/>
              <a:gd name="connsiteY45" fmla="*/ 1888363 h 2824875"/>
              <a:gd name="connsiteX46" fmla="*/ 969171 w 2846795"/>
              <a:gd name="connsiteY46" fmla="*/ 1865338 h 2824875"/>
              <a:gd name="connsiteX47" fmla="*/ 890048 w 2846795"/>
              <a:gd name="connsiteY47" fmla="*/ 1886477 h 2824875"/>
              <a:gd name="connsiteX48" fmla="*/ 773808 w 2846795"/>
              <a:gd name="connsiteY48" fmla="*/ 1916837 h 2824875"/>
              <a:gd name="connsiteX49" fmla="*/ 552974 w 2846795"/>
              <a:gd name="connsiteY49" fmla="*/ 1960565 h 2824875"/>
              <a:gd name="connsiteX50" fmla="*/ 460463 w 2846795"/>
              <a:gd name="connsiteY50" fmla="*/ 1968771 h 2824875"/>
              <a:gd name="connsiteX51" fmla="*/ 390251 w 2846795"/>
              <a:gd name="connsiteY51" fmla="*/ 1936110 h 2824875"/>
              <a:gd name="connsiteX52" fmla="*/ 237329 w 2846795"/>
              <a:gd name="connsiteY52" fmla="*/ 1817280 h 2824875"/>
              <a:gd name="connsiteX53" fmla="*/ 148859 w 2846795"/>
              <a:gd name="connsiteY53" fmla="*/ 1724478 h 2824875"/>
              <a:gd name="connsiteX54" fmla="*/ 135326 w 2846795"/>
              <a:gd name="connsiteY54" fmla="*/ 1660753 h 2824875"/>
              <a:gd name="connsiteX55" fmla="*/ 160361 w 2846795"/>
              <a:gd name="connsiteY55" fmla="*/ 1619326 h 2824875"/>
              <a:gd name="connsiteX56" fmla="*/ 206534 w 2846795"/>
              <a:gd name="connsiteY56" fmla="*/ 1610829 h 2824875"/>
              <a:gd name="connsiteX57" fmla="*/ 299894 w 2846795"/>
              <a:gd name="connsiteY57" fmla="*/ 1646370 h 2824875"/>
              <a:gd name="connsiteX58" fmla="*/ 372552 w 2846795"/>
              <a:gd name="connsiteY58" fmla="*/ 1668959 h 2824875"/>
              <a:gd name="connsiteX59" fmla="*/ 375723 w 2846795"/>
              <a:gd name="connsiteY59" fmla="*/ 1692688 h 2824875"/>
              <a:gd name="connsiteX60" fmla="*/ 313282 w 2846795"/>
              <a:gd name="connsiteY60" fmla="*/ 1712832 h 2824875"/>
              <a:gd name="connsiteX61" fmla="*/ 211134 w 2846795"/>
              <a:gd name="connsiteY61" fmla="*/ 1685787 h 2824875"/>
              <a:gd name="connsiteX62" fmla="*/ 161356 w 2846795"/>
              <a:gd name="connsiteY62" fmla="*/ 1648235 h 2824875"/>
              <a:gd name="connsiteX63" fmla="*/ 166391 w 2846795"/>
              <a:gd name="connsiteY63" fmla="*/ 1605586 h 2824875"/>
              <a:gd name="connsiteX64" fmla="*/ 200192 w 2846795"/>
              <a:gd name="connsiteY64" fmla="*/ 1577816 h 2824875"/>
              <a:gd name="connsiteX65" fmla="*/ 287232 w 2846795"/>
              <a:gd name="connsiteY65" fmla="*/ 1590830 h 2824875"/>
              <a:gd name="connsiteX66" fmla="*/ 369009 w 2846795"/>
              <a:gd name="connsiteY66" fmla="*/ 1618953 h 2824875"/>
              <a:gd name="connsiteX67" fmla="*/ 419927 w 2846795"/>
              <a:gd name="connsiteY67" fmla="*/ 1621046 h 2824875"/>
              <a:gd name="connsiteX68" fmla="*/ 508625 w 2846795"/>
              <a:gd name="connsiteY68" fmla="*/ 1559682 h 2824875"/>
              <a:gd name="connsiteX69" fmla="*/ 603872 w 2846795"/>
              <a:gd name="connsiteY69" fmla="*/ 1496164 h 2824875"/>
              <a:gd name="connsiteX70" fmla="*/ 672489 w 2846795"/>
              <a:gd name="connsiteY70" fmla="*/ 1469699 h 2824875"/>
              <a:gd name="connsiteX71" fmla="*/ 740318 w 2846795"/>
              <a:gd name="connsiteY71" fmla="*/ 1459835 h 2824875"/>
              <a:gd name="connsiteX72" fmla="*/ 810675 w 2846795"/>
              <a:gd name="connsiteY72" fmla="*/ 1421288 h 2824875"/>
              <a:gd name="connsiteX73" fmla="*/ 854631 w 2846795"/>
              <a:gd name="connsiteY73" fmla="*/ 1394969 h 2824875"/>
              <a:gd name="connsiteX74" fmla="*/ 862982 w 2846795"/>
              <a:gd name="connsiteY74" fmla="*/ 1380214 h 2824875"/>
              <a:gd name="connsiteX75" fmla="*/ 851688 w 2846795"/>
              <a:gd name="connsiteY75" fmla="*/ 1366412 h 2824875"/>
              <a:gd name="connsiteX76" fmla="*/ 827524 w 2846795"/>
              <a:gd name="connsiteY76" fmla="*/ 1363614 h 2824875"/>
              <a:gd name="connsiteX77" fmla="*/ 824291 w 2846795"/>
              <a:gd name="connsiteY77" fmla="*/ 1354910 h 2824875"/>
              <a:gd name="connsiteX78" fmla="*/ 846652 w 2846795"/>
              <a:gd name="connsiteY78" fmla="*/ 1340030 h 2824875"/>
              <a:gd name="connsiteX79" fmla="*/ 880308 w 2846795"/>
              <a:gd name="connsiteY79" fmla="*/ 1319161 h 2824875"/>
              <a:gd name="connsiteX80" fmla="*/ 897363 w 2846795"/>
              <a:gd name="connsiteY80" fmla="*/ 1302831 h 2824875"/>
              <a:gd name="connsiteX81" fmla="*/ 886794 w 2846795"/>
              <a:gd name="connsiteY81" fmla="*/ 1295930 h 2824875"/>
              <a:gd name="connsiteX82" fmla="*/ 844642 w 2846795"/>
              <a:gd name="connsiteY82" fmla="*/ 1306934 h 2824875"/>
              <a:gd name="connsiteX83" fmla="*/ 809536 w 2846795"/>
              <a:gd name="connsiteY83" fmla="*/ 1335347 h 2824875"/>
              <a:gd name="connsiteX84" fmla="*/ 787029 w 2846795"/>
              <a:gd name="connsiteY84" fmla="*/ 1349667 h 2824875"/>
              <a:gd name="connsiteX85" fmla="*/ 782139 w 2846795"/>
              <a:gd name="connsiteY85" fmla="*/ 1343346 h 2824875"/>
              <a:gd name="connsiteX86" fmla="*/ 804583 w 2846795"/>
              <a:gd name="connsiteY86" fmla="*/ 1325296 h 2824875"/>
              <a:gd name="connsiteX87" fmla="*/ 816810 w 2846795"/>
              <a:gd name="connsiteY87" fmla="*/ 1307743 h 2824875"/>
              <a:gd name="connsiteX88" fmla="*/ 811276 w 2846795"/>
              <a:gd name="connsiteY88" fmla="*/ 1290977 h 2824875"/>
              <a:gd name="connsiteX89" fmla="*/ 791713 w 2846795"/>
              <a:gd name="connsiteY89" fmla="*/ 1290832 h 2824875"/>
              <a:gd name="connsiteX90" fmla="*/ 761933 w 2846795"/>
              <a:gd name="connsiteY90" fmla="*/ 1313856 h 2824875"/>
              <a:gd name="connsiteX91" fmla="*/ 742515 w 2846795"/>
              <a:gd name="connsiteY91" fmla="*/ 1324218 h 2824875"/>
              <a:gd name="connsiteX92" fmla="*/ 739862 w 2846795"/>
              <a:gd name="connsiteY92" fmla="*/ 1318457 h 2824875"/>
              <a:gd name="connsiteX93" fmla="*/ 752296 w 2846795"/>
              <a:gd name="connsiteY93" fmla="*/ 1300406 h 2824875"/>
              <a:gd name="connsiteX94" fmla="*/ 772585 w 2846795"/>
              <a:gd name="connsiteY94" fmla="*/ 1280615 h 2824875"/>
              <a:gd name="connsiteX95" fmla="*/ 776108 w 2846795"/>
              <a:gd name="connsiteY95" fmla="*/ 1263994 h 2824875"/>
              <a:gd name="connsiteX96" fmla="*/ 761083 w 2846795"/>
              <a:gd name="connsiteY96" fmla="*/ 1258026 h 2824875"/>
              <a:gd name="connsiteX97" fmla="*/ 718869 w 2846795"/>
              <a:gd name="connsiteY97" fmla="*/ 1273051 h 2824875"/>
              <a:gd name="connsiteX98" fmla="*/ 639600 w 2846795"/>
              <a:gd name="connsiteY98" fmla="*/ 1331181 h 2824875"/>
              <a:gd name="connsiteX99" fmla="*/ 569678 w 2846795"/>
              <a:gd name="connsiteY99" fmla="*/ 1382100 h 2824875"/>
              <a:gd name="connsiteX100" fmla="*/ 456173 w 2846795"/>
              <a:gd name="connsiteY100" fmla="*/ 1442530 h 2824875"/>
              <a:gd name="connsiteX101" fmla="*/ 325406 w 2846795"/>
              <a:gd name="connsiteY101" fmla="*/ 1515188 h 2824875"/>
              <a:gd name="connsiteX102" fmla="*/ 239526 w 2846795"/>
              <a:gd name="connsiteY102" fmla="*/ 1551144 h 2824875"/>
              <a:gd name="connsiteX103" fmla="*/ 218388 w 2846795"/>
              <a:gd name="connsiteY103" fmla="*/ 1575453 h 2824875"/>
              <a:gd name="connsiteX104" fmla="*/ 272912 w 2846795"/>
              <a:gd name="connsiteY104" fmla="*/ 1602208 h 2824875"/>
              <a:gd name="connsiteX105" fmla="*/ 357797 w 2846795"/>
              <a:gd name="connsiteY105" fmla="*/ 1635863 h 2824875"/>
              <a:gd name="connsiteX106" fmla="*/ 403410 w 2846795"/>
              <a:gd name="connsiteY106" fmla="*/ 1653271 h 2824875"/>
              <a:gd name="connsiteX107" fmla="*/ 416073 w 2846795"/>
              <a:gd name="connsiteY107" fmla="*/ 1682036 h 2824875"/>
              <a:gd name="connsiteX108" fmla="*/ 440817 w 2846795"/>
              <a:gd name="connsiteY108" fmla="*/ 1705060 h 2824875"/>
              <a:gd name="connsiteX109" fmla="*/ 514469 w 2846795"/>
              <a:gd name="connsiteY109" fmla="*/ 1733680 h 2824875"/>
              <a:gd name="connsiteX110" fmla="*/ 651288 w 2846795"/>
              <a:gd name="connsiteY110" fmla="*/ 1765905 h 2824875"/>
              <a:gd name="connsiteX111" fmla="*/ 768109 w 2846795"/>
              <a:gd name="connsiteY111" fmla="*/ 1785179 h 2824875"/>
              <a:gd name="connsiteX112" fmla="*/ 837306 w 2846795"/>
              <a:gd name="connsiteY112" fmla="*/ 1824740 h 2824875"/>
              <a:gd name="connsiteX113" fmla="*/ 840621 w 2846795"/>
              <a:gd name="connsiteY113" fmla="*/ 1854666 h 2824875"/>
              <a:gd name="connsiteX114" fmla="*/ 790843 w 2846795"/>
              <a:gd name="connsiteY114" fmla="*/ 1883430 h 2824875"/>
              <a:gd name="connsiteX115" fmla="*/ 713874 w 2846795"/>
              <a:gd name="connsiteY115" fmla="*/ 1902413 h 2824875"/>
              <a:gd name="connsiteX116" fmla="*/ 703367 w 2846795"/>
              <a:gd name="connsiteY116" fmla="*/ 1887741 h 2824875"/>
              <a:gd name="connsiteX117" fmla="*/ 735158 w 2846795"/>
              <a:gd name="connsiteY117" fmla="*/ 1840843 h 2824875"/>
              <a:gd name="connsiteX118" fmla="*/ 785662 w 2846795"/>
              <a:gd name="connsiteY118" fmla="*/ 1808037 h 2824875"/>
              <a:gd name="connsiteX119" fmla="*/ 864640 w 2846795"/>
              <a:gd name="connsiteY119" fmla="*/ 1809757 h 2824875"/>
              <a:gd name="connsiteX120" fmla="*/ 904637 w 2846795"/>
              <a:gd name="connsiteY120" fmla="*/ 1789468 h 2824875"/>
              <a:gd name="connsiteX121" fmla="*/ 916284 w 2846795"/>
              <a:gd name="connsiteY121" fmla="*/ 1745161 h 2824875"/>
              <a:gd name="connsiteX122" fmla="*/ 912119 w 2846795"/>
              <a:gd name="connsiteY122" fmla="*/ 1675238 h 2824875"/>
              <a:gd name="connsiteX123" fmla="*/ 918025 w 2846795"/>
              <a:gd name="connsiteY123" fmla="*/ 1647904 h 2824875"/>
              <a:gd name="connsiteX124" fmla="*/ 946230 w 2846795"/>
              <a:gd name="connsiteY124" fmla="*/ 1644588 h 2824875"/>
              <a:gd name="connsiteX125" fmla="*/ 993128 w 2846795"/>
              <a:gd name="connsiteY125" fmla="*/ 1664587 h 2824875"/>
              <a:gd name="connsiteX126" fmla="*/ 1043632 w 2846795"/>
              <a:gd name="connsiteY126" fmla="*/ 1685455 h 2824875"/>
              <a:gd name="connsiteX127" fmla="*/ 1091110 w 2846795"/>
              <a:gd name="connsiteY127" fmla="*/ 1667032 h 2824875"/>
              <a:gd name="connsiteX128" fmla="*/ 1113844 w 2846795"/>
              <a:gd name="connsiteY128" fmla="*/ 1609046 h 2824875"/>
              <a:gd name="connsiteX129" fmla="*/ 1137573 w 2846795"/>
              <a:gd name="connsiteY129" fmla="*/ 1536244 h 2824875"/>
              <a:gd name="connsiteX130" fmla="*/ 1175270 w 2846795"/>
              <a:gd name="connsiteY130" fmla="*/ 1484165 h 2824875"/>
              <a:gd name="connsiteX131" fmla="*/ 1215847 w 2846795"/>
              <a:gd name="connsiteY131" fmla="*/ 1437702 h 2824875"/>
              <a:gd name="connsiteX132" fmla="*/ 1213837 w 2846795"/>
              <a:gd name="connsiteY132" fmla="*/ 1405911 h 2824875"/>
              <a:gd name="connsiteX133" fmla="*/ 1160743 w 2846795"/>
              <a:gd name="connsiteY133" fmla="*/ 1359449 h 2824875"/>
              <a:gd name="connsiteX134" fmla="*/ 1072273 w 2846795"/>
              <a:gd name="connsiteY134" fmla="*/ 1326207 h 2824875"/>
              <a:gd name="connsiteX135" fmla="*/ 969420 w 2846795"/>
              <a:gd name="connsiteY135" fmla="*/ 1337709 h 2824875"/>
              <a:gd name="connsiteX136" fmla="*/ 912160 w 2846795"/>
              <a:gd name="connsiteY136" fmla="*/ 1380152 h 2824875"/>
              <a:gd name="connsiteX137" fmla="*/ 896327 w 2846795"/>
              <a:gd name="connsiteY137" fmla="*/ 1448333 h 2824875"/>
              <a:gd name="connsiteX138" fmla="*/ 877489 w 2846795"/>
              <a:gd name="connsiteY138" fmla="*/ 1512784 h 2824875"/>
              <a:gd name="connsiteX139" fmla="*/ 860806 w 2846795"/>
              <a:gd name="connsiteY139" fmla="*/ 1564138 h 2824875"/>
              <a:gd name="connsiteX140" fmla="*/ 859936 w 2846795"/>
              <a:gd name="connsiteY140" fmla="*/ 1636216 h 2824875"/>
              <a:gd name="connsiteX141" fmla="*/ 882670 w 2846795"/>
              <a:gd name="connsiteY141" fmla="*/ 1693040 h 2824875"/>
              <a:gd name="connsiteX142" fmla="*/ 939930 w 2846795"/>
              <a:gd name="connsiteY142" fmla="*/ 1728001 h 2824875"/>
              <a:gd name="connsiteX143" fmla="*/ 1032856 w 2846795"/>
              <a:gd name="connsiteY143" fmla="*/ 1733618 h 2824875"/>
              <a:gd name="connsiteX144" fmla="*/ 1121326 w 2846795"/>
              <a:gd name="connsiteY144" fmla="*/ 1688440 h 2824875"/>
              <a:gd name="connsiteX145" fmla="*/ 1171830 w 2846795"/>
              <a:gd name="connsiteY145" fmla="*/ 1627304 h 2824875"/>
              <a:gd name="connsiteX146" fmla="*/ 1192263 w 2846795"/>
              <a:gd name="connsiteY146" fmla="*/ 1592343 h 2824875"/>
              <a:gd name="connsiteX147" fmla="*/ 1215433 w 2846795"/>
              <a:gd name="connsiteY147" fmla="*/ 1590478 h 2824875"/>
              <a:gd name="connsiteX148" fmla="*/ 1223059 w 2846795"/>
              <a:gd name="connsiteY148" fmla="*/ 1624569 h 2824875"/>
              <a:gd name="connsiteX149" fmla="*/ 1193569 w 2846795"/>
              <a:gd name="connsiteY149" fmla="*/ 1655219 h 2824875"/>
              <a:gd name="connsiteX150" fmla="*/ 1160328 w 2846795"/>
              <a:gd name="connsiteY150" fmla="*/ 1650909 h 2824875"/>
              <a:gd name="connsiteX151" fmla="*/ 1152121 w 2846795"/>
              <a:gd name="connsiteY151" fmla="*/ 1619844 h 2824875"/>
              <a:gd name="connsiteX152" fmla="*/ 1169239 w 2846795"/>
              <a:gd name="connsiteY152" fmla="*/ 1577836 h 2824875"/>
              <a:gd name="connsiteX153" fmla="*/ 1208511 w 2846795"/>
              <a:gd name="connsiteY153" fmla="*/ 1555683 h 2824875"/>
              <a:gd name="connsiteX154" fmla="*/ 1223039 w 2846795"/>
              <a:gd name="connsiteY154" fmla="*/ 1534814 h 2824875"/>
              <a:gd name="connsiteX155" fmla="*/ 1221173 w 2846795"/>
              <a:gd name="connsiteY155" fmla="*/ 1493822 h 2824875"/>
              <a:gd name="connsiteX156" fmla="*/ 1192263 w 2846795"/>
              <a:gd name="connsiteY156" fmla="*/ 1435837 h 2824875"/>
              <a:gd name="connsiteX157" fmla="*/ 1126527 w 2846795"/>
              <a:gd name="connsiteY157" fmla="*/ 1373105 h 2824875"/>
              <a:gd name="connsiteX158" fmla="*/ 1015178 w 2846795"/>
              <a:gd name="connsiteY158" fmla="*/ 1361604 h 2824875"/>
              <a:gd name="connsiteX159" fmla="*/ 929299 w 2846795"/>
              <a:gd name="connsiteY159" fmla="*/ 1399591 h 2824875"/>
              <a:gd name="connsiteX160" fmla="*/ 891312 w 2846795"/>
              <a:gd name="connsiteY160" fmla="*/ 1413683 h 2824875"/>
              <a:gd name="connsiteX161" fmla="*/ 880805 w 2846795"/>
              <a:gd name="connsiteY161" fmla="*/ 1385623 h 2824875"/>
              <a:gd name="connsiteX162" fmla="*/ 887271 w 2846795"/>
              <a:gd name="connsiteY162" fmla="*/ 1343035 h 2824875"/>
              <a:gd name="connsiteX163" fmla="*/ 919351 w 2846795"/>
              <a:gd name="connsiteY163" fmla="*/ 1314270 h 2824875"/>
              <a:gd name="connsiteX164" fmla="*/ 976031 w 2846795"/>
              <a:gd name="connsiteY164" fmla="*/ 1293402 h 2824875"/>
              <a:gd name="connsiteX165" fmla="*/ 1018183 w 2846795"/>
              <a:gd name="connsiteY165" fmla="*/ 1281900 h 2824875"/>
              <a:gd name="connsiteX166" fmla="*/ 1050844 w 2846795"/>
              <a:gd name="connsiteY166" fmla="*/ 1268947 h 2824875"/>
              <a:gd name="connsiteX167" fmla="*/ 1109244 w 2846795"/>
              <a:gd name="connsiteY167" fmla="*/ 1272118 h 2824875"/>
              <a:gd name="connsiteX168" fmla="*/ 1183622 w 2846795"/>
              <a:gd name="connsiteY168" fmla="*/ 1306209 h 2824875"/>
              <a:gd name="connsiteX169" fmla="*/ 1247202 w 2846795"/>
              <a:gd name="connsiteY169" fmla="*/ 1382017 h 2824875"/>
              <a:gd name="connsiteX170" fmla="*/ 1276983 w 2846795"/>
              <a:gd name="connsiteY170" fmla="*/ 1470777 h 2824875"/>
              <a:gd name="connsiteX171" fmla="*/ 1290785 w 2846795"/>
              <a:gd name="connsiteY171" fmla="*/ 1538959 h 2824875"/>
              <a:gd name="connsiteX172" fmla="*/ 1286184 w 2846795"/>
              <a:gd name="connsiteY172" fmla="*/ 1598664 h 2824875"/>
              <a:gd name="connsiteX173" fmla="*/ 1251223 w 2846795"/>
              <a:gd name="connsiteY173" fmla="*/ 1657789 h 2824875"/>
              <a:gd name="connsiteX174" fmla="*/ 1190792 w 2846795"/>
              <a:gd name="connsiteY174" fmla="*/ 1692460 h 2824875"/>
              <a:gd name="connsiteX175" fmla="*/ 1155396 w 2846795"/>
              <a:gd name="connsiteY175" fmla="*/ 1717349 h 2824875"/>
              <a:gd name="connsiteX176" fmla="*/ 1128786 w 2846795"/>
              <a:gd name="connsiteY176" fmla="*/ 1768848 h 2824875"/>
              <a:gd name="connsiteX177" fmla="*/ 1124766 w 2846795"/>
              <a:gd name="connsiteY177" fmla="*/ 1813156 h 2824875"/>
              <a:gd name="connsiteX178" fmla="*/ 1143459 w 2846795"/>
              <a:gd name="connsiteY178" fmla="*/ 1838045 h 2824875"/>
              <a:gd name="connsiteX179" fmla="*/ 1176700 w 2846795"/>
              <a:gd name="connsiteY179" fmla="*/ 1874581 h 2824875"/>
              <a:gd name="connsiteX180" fmla="*/ 1211951 w 2846795"/>
              <a:gd name="connsiteY180" fmla="*/ 1930971 h 2824875"/>
              <a:gd name="connsiteX181" fmla="*/ 1269791 w 2846795"/>
              <a:gd name="connsiteY181" fmla="*/ 1970678 h 2824875"/>
              <a:gd name="connsiteX182" fmla="*/ 1289790 w 2846795"/>
              <a:gd name="connsiteY182" fmla="*/ 2016996 h 2824875"/>
              <a:gd name="connsiteX183" fmla="*/ 1236696 w 2846795"/>
              <a:gd name="connsiteY183" fmla="*/ 2105031 h 2824875"/>
              <a:gd name="connsiteX184" fmla="*/ 1189362 w 2846795"/>
              <a:gd name="connsiteY184" fmla="*/ 2099269 h 2824875"/>
              <a:gd name="connsiteX185" fmla="*/ 1126921 w 2846795"/>
              <a:gd name="connsiteY185" fmla="*/ 1994386 h 2824875"/>
              <a:gd name="connsiteX186" fmla="*/ 1124621 w 2846795"/>
              <a:gd name="connsiteY186" fmla="*/ 1948773 h 2824875"/>
              <a:gd name="connsiteX187" fmla="*/ 1178855 w 2846795"/>
              <a:gd name="connsiteY187" fmla="*/ 1910226 h 2824875"/>
              <a:gd name="connsiteX188" fmla="*/ 1235245 w 2846795"/>
              <a:gd name="connsiteY188" fmla="*/ 1918288 h 2824875"/>
              <a:gd name="connsiteX189" fmla="*/ 1332792 w 2846795"/>
              <a:gd name="connsiteY189" fmla="*/ 1988065 h 2824875"/>
              <a:gd name="connsiteX190" fmla="*/ 1387316 w 2846795"/>
              <a:gd name="connsiteY190" fmla="*/ 2070650 h 2824875"/>
              <a:gd name="connsiteX191" fmla="*/ 1383710 w 2846795"/>
              <a:gd name="connsiteY191" fmla="*/ 2126190 h 2824875"/>
              <a:gd name="connsiteX192" fmla="*/ 1348459 w 2846795"/>
              <a:gd name="connsiteY192" fmla="*/ 2203448 h 2824875"/>
              <a:gd name="connsiteX193" fmla="*/ 1311923 w 2846795"/>
              <a:gd name="connsiteY193" fmla="*/ 2248771 h 2824875"/>
              <a:gd name="connsiteX194" fmla="*/ 1270786 w 2846795"/>
              <a:gd name="connsiteY194" fmla="*/ 2226907 h 2824875"/>
              <a:gd name="connsiteX195" fmla="*/ 1256694 w 2846795"/>
              <a:gd name="connsiteY195" fmla="*/ 2197417 h 2824875"/>
              <a:gd name="connsiteX196" fmla="*/ 1262745 w 2846795"/>
              <a:gd name="connsiteY196" fmla="*/ 2172093 h 2824875"/>
              <a:gd name="connsiteX197" fmla="*/ 1299427 w 2846795"/>
              <a:gd name="connsiteY197" fmla="*/ 2127640 h 2824875"/>
              <a:gd name="connsiteX198" fmla="*/ 1357826 w 2846795"/>
              <a:gd name="connsiteY198" fmla="*/ 2086068 h 2824875"/>
              <a:gd name="connsiteX199" fmla="*/ 1403999 w 2846795"/>
              <a:gd name="connsiteY199" fmla="*/ 2048372 h 2824875"/>
              <a:gd name="connsiteX200" fmla="*/ 1428453 w 2846795"/>
              <a:gd name="connsiteY200" fmla="*/ 2028228 h 2824875"/>
              <a:gd name="connsiteX201" fmla="*/ 1435644 w 2846795"/>
              <a:gd name="connsiteY201" fmla="*/ 2043481 h 2824875"/>
              <a:gd name="connsiteX202" fmla="*/ 1439375 w 2846795"/>
              <a:gd name="connsiteY202" fmla="*/ 2107062 h 2824875"/>
              <a:gd name="connsiteX203" fmla="*/ 1432039 w 2846795"/>
              <a:gd name="connsiteY203" fmla="*/ 2164902 h 2824875"/>
              <a:gd name="connsiteX204" fmla="*/ 1405864 w 2846795"/>
              <a:gd name="connsiteY204" fmla="*/ 2266469 h 2824875"/>
              <a:gd name="connsiteX205" fmla="*/ 1412765 w 2846795"/>
              <a:gd name="connsiteY205" fmla="*/ 2328330 h 2824875"/>
              <a:gd name="connsiteX206" fmla="*/ 1440245 w 2846795"/>
              <a:gd name="connsiteY206" fmla="*/ 2353074 h 2824875"/>
              <a:gd name="connsiteX207" fmla="*/ 1475932 w 2846795"/>
              <a:gd name="connsiteY207" fmla="*/ 2367457 h 2824875"/>
              <a:gd name="connsiteX208" fmla="*/ 1511038 w 2846795"/>
              <a:gd name="connsiteY208" fmla="*/ 2382710 h 2824875"/>
              <a:gd name="connsiteX209" fmla="*/ 1536217 w 2846795"/>
              <a:gd name="connsiteY209" fmla="*/ 2415225 h 2824875"/>
              <a:gd name="connsiteX210" fmla="*/ 1543408 w 2846795"/>
              <a:gd name="connsiteY210" fmla="*/ 2463843 h 2824875"/>
              <a:gd name="connsiteX211" fmla="*/ 1512758 w 2846795"/>
              <a:gd name="connsiteY211" fmla="*/ 2507156 h 2824875"/>
              <a:gd name="connsiteX212" fmla="*/ 1467083 w 2846795"/>
              <a:gd name="connsiteY212" fmla="*/ 2522844 h 2824875"/>
              <a:gd name="connsiteX213" fmla="*/ 1422195 w 2846795"/>
              <a:gd name="connsiteY213" fmla="*/ 2523860 h 2824875"/>
              <a:gd name="connsiteX214" fmla="*/ 1366738 w 2846795"/>
              <a:gd name="connsiteY214" fmla="*/ 2540832 h 2824875"/>
              <a:gd name="connsiteX215" fmla="*/ 1320420 w 2846795"/>
              <a:gd name="connsiteY215" fmla="*/ 2536667 h 2824875"/>
              <a:gd name="connsiteX216" fmla="*/ 1321788 w 2846795"/>
              <a:gd name="connsiteY216" fmla="*/ 2519549 h 2824875"/>
              <a:gd name="connsiteX217" fmla="*/ 1369846 w 2846795"/>
              <a:gd name="connsiteY217" fmla="*/ 2497893 h 2824875"/>
              <a:gd name="connsiteX218" fmla="*/ 1396891 w 2846795"/>
              <a:gd name="connsiteY218" fmla="*/ 2480277 h 2824875"/>
              <a:gd name="connsiteX219" fmla="*/ 1381286 w 2846795"/>
              <a:gd name="connsiteY219" fmla="*/ 2474102 h 2824875"/>
              <a:gd name="connsiteX220" fmla="*/ 1307986 w 2846795"/>
              <a:gd name="connsiteY220" fmla="*/ 2503094 h 2824875"/>
              <a:gd name="connsiteX221" fmla="*/ 1275760 w 2846795"/>
              <a:gd name="connsiteY221" fmla="*/ 2503820 h 2824875"/>
              <a:gd name="connsiteX222" fmla="*/ 1277190 w 2846795"/>
              <a:gd name="connsiteY222" fmla="*/ 2490515 h 2824875"/>
              <a:gd name="connsiteX223" fmla="*/ 1302287 w 2846795"/>
              <a:gd name="connsiteY223" fmla="*/ 2478495 h 2824875"/>
              <a:gd name="connsiteX224" fmla="*/ 1350407 w 2846795"/>
              <a:gd name="connsiteY224" fmla="*/ 2445109 h 2824875"/>
              <a:gd name="connsiteX225" fmla="*/ 1346946 w 2846795"/>
              <a:gd name="connsiteY225" fmla="*/ 2435120 h 2824875"/>
              <a:gd name="connsiteX226" fmla="*/ 1292774 w 2846795"/>
              <a:gd name="connsiteY226" fmla="*/ 2461812 h 2824875"/>
              <a:gd name="connsiteX227" fmla="*/ 1261834 w 2846795"/>
              <a:gd name="connsiteY227" fmla="*/ 2459719 h 2824875"/>
              <a:gd name="connsiteX228" fmla="*/ 1265149 w 2846795"/>
              <a:gd name="connsiteY228" fmla="*/ 2438933 h 2824875"/>
              <a:gd name="connsiteX229" fmla="*/ 1303053 w 2846795"/>
              <a:gd name="connsiteY229" fmla="*/ 2411308 h 2824875"/>
              <a:gd name="connsiteX230" fmla="*/ 1318513 w 2846795"/>
              <a:gd name="connsiteY230" fmla="*/ 2393175 h 2824875"/>
              <a:gd name="connsiteX231" fmla="*/ 1306783 w 2846795"/>
              <a:gd name="connsiteY231" fmla="*/ 2385984 h 2824875"/>
              <a:gd name="connsiteX232" fmla="*/ 1268590 w 2846795"/>
              <a:gd name="connsiteY232" fmla="*/ 2403392 h 2824875"/>
              <a:gd name="connsiteX233" fmla="*/ 1243410 w 2846795"/>
              <a:gd name="connsiteY233" fmla="*/ 2405257 h 2824875"/>
              <a:gd name="connsiteX234" fmla="*/ 1242685 w 2846795"/>
              <a:gd name="connsiteY234" fmla="*/ 2382461 h 2824875"/>
              <a:gd name="connsiteX235" fmla="*/ 1284402 w 2846795"/>
              <a:gd name="connsiteY235" fmla="*/ 2341469 h 2824875"/>
              <a:gd name="connsiteX236" fmla="*/ 1360935 w 2846795"/>
              <a:gd name="connsiteY236" fmla="*/ 2306218 h 2824875"/>
              <a:gd name="connsiteX237" fmla="*/ 1411004 w 2846795"/>
              <a:gd name="connsiteY237" fmla="*/ 2303047 h 2824875"/>
              <a:gd name="connsiteX238" fmla="*/ 1438484 w 2846795"/>
              <a:gd name="connsiteY238" fmla="*/ 2295131 h 2824875"/>
              <a:gd name="connsiteX239" fmla="*/ 1468409 w 2846795"/>
              <a:gd name="connsiteY239" fmla="*/ 2243777 h 2824875"/>
              <a:gd name="connsiteX240" fmla="*/ 1532570 w 2846795"/>
              <a:gd name="connsiteY240" fmla="*/ 2156301 h 2824875"/>
              <a:gd name="connsiteX241" fmla="*/ 1610761 w 2846795"/>
              <a:gd name="connsiteY241" fmla="*/ 2074152 h 2824875"/>
              <a:gd name="connsiteX242" fmla="*/ 1628957 w 2846795"/>
              <a:gd name="connsiteY242" fmla="*/ 2041864 h 2824875"/>
              <a:gd name="connsiteX243" fmla="*/ 1628604 w 2846795"/>
              <a:gd name="connsiteY243" fmla="*/ 2021078 h 2824875"/>
              <a:gd name="connsiteX244" fmla="*/ 1642841 w 2846795"/>
              <a:gd name="connsiteY244" fmla="*/ 2001308 h 2824875"/>
              <a:gd name="connsiteX245" fmla="*/ 1697863 w 2846795"/>
              <a:gd name="connsiteY245" fmla="*/ 1963611 h 2824875"/>
              <a:gd name="connsiteX246" fmla="*/ 1768718 w 2846795"/>
              <a:gd name="connsiteY246" fmla="*/ 1914703 h 2824875"/>
              <a:gd name="connsiteX247" fmla="*/ 1816549 w 2846795"/>
              <a:gd name="connsiteY247" fmla="*/ 1881109 h 2824875"/>
              <a:gd name="connsiteX248" fmla="*/ 1846039 w 2846795"/>
              <a:gd name="connsiteY248" fmla="*/ 1836221 h 2824875"/>
              <a:gd name="connsiteX249" fmla="*/ 1863882 w 2846795"/>
              <a:gd name="connsiteY249" fmla="*/ 1739400 h 2824875"/>
              <a:gd name="connsiteX250" fmla="*/ 1862162 w 2846795"/>
              <a:gd name="connsiteY250" fmla="*/ 1654225 h 2824875"/>
              <a:gd name="connsiteX251" fmla="*/ 1849355 w 2846795"/>
              <a:gd name="connsiteY251" fmla="*/ 1586312 h 2824875"/>
              <a:gd name="connsiteX252" fmla="*/ 1804322 w 2846795"/>
              <a:gd name="connsiteY252" fmla="*/ 1511499 h 2824875"/>
              <a:gd name="connsiteX253" fmla="*/ 1748512 w 2846795"/>
              <a:gd name="connsiteY253" fmla="*/ 1463296 h 2824875"/>
              <a:gd name="connsiteX254" fmla="*/ 1688662 w 2846795"/>
              <a:gd name="connsiteY254" fmla="*/ 1445017 h 2824875"/>
              <a:gd name="connsiteX255" fmla="*/ 1629682 w 2846795"/>
              <a:gd name="connsiteY255" fmla="*/ 1434655 h 2824875"/>
              <a:gd name="connsiteX256" fmla="*/ 1565521 w 2846795"/>
              <a:gd name="connsiteY256" fmla="*/ 1420708 h 2824875"/>
              <a:gd name="connsiteX257" fmla="*/ 1482377 w 2846795"/>
              <a:gd name="connsiteY257" fmla="*/ 1428044 h 2824875"/>
              <a:gd name="connsiteX258" fmla="*/ 1425117 w 2846795"/>
              <a:gd name="connsiteY258" fmla="*/ 1469036 h 2824875"/>
              <a:gd name="connsiteX259" fmla="*/ 1416910 w 2846795"/>
              <a:gd name="connsiteY259" fmla="*/ 1533923 h 2824875"/>
              <a:gd name="connsiteX260" fmla="*/ 1436618 w 2846795"/>
              <a:gd name="connsiteY260" fmla="*/ 1580240 h 2824875"/>
              <a:gd name="connsiteX261" fmla="*/ 1448265 w 2846795"/>
              <a:gd name="connsiteY261" fmla="*/ 1638081 h 2824875"/>
              <a:gd name="connsiteX262" fmla="*/ 1432577 w 2846795"/>
              <a:gd name="connsiteY262" fmla="*/ 1733037 h 2824875"/>
              <a:gd name="connsiteX263" fmla="*/ 1436598 w 2846795"/>
              <a:gd name="connsiteY263" fmla="*/ 1799063 h 2824875"/>
              <a:gd name="connsiteX264" fmla="*/ 1493568 w 2846795"/>
              <a:gd name="connsiteY264" fmla="*/ 1841216 h 2824875"/>
              <a:gd name="connsiteX265" fmla="*/ 1619299 w 2846795"/>
              <a:gd name="connsiteY265" fmla="*/ 1854168 h 2824875"/>
              <a:gd name="connsiteX266" fmla="*/ 1704039 w 2846795"/>
              <a:gd name="connsiteY266" fmla="*/ 1837050 h 2824875"/>
              <a:gd name="connsiteX267" fmla="*/ 1739290 w 2846795"/>
              <a:gd name="connsiteY267" fmla="*/ 1788577 h 2824875"/>
              <a:gd name="connsiteX268" fmla="*/ 1754108 w 2846795"/>
              <a:gd name="connsiteY268" fmla="*/ 1758507 h 2824875"/>
              <a:gd name="connsiteX269" fmla="*/ 1769071 w 2846795"/>
              <a:gd name="connsiteY269" fmla="*/ 1758507 h 2824875"/>
              <a:gd name="connsiteX270" fmla="*/ 1773526 w 2846795"/>
              <a:gd name="connsiteY270" fmla="*/ 1787562 h 2824875"/>
              <a:gd name="connsiteX271" fmla="*/ 1747621 w 2846795"/>
              <a:gd name="connsiteY271" fmla="*/ 1819497 h 2824875"/>
              <a:gd name="connsiteX272" fmla="*/ 1719271 w 2846795"/>
              <a:gd name="connsiteY272" fmla="*/ 1806110 h 2824875"/>
              <a:gd name="connsiteX273" fmla="*/ 1727478 w 2846795"/>
              <a:gd name="connsiteY273" fmla="*/ 1762092 h 2824875"/>
              <a:gd name="connsiteX274" fmla="*/ 1757258 w 2846795"/>
              <a:gd name="connsiteY274" fmla="*/ 1731297 h 2824875"/>
              <a:gd name="connsiteX275" fmla="*/ 1781857 w 2846795"/>
              <a:gd name="connsiteY275" fmla="*/ 1696626 h 2824875"/>
              <a:gd name="connsiteX276" fmla="*/ 1759123 w 2846795"/>
              <a:gd name="connsiteY276" fmla="*/ 1625563 h 2824875"/>
              <a:gd name="connsiteX277" fmla="*/ 1710650 w 2846795"/>
              <a:gd name="connsiteY277" fmla="*/ 1549175 h 2824875"/>
              <a:gd name="connsiteX278" fmla="*/ 1628065 w 2846795"/>
              <a:gd name="connsiteY278" fmla="*/ 1512349 h 2824875"/>
              <a:gd name="connsiteX279" fmla="*/ 1535989 w 2846795"/>
              <a:gd name="connsiteY279" fmla="*/ 1521260 h 2824875"/>
              <a:gd name="connsiteX280" fmla="*/ 1469528 w 2846795"/>
              <a:gd name="connsiteY280" fmla="*/ 1574624 h 2824875"/>
              <a:gd name="connsiteX281" fmla="*/ 1448100 w 2846795"/>
              <a:gd name="connsiteY281" fmla="*/ 1608280 h 2824875"/>
              <a:gd name="connsiteX282" fmla="*/ 1425946 w 2846795"/>
              <a:gd name="connsiteY282" fmla="*/ 1663384 h 2824875"/>
              <a:gd name="connsiteX283" fmla="*/ 1406527 w 2846795"/>
              <a:gd name="connsiteY283" fmla="*/ 1760351 h 2824875"/>
              <a:gd name="connsiteX284" fmla="*/ 1422215 w 2846795"/>
              <a:gd name="connsiteY284" fmla="*/ 1829693 h 2824875"/>
              <a:gd name="connsiteX285" fmla="*/ 1452866 w 2846795"/>
              <a:gd name="connsiteY285" fmla="*/ 1880115 h 2824875"/>
              <a:gd name="connsiteX286" fmla="*/ 1472139 w 2846795"/>
              <a:gd name="connsiteY286" fmla="*/ 1939737 h 2824875"/>
              <a:gd name="connsiteX287" fmla="*/ 1476885 w 2846795"/>
              <a:gd name="connsiteY287" fmla="*/ 1996769 h 2824875"/>
              <a:gd name="connsiteX288" fmla="*/ 1459332 w 2846795"/>
              <a:gd name="connsiteY288" fmla="*/ 2060205 h 2824875"/>
              <a:gd name="connsiteX289" fmla="*/ 1462212 w 2846795"/>
              <a:gd name="connsiteY289" fmla="*/ 2092430 h 2824875"/>
              <a:gd name="connsiteX290" fmla="*/ 1501339 w 2846795"/>
              <a:gd name="connsiteY290" fmla="*/ 2073157 h 2824875"/>
              <a:gd name="connsiteX291" fmla="*/ 1597083 w 2846795"/>
              <a:gd name="connsiteY291" fmla="*/ 2002592 h 2824875"/>
              <a:gd name="connsiteX292" fmla="*/ 1667586 w 2846795"/>
              <a:gd name="connsiteY292" fmla="*/ 1957705 h 2824875"/>
              <a:gd name="connsiteX293" fmla="*/ 1726856 w 2846795"/>
              <a:gd name="connsiteY293" fmla="*/ 1927987 h 2824875"/>
              <a:gd name="connsiteX294" fmla="*/ 1753258 w 2846795"/>
              <a:gd name="connsiteY294" fmla="*/ 1933520 h 2824875"/>
              <a:gd name="connsiteX295" fmla="*/ 1781816 w 2846795"/>
              <a:gd name="connsiteY295" fmla="*/ 1986034 h 2824875"/>
              <a:gd name="connsiteX296" fmla="*/ 1823616 w 2846795"/>
              <a:gd name="connsiteY296" fmla="*/ 2024809 h 2824875"/>
              <a:gd name="connsiteX297" fmla="*/ 1853044 w 2846795"/>
              <a:gd name="connsiteY297" fmla="*/ 2039129 h 2824875"/>
              <a:gd name="connsiteX298" fmla="*/ 1845417 w 2846795"/>
              <a:gd name="connsiteY298" fmla="*/ 2056392 h 2824875"/>
              <a:gd name="connsiteX299" fmla="*/ 1802685 w 2846795"/>
              <a:gd name="connsiteY299" fmla="*/ 2090420 h 2824875"/>
              <a:gd name="connsiteX300" fmla="*/ 1764283 w 2846795"/>
              <a:gd name="connsiteY300" fmla="*/ 2152281 h 2824875"/>
              <a:gd name="connsiteX301" fmla="*/ 1702132 w 2846795"/>
              <a:gd name="connsiteY301" fmla="*/ 2291753 h 2824875"/>
              <a:gd name="connsiteX302" fmla="*/ 1672207 w 2846795"/>
              <a:gd name="connsiteY302" fmla="*/ 2356639 h 2824875"/>
              <a:gd name="connsiteX303" fmla="*/ 1654654 w 2846795"/>
              <a:gd name="connsiteY303" fmla="*/ 2363043 h 2824875"/>
              <a:gd name="connsiteX304" fmla="*/ 1613082 w 2846795"/>
              <a:gd name="connsiteY304" fmla="*/ 2345054 h 2824875"/>
              <a:gd name="connsiteX305" fmla="*/ 1559925 w 2846795"/>
              <a:gd name="connsiteY305" fmla="*/ 2330174 h 2824875"/>
              <a:gd name="connsiteX306" fmla="*/ 1518498 w 2846795"/>
              <a:gd name="connsiteY306" fmla="*/ 2333345 h 2824875"/>
              <a:gd name="connsiteX307" fmla="*/ 1485112 w 2846795"/>
              <a:gd name="connsiteY307" fmla="*/ 2345075 h 2824875"/>
              <a:gd name="connsiteX308" fmla="*/ 1462813 w 2846795"/>
              <a:gd name="connsiteY308" fmla="*/ 2341759 h 2824875"/>
              <a:gd name="connsiteX309" fmla="*/ 1462523 w 2846795"/>
              <a:gd name="connsiteY309" fmla="*/ 2316435 h 2824875"/>
              <a:gd name="connsiteX310" fmla="*/ 1514022 w 2846795"/>
              <a:gd name="connsiteY310" fmla="*/ 2230907 h 2824875"/>
              <a:gd name="connsiteX311" fmla="*/ 1633868 w 2846795"/>
              <a:gd name="connsiteY311" fmla="*/ 2086462 h 2824875"/>
              <a:gd name="connsiteX312" fmla="*/ 1761050 w 2846795"/>
              <a:gd name="connsiteY312" fmla="*/ 2009494 h 2824875"/>
              <a:gd name="connsiteX313" fmla="*/ 1835718 w 2846795"/>
              <a:gd name="connsiteY313" fmla="*/ 2007773 h 2824875"/>
              <a:gd name="connsiteX314" fmla="*/ 1915422 w 2846795"/>
              <a:gd name="connsiteY314" fmla="*/ 2040579 h 2824875"/>
              <a:gd name="connsiteX315" fmla="*/ 1956414 w 2846795"/>
              <a:gd name="connsiteY315" fmla="*/ 2094378 h 2824875"/>
              <a:gd name="connsiteX316" fmla="*/ 1981593 w 2846795"/>
              <a:gd name="connsiteY316" fmla="*/ 2161420 h 2824875"/>
              <a:gd name="connsiteX317" fmla="*/ 1998421 w 2846795"/>
              <a:gd name="connsiteY317" fmla="*/ 2191781 h 2824875"/>
              <a:gd name="connsiteX318" fmla="*/ 2004473 w 2846795"/>
              <a:gd name="connsiteY318" fmla="*/ 2185874 h 2824875"/>
              <a:gd name="connsiteX319" fmla="*/ 1997717 w 2846795"/>
              <a:gd name="connsiteY319" fmla="*/ 2138106 h 2824875"/>
              <a:gd name="connsiteX320" fmla="*/ 1965781 w 2846795"/>
              <a:gd name="connsiteY320" fmla="*/ 2073364 h 2824875"/>
              <a:gd name="connsiteX321" fmla="*/ 1892688 w 2846795"/>
              <a:gd name="connsiteY321" fmla="*/ 2059127 h 2824875"/>
              <a:gd name="connsiteX322" fmla="*/ 1816155 w 2846795"/>
              <a:gd name="connsiteY322" fmla="*/ 2115517 h 2824875"/>
              <a:gd name="connsiteX323" fmla="*/ 1767682 w 2846795"/>
              <a:gd name="connsiteY323" fmla="*/ 2216504 h 2824875"/>
              <a:gd name="connsiteX324" fmla="*/ 1756740 w 2846795"/>
              <a:gd name="connsiteY324" fmla="*/ 2315771 h 2824875"/>
              <a:gd name="connsiteX325" fmla="*/ 1733280 w 2846795"/>
              <a:gd name="connsiteY325" fmla="*/ 2398211 h 2824875"/>
              <a:gd name="connsiteX326" fmla="*/ 1632148 w 2846795"/>
              <a:gd name="connsiteY326" fmla="*/ 2384554 h 2824875"/>
              <a:gd name="connsiteX327" fmla="*/ 1539637 w 2846795"/>
              <a:gd name="connsiteY327" fmla="*/ 2352183 h 2824875"/>
              <a:gd name="connsiteX328" fmla="*/ 1522519 w 2846795"/>
              <a:gd name="connsiteY328" fmla="*/ 2359229 h 2824875"/>
              <a:gd name="connsiteX329" fmla="*/ 1543947 w 2846795"/>
              <a:gd name="connsiteY329" fmla="*/ 2385549 h 2824875"/>
              <a:gd name="connsiteX330" fmla="*/ 1564381 w 2846795"/>
              <a:gd name="connsiteY330" fmla="*/ 2430727 h 2824875"/>
              <a:gd name="connsiteX331" fmla="*/ 1559200 w 2846795"/>
              <a:gd name="connsiteY331" fmla="*/ 2486412 h 2824875"/>
              <a:gd name="connsiteX332" fmla="*/ 1529710 w 2846795"/>
              <a:gd name="connsiteY332" fmla="*/ 2562364 h 2824875"/>
              <a:gd name="connsiteX333" fmla="*/ 1544963 w 2846795"/>
              <a:gd name="connsiteY333" fmla="*/ 2634587 h 2824875"/>
              <a:gd name="connsiteX334" fmla="*/ 1609124 w 2846795"/>
              <a:gd name="connsiteY334" fmla="*/ 2669984 h 2824875"/>
              <a:gd name="connsiteX335" fmla="*/ 1709821 w 2846795"/>
              <a:gd name="connsiteY335" fmla="*/ 2685526 h 2824875"/>
              <a:gd name="connsiteX336" fmla="*/ 1825481 w 2846795"/>
              <a:gd name="connsiteY336" fmla="*/ 2710706 h 2824875"/>
              <a:gd name="connsiteX337" fmla="*/ 1849666 w 2846795"/>
              <a:gd name="connsiteY337" fmla="*/ 2737274 h 2824875"/>
              <a:gd name="connsiteX338" fmla="*/ 1827284 w 2846795"/>
              <a:gd name="connsiteY338" fmla="*/ 2775385 h 2824875"/>
              <a:gd name="connsiteX339" fmla="*/ 1859468 w 2846795"/>
              <a:gd name="connsiteY339" fmla="*/ 2784130 h 2824875"/>
              <a:gd name="connsiteX340" fmla="*/ 2089565 w 2846795"/>
              <a:gd name="connsiteY340" fmla="*/ 2784130 h 2824875"/>
              <a:gd name="connsiteX341" fmla="*/ 2566897 w 2846795"/>
              <a:gd name="connsiteY341" fmla="*/ 2782162 h 2824875"/>
              <a:gd name="connsiteX342" fmla="*/ 2687966 w 2846795"/>
              <a:gd name="connsiteY342" fmla="*/ 2759884 h 2824875"/>
              <a:gd name="connsiteX343" fmla="*/ 2680464 w 2846795"/>
              <a:gd name="connsiteY343" fmla="*/ 2692303 h 2824875"/>
              <a:gd name="connsiteX344" fmla="*/ 2633566 w 2846795"/>
              <a:gd name="connsiteY344" fmla="*/ 2631872 h 2824875"/>
              <a:gd name="connsiteX345" fmla="*/ 2492291 w 2846795"/>
              <a:gd name="connsiteY345" fmla="*/ 2565701 h 2824875"/>
              <a:gd name="connsiteX346" fmla="*/ 2424110 w 2846795"/>
              <a:gd name="connsiteY346" fmla="*/ 2476651 h 2824875"/>
              <a:gd name="connsiteX347" fmla="*/ 2465247 w 2846795"/>
              <a:gd name="connsiteY347" fmla="*/ 2186330 h 2824875"/>
              <a:gd name="connsiteX348" fmla="*/ 2494592 w 2846795"/>
              <a:gd name="connsiteY348" fmla="*/ 1978159 h 2824875"/>
              <a:gd name="connsiteX349" fmla="*/ 2532289 w 2846795"/>
              <a:gd name="connsiteY349" fmla="*/ 1883202 h 2824875"/>
              <a:gd name="connsiteX350" fmla="*/ 2600200 w 2846795"/>
              <a:gd name="connsiteY350" fmla="*/ 1837175 h 2824875"/>
              <a:gd name="connsiteX351" fmla="*/ 2643928 w 2846795"/>
              <a:gd name="connsiteY351" fmla="*/ 1758051 h 2824875"/>
              <a:gd name="connsiteX352" fmla="*/ 2671553 w 2846795"/>
              <a:gd name="connsiteY352" fmla="*/ 1632029 h 2824875"/>
              <a:gd name="connsiteX353" fmla="*/ 2694577 w 2846795"/>
              <a:gd name="connsiteY353" fmla="*/ 1561817 h 2824875"/>
              <a:gd name="connsiteX354" fmla="*/ 2707239 w 2846795"/>
              <a:gd name="connsiteY354" fmla="*/ 1548305 h 2824875"/>
              <a:gd name="connsiteX355" fmla="*/ 2696877 w 2846795"/>
              <a:gd name="connsiteY355" fmla="*/ 1616217 h 2824875"/>
              <a:gd name="connsiteX356" fmla="*/ 2656300 w 2846795"/>
              <a:gd name="connsiteY356" fmla="*/ 1792308 h 2824875"/>
              <a:gd name="connsiteX357" fmla="*/ 2576306 w 2846795"/>
              <a:gd name="connsiteY357" fmla="*/ 1905377 h 2824875"/>
              <a:gd name="connsiteX358" fmla="*/ 2484810 w 2846795"/>
              <a:gd name="connsiteY358" fmla="*/ 1918329 h 2824875"/>
              <a:gd name="connsiteX359" fmla="*/ 2405251 w 2846795"/>
              <a:gd name="connsiteY359" fmla="*/ 1822813 h 2824875"/>
              <a:gd name="connsiteX360" fmla="*/ 2384113 w 2846795"/>
              <a:gd name="connsiteY360" fmla="*/ 1673912 h 2824875"/>
              <a:gd name="connsiteX361" fmla="*/ 2378642 w 2846795"/>
              <a:gd name="connsiteY361" fmla="*/ 1541984 h 2824875"/>
              <a:gd name="connsiteX362" fmla="*/ 2373751 w 2846795"/>
              <a:gd name="connsiteY362" fmla="*/ 1415527 h 2824875"/>
              <a:gd name="connsiteX363" fmla="*/ 2347141 w 2846795"/>
              <a:gd name="connsiteY363" fmla="*/ 1246918 h 2824875"/>
              <a:gd name="connsiteX364" fmla="*/ 2334769 w 2846795"/>
              <a:gd name="connsiteY364" fmla="*/ 1142615 h 2824875"/>
              <a:gd name="connsiteX365" fmla="*/ 2329153 w 2846795"/>
              <a:gd name="connsiteY365" fmla="*/ 1065211 h 2824875"/>
              <a:gd name="connsiteX366" fmla="*/ 2304554 w 2846795"/>
              <a:gd name="connsiteY366" fmla="*/ 939335 h 2824875"/>
              <a:gd name="connsiteX367" fmla="*/ 2256641 w 2846795"/>
              <a:gd name="connsiteY367" fmla="*/ 796630 h 2824875"/>
              <a:gd name="connsiteX368" fmla="*/ 2230736 w 2846795"/>
              <a:gd name="connsiteY368" fmla="*/ 692327 h 2824875"/>
              <a:gd name="connsiteX369" fmla="*/ 2239502 w 2846795"/>
              <a:gd name="connsiteY369" fmla="*/ 643564 h 2824875"/>
              <a:gd name="connsiteX370" fmla="*/ 2294026 w 2846795"/>
              <a:gd name="connsiteY370" fmla="*/ 635647 h 2824875"/>
              <a:gd name="connsiteX371" fmla="*/ 2342789 w 2846795"/>
              <a:gd name="connsiteY371" fmla="*/ 621700 h 2824875"/>
              <a:gd name="connsiteX372" fmla="*/ 2378621 w 2846795"/>
              <a:gd name="connsiteY372" fmla="*/ 587174 h 2824875"/>
              <a:gd name="connsiteX373" fmla="*/ 2391283 w 2846795"/>
              <a:gd name="connsiteY373" fmla="*/ 534080 h 2824875"/>
              <a:gd name="connsiteX374" fmla="*/ 2374601 w 2846795"/>
              <a:gd name="connsiteY374" fmla="*/ 480426 h 2824875"/>
              <a:gd name="connsiteX375" fmla="*/ 2310004 w 2846795"/>
              <a:gd name="connsiteY375" fmla="*/ 360020 h 2824875"/>
              <a:gd name="connsiteX376" fmla="*/ 2266567 w 2846795"/>
              <a:gd name="connsiteY376" fmla="*/ 280171 h 2824875"/>
              <a:gd name="connsiteX377" fmla="*/ 2203691 w 2846795"/>
              <a:gd name="connsiteY377" fmla="*/ 213564 h 2824875"/>
              <a:gd name="connsiteX378" fmla="*/ 2153622 w 2846795"/>
              <a:gd name="connsiteY378" fmla="*/ 194291 h 2824875"/>
              <a:gd name="connsiteX379" fmla="*/ 2109315 w 2846795"/>
              <a:gd name="connsiteY379" fmla="*/ 218310 h 2824875"/>
              <a:gd name="connsiteX380" fmla="*/ 2085731 w 2846795"/>
              <a:gd name="connsiteY380" fmla="*/ 264214 h 2824875"/>
              <a:gd name="connsiteX381" fmla="*/ 2085006 w 2846795"/>
              <a:gd name="connsiteY381" fmla="*/ 308666 h 2824875"/>
              <a:gd name="connsiteX382" fmla="*/ 2107595 w 2846795"/>
              <a:gd name="connsiteY382" fmla="*/ 327794 h 2824875"/>
              <a:gd name="connsiteX383" fmla="*/ 2138245 w 2846795"/>
              <a:gd name="connsiteY383" fmla="*/ 329660 h 2824875"/>
              <a:gd name="connsiteX384" fmla="*/ 2151343 w 2846795"/>
              <a:gd name="connsiteY384" fmla="*/ 299299 h 2824875"/>
              <a:gd name="connsiteX385" fmla="*/ 2155508 w 2846795"/>
              <a:gd name="connsiteY385" fmla="*/ 263053 h 2824875"/>
              <a:gd name="connsiteX386" fmla="*/ 2173641 w 2846795"/>
              <a:gd name="connsiteY386" fmla="*/ 251261 h 2824875"/>
              <a:gd name="connsiteX387" fmla="*/ 2215068 w 2846795"/>
              <a:gd name="connsiteY387" fmla="*/ 262058 h 2824875"/>
              <a:gd name="connsiteX388" fmla="*/ 2248019 w 2846795"/>
              <a:gd name="connsiteY388" fmla="*/ 269975 h 2824875"/>
              <a:gd name="connsiteX389" fmla="*/ 2262257 w 2846795"/>
              <a:gd name="connsiteY389" fmla="*/ 259903 h 2824875"/>
              <a:gd name="connsiteX390" fmla="*/ 2259749 w 2846795"/>
              <a:gd name="connsiteY390" fmla="*/ 230993 h 2824875"/>
              <a:gd name="connsiteX391" fmla="*/ 2231337 w 2846795"/>
              <a:gd name="connsiteY391" fmla="*/ 190851 h 2824875"/>
              <a:gd name="connsiteX392" fmla="*/ 2181351 w 2846795"/>
              <a:gd name="connsiteY392" fmla="*/ 163309 h 2824875"/>
              <a:gd name="connsiteX393" fmla="*/ 2141354 w 2846795"/>
              <a:gd name="connsiteY393" fmla="*/ 157548 h 2824875"/>
              <a:gd name="connsiteX394" fmla="*/ 2113377 w 2846795"/>
              <a:gd name="connsiteY394" fmla="*/ 169485 h 2824875"/>
              <a:gd name="connsiteX395" fmla="*/ 2082726 w 2846795"/>
              <a:gd name="connsiteY395" fmla="*/ 176469 h 2824875"/>
              <a:gd name="connsiteX396" fmla="*/ 2031870 w 2846795"/>
              <a:gd name="connsiteY396" fmla="*/ 162086 h 2824875"/>
              <a:gd name="connsiteX397" fmla="*/ 1991955 w 2846795"/>
              <a:gd name="connsiteY397" fmla="*/ 137280 h 2824875"/>
              <a:gd name="connsiteX398" fmla="*/ 1950528 w 2846795"/>
              <a:gd name="connsiteY398" fmla="*/ 77222 h 2824875"/>
              <a:gd name="connsiteX399" fmla="*/ 1938737 w 2846795"/>
              <a:gd name="connsiteY399" fmla="*/ 27008 h 2824875"/>
              <a:gd name="connsiteX400" fmla="*/ 1947669 w 2846795"/>
              <a:gd name="connsiteY400" fmla="*/ 1725 h 2824875"/>
              <a:gd name="connsiteX401" fmla="*/ 1970755 w 2846795"/>
              <a:gd name="connsiteY401" fmla="*/ 8461 h 2824875"/>
              <a:gd name="connsiteX402" fmla="*/ 2009260 w 2846795"/>
              <a:gd name="connsiteY402" fmla="*/ 49494 h 2824875"/>
              <a:gd name="connsiteX403" fmla="*/ 2058292 w 2846795"/>
              <a:gd name="connsiteY403" fmla="*/ 104412 h 2824875"/>
              <a:gd name="connsiteX404" fmla="*/ 2093544 w 2846795"/>
              <a:gd name="connsiteY404" fmla="*/ 149010 h 2824875"/>
              <a:gd name="connsiteX405" fmla="*/ 2084487 w 2846795"/>
              <a:gd name="connsiteY405" fmla="*/ 165837 h 2824875"/>
              <a:gd name="connsiteX406" fmla="*/ 2039599 w 2846795"/>
              <a:gd name="connsiteY406" fmla="*/ 172593 h 2824875"/>
              <a:gd name="connsiteX407" fmla="*/ 2028657 w 2846795"/>
              <a:gd name="connsiteY407" fmla="*/ 186976 h 2824875"/>
              <a:gd name="connsiteX408" fmla="*/ 2037424 w 2846795"/>
              <a:gd name="connsiteY408" fmla="*/ 210435 h 2824875"/>
              <a:gd name="connsiteX409" fmla="*/ 2052531 w 2846795"/>
              <a:gd name="connsiteY409" fmla="*/ 240360 h 2824875"/>
              <a:gd name="connsiteX410" fmla="*/ 2063183 w 2846795"/>
              <a:gd name="connsiteY410" fmla="*/ 276606 h 2824875"/>
              <a:gd name="connsiteX411" fmla="*/ 2061173 w 2846795"/>
              <a:gd name="connsiteY411" fmla="*/ 308832 h 2824875"/>
              <a:gd name="connsiteX412" fmla="*/ 2047226 w 2846795"/>
              <a:gd name="connsiteY412" fmla="*/ 318324 h 2824875"/>
              <a:gd name="connsiteX413" fmla="*/ 2037009 w 2846795"/>
              <a:gd name="connsiteY413" fmla="*/ 303216 h 2824875"/>
              <a:gd name="connsiteX414" fmla="*/ 2039890 w 2846795"/>
              <a:gd name="connsiteY414" fmla="*/ 281932 h 2824875"/>
              <a:gd name="connsiteX415" fmla="*/ 2037589 w 2846795"/>
              <a:gd name="connsiteY415" fmla="*/ 253168 h 2824875"/>
              <a:gd name="connsiteX416" fmla="*/ 2017301 w 2846795"/>
              <a:gd name="connsiteY416" fmla="*/ 238640 h 2824875"/>
              <a:gd name="connsiteX417" fmla="*/ 1980039 w 2846795"/>
              <a:gd name="connsiteY417" fmla="*/ 250142 h 2824875"/>
              <a:gd name="connsiteX418" fmla="*/ 1965367 w 2846795"/>
              <a:gd name="connsiteY418" fmla="*/ 281207 h 2824875"/>
              <a:gd name="connsiteX419" fmla="*/ 1979604 w 2846795"/>
              <a:gd name="connsiteY419" fmla="*/ 326820 h 2824875"/>
              <a:gd name="connsiteX420" fmla="*/ 2042625 w 2846795"/>
              <a:gd name="connsiteY420" fmla="*/ 396598 h 2824875"/>
              <a:gd name="connsiteX421" fmla="*/ 2145208 w 2846795"/>
              <a:gd name="connsiteY421" fmla="*/ 455288 h 2824875"/>
              <a:gd name="connsiteX422" fmla="*/ 2223752 w 2846795"/>
              <a:gd name="connsiteY422" fmla="*/ 542183 h 2824875"/>
              <a:gd name="connsiteX423" fmla="*/ 2264889 w 2846795"/>
              <a:gd name="connsiteY423" fmla="*/ 604624 h 2824875"/>
              <a:gd name="connsiteX424" fmla="*/ 2331640 w 2846795"/>
              <a:gd name="connsiteY424" fmla="*/ 595132 h 2824875"/>
              <a:gd name="connsiteX425" fmla="*/ 2408753 w 2846795"/>
              <a:gd name="connsiteY425" fmla="*/ 561746 h 2824875"/>
              <a:gd name="connsiteX426" fmla="*/ 2486157 w 2846795"/>
              <a:gd name="connsiteY426" fmla="*/ 631088 h 2824875"/>
              <a:gd name="connsiteX427" fmla="*/ 2597797 w 2846795"/>
              <a:gd name="connsiteY427" fmla="*/ 831052 h 2824875"/>
              <a:gd name="connsiteX428" fmla="*/ 2689292 w 2846795"/>
              <a:gd name="connsiteY428" fmla="*/ 1008013 h 2824875"/>
              <a:gd name="connsiteX429" fmla="*/ 2728999 w 2846795"/>
              <a:gd name="connsiteY429" fmla="*/ 1141081 h 2824875"/>
              <a:gd name="connsiteX430" fmla="*/ 2722098 w 2846795"/>
              <a:gd name="connsiteY430" fmla="*/ 1265963 h 2824875"/>
              <a:gd name="connsiteX431" fmla="*/ 2726409 w 2846795"/>
              <a:gd name="connsiteY431" fmla="*/ 1370556 h 2824875"/>
              <a:gd name="connsiteX432" fmla="*/ 2748998 w 2846795"/>
              <a:gd name="connsiteY432" fmla="*/ 1502194 h 2824875"/>
              <a:gd name="connsiteX433" fmla="*/ 2793596 w 2846795"/>
              <a:gd name="connsiteY433" fmla="*/ 1683756 h 2824875"/>
              <a:gd name="connsiteX434" fmla="*/ 2841924 w 2846795"/>
              <a:gd name="connsiteY434" fmla="*/ 1899699 h 2824875"/>
              <a:gd name="connsiteX435" fmla="*/ 2835872 w 2846795"/>
              <a:gd name="connsiteY435" fmla="*/ 2160094 h 2824875"/>
              <a:gd name="connsiteX436" fmla="*/ 2789119 w 2846795"/>
              <a:gd name="connsiteY436" fmla="*/ 2458476 h 2824875"/>
              <a:gd name="connsiteX437" fmla="*/ 2737620 w 2846795"/>
              <a:gd name="connsiteY437" fmla="*/ 2693547 h 2824875"/>
              <a:gd name="connsiteX438" fmla="*/ 2657626 w 2846795"/>
              <a:gd name="connsiteY438" fmla="*/ 2723762 h 2824875"/>
              <a:gd name="connsiteX439" fmla="*/ 2479816 w 2846795"/>
              <a:gd name="connsiteY439" fmla="*/ 2656720 h 2824875"/>
              <a:gd name="connsiteX440" fmla="*/ 2254237 w 2846795"/>
              <a:gd name="connsiteY440" fmla="*/ 2611832 h 2824875"/>
              <a:gd name="connsiteX441" fmla="*/ 2082166 w 2846795"/>
              <a:gd name="connsiteY441" fmla="*/ 2636287 h 2824875"/>
              <a:gd name="connsiteX442" fmla="*/ 1994401 w 2846795"/>
              <a:gd name="connsiteY442" fmla="*/ 2663621 h 2824875"/>
              <a:gd name="connsiteX443" fmla="*/ 1965346 w 2846795"/>
              <a:gd name="connsiteY443" fmla="*/ 2610382 h 2824875"/>
              <a:gd name="connsiteX444" fmla="*/ 1972537 w 2846795"/>
              <a:gd name="connsiteY444" fmla="*/ 2529538 h 2824875"/>
              <a:gd name="connsiteX445" fmla="*/ 2001302 w 2846795"/>
              <a:gd name="connsiteY445" fmla="*/ 2410127 h 2824875"/>
              <a:gd name="connsiteX446" fmla="*/ 2065173 w 2846795"/>
              <a:gd name="connsiteY446" fmla="*/ 2234762 h 2824875"/>
              <a:gd name="connsiteX447" fmla="*/ 2185164 w 2846795"/>
              <a:gd name="connsiteY447" fmla="*/ 1982428 h 2824875"/>
              <a:gd name="connsiteX448" fmla="*/ 2272639 w 2846795"/>
              <a:gd name="connsiteY448" fmla="*/ 1790940 h 2824875"/>
              <a:gd name="connsiteX449" fmla="*/ 2341691 w 2846795"/>
              <a:gd name="connsiteY449" fmla="*/ 1698284 h 2824875"/>
              <a:gd name="connsiteX450" fmla="*/ 2369026 w 2846795"/>
              <a:gd name="connsiteY450" fmla="*/ 1632962 h 2824875"/>
              <a:gd name="connsiteX451" fmla="*/ 2351473 w 2846795"/>
              <a:gd name="connsiteY451" fmla="*/ 1607927 h 2824875"/>
              <a:gd name="connsiteX452" fmla="*/ 2270774 w 2846795"/>
              <a:gd name="connsiteY452" fmla="*/ 1653541 h 2824875"/>
              <a:gd name="connsiteX453" fmla="*/ 2210343 w 2846795"/>
              <a:gd name="connsiteY453" fmla="*/ 1626206 h 2824875"/>
              <a:gd name="connsiteX454" fmla="*/ 2164585 w 2846795"/>
              <a:gd name="connsiteY454" fmla="*/ 1571972 h 2824875"/>
              <a:gd name="connsiteX455" fmla="*/ 2149623 w 2846795"/>
              <a:gd name="connsiteY455" fmla="*/ 1525364 h 2824875"/>
              <a:gd name="connsiteX456" fmla="*/ 2171776 w 2846795"/>
              <a:gd name="connsiteY456" fmla="*/ 1480476 h 2824875"/>
              <a:gd name="connsiteX457" fmla="*/ 2219690 w 2846795"/>
              <a:gd name="connsiteY457" fmla="*/ 1471710 h 2824875"/>
              <a:gd name="connsiteX458" fmla="*/ 2304575 w 2846795"/>
              <a:gd name="connsiteY458" fmla="*/ 1491128 h 2824875"/>
              <a:gd name="connsiteX459" fmla="*/ 2357939 w 2846795"/>
              <a:gd name="connsiteY459" fmla="*/ 1495148 h 2824875"/>
              <a:gd name="connsiteX460" fmla="*/ 2365130 w 2846795"/>
              <a:gd name="connsiteY460" fmla="*/ 1468539 h 2824875"/>
              <a:gd name="connsiteX461" fmla="*/ 2343411 w 2846795"/>
              <a:gd name="connsiteY461" fmla="*/ 1383509 h 2824875"/>
              <a:gd name="connsiteX462" fmla="*/ 2328594 w 2846795"/>
              <a:gd name="connsiteY462" fmla="*/ 1282957 h 2824875"/>
              <a:gd name="connsiteX463" fmla="*/ 2324428 w 2846795"/>
              <a:gd name="connsiteY463" fmla="*/ 1207999 h 2824875"/>
              <a:gd name="connsiteX464" fmla="*/ 2305735 w 2846795"/>
              <a:gd name="connsiteY464" fmla="*/ 1175628 h 2824875"/>
              <a:gd name="connsiteX465" fmla="*/ 2240559 w 2846795"/>
              <a:gd name="connsiteY465" fmla="*/ 1175918 h 2824875"/>
              <a:gd name="connsiteX466" fmla="*/ 2155964 w 2846795"/>
              <a:gd name="connsiteY466" fmla="*/ 1209574 h 2824875"/>
              <a:gd name="connsiteX467" fmla="*/ 2105750 w 2846795"/>
              <a:gd name="connsiteY467" fmla="*/ 1260223 h 2824875"/>
              <a:gd name="connsiteX468" fmla="*/ 2085171 w 2846795"/>
              <a:gd name="connsiteY468" fmla="*/ 1297774 h 2824875"/>
              <a:gd name="connsiteX469" fmla="*/ 2074664 w 2846795"/>
              <a:gd name="connsiteY469" fmla="*/ 1286977 h 2824875"/>
              <a:gd name="connsiteX470" fmla="*/ 2069918 w 2846795"/>
              <a:gd name="connsiteY470" fmla="*/ 1234028 h 2824875"/>
              <a:gd name="connsiteX471" fmla="*/ 2108050 w 2846795"/>
              <a:gd name="connsiteY471" fmla="*/ 1171587 h 2824875"/>
              <a:gd name="connsiteX472" fmla="*/ 2189910 w 2846795"/>
              <a:gd name="connsiteY472" fmla="*/ 1136045 h 2824875"/>
              <a:gd name="connsiteX473" fmla="*/ 2269759 w 2846795"/>
              <a:gd name="connsiteY473" fmla="*/ 1132294 h 2824875"/>
              <a:gd name="connsiteX474" fmla="*/ 2308450 w 2846795"/>
              <a:gd name="connsiteY474" fmla="*/ 1125683 h 2824875"/>
              <a:gd name="connsiteX475" fmla="*/ 2307290 w 2846795"/>
              <a:gd name="connsiteY475" fmla="*/ 1074765 h 2824875"/>
              <a:gd name="connsiteX476" fmla="*/ 2297653 w 2846795"/>
              <a:gd name="connsiteY476" fmla="*/ 1036778 h 2824875"/>
              <a:gd name="connsiteX477" fmla="*/ 2262982 w 2846795"/>
              <a:gd name="connsiteY477" fmla="*/ 1022831 h 2824875"/>
              <a:gd name="connsiteX478" fmla="*/ 2194655 w 2846795"/>
              <a:gd name="connsiteY478" fmla="*/ 1035493 h 2824875"/>
              <a:gd name="connsiteX479" fmla="*/ 2144296 w 2846795"/>
              <a:gd name="connsiteY479" fmla="*/ 1081811 h 2824875"/>
              <a:gd name="connsiteX480" fmla="*/ 2106310 w 2846795"/>
              <a:gd name="connsiteY480" fmla="*/ 1120088 h 2824875"/>
              <a:gd name="connsiteX481" fmla="*/ 2043434 w 2846795"/>
              <a:gd name="connsiteY481" fmla="*/ 1152894 h 2824875"/>
              <a:gd name="connsiteX482" fmla="*/ 1998401 w 2846795"/>
              <a:gd name="connsiteY482" fmla="*/ 1194756 h 2824875"/>
              <a:gd name="connsiteX483" fmla="*/ 1991645 w 2846795"/>
              <a:gd name="connsiteY483" fmla="*/ 1239354 h 2824875"/>
              <a:gd name="connsiteX484" fmla="*/ 2014669 w 2846795"/>
              <a:gd name="connsiteY484" fmla="*/ 1279351 h 2824875"/>
              <a:gd name="connsiteX485" fmla="*/ 2051350 w 2846795"/>
              <a:gd name="connsiteY485" fmla="*/ 1309566 h 2824875"/>
              <a:gd name="connsiteX486" fmla="*/ 2064157 w 2846795"/>
              <a:gd name="connsiteY486" fmla="*/ 1331865 h 2824875"/>
              <a:gd name="connsiteX487" fmla="*/ 2053505 w 2846795"/>
              <a:gd name="connsiteY487" fmla="*/ 1376173 h 2824875"/>
              <a:gd name="connsiteX488" fmla="*/ 2057671 w 2846795"/>
              <a:gd name="connsiteY488" fmla="*/ 1437598 h 2824875"/>
              <a:gd name="connsiteX489" fmla="*/ 2084715 w 2846795"/>
              <a:gd name="connsiteY489" fmla="*/ 1526939 h 2824875"/>
              <a:gd name="connsiteX490" fmla="*/ 2142556 w 2846795"/>
              <a:gd name="connsiteY490" fmla="*/ 1590374 h 2824875"/>
              <a:gd name="connsiteX491" fmla="*/ 2188583 w 2846795"/>
              <a:gd name="connsiteY491" fmla="*/ 1652525 h 2824875"/>
              <a:gd name="connsiteX492" fmla="*/ 2211753 w 2846795"/>
              <a:gd name="connsiteY492" fmla="*/ 1709350 h 2824875"/>
              <a:gd name="connsiteX493" fmla="*/ 2213038 w 2846795"/>
              <a:gd name="connsiteY493" fmla="*/ 1751502 h 2824875"/>
              <a:gd name="connsiteX494" fmla="*/ 2193619 w 2846795"/>
              <a:gd name="connsiteY494" fmla="*/ 1786463 h 2824875"/>
              <a:gd name="connsiteX495" fmla="*/ 2145416 w 2846795"/>
              <a:gd name="connsiteY495" fmla="*/ 1826170 h 2824875"/>
              <a:gd name="connsiteX496" fmla="*/ 2094062 w 2846795"/>
              <a:gd name="connsiteY496" fmla="*/ 1865877 h 2824875"/>
              <a:gd name="connsiteX497" fmla="*/ 2067452 w 2846795"/>
              <a:gd name="connsiteY497" fmla="*/ 1897668 h 2824875"/>
              <a:gd name="connsiteX498" fmla="*/ 2076654 w 2846795"/>
              <a:gd name="connsiteY498" fmla="*/ 1913791 h 2824875"/>
              <a:gd name="connsiteX499" fmla="*/ 2097668 w 2846795"/>
              <a:gd name="connsiteY499" fmla="*/ 1937955 h 2824875"/>
              <a:gd name="connsiteX500" fmla="*/ 2095077 w 2846795"/>
              <a:gd name="connsiteY500" fmla="*/ 2004416 h 2824875"/>
              <a:gd name="connsiteX501" fmla="*/ 2059391 w 2846795"/>
              <a:gd name="connsiteY501" fmla="*/ 2109155 h 2824875"/>
              <a:gd name="connsiteX502" fmla="*/ 1969325 w 2846795"/>
              <a:gd name="connsiteY502" fmla="*/ 2331853 h 2824875"/>
              <a:gd name="connsiteX503" fmla="*/ 1904584 w 2846795"/>
              <a:gd name="connsiteY503" fmla="*/ 2574405 h 2824875"/>
              <a:gd name="connsiteX504" fmla="*/ 1892502 w 2846795"/>
              <a:gd name="connsiteY504" fmla="*/ 2764443 h 2824875"/>
              <a:gd name="connsiteX505" fmla="*/ 2038812 w 2846795"/>
              <a:gd name="connsiteY505" fmla="*/ 2824874 h 2824875"/>
              <a:gd name="connsiteX0" fmla="*/ 1241953 w 2846793"/>
              <a:gd name="connsiteY0" fmla="*/ 2360975 h 2784234"/>
              <a:gd name="connsiteX1" fmla="*/ 1209568 w 2846793"/>
              <a:gd name="connsiteY1" fmla="*/ 2270448 h 2784234"/>
              <a:gd name="connsiteX2" fmla="*/ 1120808 w 2846793"/>
              <a:gd name="connsiteY2" fmla="*/ 2115662 h 2784234"/>
              <a:gd name="connsiteX3" fmla="*/ 1030182 w 2846793"/>
              <a:gd name="connsiteY3" fmla="*/ 1957124 h 2784234"/>
              <a:gd name="connsiteX4" fmla="*/ 963576 w 2846793"/>
              <a:gd name="connsiteY4" fmla="*/ 1924173 h 2784234"/>
              <a:gd name="connsiteX5" fmla="*/ 805764 w 2846793"/>
              <a:gd name="connsiteY5" fmla="*/ 1954244 h 2784234"/>
              <a:gd name="connsiteX6" fmla="*/ 604929 w 2846793"/>
              <a:gd name="connsiteY6" fmla="*/ 1989060 h 2784234"/>
              <a:gd name="connsiteX7" fmla="*/ 477332 w 2846793"/>
              <a:gd name="connsiteY7" fmla="*/ 1993661 h 2784234"/>
              <a:gd name="connsiteX8" fmla="*/ 361672 w 2846793"/>
              <a:gd name="connsiteY8" fmla="*/ 2000852 h 2784234"/>
              <a:gd name="connsiteX9" fmla="*/ 98687 w 2846793"/>
              <a:gd name="connsiteY9" fmla="*/ 2062567 h 2784234"/>
              <a:gd name="connsiteX10" fmla="*/ 3316 w 2846793"/>
              <a:gd name="connsiteY10" fmla="*/ 2090047 h 2784234"/>
              <a:gd name="connsiteX11" fmla="*/ 45468 w 2846793"/>
              <a:gd name="connsiteY11" fmla="*/ 2164135 h 2784234"/>
              <a:gd name="connsiteX12" fmla="*/ 243277 w 2846793"/>
              <a:gd name="connsiteY12" fmla="*/ 2417629 h 2784234"/>
              <a:gd name="connsiteX13" fmla="*/ 343270 w 2846793"/>
              <a:gd name="connsiteY13" fmla="*/ 2553723 h 2784234"/>
              <a:gd name="connsiteX14" fmla="*/ 396634 w 2846793"/>
              <a:gd name="connsiteY14" fmla="*/ 2608392 h 2784234"/>
              <a:gd name="connsiteX15" fmla="*/ 442102 w 2846793"/>
              <a:gd name="connsiteY15" fmla="*/ 2644348 h 2784234"/>
              <a:gd name="connsiteX16" fmla="*/ 450018 w 2846793"/>
              <a:gd name="connsiteY16" fmla="*/ 2670108 h 2784234"/>
              <a:gd name="connsiteX17" fmla="*/ 431180 w 2846793"/>
              <a:gd name="connsiteY17" fmla="*/ 2687516 h 2784234"/>
              <a:gd name="connsiteX18" fmla="*/ 385007 w 2846793"/>
              <a:gd name="connsiteY18" fmla="*/ 2665507 h 2784234"/>
              <a:gd name="connsiteX19" fmla="*/ 320266 w 2846793"/>
              <a:gd name="connsiteY19" fmla="*/ 2569991 h 2784234"/>
              <a:gd name="connsiteX20" fmla="*/ 307459 w 2846793"/>
              <a:gd name="connsiteY20" fmla="*/ 2513166 h 2784234"/>
              <a:gd name="connsiteX21" fmla="*/ 319396 w 2846793"/>
              <a:gd name="connsiteY21" fmla="*/ 2499923 h 2784234"/>
              <a:gd name="connsiteX22" fmla="*/ 348015 w 2846793"/>
              <a:gd name="connsiteY22" fmla="*/ 2524378 h 2784234"/>
              <a:gd name="connsiteX23" fmla="*/ 378086 w 2846793"/>
              <a:gd name="connsiteY23" fmla="*/ 2562364 h 2784234"/>
              <a:gd name="connsiteX24" fmla="*/ 409731 w 2846793"/>
              <a:gd name="connsiteY24" fmla="*/ 2581348 h 2784234"/>
              <a:gd name="connsiteX25" fmla="*/ 431740 w 2846793"/>
              <a:gd name="connsiteY25" fmla="*/ 2604372 h 2784234"/>
              <a:gd name="connsiteX26" fmla="*/ 455323 w 2846793"/>
              <a:gd name="connsiteY26" fmla="*/ 2623645 h 2784234"/>
              <a:gd name="connsiteX27" fmla="*/ 472006 w 2846793"/>
              <a:gd name="connsiteY27" fmla="*/ 2654005 h 2784234"/>
              <a:gd name="connsiteX28" fmla="*/ 483798 w 2846793"/>
              <a:gd name="connsiteY28" fmla="*/ 2705649 h 2784234"/>
              <a:gd name="connsiteX29" fmla="*/ 515029 w 2846793"/>
              <a:gd name="connsiteY29" fmla="*/ 2761707 h 2784234"/>
              <a:gd name="connsiteX30" fmla="*/ 593924 w 2846793"/>
              <a:gd name="connsiteY30" fmla="*/ 2781975 h 2784234"/>
              <a:gd name="connsiteX31" fmla="*/ 917921 w 2846793"/>
              <a:gd name="connsiteY31" fmla="*/ 2784234 h 2784234"/>
              <a:gd name="connsiteX32" fmla="*/ 1481859 w 2846793"/>
              <a:gd name="connsiteY32" fmla="*/ 2784234 h 2784234"/>
              <a:gd name="connsiteX33" fmla="*/ 1611175 w 2846793"/>
              <a:gd name="connsiteY33" fmla="*/ 2760402 h 2784234"/>
              <a:gd name="connsiteX34" fmla="*/ 1530415 w 2846793"/>
              <a:gd name="connsiteY34" fmla="*/ 2653819 h 2784234"/>
              <a:gd name="connsiteX35" fmla="*/ 1485506 w 2846793"/>
              <a:gd name="connsiteY35" fmla="*/ 2582508 h 2784234"/>
              <a:gd name="connsiteX36" fmla="*/ 1444639 w 2846793"/>
              <a:gd name="connsiteY36" fmla="*/ 2563380 h 2784234"/>
              <a:gd name="connsiteX37" fmla="*/ 1360914 w 2846793"/>
              <a:gd name="connsiteY37" fmla="*/ 2569701 h 2784234"/>
              <a:gd name="connsiteX38" fmla="*/ 1305374 w 2846793"/>
              <a:gd name="connsiteY38" fmla="*/ 2561204 h 2784234"/>
              <a:gd name="connsiteX39" fmla="*/ 1259906 w 2846793"/>
              <a:gd name="connsiteY39" fmla="*/ 2517187 h 2784234"/>
              <a:gd name="connsiteX40" fmla="*/ 1228551 w 2846793"/>
              <a:gd name="connsiteY40" fmla="*/ 2442519 h 2784234"/>
              <a:gd name="connsiteX41" fmla="*/ 1227121 w 2846793"/>
              <a:gd name="connsiteY41" fmla="*/ 2364680 h 2784234"/>
              <a:gd name="connsiteX42" fmla="*/ 1271139 w 2846793"/>
              <a:gd name="connsiteY42" fmla="*/ 2317491 h 2784234"/>
              <a:gd name="connsiteX43" fmla="*/ 1254021 w 2846793"/>
              <a:gd name="connsiteY43" fmla="*/ 2254201 h 2784234"/>
              <a:gd name="connsiteX44" fmla="*/ 1118217 w 2846793"/>
              <a:gd name="connsiteY44" fmla="*/ 2041429 h 2784234"/>
              <a:gd name="connsiteX45" fmla="*/ 1021105 w 2846793"/>
              <a:gd name="connsiteY45" fmla="*/ 1888363 h 2784234"/>
              <a:gd name="connsiteX46" fmla="*/ 969171 w 2846793"/>
              <a:gd name="connsiteY46" fmla="*/ 1865338 h 2784234"/>
              <a:gd name="connsiteX47" fmla="*/ 890048 w 2846793"/>
              <a:gd name="connsiteY47" fmla="*/ 1886477 h 2784234"/>
              <a:gd name="connsiteX48" fmla="*/ 773808 w 2846793"/>
              <a:gd name="connsiteY48" fmla="*/ 1916837 h 2784234"/>
              <a:gd name="connsiteX49" fmla="*/ 552974 w 2846793"/>
              <a:gd name="connsiteY49" fmla="*/ 1960565 h 2784234"/>
              <a:gd name="connsiteX50" fmla="*/ 460463 w 2846793"/>
              <a:gd name="connsiteY50" fmla="*/ 1968771 h 2784234"/>
              <a:gd name="connsiteX51" fmla="*/ 390251 w 2846793"/>
              <a:gd name="connsiteY51" fmla="*/ 1936110 h 2784234"/>
              <a:gd name="connsiteX52" fmla="*/ 237329 w 2846793"/>
              <a:gd name="connsiteY52" fmla="*/ 1817280 h 2784234"/>
              <a:gd name="connsiteX53" fmla="*/ 148859 w 2846793"/>
              <a:gd name="connsiteY53" fmla="*/ 1724478 h 2784234"/>
              <a:gd name="connsiteX54" fmla="*/ 135326 w 2846793"/>
              <a:gd name="connsiteY54" fmla="*/ 1660753 h 2784234"/>
              <a:gd name="connsiteX55" fmla="*/ 160361 w 2846793"/>
              <a:gd name="connsiteY55" fmla="*/ 1619326 h 2784234"/>
              <a:gd name="connsiteX56" fmla="*/ 206534 w 2846793"/>
              <a:gd name="connsiteY56" fmla="*/ 1610829 h 2784234"/>
              <a:gd name="connsiteX57" fmla="*/ 299894 w 2846793"/>
              <a:gd name="connsiteY57" fmla="*/ 1646370 h 2784234"/>
              <a:gd name="connsiteX58" fmla="*/ 372552 w 2846793"/>
              <a:gd name="connsiteY58" fmla="*/ 1668959 h 2784234"/>
              <a:gd name="connsiteX59" fmla="*/ 375723 w 2846793"/>
              <a:gd name="connsiteY59" fmla="*/ 1692688 h 2784234"/>
              <a:gd name="connsiteX60" fmla="*/ 313282 w 2846793"/>
              <a:gd name="connsiteY60" fmla="*/ 1712832 h 2784234"/>
              <a:gd name="connsiteX61" fmla="*/ 211134 w 2846793"/>
              <a:gd name="connsiteY61" fmla="*/ 1685787 h 2784234"/>
              <a:gd name="connsiteX62" fmla="*/ 161356 w 2846793"/>
              <a:gd name="connsiteY62" fmla="*/ 1648235 h 2784234"/>
              <a:gd name="connsiteX63" fmla="*/ 166391 w 2846793"/>
              <a:gd name="connsiteY63" fmla="*/ 1605586 h 2784234"/>
              <a:gd name="connsiteX64" fmla="*/ 200192 w 2846793"/>
              <a:gd name="connsiteY64" fmla="*/ 1577816 h 2784234"/>
              <a:gd name="connsiteX65" fmla="*/ 287232 w 2846793"/>
              <a:gd name="connsiteY65" fmla="*/ 1590830 h 2784234"/>
              <a:gd name="connsiteX66" fmla="*/ 369009 w 2846793"/>
              <a:gd name="connsiteY66" fmla="*/ 1618953 h 2784234"/>
              <a:gd name="connsiteX67" fmla="*/ 419927 w 2846793"/>
              <a:gd name="connsiteY67" fmla="*/ 1621046 h 2784234"/>
              <a:gd name="connsiteX68" fmla="*/ 508625 w 2846793"/>
              <a:gd name="connsiteY68" fmla="*/ 1559682 h 2784234"/>
              <a:gd name="connsiteX69" fmla="*/ 603872 w 2846793"/>
              <a:gd name="connsiteY69" fmla="*/ 1496164 h 2784234"/>
              <a:gd name="connsiteX70" fmla="*/ 672489 w 2846793"/>
              <a:gd name="connsiteY70" fmla="*/ 1469699 h 2784234"/>
              <a:gd name="connsiteX71" fmla="*/ 740318 w 2846793"/>
              <a:gd name="connsiteY71" fmla="*/ 1459835 h 2784234"/>
              <a:gd name="connsiteX72" fmla="*/ 810675 w 2846793"/>
              <a:gd name="connsiteY72" fmla="*/ 1421288 h 2784234"/>
              <a:gd name="connsiteX73" fmla="*/ 854631 w 2846793"/>
              <a:gd name="connsiteY73" fmla="*/ 1394969 h 2784234"/>
              <a:gd name="connsiteX74" fmla="*/ 862982 w 2846793"/>
              <a:gd name="connsiteY74" fmla="*/ 1380214 h 2784234"/>
              <a:gd name="connsiteX75" fmla="*/ 851688 w 2846793"/>
              <a:gd name="connsiteY75" fmla="*/ 1366412 h 2784234"/>
              <a:gd name="connsiteX76" fmla="*/ 827524 w 2846793"/>
              <a:gd name="connsiteY76" fmla="*/ 1363614 h 2784234"/>
              <a:gd name="connsiteX77" fmla="*/ 824291 w 2846793"/>
              <a:gd name="connsiteY77" fmla="*/ 1354910 h 2784234"/>
              <a:gd name="connsiteX78" fmla="*/ 846652 w 2846793"/>
              <a:gd name="connsiteY78" fmla="*/ 1340030 h 2784234"/>
              <a:gd name="connsiteX79" fmla="*/ 880308 w 2846793"/>
              <a:gd name="connsiteY79" fmla="*/ 1319161 h 2784234"/>
              <a:gd name="connsiteX80" fmla="*/ 897363 w 2846793"/>
              <a:gd name="connsiteY80" fmla="*/ 1302831 h 2784234"/>
              <a:gd name="connsiteX81" fmla="*/ 886794 w 2846793"/>
              <a:gd name="connsiteY81" fmla="*/ 1295930 h 2784234"/>
              <a:gd name="connsiteX82" fmla="*/ 844642 w 2846793"/>
              <a:gd name="connsiteY82" fmla="*/ 1306934 h 2784234"/>
              <a:gd name="connsiteX83" fmla="*/ 809536 w 2846793"/>
              <a:gd name="connsiteY83" fmla="*/ 1335347 h 2784234"/>
              <a:gd name="connsiteX84" fmla="*/ 787029 w 2846793"/>
              <a:gd name="connsiteY84" fmla="*/ 1349667 h 2784234"/>
              <a:gd name="connsiteX85" fmla="*/ 782139 w 2846793"/>
              <a:gd name="connsiteY85" fmla="*/ 1343346 h 2784234"/>
              <a:gd name="connsiteX86" fmla="*/ 804583 w 2846793"/>
              <a:gd name="connsiteY86" fmla="*/ 1325296 h 2784234"/>
              <a:gd name="connsiteX87" fmla="*/ 816810 w 2846793"/>
              <a:gd name="connsiteY87" fmla="*/ 1307743 h 2784234"/>
              <a:gd name="connsiteX88" fmla="*/ 811276 w 2846793"/>
              <a:gd name="connsiteY88" fmla="*/ 1290977 h 2784234"/>
              <a:gd name="connsiteX89" fmla="*/ 791713 w 2846793"/>
              <a:gd name="connsiteY89" fmla="*/ 1290832 h 2784234"/>
              <a:gd name="connsiteX90" fmla="*/ 761933 w 2846793"/>
              <a:gd name="connsiteY90" fmla="*/ 1313856 h 2784234"/>
              <a:gd name="connsiteX91" fmla="*/ 742515 w 2846793"/>
              <a:gd name="connsiteY91" fmla="*/ 1324218 h 2784234"/>
              <a:gd name="connsiteX92" fmla="*/ 739862 w 2846793"/>
              <a:gd name="connsiteY92" fmla="*/ 1318457 h 2784234"/>
              <a:gd name="connsiteX93" fmla="*/ 752296 w 2846793"/>
              <a:gd name="connsiteY93" fmla="*/ 1300406 h 2784234"/>
              <a:gd name="connsiteX94" fmla="*/ 772585 w 2846793"/>
              <a:gd name="connsiteY94" fmla="*/ 1280615 h 2784234"/>
              <a:gd name="connsiteX95" fmla="*/ 776108 w 2846793"/>
              <a:gd name="connsiteY95" fmla="*/ 1263994 h 2784234"/>
              <a:gd name="connsiteX96" fmla="*/ 761083 w 2846793"/>
              <a:gd name="connsiteY96" fmla="*/ 1258026 h 2784234"/>
              <a:gd name="connsiteX97" fmla="*/ 718869 w 2846793"/>
              <a:gd name="connsiteY97" fmla="*/ 1273051 h 2784234"/>
              <a:gd name="connsiteX98" fmla="*/ 639600 w 2846793"/>
              <a:gd name="connsiteY98" fmla="*/ 1331181 h 2784234"/>
              <a:gd name="connsiteX99" fmla="*/ 569678 w 2846793"/>
              <a:gd name="connsiteY99" fmla="*/ 1382100 h 2784234"/>
              <a:gd name="connsiteX100" fmla="*/ 456173 w 2846793"/>
              <a:gd name="connsiteY100" fmla="*/ 1442530 h 2784234"/>
              <a:gd name="connsiteX101" fmla="*/ 325406 w 2846793"/>
              <a:gd name="connsiteY101" fmla="*/ 1515188 h 2784234"/>
              <a:gd name="connsiteX102" fmla="*/ 239526 w 2846793"/>
              <a:gd name="connsiteY102" fmla="*/ 1551144 h 2784234"/>
              <a:gd name="connsiteX103" fmla="*/ 218388 w 2846793"/>
              <a:gd name="connsiteY103" fmla="*/ 1575453 h 2784234"/>
              <a:gd name="connsiteX104" fmla="*/ 272912 w 2846793"/>
              <a:gd name="connsiteY104" fmla="*/ 1602208 h 2784234"/>
              <a:gd name="connsiteX105" fmla="*/ 357797 w 2846793"/>
              <a:gd name="connsiteY105" fmla="*/ 1635863 h 2784234"/>
              <a:gd name="connsiteX106" fmla="*/ 403410 w 2846793"/>
              <a:gd name="connsiteY106" fmla="*/ 1653271 h 2784234"/>
              <a:gd name="connsiteX107" fmla="*/ 416073 w 2846793"/>
              <a:gd name="connsiteY107" fmla="*/ 1682036 h 2784234"/>
              <a:gd name="connsiteX108" fmla="*/ 440817 w 2846793"/>
              <a:gd name="connsiteY108" fmla="*/ 1705060 h 2784234"/>
              <a:gd name="connsiteX109" fmla="*/ 514469 w 2846793"/>
              <a:gd name="connsiteY109" fmla="*/ 1733680 h 2784234"/>
              <a:gd name="connsiteX110" fmla="*/ 651288 w 2846793"/>
              <a:gd name="connsiteY110" fmla="*/ 1765905 h 2784234"/>
              <a:gd name="connsiteX111" fmla="*/ 768109 w 2846793"/>
              <a:gd name="connsiteY111" fmla="*/ 1785179 h 2784234"/>
              <a:gd name="connsiteX112" fmla="*/ 837306 w 2846793"/>
              <a:gd name="connsiteY112" fmla="*/ 1824740 h 2784234"/>
              <a:gd name="connsiteX113" fmla="*/ 840621 w 2846793"/>
              <a:gd name="connsiteY113" fmla="*/ 1854666 h 2784234"/>
              <a:gd name="connsiteX114" fmla="*/ 790843 w 2846793"/>
              <a:gd name="connsiteY114" fmla="*/ 1883430 h 2784234"/>
              <a:gd name="connsiteX115" fmla="*/ 713874 w 2846793"/>
              <a:gd name="connsiteY115" fmla="*/ 1902413 h 2784234"/>
              <a:gd name="connsiteX116" fmla="*/ 703367 w 2846793"/>
              <a:gd name="connsiteY116" fmla="*/ 1887741 h 2784234"/>
              <a:gd name="connsiteX117" fmla="*/ 735158 w 2846793"/>
              <a:gd name="connsiteY117" fmla="*/ 1840843 h 2784234"/>
              <a:gd name="connsiteX118" fmla="*/ 785662 w 2846793"/>
              <a:gd name="connsiteY118" fmla="*/ 1808037 h 2784234"/>
              <a:gd name="connsiteX119" fmla="*/ 864640 w 2846793"/>
              <a:gd name="connsiteY119" fmla="*/ 1809757 h 2784234"/>
              <a:gd name="connsiteX120" fmla="*/ 904637 w 2846793"/>
              <a:gd name="connsiteY120" fmla="*/ 1789468 h 2784234"/>
              <a:gd name="connsiteX121" fmla="*/ 916284 w 2846793"/>
              <a:gd name="connsiteY121" fmla="*/ 1745161 h 2784234"/>
              <a:gd name="connsiteX122" fmla="*/ 912119 w 2846793"/>
              <a:gd name="connsiteY122" fmla="*/ 1675238 h 2784234"/>
              <a:gd name="connsiteX123" fmla="*/ 918025 w 2846793"/>
              <a:gd name="connsiteY123" fmla="*/ 1647904 h 2784234"/>
              <a:gd name="connsiteX124" fmla="*/ 946230 w 2846793"/>
              <a:gd name="connsiteY124" fmla="*/ 1644588 h 2784234"/>
              <a:gd name="connsiteX125" fmla="*/ 993128 w 2846793"/>
              <a:gd name="connsiteY125" fmla="*/ 1664587 h 2784234"/>
              <a:gd name="connsiteX126" fmla="*/ 1043632 w 2846793"/>
              <a:gd name="connsiteY126" fmla="*/ 1685455 h 2784234"/>
              <a:gd name="connsiteX127" fmla="*/ 1091110 w 2846793"/>
              <a:gd name="connsiteY127" fmla="*/ 1667032 h 2784234"/>
              <a:gd name="connsiteX128" fmla="*/ 1113844 w 2846793"/>
              <a:gd name="connsiteY128" fmla="*/ 1609046 h 2784234"/>
              <a:gd name="connsiteX129" fmla="*/ 1137573 w 2846793"/>
              <a:gd name="connsiteY129" fmla="*/ 1536244 h 2784234"/>
              <a:gd name="connsiteX130" fmla="*/ 1175270 w 2846793"/>
              <a:gd name="connsiteY130" fmla="*/ 1484165 h 2784234"/>
              <a:gd name="connsiteX131" fmla="*/ 1215847 w 2846793"/>
              <a:gd name="connsiteY131" fmla="*/ 1437702 h 2784234"/>
              <a:gd name="connsiteX132" fmla="*/ 1213837 w 2846793"/>
              <a:gd name="connsiteY132" fmla="*/ 1405911 h 2784234"/>
              <a:gd name="connsiteX133" fmla="*/ 1160743 w 2846793"/>
              <a:gd name="connsiteY133" fmla="*/ 1359449 h 2784234"/>
              <a:gd name="connsiteX134" fmla="*/ 1072273 w 2846793"/>
              <a:gd name="connsiteY134" fmla="*/ 1326207 h 2784234"/>
              <a:gd name="connsiteX135" fmla="*/ 969420 w 2846793"/>
              <a:gd name="connsiteY135" fmla="*/ 1337709 h 2784234"/>
              <a:gd name="connsiteX136" fmla="*/ 912160 w 2846793"/>
              <a:gd name="connsiteY136" fmla="*/ 1380152 h 2784234"/>
              <a:gd name="connsiteX137" fmla="*/ 896327 w 2846793"/>
              <a:gd name="connsiteY137" fmla="*/ 1448333 h 2784234"/>
              <a:gd name="connsiteX138" fmla="*/ 877489 w 2846793"/>
              <a:gd name="connsiteY138" fmla="*/ 1512784 h 2784234"/>
              <a:gd name="connsiteX139" fmla="*/ 860806 w 2846793"/>
              <a:gd name="connsiteY139" fmla="*/ 1564138 h 2784234"/>
              <a:gd name="connsiteX140" fmla="*/ 859936 w 2846793"/>
              <a:gd name="connsiteY140" fmla="*/ 1636216 h 2784234"/>
              <a:gd name="connsiteX141" fmla="*/ 882670 w 2846793"/>
              <a:gd name="connsiteY141" fmla="*/ 1693040 h 2784234"/>
              <a:gd name="connsiteX142" fmla="*/ 939930 w 2846793"/>
              <a:gd name="connsiteY142" fmla="*/ 1728001 h 2784234"/>
              <a:gd name="connsiteX143" fmla="*/ 1032856 w 2846793"/>
              <a:gd name="connsiteY143" fmla="*/ 1733618 h 2784234"/>
              <a:gd name="connsiteX144" fmla="*/ 1121326 w 2846793"/>
              <a:gd name="connsiteY144" fmla="*/ 1688440 h 2784234"/>
              <a:gd name="connsiteX145" fmla="*/ 1171830 w 2846793"/>
              <a:gd name="connsiteY145" fmla="*/ 1627304 h 2784234"/>
              <a:gd name="connsiteX146" fmla="*/ 1192263 w 2846793"/>
              <a:gd name="connsiteY146" fmla="*/ 1592343 h 2784234"/>
              <a:gd name="connsiteX147" fmla="*/ 1215433 w 2846793"/>
              <a:gd name="connsiteY147" fmla="*/ 1590478 h 2784234"/>
              <a:gd name="connsiteX148" fmla="*/ 1223059 w 2846793"/>
              <a:gd name="connsiteY148" fmla="*/ 1624569 h 2784234"/>
              <a:gd name="connsiteX149" fmla="*/ 1193569 w 2846793"/>
              <a:gd name="connsiteY149" fmla="*/ 1655219 h 2784234"/>
              <a:gd name="connsiteX150" fmla="*/ 1160328 w 2846793"/>
              <a:gd name="connsiteY150" fmla="*/ 1650909 h 2784234"/>
              <a:gd name="connsiteX151" fmla="*/ 1152121 w 2846793"/>
              <a:gd name="connsiteY151" fmla="*/ 1619844 h 2784234"/>
              <a:gd name="connsiteX152" fmla="*/ 1169239 w 2846793"/>
              <a:gd name="connsiteY152" fmla="*/ 1577836 h 2784234"/>
              <a:gd name="connsiteX153" fmla="*/ 1208511 w 2846793"/>
              <a:gd name="connsiteY153" fmla="*/ 1555683 h 2784234"/>
              <a:gd name="connsiteX154" fmla="*/ 1223039 w 2846793"/>
              <a:gd name="connsiteY154" fmla="*/ 1534814 h 2784234"/>
              <a:gd name="connsiteX155" fmla="*/ 1221173 w 2846793"/>
              <a:gd name="connsiteY155" fmla="*/ 1493822 h 2784234"/>
              <a:gd name="connsiteX156" fmla="*/ 1192263 w 2846793"/>
              <a:gd name="connsiteY156" fmla="*/ 1435837 h 2784234"/>
              <a:gd name="connsiteX157" fmla="*/ 1126527 w 2846793"/>
              <a:gd name="connsiteY157" fmla="*/ 1373105 h 2784234"/>
              <a:gd name="connsiteX158" fmla="*/ 1015178 w 2846793"/>
              <a:gd name="connsiteY158" fmla="*/ 1361604 h 2784234"/>
              <a:gd name="connsiteX159" fmla="*/ 929299 w 2846793"/>
              <a:gd name="connsiteY159" fmla="*/ 1399591 h 2784234"/>
              <a:gd name="connsiteX160" fmla="*/ 891312 w 2846793"/>
              <a:gd name="connsiteY160" fmla="*/ 1413683 h 2784234"/>
              <a:gd name="connsiteX161" fmla="*/ 880805 w 2846793"/>
              <a:gd name="connsiteY161" fmla="*/ 1385623 h 2784234"/>
              <a:gd name="connsiteX162" fmla="*/ 887271 w 2846793"/>
              <a:gd name="connsiteY162" fmla="*/ 1343035 h 2784234"/>
              <a:gd name="connsiteX163" fmla="*/ 919351 w 2846793"/>
              <a:gd name="connsiteY163" fmla="*/ 1314270 h 2784234"/>
              <a:gd name="connsiteX164" fmla="*/ 976031 w 2846793"/>
              <a:gd name="connsiteY164" fmla="*/ 1293402 h 2784234"/>
              <a:gd name="connsiteX165" fmla="*/ 1018183 w 2846793"/>
              <a:gd name="connsiteY165" fmla="*/ 1281900 h 2784234"/>
              <a:gd name="connsiteX166" fmla="*/ 1050844 w 2846793"/>
              <a:gd name="connsiteY166" fmla="*/ 1268947 h 2784234"/>
              <a:gd name="connsiteX167" fmla="*/ 1109244 w 2846793"/>
              <a:gd name="connsiteY167" fmla="*/ 1272118 h 2784234"/>
              <a:gd name="connsiteX168" fmla="*/ 1183622 w 2846793"/>
              <a:gd name="connsiteY168" fmla="*/ 1306209 h 2784234"/>
              <a:gd name="connsiteX169" fmla="*/ 1247202 w 2846793"/>
              <a:gd name="connsiteY169" fmla="*/ 1382017 h 2784234"/>
              <a:gd name="connsiteX170" fmla="*/ 1276983 w 2846793"/>
              <a:gd name="connsiteY170" fmla="*/ 1470777 h 2784234"/>
              <a:gd name="connsiteX171" fmla="*/ 1290785 w 2846793"/>
              <a:gd name="connsiteY171" fmla="*/ 1538959 h 2784234"/>
              <a:gd name="connsiteX172" fmla="*/ 1286184 w 2846793"/>
              <a:gd name="connsiteY172" fmla="*/ 1598664 h 2784234"/>
              <a:gd name="connsiteX173" fmla="*/ 1251223 w 2846793"/>
              <a:gd name="connsiteY173" fmla="*/ 1657789 h 2784234"/>
              <a:gd name="connsiteX174" fmla="*/ 1190792 w 2846793"/>
              <a:gd name="connsiteY174" fmla="*/ 1692460 h 2784234"/>
              <a:gd name="connsiteX175" fmla="*/ 1155396 w 2846793"/>
              <a:gd name="connsiteY175" fmla="*/ 1717349 h 2784234"/>
              <a:gd name="connsiteX176" fmla="*/ 1128786 w 2846793"/>
              <a:gd name="connsiteY176" fmla="*/ 1768848 h 2784234"/>
              <a:gd name="connsiteX177" fmla="*/ 1124766 w 2846793"/>
              <a:gd name="connsiteY177" fmla="*/ 1813156 h 2784234"/>
              <a:gd name="connsiteX178" fmla="*/ 1143459 w 2846793"/>
              <a:gd name="connsiteY178" fmla="*/ 1838045 h 2784234"/>
              <a:gd name="connsiteX179" fmla="*/ 1176700 w 2846793"/>
              <a:gd name="connsiteY179" fmla="*/ 1874581 h 2784234"/>
              <a:gd name="connsiteX180" fmla="*/ 1211951 w 2846793"/>
              <a:gd name="connsiteY180" fmla="*/ 1930971 h 2784234"/>
              <a:gd name="connsiteX181" fmla="*/ 1269791 w 2846793"/>
              <a:gd name="connsiteY181" fmla="*/ 1970678 h 2784234"/>
              <a:gd name="connsiteX182" fmla="*/ 1289790 w 2846793"/>
              <a:gd name="connsiteY182" fmla="*/ 2016996 h 2784234"/>
              <a:gd name="connsiteX183" fmla="*/ 1236696 w 2846793"/>
              <a:gd name="connsiteY183" fmla="*/ 2105031 h 2784234"/>
              <a:gd name="connsiteX184" fmla="*/ 1189362 w 2846793"/>
              <a:gd name="connsiteY184" fmla="*/ 2099269 h 2784234"/>
              <a:gd name="connsiteX185" fmla="*/ 1126921 w 2846793"/>
              <a:gd name="connsiteY185" fmla="*/ 1994386 h 2784234"/>
              <a:gd name="connsiteX186" fmla="*/ 1124621 w 2846793"/>
              <a:gd name="connsiteY186" fmla="*/ 1948773 h 2784234"/>
              <a:gd name="connsiteX187" fmla="*/ 1178855 w 2846793"/>
              <a:gd name="connsiteY187" fmla="*/ 1910226 h 2784234"/>
              <a:gd name="connsiteX188" fmla="*/ 1235245 w 2846793"/>
              <a:gd name="connsiteY188" fmla="*/ 1918288 h 2784234"/>
              <a:gd name="connsiteX189" fmla="*/ 1332792 w 2846793"/>
              <a:gd name="connsiteY189" fmla="*/ 1988065 h 2784234"/>
              <a:gd name="connsiteX190" fmla="*/ 1387316 w 2846793"/>
              <a:gd name="connsiteY190" fmla="*/ 2070650 h 2784234"/>
              <a:gd name="connsiteX191" fmla="*/ 1383710 w 2846793"/>
              <a:gd name="connsiteY191" fmla="*/ 2126190 h 2784234"/>
              <a:gd name="connsiteX192" fmla="*/ 1348459 w 2846793"/>
              <a:gd name="connsiteY192" fmla="*/ 2203448 h 2784234"/>
              <a:gd name="connsiteX193" fmla="*/ 1311923 w 2846793"/>
              <a:gd name="connsiteY193" fmla="*/ 2248771 h 2784234"/>
              <a:gd name="connsiteX194" fmla="*/ 1270786 w 2846793"/>
              <a:gd name="connsiteY194" fmla="*/ 2226907 h 2784234"/>
              <a:gd name="connsiteX195" fmla="*/ 1256694 w 2846793"/>
              <a:gd name="connsiteY195" fmla="*/ 2197417 h 2784234"/>
              <a:gd name="connsiteX196" fmla="*/ 1262745 w 2846793"/>
              <a:gd name="connsiteY196" fmla="*/ 2172093 h 2784234"/>
              <a:gd name="connsiteX197" fmla="*/ 1299427 w 2846793"/>
              <a:gd name="connsiteY197" fmla="*/ 2127640 h 2784234"/>
              <a:gd name="connsiteX198" fmla="*/ 1357826 w 2846793"/>
              <a:gd name="connsiteY198" fmla="*/ 2086068 h 2784234"/>
              <a:gd name="connsiteX199" fmla="*/ 1403999 w 2846793"/>
              <a:gd name="connsiteY199" fmla="*/ 2048372 h 2784234"/>
              <a:gd name="connsiteX200" fmla="*/ 1428453 w 2846793"/>
              <a:gd name="connsiteY200" fmla="*/ 2028228 h 2784234"/>
              <a:gd name="connsiteX201" fmla="*/ 1435644 w 2846793"/>
              <a:gd name="connsiteY201" fmla="*/ 2043481 h 2784234"/>
              <a:gd name="connsiteX202" fmla="*/ 1439375 w 2846793"/>
              <a:gd name="connsiteY202" fmla="*/ 2107062 h 2784234"/>
              <a:gd name="connsiteX203" fmla="*/ 1432039 w 2846793"/>
              <a:gd name="connsiteY203" fmla="*/ 2164902 h 2784234"/>
              <a:gd name="connsiteX204" fmla="*/ 1405864 w 2846793"/>
              <a:gd name="connsiteY204" fmla="*/ 2266469 h 2784234"/>
              <a:gd name="connsiteX205" fmla="*/ 1412765 w 2846793"/>
              <a:gd name="connsiteY205" fmla="*/ 2328330 h 2784234"/>
              <a:gd name="connsiteX206" fmla="*/ 1440245 w 2846793"/>
              <a:gd name="connsiteY206" fmla="*/ 2353074 h 2784234"/>
              <a:gd name="connsiteX207" fmla="*/ 1475932 w 2846793"/>
              <a:gd name="connsiteY207" fmla="*/ 2367457 h 2784234"/>
              <a:gd name="connsiteX208" fmla="*/ 1511038 w 2846793"/>
              <a:gd name="connsiteY208" fmla="*/ 2382710 h 2784234"/>
              <a:gd name="connsiteX209" fmla="*/ 1536217 w 2846793"/>
              <a:gd name="connsiteY209" fmla="*/ 2415225 h 2784234"/>
              <a:gd name="connsiteX210" fmla="*/ 1543408 w 2846793"/>
              <a:gd name="connsiteY210" fmla="*/ 2463843 h 2784234"/>
              <a:gd name="connsiteX211" fmla="*/ 1512758 w 2846793"/>
              <a:gd name="connsiteY211" fmla="*/ 2507156 h 2784234"/>
              <a:gd name="connsiteX212" fmla="*/ 1467083 w 2846793"/>
              <a:gd name="connsiteY212" fmla="*/ 2522844 h 2784234"/>
              <a:gd name="connsiteX213" fmla="*/ 1422195 w 2846793"/>
              <a:gd name="connsiteY213" fmla="*/ 2523860 h 2784234"/>
              <a:gd name="connsiteX214" fmla="*/ 1366738 w 2846793"/>
              <a:gd name="connsiteY214" fmla="*/ 2540832 h 2784234"/>
              <a:gd name="connsiteX215" fmla="*/ 1320420 w 2846793"/>
              <a:gd name="connsiteY215" fmla="*/ 2536667 h 2784234"/>
              <a:gd name="connsiteX216" fmla="*/ 1321788 w 2846793"/>
              <a:gd name="connsiteY216" fmla="*/ 2519549 h 2784234"/>
              <a:gd name="connsiteX217" fmla="*/ 1369846 w 2846793"/>
              <a:gd name="connsiteY217" fmla="*/ 2497893 h 2784234"/>
              <a:gd name="connsiteX218" fmla="*/ 1396891 w 2846793"/>
              <a:gd name="connsiteY218" fmla="*/ 2480277 h 2784234"/>
              <a:gd name="connsiteX219" fmla="*/ 1381286 w 2846793"/>
              <a:gd name="connsiteY219" fmla="*/ 2474102 h 2784234"/>
              <a:gd name="connsiteX220" fmla="*/ 1307986 w 2846793"/>
              <a:gd name="connsiteY220" fmla="*/ 2503094 h 2784234"/>
              <a:gd name="connsiteX221" fmla="*/ 1275760 w 2846793"/>
              <a:gd name="connsiteY221" fmla="*/ 2503820 h 2784234"/>
              <a:gd name="connsiteX222" fmla="*/ 1277190 w 2846793"/>
              <a:gd name="connsiteY222" fmla="*/ 2490515 h 2784234"/>
              <a:gd name="connsiteX223" fmla="*/ 1302287 w 2846793"/>
              <a:gd name="connsiteY223" fmla="*/ 2478495 h 2784234"/>
              <a:gd name="connsiteX224" fmla="*/ 1350407 w 2846793"/>
              <a:gd name="connsiteY224" fmla="*/ 2445109 h 2784234"/>
              <a:gd name="connsiteX225" fmla="*/ 1346946 w 2846793"/>
              <a:gd name="connsiteY225" fmla="*/ 2435120 h 2784234"/>
              <a:gd name="connsiteX226" fmla="*/ 1292774 w 2846793"/>
              <a:gd name="connsiteY226" fmla="*/ 2461812 h 2784234"/>
              <a:gd name="connsiteX227" fmla="*/ 1261834 w 2846793"/>
              <a:gd name="connsiteY227" fmla="*/ 2459719 h 2784234"/>
              <a:gd name="connsiteX228" fmla="*/ 1265149 w 2846793"/>
              <a:gd name="connsiteY228" fmla="*/ 2438933 h 2784234"/>
              <a:gd name="connsiteX229" fmla="*/ 1303053 w 2846793"/>
              <a:gd name="connsiteY229" fmla="*/ 2411308 h 2784234"/>
              <a:gd name="connsiteX230" fmla="*/ 1318513 w 2846793"/>
              <a:gd name="connsiteY230" fmla="*/ 2393175 h 2784234"/>
              <a:gd name="connsiteX231" fmla="*/ 1306783 w 2846793"/>
              <a:gd name="connsiteY231" fmla="*/ 2385984 h 2784234"/>
              <a:gd name="connsiteX232" fmla="*/ 1268590 w 2846793"/>
              <a:gd name="connsiteY232" fmla="*/ 2403392 h 2784234"/>
              <a:gd name="connsiteX233" fmla="*/ 1243410 w 2846793"/>
              <a:gd name="connsiteY233" fmla="*/ 2405257 h 2784234"/>
              <a:gd name="connsiteX234" fmla="*/ 1242685 w 2846793"/>
              <a:gd name="connsiteY234" fmla="*/ 2382461 h 2784234"/>
              <a:gd name="connsiteX235" fmla="*/ 1284402 w 2846793"/>
              <a:gd name="connsiteY235" fmla="*/ 2341469 h 2784234"/>
              <a:gd name="connsiteX236" fmla="*/ 1360935 w 2846793"/>
              <a:gd name="connsiteY236" fmla="*/ 2306218 h 2784234"/>
              <a:gd name="connsiteX237" fmla="*/ 1411004 w 2846793"/>
              <a:gd name="connsiteY237" fmla="*/ 2303047 h 2784234"/>
              <a:gd name="connsiteX238" fmla="*/ 1438484 w 2846793"/>
              <a:gd name="connsiteY238" fmla="*/ 2295131 h 2784234"/>
              <a:gd name="connsiteX239" fmla="*/ 1468409 w 2846793"/>
              <a:gd name="connsiteY239" fmla="*/ 2243777 h 2784234"/>
              <a:gd name="connsiteX240" fmla="*/ 1532570 w 2846793"/>
              <a:gd name="connsiteY240" fmla="*/ 2156301 h 2784234"/>
              <a:gd name="connsiteX241" fmla="*/ 1610761 w 2846793"/>
              <a:gd name="connsiteY241" fmla="*/ 2074152 h 2784234"/>
              <a:gd name="connsiteX242" fmla="*/ 1628957 w 2846793"/>
              <a:gd name="connsiteY242" fmla="*/ 2041864 h 2784234"/>
              <a:gd name="connsiteX243" fmla="*/ 1628604 w 2846793"/>
              <a:gd name="connsiteY243" fmla="*/ 2021078 h 2784234"/>
              <a:gd name="connsiteX244" fmla="*/ 1642841 w 2846793"/>
              <a:gd name="connsiteY244" fmla="*/ 2001308 h 2784234"/>
              <a:gd name="connsiteX245" fmla="*/ 1697863 w 2846793"/>
              <a:gd name="connsiteY245" fmla="*/ 1963611 h 2784234"/>
              <a:gd name="connsiteX246" fmla="*/ 1768718 w 2846793"/>
              <a:gd name="connsiteY246" fmla="*/ 1914703 h 2784234"/>
              <a:gd name="connsiteX247" fmla="*/ 1816549 w 2846793"/>
              <a:gd name="connsiteY247" fmla="*/ 1881109 h 2784234"/>
              <a:gd name="connsiteX248" fmla="*/ 1846039 w 2846793"/>
              <a:gd name="connsiteY248" fmla="*/ 1836221 h 2784234"/>
              <a:gd name="connsiteX249" fmla="*/ 1863882 w 2846793"/>
              <a:gd name="connsiteY249" fmla="*/ 1739400 h 2784234"/>
              <a:gd name="connsiteX250" fmla="*/ 1862162 w 2846793"/>
              <a:gd name="connsiteY250" fmla="*/ 1654225 h 2784234"/>
              <a:gd name="connsiteX251" fmla="*/ 1849355 w 2846793"/>
              <a:gd name="connsiteY251" fmla="*/ 1586312 h 2784234"/>
              <a:gd name="connsiteX252" fmla="*/ 1804322 w 2846793"/>
              <a:gd name="connsiteY252" fmla="*/ 1511499 h 2784234"/>
              <a:gd name="connsiteX253" fmla="*/ 1748512 w 2846793"/>
              <a:gd name="connsiteY253" fmla="*/ 1463296 h 2784234"/>
              <a:gd name="connsiteX254" fmla="*/ 1688662 w 2846793"/>
              <a:gd name="connsiteY254" fmla="*/ 1445017 h 2784234"/>
              <a:gd name="connsiteX255" fmla="*/ 1629682 w 2846793"/>
              <a:gd name="connsiteY255" fmla="*/ 1434655 h 2784234"/>
              <a:gd name="connsiteX256" fmla="*/ 1565521 w 2846793"/>
              <a:gd name="connsiteY256" fmla="*/ 1420708 h 2784234"/>
              <a:gd name="connsiteX257" fmla="*/ 1482377 w 2846793"/>
              <a:gd name="connsiteY257" fmla="*/ 1428044 h 2784234"/>
              <a:gd name="connsiteX258" fmla="*/ 1425117 w 2846793"/>
              <a:gd name="connsiteY258" fmla="*/ 1469036 h 2784234"/>
              <a:gd name="connsiteX259" fmla="*/ 1416910 w 2846793"/>
              <a:gd name="connsiteY259" fmla="*/ 1533923 h 2784234"/>
              <a:gd name="connsiteX260" fmla="*/ 1436618 w 2846793"/>
              <a:gd name="connsiteY260" fmla="*/ 1580240 h 2784234"/>
              <a:gd name="connsiteX261" fmla="*/ 1448265 w 2846793"/>
              <a:gd name="connsiteY261" fmla="*/ 1638081 h 2784234"/>
              <a:gd name="connsiteX262" fmla="*/ 1432577 w 2846793"/>
              <a:gd name="connsiteY262" fmla="*/ 1733037 h 2784234"/>
              <a:gd name="connsiteX263" fmla="*/ 1436598 w 2846793"/>
              <a:gd name="connsiteY263" fmla="*/ 1799063 h 2784234"/>
              <a:gd name="connsiteX264" fmla="*/ 1493568 w 2846793"/>
              <a:gd name="connsiteY264" fmla="*/ 1841216 h 2784234"/>
              <a:gd name="connsiteX265" fmla="*/ 1619299 w 2846793"/>
              <a:gd name="connsiteY265" fmla="*/ 1854168 h 2784234"/>
              <a:gd name="connsiteX266" fmla="*/ 1704039 w 2846793"/>
              <a:gd name="connsiteY266" fmla="*/ 1837050 h 2784234"/>
              <a:gd name="connsiteX267" fmla="*/ 1739290 w 2846793"/>
              <a:gd name="connsiteY267" fmla="*/ 1788577 h 2784234"/>
              <a:gd name="connsiteX268" fmla="*/ 1754108 w 2846793"/>
              <a:gd name="connsiteY268" fmla="*/ 1758507 h 2784234"/>
              <a:gd name="connsiteX269" fmla="*/ 1769071 w 2846793"/>
              <a:gd name="connsiteY269" fmla="*/ 1758507 h 2784234"/>
              <a:gd name="connsiteX270" fmla="*/ 1773526 w 2846793"/>
              <a:gd name="connsiteY270" fmla="*/ 1787562 h 2784234"/>
              <a:gd name="connsiteX271" fmla="*/ 1747621 w 2846793"/>
              <a:gd name="connsiteY271" fmla="*/ 1819497 h 2784234"/>
              <a:gd name="connsiteX272" fmla="*/ 1719271 w 2846793"/>
              <a:gd name="connsiteY272" fmla="*/ 1806110 h 2784234"/>
              <a:gd name="connsiteX273" fmla="*/ 1727478 w 2846793"/>
              <a:gd name="connsiteY273" fmla="*/ 1762092 h 2784234"/>
              <a:gd name="connsiteX274" fmla="*/ 1757258 w 2846793"/>
              <a:gd name="connsiteY274" fmla="*/ 1731297 h 2784234"/>
              <a:gd name="connsiteX275" fmla="*/ 1781857 w 2846793"/>
              <a:gd name="connsiteY275" fmla="*/ 1696626 h 2784234"/>
              <a:gd name="connsiteX276" fmla="*/ 1759123 w 2846793"/>
              <a:gd name="connsiteY276" fmla="*/ 1625563 h 2784234"/>
              <a:gd name="connsiteX277" fmla="*/ 1710650 w 2846793"/>
              <a:gd name="connsiteY277" fmla="*/ 1549175 h 2784234"/>
              <a:gd name="connsiteX278" fmla="*/ 1628065 w 2846793"/>
              <a:gd name="connsiteY278" fmla="*/ 1512349 h 2784234"/>
              <a:gd name="connsiteX279" fmla="*/ 1535989 w 2846793"/>
              <a:gd name="connsiteY279" fmla="*/ 1521260 h 2784234"/>
              <a:gd name="connsiteX280" fmla="*/ 1469528 w 2846793"/>
              <a:gd name="connsiteY280" fmla="*/ 1574624 h 2784234"/>
              <a:gd name="connsiteX281" fmla="*/ 1448100 w 2846793"/>
              <a:gd name="connsiteY281" fmla="*/ 1608280 h 2784234"/>
              <a:gd name="connsiteX282" fmla="*/ 1425946 w 2846793"/>
              <a:gd name="connsiteY282" fmla="*/ 1663384 h 2784234"/>
              <a:gd name="connsiteX283" fmla="*/ 1406527 w 2846793"/>
              <a:gd name="connsiteY283" fmla="*/ 1760351 h 2784234"/>
              <a:gd name="connsiteX284" fmla="*/ 1422215 w 2846793"/>
              <a:gd name="connsiteY284" fmla="*/ 1829693 h 2784234"/>
              <a:gd name="connsiteX285" fmla="*/ 1452866 w 2846793"/>
              <a:gd name="connsiteY285" fmla="*/ 1880115 h 2784234"/>
              <a:gd name="connsiteX286" fmla="*/ 1472139 w 2846793"/>
              <a:gd name="connsiteY286" fmla="*/ 1939737 h 2784234"/>
              <a:gd name="connsiteX287" fmla="*/ 1476885 w 2846793"/>
              <a:gd name="connsiteY287" fmla="*/ 1996769 h 2784234"/>
              <a:gd name="connsiteX288" fmla="*/ 1459332 w 2846793"/>
              <a:gd name="connsiteY288" fmla="*/ 2060205 h 2784234"/>
              <a:gd name="connsiteX289" fmla="*/ 1462212 w 2846793"/>
              <a:gd name="connsiteY289" fmla="*/ 2092430 h 2784234"/>
              <a:gd name="connsiteX290" fmla="*/ 1501339 w 2846793"/>
              <a:gd name="connsiteY290" fmla="*/ 2073157 h 2784234"/>
              <a:gd name="connsiteX291" fmla="*/ 1597083 w 2846793"/>
              <a:gd name="connsiteY291" fmla="*/ 2002592 h 2784234"/>
              <a:gd name="connsiteX292" fmla="*/ 1667586 w 2846793"/>
              <a:gd name="connsiteY292" fmla="*/ 1957705 h 2784234"/>
              <a:gd name="connsiteX293" fmla="*/ 1726856 w 2846793"/>
              <a:gd name="connsiteY293" fmla="*/ 1927987 h 2784234"/>
              <a:gd name="connsiteX294" fmla="*/ 1753258 w 2846793"/>
              <a:gd name="connsiteY294" fmla="*/ 1933520 h 2784234"/>
              <a:gd name="connsiteX295" fmla="*/ 1781816 w 2846793"/>
              <a:gd name="connsiteY295" fmla="*/ 1986034 h 2784234"/>
              <a:gd name="connsiteX296" fmla="*/ 1823616 w 2846793"/>
              <a:gd name="connsiteY296" fmla="*/ 2024809 h 2784234"/>
              <a:gd name="connsiteX297" fmla="*/ 1853044 w 2846793"/>
              <a:gd name="connsiteY297" fmla="*/ 2039129 h 2784234"/>
              <a:gd name="connsiteX298" fmla="*/ 1845417 w 2846793"/>
              <a:gd name="connsiteY298" fmla="*/ 2056392 h 2784234"/>
              <a:gd name="connsiteX299" fmla="*/ 1802685 w 2846793"/>
              <a:gd name="connsiteY299" fmla="*/ 2090420 h 2784234"/>
              <a:gd name="connsiteX300" fmla="*/ 1764283 w 2846793"/>
              <a:gd name="connsiteY300" fmla="*/ 2152281 h 2784234"/>
              <a:gd name="connsiteX301" fmla="*/ 1702132 w 2846793"/>
              <a:gd name="connsiteY301" fmla="*/ 2291753 h 2784234"/>
              <a:gd name="connsiteX302" fmla="*/ 1672207 w 2846793"/>
              <a:gd name="connsiteY302" fmla="*/ 2356639 h 2784234"/>
              <a:gd name="connsiteX303" fmla="*/ 1654654 w 2846793"/>
              <a:gd name="connsiteY303" fmla="*/ 2363043 h 2784234"/>
              <a:gd name="connsiteX304" fmla="*/ 1613082 w 2846793"/>
              <a:gd name="connsiteY304" fmla="*/ 2345054 h 2784234"/>
              <a:gd name="connsiteX305" fmla="*/ 1559925 w 2846793"/>
              <a:gd name="connsiteY305" fmla="*/ 2330174 h 2784234"/>
              <a:gd name="connsiteX306" fmla="*/ 1518498 w 2846793"/>
              <a:gd name="connsiteY306" fmla="*/ 2333345 h 2784234"/>
              <a:gd name="connsiteX307" fmla="*/ 1485112 w 2846793"/>
              <a:gd name="connsiteY307" fmla="*/ 2345075 h 2784234"/>
              <a:gd name="connsiteX308" fmla="*/ 1462813 w 2846793"/>
              <a:gd name="connsiteY308" fmla="*/ 2341759 h 2784234"/>
              <a:gd name="connsiteX309" fmla="*/ 1462523 w 2846793"/>
              <a:gd name="connsiteY309" fmla="*/ 2316435 h 2784234"/>
              <a:gd name="connsiteX310" fmla="*/ 1514022 w 2846793"/>
              <a:gd name="connsiteY310" fmla="*/ 2230907 h 2784234"/>
              <a:gd name="connsiteX311" fmla="*/ 1633868 w 2846793"/>
              <a:gd name="connsiteY311" fmla="*/ 2086462 h 2784234"/>
              <a:gd name="connsiteX312" fmla="*/ 1761050 w 2846793"/>
              <a:gd name="connsiteY312" fmla="*/ 2009494 h 2784234"/>
              <a:gd name="connsiteX313" fmla="*/ 1835718 w 2846793"/>
              <a:gd name="connsiteY313" fmla="*/ 2007773 h 2784234"/>
              <a:gd name="connsiteX314" fmla="*/ 1915422 w 2846793"/>
              <a:gd name="connsiteY314" fmla="*/ 2040579 h 2784234"/>
              <a:gd name="connsiteX315" fmla="*/ 1956414 w 2846793"/>
              <a:gd name="connsiteY315" fmla="*/ 2094378 h 2784234"/>
              <a:gd name="connsiteX316" fmla="*/ 1981593 w 2846793"/>
              <a:gd name="connsiteY316" fmla="*/ 2161420 h 2784234"/>
              <a:gd name="connsiteX317" fmla="*/ 1998421 w 2846793"/>
              <a:gd name="connsiteY317" fmla="*/ 2191781 h 2784234"/>
              <a:gd name="connsiteX318" fmla="*/ 2004473 w 2846793"/>
              <a:gd name="connsiteY318" fmla="*/ 2185874 h 2784234"/>
              <a:gd name="connsiteX319" fmla="*/ 1997717 w 2846793"/>
              <a:gd name="connsiteY319" fmla="*/ 2138106 h 2784234"/>
              <a:gd name="connsiteX320" fmla="*/ 1965781 w 2846793"/>
              <a:gd name="connsiteY320" fmla="*/ 2073364 h 2784234"/>
              <a:gd name="connsiteX321" fmla="*/ 1892688 w 2846793"/>
              <a:gd name="connsiteY321" fmla="*/ 2059127 h 2784234"/>
              <a:gd name="connsiteX322" fmla="*/ 1816155 w 2846793"/>
              <a:gd name="connsiteY322" fmla="*/ 2115517 h 2784234"/>
              <a:gd name="connsiteX323" fmla="*/ 1767682 w 2846793"/>
              <a:gd name="connsiteY323" fmla="*/ 2216504 h 2784234"/>
              <a:gd name="connsiteX324" fmla="*/ 1756740 w 2846793"/>
              <a:gd name="connsiteY324" fmla="*/ 2315771 h 2784234"/>
              <a:gd name="connsiteX325" fmla="*/ 1733280 w 2846793"/>
              <a:gd name="connsiteY325" fmla="*/ 2398211 h 2784234"/>
              <a:gd name="connsiteX326" fmla="*/ 1632148 w 2846793"/>
              <a:gd name="connsiteY326" fmla="*/ 2384554 h 2784234"/>
              <a:gd name="connsiteX327" fmla="*/ 1539637 w 2846793"/>
              <a:gd name="connsiteY327" fmla="*/ 2352183 h 2784234"/>
              <a:gd name="connsiteX328" fmla="*/ 1522519 w 2846793"/>
              <a:gd name="connsiteY328" fmla="*/ 2359229 h 2784234"/>
              <a:gd name="connsiteX329" fmla="*/ 1543947 w 2846793"/>
              <a:gd name="connsiteY329" fmla="*/ 2385549 h 2784234"/>
              <a:gd name="connsiteX330" fmla="*/ 1564381 w 2846793"/>
              <a:gd name="connsiteY330" fmla="*/ 2430727 h 2784234"/>
              <a:gd name="connsiteX331" fmla="*/ 1559200 w 2846793"/>
              <a:gd name="connsiteY331" fmla="*/ 2486412 h 2784234"/>
              <a:gd name="connsiteX332" fmla="*/ 1529710 w 2846793"/>
              <a:gd name="connsiteY332" fmla="*/ 2562364 h 2784234"/>
              <a:gd name="connsiteX333" fmla="*/ 1544963 w 2846793"/>
              <a:gd name="connsiteY333" fmla="*/ 2634587 h 2784234"/>
              <a:gd name="connsiteX334" fmla="*/ 1609124 w 2846793"/>
              <a:gd name="connsiteY334" fmla="*/ 2669984 h 2784234"/>
              <a:gd name="connsiteX335" fmla="*/ 1709821 w 2846793"/>
              <a:gd name="connsiteY335" fmla="*/ 2685526 h 2784234"/>
              <a:gd name="connsiteX336" fmla="*/ 1825481 w 2846793"/>
              <a:gd name="connsiteY336" fmla="*/ 2710706 h 2784234"/>
              <a:gd name="connsiteX337" fmla="*/ 1849666 w 2846793"/>
              <a:gd name="connsiteY337" fmla="*/ 2737274 h 2784234"/>
              <a:gd name="connsiteX338" fmla="*/ 1827284 w 2846793"/>
              <a:gd name="connsiteY338" fmla="*/ 2775385 h 2784234"/>
              <a:gd name="connsiteX339" fmla="*/ 1859468 w 2846793"/>
              <a:gd name="connsiteY339" fmla="*/ 2784130 h 2784234"/>
              <a:gd name="connsiteX340" fmla="*/ 2089565 w 2846793"/>
              <a:gd name="connsiteY340" fmla="*/ 2784130 h 2784234"/>
              <a:gd name="connsiteX341" fmla="*/ 2566897 w 2846793"/>
              <a:gd name="connsiteY341" fmla="*/ 2782162 h 2784234"/>
              <a:gd name="connsiteX342" fmla="*/ 2687966 w 2846793"/>
              <a:gd name="connsiteY342" fmla="*/ 2759884 h 2784234"/>
              <a:gd name="connsiteX343" fmla="*/ 2680464 w 2846793"/>
              <a:gd name="connsiteY343" fmla="*/ 2692303 h 2784234"/>
              <a:gd name="connsiteX344" fmla="*/ 2633566 w 2846793"/>
              <a:gd name="connsiteY344" fmla="*/ 2631872 h 2784234"/>
              <a:gd name="connsiteX345" fmla="*/ 2492291 w 2846793"/>
              <a:gd name="connsiteY345" fmla="*/ 2565701 h 2784234"/>
              <a:gd name="connsiteX346" fmla="*/ 2424110 w 2846793"/>
              <a:gd name="connsiteY346" fmla="*/ 2476651 h 2784234"/>
              <a:gd name="connsiteX347" fmla="*/ 2465247 w 2846793"/>
              <a:gd name="connsiteY347" fmla="*/ 2186330 h 2784234"/>
              <a:gd name="connsiteX348" fmla="*/ 2494592 w 2846793"/>
              <a:gd name="connsiteY348" fmla="*/ 1978159 h 2784234"/>
              <a:gd name="connsiteX349" fmla="*/ 2532289 w 2846793"/>
              <a:gd name="connsiteY349" fmla="*/ 1883202 h 2784234"/>
              <a:gd name="connsiteX350" fmla="*/ 2600200 w 2846793"/>
              <a:gd name="connsiteY350" fmla="*/ 1837175 h 2784234"/>
              <a:gd name="connsiteX351" fmla="*/ 2643928 w 2846793"/>
              <a:gd name="connsiteY351" fmla="*/ 1758051 h 2784234"/>
              <a:gd name="connsiteX352" fmla="*/ 2671553 w 2846793"/>
              <a:gd name="connsiteY352" fmla="*/ 1632029 h 2784234"/>
              <a:gd name="connsiteX353" fmla="*/ 2694577 w 2846793"/>
              <a:gd name="connsiteY353" fmla="*/ 1561817 h 2784234"/>
              <a:gd name="connsiteX354" fmla="*/ 2707239 w 2846793"/>
              <a:gd name="connsiteY354" fmla="*/ 1548305 h 2784234"/>
              <a:gd name="connsiteX355" fmla="*/ 2696877 w 2846793"/>
              <a:gd name="connsiteY355" fmla="*/ 1616217 h 2784234"/>
              <a:gd name="connsiteX356" fmla="*/ 2656300 w 2846793"/>
              <a:gd name="connsiteY356" fmla="*/ 1792308 h 2784234"/>
              <a:gd name="connsiteX357" fmla="*/ 2576306 w 2846793"/>
              <a:gd name="connsiteY357" fmla="*/ 1905377 h 2784234"/>
              <a:gd name="connsiteX358" fmla="*/ 2484810 w 2846793"/>
              <a:gd name="connsiteY358" fmla="*/ 1918329 h 2784234"/>
              <a:gd name="connsiteX359" fmla="*/ 2405251 w 2846793"/>
              <a:gd name="connsiteY359" fmla="*/ 1822813 h 2784234"/>
              <a:gd name="connsiteX360" fmla="*/ 2384113 w 2846793"/>
              <a:gd name="connsiteY360" fmla="*/ 1673912 h 2784234"/>
              <a:gd name="connsiteX361" fmla="*/ 2378642 w 2846793"/>
              <a:gd name="connsiteY361" fmla="*/ 1541984 h 2784234"/>
              <a:gd name="connsiteX362" fmla="*/ 2373751 w 2846793"/>
              <a:gd name="connsiteY362" fmla="*/ 1415527 h 2784234"/>
              <a:gd name="connsiteX363" fmla="*/ 2347141 w 2846793"/>
              <a:gd name="connsiteY363" fmla="*/ 1246918 h 2784234"/>
              <a:gd name="connsiteX364" fmla="*/ 2334769 w 2846793"/>
              <a:gd name="connsiteY364" fmla="*/ 1142615 h 2784234"/>
              <a:gd name="connsiteX365" fmla="*/ 2329153 w 2846793"/>
              <a:gd name="connsiteY365" fmla="*/ 1065211 h 2784234"/>
              <a:gd name="connsiteX366" fmla="*/ 2304554 w 2846793"/>
              <a:gd name="connsiteY366" fmla="*/ 939335 h 2784234"/>
              <a:gd name="connsiteX367" fmla="*/ 2256641 w 2846793"/>
              <a:gd name="connsiteY367" fmla="*/ 796630 h 2784234"/>
              <a:gd name="connsiteX368" fmla="*/ 2230736 w 2846793"/>
              <a:gd name="connsiteY368" fmla="*/ 692327 h 2784234"/>
              <a:gd name="connsiteX369" fmla="*/ 2239502 w 2846793"/>
              <a:gd name="connsiteY369" fmla="*/ 643564 h 2784234"/>
              <a:gd name="connsiteX370" fmla="*/ 2294026 w 2846793"/>
              <a:gd name="connsiteY370" fmla="*/ 635647 h 2784234"/>
              <a:gd name="connsiteX371" fmla="*/ 2342789 w 2846793"/>
              <a:gd name="connsiteY371" fmla="*/ 621700 h 2784234"/>
              <a:gd name="connsiteX372" fmla="*/ 2378621 w 2846793"/>
              <a:gd name="connsiteY372" fmla="*/ 587174 h 2784234"/>
              <a:gd name="connsiteX373" fmla="*/ 2391283 w 2846793"/>
              <a:gd name="connsiteY373" fmla="*/ 534080 h 2784234"/>
              <a:gd name="connsiteX374" fmla="*/ 2374601 w 2846793"/>
              <a:gd name="connsiteY374" fmla="*/ 480426 h 2784234"/>
              <a:gd name="connsiteX375" fmla="*/ 2310004 w 2846793"/>
              <a:gd name="connsiteY375" fmla="*/ 360020 h 2784234"/>
              <a:gd name="connsiteX376" fmla="*/ 2266567 w 2846793"/>
              <a:gd name="connsiteY376" fmla="*/ 280171 h 2784234"/>
              <a:gd name="connsiteX377" fmla="*/ 2203691 w 2846793"/>
              <a:gd name="connsiteY377" fmla="*/ 213564 h 2784234"/>
              <a:gd name="connsiteX378" fmla="*/ 2153622 w 2846793"/>
              <a:gd name="connsiteY378" fmla="*/ 194291 h 2784234"/>
              <a:gd name="connsiteX379" fmla="*/ 2109315 w 2846793"/>
              <a:gd name="connsiteY379" fmla="*/ 218310 h 2784234"/>
              <a:gd name="connsiteX380" fmla="*/ 2085731 w 2846793"/>
              <a:gd name="connsiteY380" fmla="*/ 264214 h 2784234"/>
              <a:gd name="connsiteX381" fmla="*/ 2085006 w 2846793"/>
              <a:gd name="connsiteY381" fmla="*/ 308666 h 2784234"/>
              <a:gd name="connsiteX382" fmla="*/ 2107595 w 2846793"/>
              <a:gd name="connsiteY382" fmla="*/ 327794 h 2784234"/>
              <a:gd name="connsiteX383" fmla="*/ 2138245 w 2846793"/>
              <a:gd name="connsiteY383" fmla="*/ 329660 h 2784234"/>
              <a:gd name="connsiteX384" fmla="*/ 2151343 w 2846793"/>
              <a:gd name="connsiteY384" fmla="*/ 299299 h 2784234"/>
              <a:gd name="connsiteX385" fmla="*/ 2155508 w 2846793"/>
              <a:gd name="connsiteY385" fmla="*/ 263053 h 2784234"/>
              <a:gd name="connsiteX386" fmla="*/ 2173641 w 2846793"/>
              <a:gd name="connsiteY386" fmla="*/ 251261 h 2784234"/>
              <a:gd name="connsiteX387" fmla="*/ 2215068 w 2846793"/>
              <a:gd name="connsiteY387" fmla="*/ 262058 h 2784234"/>
              <a:gd name="connsiteX388" fmla="*/ 2248019 w 2846793"/>
              <a:gd name="connsiteY388" fmla="*/ 269975 h 2784234"/>
              <a:gd name="connsiteX389" fmla="*/ 2262257 w 2846793"/>
              <a:gd name="connsiteY389" fmla="*/ 259903 h 2784234"/>
              <a:gd name="connsiteX390" fmla="*/ 2259749 w 2846793"/>
              <a:gd name="connsiteY390" fmla="*/ 230993 h 2784234"/>
              <a:gd name="connsiteX391" fmla="*/ 2231337 w 2846793"/>
              <a:gd name="connsiteY391" fmla="*/ 190851 h 2784234"/>
              <a:gd name="connsiteX392" fmla="*/ 2181351 w 2846793"/>
              <a:gd name="connsiteY392" fmla="*/ 163309 h 2784234"/>
              <a:gd name="connsiteX393" fmla="*/ 2141354 w 2846793"/>
              <a:gd name="connsiteY393" fmla="*/ 157548 h 2784234"/>
              <a:gd name="connsiteX394" fmla="*/ 2113377 w 2846793"/>
              <a:gd name="connsiteY394" fmla="*/ 169485 h 2784234"/>
              <a:gd name="connsiteX395" fmla="*/ 2082726 w 2846793"/>
              <a:gd name="connsiteY395" fmla="*/ 176469 h 2784234"/>
              <a:gd name="connsiteX396" fmla="*/ 2031870 w 2846793"/>
              <a:gd name="connsiteY396" fmla="*/ 162086 h 2784234"/>
              <a:gd name="connsiteX397" fmla="*/ 1991955 w 2846793"/>
              <a:gd name="connsiteY397" fmla="*/ 137280 h 2784234"/>
              <a:gd name="connsiteX398" fmla="*/ 1950528 w 2846793"/>
              <a:gd name="connsiteY398" fmla="*/ 77222 h 2784234"/>
              <a:gd name="connsiteX399" fmla="*/ 1938737 w 2846793"/>
              <a:gd name="connsiteY399" fmla="*/ 27008 h 2784234"/>
              <a:gd name="connsiteX400" fmla="*/ 1947669 w 2846793"/>
              <a:gd name="connsiteY400" fmla="*/ 1725 h 2784234"/>
              <a:gd name="connsiteX401" fmla="*/ 1970755 w 2846793"/>
              <a:gd name="connsiteY401" fmla="*/ 8461 h 2784234"/>
              <a:gd name="connsiteX402" fmla="*/ 2009260 w 2846793"/>
              <a:gd name="connsiteY402" fmla="*/ 49494 h 2784234"/>
              <a:gd name="connsiteX403" fmla="*/ 2058292 w 2846793"/>
              <a:gd name="connsiteY403" fmla="*/ 104412 h 2784234"/>
              <a:gd name="connsiteX404" fmla="*/ 2093544 w 2846793"/>
              <a:gd name="connsiteY404" fmla="*/ 149010 h 2784234"/>
              <a:gd name="connsiteX405" fmla="*/ 2084487 w 2846793"/>
              <a:gd name="connsiteY405" fmla="*/ 165837 h 2784234"/>
              <a:gd name="connsiteX406" fmla="*/ 2039599 w 2846793"/>
              <a:gd name="connsiteY406" fmla="*/ 172593 h 2784234"/>
              <a:gd name="connsiteX407" fmla="*/ 2028657 w 2846793"/>
              <a:gd name="connsiteY407" fmla="*/ 186976 h 2784234"/>
              <a:gd name="connsiteX408" fmla="*/ 2037424 w 2846793"/>
              <a:gd name="connsiteY408" fmla="*/ 210435 h 2784234"/>
              <a:gd name="connsiteX409" fmla="*/ 2052531 w 2846793"/>
              <a:gd name="connsiteY409" fmla="*/ 240360 h 2784234"/>
              <a:gd name="connsiteX410" fmla="*/ 2063183 w 2846793"/>
              <a:gd name="connsiteY410" fmla="*/ 276606 h 2784234"/>
              <a:gd name="connsiteX411" fmla="*/ 2061173 w 2846793"/>
              <a:gd name="connsiteY411" fmla="*/ 308832 h 2784234"/>
              <a:gd name="connsiteX412" fmla="*/ 2047226 w 2846793"/>
              <a:gd name="connsiteY412" fmla="*/ 318324 h 2784234"/>
              <a:gd name="connsiteX413" fmla="*/ 2037009 w 2846793"/>
              <a:gd name="connsiteY413" fmla="*/ 303216 h 2784234"/>
              <a:gd name="connsiteX414" fmla="*/ 2039890 w 2846793"/>
              <a:gd name="connsiteY414" fmla="*/ 281932 h 2784234"/>
              <a:gd name="connsiteX415" fmla="*/ 2037589 w 2846793"/>
              <a:gd name="connsiteY415" fmla="*/ 253168 h 2784234"/>
              <a:gd name="connsiteX416" fmla="*/ 2017301 w 2846793"/>
              <a:gd name="connsiteY416" fmla="*/ 238640 h 2784234"/>
              <a:gd name="connsiteX417" fmla="*/ 1980039 w 2846793"/>
              <a:gd name="connsiteY417" fmla="*/ 250142 h 2784234"/>
              <a:gd name="connsiteX418" fmla="*/ 1965367 w 2846793"/>
              <a:gd name="connsiteY418" fmla="*/ 281207 h 2784234"/>
              <a:gd name="connsiteX419" fmla="*/ 1979604 w 2846793"/>
              <a:gd name="connsiteY419" fmla="*/ 326820 h 2784234"/>
              <a:gd name="connsiteX420" fmla="*/ 2042625 w 2846793"/>
              <a:gd name="connsiteY420" fmla="*/ 396598 h 2784234"/>
              <a:gd name="connsiteX421" fmla="*/ 2145208 w 2846793"/>
              <a:gd name="connsiteY421" fmla="*/ 455288 h 2784234"/>
              <a:gd name="connsiteX422" fmla="*/ 2223752 w 2846793"/>
              <a:gd name="connsiteY422" fmla="*/ 542183 h 2784234"/>
              <a:gd name="connsiteX423" fmla="*/ 2264889 w 2846793"/>
              <a:gd name="connsiteY423" fmla="*/ 604624 h 2784234"/>
              <a:gd name="connsiteX424" fmla="*/ 2331640 w 2846793"/>
              <a:gd name="connsiteY424" fmla="*/ 595132 h 2784234"/>
              <a:gd name="connsiteX425" fmla="*/ 2408753 w 2846793"/>
              <a:gd name="connsiteY425" fmla="*/ 561746 h 2784234"/>
              <a:gd name="connsiteX426" fmla="*/ 2486157 w 2846793"/>
              <a:gd name="connsiteY426" fmla="*/ 631088 h 2784234"/>
              <a:gd name="connsiteX427" fmla="*/ 2597797 w 2846793"/>
              <a:gd name="connsiteY427" fmla="*/ 831052 h 2784234"/>
              <a:gd name="connsiteX428" fmla="*/ 2689292 w 2846793"/>
              <a:gd name="connsiteY428" fmla="*/ 1008013 h 2784234"/>
              <a:gd name="connsiteX429" fmla="*/ 2728999 w 2846793"/>
              <a:gd name="connsiteY429" fmla="*/ 1141081 h 2784234"/>
              <a:gd name="connsiteX430" fmla="*/ 2722098 w 2846793"/>
              <a:gd name="connsiteY430" fmla="*/ 1265963 h 2784234"/>
              <a:gd name="connsiteX431" fmla="*/ 2726409 w 2846793"/>
              <a:gd name="connsiteY431" fmla="*/ 1370556 h 2784234"/>
              <a:gd name="connsiteX432" fmla="*/ 2748998 w 2846793"/>
              <a:gd name="connsiteY432" fmla="*/ 1502194 h 2784234"/>
              <a:gd name="connsiteX433" fmla="*/ 2793596 w 2846793"/>
              <a:gd name="connsiteY433" fmla="*/ 1683756 h 2784234"/>
              <a:gd name="connsiteX434" fmla="*/ 2841924 w 2846793"/>
              <a:gd name="connsiteY434" fmla="*/ 1899699 h 2784234"/>
              <a:gd name="connsiteX435" fmla="*/ 2835872 w 2846793"/>
              <a:gd name="connsiteY435" fmla="*/ 2160094 h 2784234"/>
              <a:gd name="connsiteX436" fmla="*/ 2789119 w 2846793"/>
              <a:gd name="connsiteY436" fmla="*/ 2458476 h 2784234"/>
              <a:gd name="connsiteX437" fmla="*/ 2737620 w 2846793"/>
              <a:gd name="connsiteY437" fmla="*/ 2693547 h 2784234"/>
              <a:gd name="connsiteX438" fmla="*/ 2657626 w 2846793"/>
              <a:gd name="connsiteY438" fmla="*/ 2723762 h 2784234"/>
              <a:gd name="connsiteX439" fmla="*/ 2479816 w 2846793"/>
              <a:gd name="connsiteY439" fmla="*/ 2656720 h 2784234"/>
              <a:gd name="connsiteX440" fmla="*/ 2254237 w 2846793"/>
              <a:gd name="connsiteY440" fmla="*/ 2611832 h 2784234"/>
              <a:gd name="connsiteX441" fmla="*/ 2082166 w 2846793"/>
              <a:gd name="connsiteY441" fmla="*/ 2636287 h 2784234"/>
              <a:gd name="connsiteX442" fmla="*/ 1994401 w 2846793"/>
              <a:gd name="connsiteY442" fmla="*/ 2663621 h 2784234"/>
              <a:gd name="connsiteX443" fmla="*/ 1965346 w 2846793"/>
              <a:gd name="connsiteY443" fmla="*/ 2610382 h 2784234"/>
              <a:gd name="connsiteX444" fmla="*/ 1972537 w 2846793"/>
              <a:gd name="connsiteY444" fmla="*/ 2529538 h 2784234"/>
              <a:gd name="connsiteX445" fmla="*/ 2001302 w 2846793"/>
              <a:gd name="connsiteY445" fmla="*/ 2410127 h 2784234"/>
              <a:gd name="connsiteX446" fmla="*/ 2065173 w 2846793"/>
              <a:gd name="connsiteY446" fmla="*/ 2234762 h 2784234"/>
              <a:gd name="connsiteX447" fmla="*/ 2185164 w 2846793"/>
              <a:gd name="connsiteY447" fmla="*/ 1982428 h 2784234"/>
              <a:gd name="connsiteX448" fmla="*/ 2272639 w 2846793"/>
              <a:gd name="connsiteY448" fmla="*/ 1790940 h 2784234"/>
              <a:gd name="connsiteX449" fmla="*/ 2341691 w 2846793"/>
              <a:gd name="connsiteY449" fmla="*/ 1698284 h 2784234"/>
              <a:gd name="connsiteX450" fmla="*/ 2369026 w 2846793"/>
              <a:gd name="connsiteY450" fmla="*/ 1632962 h 2784234"/>
              <a:gd name="connsiteX451" fmla="*/ 2351473 w 2846793"/>
              <a:gd name="connsiteY451" fmla="*/ 1607927 h 2784234"/>
              <a:gd name="connsiteX452" fmla="*/ 2270774 w 2846793"/>
              <a:gd name="connsiteY452" fmla="*/ 1653541 h 2784234"/>
              <a:gd name="connsiteX453" fmla="*/ 2210343 w 2846793"/>
              <a:gd name="connsiteY453" fmla="*/ 1626206 h 2784234"/>
              <a:gd name="connsiteX454" fmla="*/ 2164585 w 2846793"/>
              <a:gd name="connsiteY454" fmla="*/ 1571972 h 2784234"/>
              <a:gd name="connsiteX455" fmla="*/ 2149623 w 2846793"/>
              <a:gd name="connsiteY455" fmla="*/ 1525364 h 2784234"/>
              <a:gd name="connsiteX456" fmla="*/ 2171776 w 2846793"/>
              <a:gd name="connsiteY456" fmla="*/ 1480476 h 2784234"/>
              <a:gd name="connsiteX457" fmla="*/ 2219690 w 2846793"/>
              <a:gd name="connsiteY457" fmla="*/ 1471710 h 2784234"/>
              <a:gd name="connsiteX458" fmla="*/ 2304575 w 2846793"/>
              <a:gd name="connsiteY458" fmla="*/ 1491128 h 2784234"/>
              <a:gd name="connsiteX459" fmla="*/ 2357939 w 2846793"/>
              <a:gd name="connsiteY459" fmla="*/ 1495148 h 2784234"/>
              <a:gd name="connsiteX460" fmla="*/ 2365130 w 2846793"/>
              <a:gd name="connsiteY460" fmla="*/ 1468539 h 2784234"/>
              <a:gd name="connsiteX461" fmla="*/ 2343411 w 2846793"/>
              <a:gd name="connsiteY461" fmla="*/ 1383509 h 2784234"/>
              <a:gd name="connsiteX462" fmla="*/ 2328594 w 2846793"/>
              <a:gd name="connsiteY462" fmla="*/ 1282957 h 2784234"/>
              <a:gd name="connsiteX463" fmla="*/ 2324428 w 2846793"/>
              <a:gd name="connsiteY463" fmla="*/ 1207999 h 2784234"/>
              <a:gd name="connsiteX464" fmla="*/ 2305735 w 2846793"/>
              <a:gd name="connsiteY464" fmla="*/ 1175628 h 2784234"/>
              <a:gd name="connsiteX465" fmla="*/ 2240559 w 2846793"/>
              <a:gd name="connsiteY465" fmla="*/ 1175918 h 2784234"/>
              <a:gd name="connsiteX466" fmla="*/ 2155964 w 2846793"/>
              <a:gd name="connsiteY466" fmla="*/ 1209574 h 2784234"/>
              <a:gd name="connsiteX467" fmla="*/ 2105750 w 2846793"/>
              <a:gd name="connsiteY467" fmla="*/ 1260223 h 2784234"/>
              <a:gd name="connsiteX468" fmla="*/ 2085171 w 2846793"/>
              <a:gd name="connsiteY468" fmla="*/ 1297774 h 2784234"/>
              <a:gd name="connsiteX469" fmla="*/ 2074664 w 2846793"/>
              <a:gd name="connsiteY469" fmla="*/ 1286977 h 2784234"/>
              <a:gd name="connsiteX470" fmla="*/ 2069918 w 2846793"/>
              <a:gd name="connsiteY470" fmla="*/ 1234028 h 2784234"/>
              <a:gd name="connsiteX471" fmla="*/ 2108050 w 2846793"/>
              <a:gd name="connsiteY471" fmla="*/ 1171587 h 2784234"/>
              <a:gd name="connsiteX472" fmla="*/ 2189910 w 2846793"/>
              <a:gd name="connsiteY472" fmla="*/ 1136045 h 2784234"/>
              <a:gd name="connsiteX473" fmla="*/ 2269759 w 2846793"/>
              <a:gd name="connsiteY473" fmla="*/ 1132294 h 2784234"/>
              <a:gd name="connsiteX474" fmla="*/ 2308450 w 2846793"/>
              <a:gd name="connsiteY474" fmla="*/ 1125683 h 2784234"/>
              <a:gd name="connsiteX475" fmla="*/ 2307290 w 2846793"/>
              <a:gd name="connsiteY475" fmla="*/ 1074765 h 2784234"/>
              <a:gd name="connsiteX476" fmla="*/ 2297653 w 2846793"/>
              <a:gd name="connsiteY476" fmla="*/ 1036778 h 2784234"/>
              <a:gd name="connsiteX477" fmla="*/ 2262982 w 2846793"/>
              <a:gd name="connsiteY477" fmla="*/ 1022831 h 2784234"/>
              <a:gd name="connsiteX478" fmla="*/ 2194655 w 2846793"/>
              <a:gd name="connsiteY478" fmla="*/ 1035493 h 2784234"/>
              <a:gd name="connsiteX479" fmla="*/ 2144296 w 2846793"/>
              <a:gd name="connsiteY479" fmla="*/ 1081811 h 2784234"/>
              <a:gd name="connsiteX480" fmla="*/ 2106310 w 2846793"/>
              <a:gd name="connsiteY480" fmla="*/ 1120088 h 2784234"/>
              <a:gd name="connsiteX481" fmla="*/ 2043434 w 2846793"/>
              <a:gd name="connsiteY481" fmla="*/ 1152894 h 2784234"/>
              <a:gd name="connsiteX482" fmla="*/ 1998401 w 2846793"/>
              <a:gd name="connsiteY482" fmla="*/ 1194756 h 2784234"/>
              <a:gd name="connsiteX483" fmla="*/ 1991645 w 2846793"/>
              <a:gd name="connsiteY483" fmla="*/ 1239354 h 2784234"/>
              <a:gd name="connsiteX484" fmla="*/ 2014669 w 2846793"/>
              <a:gd name="connsiteY484" fmla="*/ 1279351 h 2784234"/>
              <a:gd name="connsiteX485" fmla="*/ 2051350 w 2846793"/>
              <a:gd name="connsiteY485" fmla="*/ 1309566 h 2784234"/>
              <a:gd name="connsiteX486" fmla="*/ 2064157 w 2846793"/>
              <a:gd name="connsiteY486" fmla="*/ 1331865 h 2784234"/>
              <a:gd name="connsiteX487" fmla="*/ 2053505 w 2846793"/>
              <a:gd name="connsiteY487" fmla="*/ 1376173 h 2784234"/>
              <a:gd name="connsiteX488" fmla="*/ 2057671 w 2846793"/>
              <a:gd name="connsiteY488" fmla="*/ 1437598 h 2784234"/>
              <a:gd name="connsiteX489" fmla="*/ 2084715 w 2846793"/>
              <a:gd name="connsiteY489" fmla="*/ 1526939 h 2784234"/>
              <a:gd name="connsiteX490" fmla="*/ 2142556 w 2846793"/>
              <a:gd name="connsiteY490" fmla="*/ 1590374 h 2784234"/>
              <a:gd name="connsiteX491" fmla="*/ 2188583 w 2846793"/>
              <a:gd name="connsiteY491" fmla="*/ 1652525 h 2784234"/>
              <a:gd name="connsiteX492" fmla="*/ 2211753 w 2846793"/>
              <a:gd name="connsiteY492" fmla="*/ 1709350 h 2784234"/>
              <a:gd name="connsiteX493" fmla="*/ 2213038 w 2846793"/>
              <a:gd name="connsiteY493" fmla="*/ 1751502 h 2784234"/>
              <a:gd name="connsiteX494" fmla="*/ 2193619 w 2846793"/>
              <a:gd name="connsiteY494" fmla="*/ 1786463 h 2784234"/>
              <a:gd name="connsiteX495" fmla="*/ 2145416 w 2846793"/>
              <a:gd name="connsiteY495" fmla="*/ 1826170 h 2784234"/>
              <a:gd name="connsiteX496" fmla="*/ 2094062 w 2846793"/>
              <a:gd name="connsiteY496" fmla="*/ 1865877 h 2784234"/>
              <a:gd name="connsiteX497" fmla="*/ 2067452 w 2846793"/>
              <a:gd name="connsiteY497" fmla="*/ 1897668 h 2784234"/>
              <a:gd name="connsiteX498" fmla="*/ 2076654 w 2846793"/>
              <a:gd name="connsiteY498" fmla="*/ 1913791 h 2784234"/>
              <a:gd name="connsiteX499" fmla="*/ 2097668 w 2846793"/>
              <a:gd name="connsiteY499" fmla="*/ 1937955 h 2784234"/>
              <a:gd name="connsiteX500" fmla="*/ 2095077 w 2846793"/>
              <a:gd name="connsiteY500" fmla="*/ 2004416 h 2784234"/>
              <a:gd name="connsiteX501" fmla="*/ 2059391 w 2846793"/>
              <a:gd name="connsiteY501" fmla="*/ 2109155 h 2784234"/>
              <a:gd name="connsiteX502" fmla="*/ 1969325 w 2846793"/>
              <a:gd name="connsiteY502" fmla="*/ 2331853 h 2784234"/>
              <a:gd name="connsiteX503" fmla="*/ 1904584 w 2846793"/>
              <a:gd name="connsiteY503" fmla="*/ 2574405 h 2784234"/>
              <a:gd name="connsiteX504" fmla="*/ 1892502 w 2846793"/>
              <a:gd name="connsiteY504" fmla="*/ 2764443 h 2784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Lst>
            <a:rect l="l" t="t" r="r" b="b"/>
            <a:pathLst>
              <a:path w="2846793" h="2784234">
                <a:moveTo>
                  <a:pt x="1241953" y="2360975"/>
                </a:moveTo>
                <a:cubicBezTo>
                  <a:pt x="1249869" y="2349474"/>
                  <a:pt x="1229759" y="2311333"/>
                  <a:pt x="1209568" y="2270448"/>
                </a:cubicBezTo>
                <a:cubicBezTo>
                  <a:pt x="1189377" y="2229563"/>
                  <a:pt x="1156059" y="2177377"/>
                  <a:pt x="1120808" y="2115662"/>
                </a:cubicBezTo>
                <a:cubicBezTo>
                  <a:pt x="1085556" y="2053946"/>
                  <a:pt x="1052191" y="1990635"/>
                  <a:pt x="1030182" y="1957124"/>
                </a:cubicBezTo>
                <a:cubicBezTo>
                  <a:pt x="1008174" y="1923614"/>
                  <a:pt x="997522" y="1919863"/>
                  <a:pt x="963576" y="1924173"/>
                </a:cubicBezTo>
                <a:cubicBezTo>
                  <a:pt x="929630" y="1928484"/>
                  <a:pt x="872370" y="1940856"/>
                  <a:pt x="805764" y="1954244"/>
                </a:cubicBezTo>
                <a:cubicBezTo>
                  <a:pt x="739157" y="1967631"/>
                  <a:pt x="663204" y="1982014"/>
                  <a:pt x="604929" y="1989060"/>
                </a:cubicBezTo>
                <a:cubicBezTo>
                  <a:pt x="546674" y="1996106"/>
                  <a:pt x="506097" y="1995816"/>
                  <a:pt x="477332" y="1993661"/>
                </a:cubicBezTo>
                <a:cubicBezTo>
                  <a:pt x="448567" y="1991505"/>
                  <a:pt x="431574" y="1987464"/>
                  <a:pt x="361672" y="2000852"/>
                </a:cubicBezTo>
                <a:cubicBezTo>
                  <a:pt x="291750" y="2014239"/>
                  <a:pt x="168899" y="2045014"/>
                  <a:pt x="98687" y="2062567"/>
                </a:cubicBezTo>
                <a:cubicBezTo>
                  <a:pt x="28474" y="2080120"/>
                  <a:pt x="10921" y="2084431"/>
                  <a:pt x="3316" y="2090047"/>
                </a:cubicBezTo>
                <a:cubicBezTo>
                  <a:pt x="-4311" y="2095663"/>
                  <a:pt x="-2011" y="2102564"/>
                  <a:pt x="45468" y="2164135"/>
                </a:cubicBezTo>
                <a:cubicBezTo>
                  <a:pt x="92946" y="2225706"/>
                  <a:pt x="185582" y="2341946"/>
                  <a:pt x="243277" y="2417629"/>
                </a:cubicBezTo>
                <a:cubicBezTo>
                  <a:pt x="300972" y="2493292"/>
                  <a:pt x="323706" y="2528398"/>
                  <a:pt x="343270" y="2553723"/>
                </a:cubicBezTo>
                <a:cubicBezTo>
                  <a:pt x="362833" y="2579047"/>
                  <a:pt x="379225" y="2594569"/>
                  <a:pt x="396634" y="2608392"/>
                </a:cubicBezTo>
                <a:cubicBezTo>
                  <a:pt x="414041" y="2622194"/>
                  <a:pt x="432465" y="2634297"/>
                  <a:pt x="442102" y="2644348"/>
                </a:cubicBezTo>
                <a:cubicBezTo>
                  <a:pt x="451738" y="2654420"/>
                  <a:pt x="452609" y="2662482"/>
                  <a:pt x="450018" y="2670108"/>
                </a:cubicBezTo>
                <a:cubicBezTo>
                  <a:pt x="447428" y="2677734"/>
                  <a:pt x="441376" y="2684925"/>
                  <a:pt x="431180" y="2687516"/>
                </a:cubicBezTo>
                <a:cubicBezTo>
                  <a:pt x="420963" y="2690106"/>
                  <a:pt x="406581" y="2688096"/>
                  <a:pt x="385007" y="2665507"/>
                </a:cubicBezTo>
                <a:cubicBezTo>
                  <a:pt x="363434" y="2642918"/>
                  <a:pt x="334648" y="2599771"/>
                  <a:pt x="320266" y="2569991"/>
                </a:cubicBezTo>
                <a:cubicBezTo>
                  <a:pt x="305884" y="2540211"/>
                  <a:pt x="305884" y="2523818"/>
                  <a:pt x="307459" y="2513166"/>
                </a:cubicBezTo>
                <a:cubicBezTo>
                  <a:pt x="309034" y="2502514"/>
                  <a:pt x="312204" y="2497623"/>
                  <a:pt x="319396" y="2499923"/>
                </a:cubicBezTo>
                <a:cubicBezTo>
                  <a:pt x="326587" y="2502224"/>
                  <a:pt x="337819" y="2511715"/>
                  <a:pt x="348015" y="2524378"/>
                </a:cubicBezTo>
                <a:cubicBezTo>
                  <a:pt x="358232" y="2537040"/>
                  <a:pt x="367434" y="2552852"/>
                  <a:pt x="378086" y="2562364"/>
                </a:cubicBezTo>
                <a:cubicBezTo>
                  <a:pt x="388738" y="2571856"/>
                  <a:pt x="400820" y="2575027"/>
                  <a:pt x="409731" y="2581348"/>
                </a:cubicBezTo>
                <a:cubicBezTo>
                  <a:pt x="418642" y="2587668"/>
                  <a:pt x="424403" y="2597181"/>
                  <a:pt x="431740" y="2604372"/>
                </a:cubicBezTo>
                <a:cubicBezTo>
                  <a:pt x="439076" y="2611563"/>
                  <a:pt x="447987" y="2616454"/>
                  <a:pt x="455323" y="2623645"/>
                </a:cubicBezTo>
                <a:cubicBezTo>
                  <a:pt x="462660" y="2630836"/>
                  <a:pt x="468421" y="2640328"/>
                  <a:pt x="472006" y="2654005"/>
                </a:cubicBezTo>
                <a:cubicBezTo>
                  <a:pt x="475612" y="2667662"/>
                  <a:pt x="477042" y="2685506"/>
                  <a:pt x="483798" y="2705649"/>
                </a:cubicBezTo>
                <a:cubicBezTo>
                  <a:pt x="490554" y="2725793"/>
                  <a:pt x="502636" y="2748237"/>
                  <a:pt x="515029" y="2761707"/>
                </a:cubicBezTo>
                <a:cubicBezTo>
                  <a:pt x="527422" y="2775199"/>
                  <a:pt x="540105" y="2779716"/>
                  <a:pt x="593924" y="2781975"/>
                </a:cubicBezTo>
                <a:cubicBezTo>
                  <a:pt x="647744" y="2784234"/>
                  <a:pt x="742701" y="2784234"/>
                  <a:pt x="917921" y="2784234"/>
                </a:cubicBezTo>
                <a:lnTo>
                  <a:pt x="1481859" y="2784234"/>
                </a:lnTo>
                <a:cubicBezTo>
                  <a:pt x="1615071" y="2784234"/>
                  <a:pt x="1626014" y="2784234"/>
                  <a:pt x="1611175" y="2760402"/>
                </a:cubicBezTo>
                <a:cubicBezTo>
                  <a:pt x="1596337" y="2736569"/>
                  <a:pt x="1555739" y="2688884"/>
                  <a:pt x="1530415" y="2653819"/>
                </a:cubicBezTo>
                <a:cubicBezTo>
                  <a:pt x="1505069" y="2618754"/>
                  <a:pt x="1495018" y="2596310"/>
                  <a:pt x="1485506" y="2582508"/>
                </a:cubicBezTo>
                <a:cubicBezTo>
                  <a:pt x="1476014" y="2568706"/>
                  <a:pt x="1467083" y="2563525"/>
                  <a:pt x="1444639" y="2563380"/>
                </a:cubicBezTo>
                <a:cubicBezTo>
                  <a:pt x="1422195" y="2563235"/>
                  <a:pt x="1386239" y="2568126"/>
                  <a:pt x="1360914" y="2569701"/>
                </a:cubicBezTo>
                <a:cubicBezTo>
                  <a:pt x="1335590" y="2571276"/>
                  <a:pt x="1320917" y="2569556"/>
                  <a:pt x="1305374" y="2561204"/>
                </a:cubicBezTo>
                <a:cubicBezTo>
                  <a:pt x="1289832" y="2552852"/>
                  <a:pt x="1273439" y="2537890"/>
                  <a:pt x="1259906" y="2517187"/>
                </a:cubicBezTo>
                <a:cubicBezTo>
                  <a:pt x="1246374" y="2496463"/>
                  <a:pt x="1235742" y="2469998"/>
                  <a:pt x="1228551" y="2442519"/>
                </a:cubicBezTo>
                <a:cubicBezTo>
                  <a:pt x="1221360" y="2415039"/>
                  <a:pt x="1217609" y="2386564"/>
                  <a:pt x="1227121" y="2364680"/>
                </a:cubicBezTo>
                <a:cubicBezTo>
                  <a:pt x="1236613" y="2342816"/>
                  <a:pt x="1259347" y="2327563"/>
                  <a:pt x="1271139" y="2317491"/>
                </a:cubicBezTo>
                <a:cubicBezTo>
                  <a:pt x="1282930" y="2307420"/>
                  <a:pt x="1283801" y="2302529"/>
                  <a:pt x="1254021" y="2254201"/>
                </a:cubicBezTo>
                <a:cubicBezTo>
                  <a:pt x="1224240" y="2205873"/>
                  <a:pt x="1163810" y="2114087"/>
                  <a:pt x="1118217" y="2041429"/>
                </a:cubicBezTo>
                <a:cubicBezTo>
                  <a:pt x="1072604" y="1968771"/>
                  <a:pt x="1041829" y="1915262"/>
                  <a:pt x="1021105" y="1888363"/>
                </a:cubicBezTo>
                <a:cubicBezTo>
                  <a:pt x="1000381" y="1861463"/>
                  <a:pt x="989750" y="1861173"/>
                  <a:pt x="969171" y="1865338"/>
                </a:cubicBezTo>
                <a:cubicBezTo>
                  <a:pt x="948593" y="1869504"/>
                  <a:pt x="918108" y="1878146"/>
                  <a:pt x="890048" y="1886477"/>
                </a:cubicBezTo>
                <a:cubicBezTo>
                  <a:pt x="861987" y="1894828"/>
                  <a:pt x="836394" y="1902869"/>
                  <a:pt x="773808" y="1916837"/>
                </a:cubicBezTo>
                <a:cubicBezTo>
                  <a:pt x="711221" y="1930784"/>
                  <a:pt x="611664" y="1950638"/>
                  <a:pt x="552974" y="1960565"/>
                </a:cubicBezTo>
                <a:cubicBezTo>
                  <a:pt x="494284" y="1970491"/>
                  <a:pt x="476441" y="1970491"/>
                  <a:pt x="460463" y="1968771"/>
                </a:cubicBezTo>
                <a:cubicBezTo>
                  <a:pt x="444485" y="1967051"/>
                  <a:pt x="430393" y="1963590"/>
                  <a:pt x="390251" y="1936110"/>
                </a:cubicBezTo>
                <a:cubicBezTo>
                  <a:pt x="350108" y="1908631"/>
                  <a:pt x="283937" y="1857132"/>
                  <a:pt x="237329" y="1817280"/>
                </a:cubicBezTo>
                <a:cubicBezTo>
                  <a:pt x="190721" y="1777428"/>
                  <a:pt x="163677" y="1749223"/>
                  <a:pt x="148859" y="1724478"/>
                </a:cubicBezTo>
                <a:cubicBezTo>
                  <a:pt x="134042" y="1699734"/>
                  <a:pt x="131451" y="1678451"/>
                  <a:pt x="135326" y="1660753"/>
                </a:cubicBezTo>
                <a:cubicBezTo>
                  <a:pt x="139202" y="1643054"/>
                  <a:pt x="149564" y="1628962"/>
                  <a:pt x="160361" y="1619326"/>
                </a:cubicBezTo>
                <a:cubicBezTo>
                  <a:pt x="171158" y="1609689"/>
                  <a:pt x="182370" y="1604508"/>
                  <a:pt x="206534" y="1610829"/>
                </a:cubicBezTo>
                <a:cubicBezTo>
                  <a:pt x="230698" y="1617150"/>
                  <a:pt x="267814" y="1634993"/>
                  <a:pt x="299894" y="1646370"/>
                </a:cubicBezTo>
                <a:cubicBezTo>
                  <a:pt x="331975" y="1657727"/>
                  <a:pt x="359020" y="1662618"/>
                  <a:pt x="372552" y="1668959"/>
                </a:cubicBezTo>
                <a:cubicBezTo>
                  <a:pt x="386085" y="1675280"/>
                  <a:pt x="386085" y="1683051"/>
                  <a:pt x="375723" y="1692688"/>
                </a:cubicBezTo>
                <a:cubicBezTo>
                  <a:pt x="365361" y="1702325"/>
                  <a:pt x="344658" y="1713826"/>
                  <a:pt x="313282" y="1712832"/>
                </a:cubicBezTo>
                <a:cubicBezTo>
                  <a:pt x="281927" y="1711816"/>
                  <a:pt x="239920" y="1698304"/>
                  <a:pt x="211134" y="1685787"/>
                </a:cubicBezTo>
                <a:cubicBezTo>
                  <a:pt x="182349" y="1673270"/>
                  <a:pt x="166827" y="1661768"/>
                  <a:pt x="161356" y="1648235"/>
                </a:cubicBezTo>
                <a:cubicBezTo>
                  <a:pt x="155884" y="1634703"/>
                  <a:pt x="160485" y="1619180"/>
                  <a:pt x="166391" y="1605586"/>
                </a:cubicBezTo>
                <a:cubicBezTo>
                  <a:pt x="172298" y="1591991"/>
                  <a:pt x="179489" y="1580344"/>
                  <a:pt x="200192" y="1577816"/>
                </a:cubicBezTo>
                <a:cubicBezTo>
                  <a:pt x="220916" y="1575287"/>
                  <a:pt x="255152" y="1581919"/>
                  <a:pt x="287232" y="1590830"/>
                </a:cubicBezTo>
                <a:cubicBezTo>
                  <a:pt x="319313" y="1599741"/>
                  <a:pt x="349238" y="1610974"/>
                  <a:pt x="369009" y="1618953"/>
                </a:cubicBezTo>
                <a:cubicBezTo>
                  <a:pt x="388800" y="1626931"/>
                  <a:pt x="398436" y="1631677"/>
                  <a:pt x="419927" y="1621046"/>
                </a:cubicBezTo>
                <a:cubicBezTo>
                  <a:pt x="441438" y="1610394"/>
                  <a:pt x="474804" y="1584364"/>
                  <a:pt x="508625" y="1559682"/>
                </a:cubicBezTo>
                <a:cubicBezTo>
                  <a:pt x="542426" y="1535000"/>
                  <a:pt x="576682" y="1511707"/>
                  <a:pt x="603872" y="1496164"/>
                </a:cubicBezTo>
                <a:cubicBezTo>
                  <a:pt x="631062" y="1480621"/>
                  <a:pt x="651205" y="1472849"/>
                  <a:pt x="672489" y="1469699"/>
                </a:cubicBezTo>
                <a:cubicBezTo>
                  <a:pt x="693772" y="1466529"/>
                  <a:pt x="716216" y="1467979"/>
                  <a:pt x="740318" y="1459835"/>
                </a:cubicBezTo>
                <a:cubicBezTo>
                  <a:pt x="764420" y="1451711"/>
                  <a:pt x="790159" y="1434013"/>
                  <a:pt x="810675" y="1421288"/>
                </a:cubicBezTo>
                <a:cubicBezTo>
                  <a:pt x="831171" y="1408564"/>
                  <a:pt x="846424" y="1400793"/>
                  <a:pt x="854631" y="1394969"/>
                </a:cubicBezTo>
                <a:cubicBezTo>
                  <a:pt x="862837" y="1389146"/>
                  <a:pt x="863977" y="1385250"/>
                  <a:pt x="862982" y="1380214"/>
                </a:cubicBezTo>
                <a:cubicBezTo>
                  <a:pt x="861967" y="1375178"/>
                  <a:pt x="858817" y="1369002"/>
                  <a:pt x="851688" y="1366412"/>
                </a:cubicBezTo>
                <a:cubicBezTo>
                  <a:pt x="844559" y="1363821"/>
                  <a:pt x="833492" y="1364837"/>
                  <a:pt x="827524" y="1363614"/>
                </a:cubicBezTo>
                <a:cubicBezTo>
                  <a:pt x="821555" y="1362391"/>
                  <a:pt x="820685" y="1358930"/>
                  <a:pt x="824291" y="1354910"/>
                </a:cubicBezTo>
                <a:cubicBezTo>
                  <a:pt x="827897" y="1350890"/>
                  <a:pt x="835938" y="1346268"/>
                  <a:pt x="846652" y="1340030"/>
                </a:cubicBezTo>
                <a:cubicBezTo>
                  <a:pt x="857366" y="1333772"/>
                  <a:pt x="870754" y="1325855"/>
                  <a:pt x="880308" y="1319161"/>
                </a:cubicBezTo>
                <a:cubicBezTo>
                  <a:pt x="889882" y="1312467"/>
                  <a:pt x="895622" y="1306996"/>
                  <a:pt x="897363" y="1302831"/>
                </a:cubicBezTo>
                <a:cubicBezTo>
                  <a:pt x="899083" y="1298665"/>
                  <a:pt x="896783" y="1295785"/>
                  <a:pt x="886794" y="1295930"/>
                </a:cubicBezTo>
                <a:cubicBezTo>
                  <a:pt x="876805" y="1296075"/>
                  <a:pt x="859107" y="1299246"/>
                  <a:pt x="844642" y="1306934"/>
                </a:cubicBezTo>
                <a:cubicBezTo>
                  <a:pt x="830176" y="1314623"/>
                  <a:pt x="818965" y="1326850"/>
                  <a:pt x="809536" y="1335347"/>
                </a:cubicBezTo>
                <a:cubicBezTo>
                  <a:pt x="800106" y="1343843"/>
                  <a:pt x="792480" y="1348589"/>
                  <a:pt x="787029" y="1349667"/>
                </a:cubicBezTo>
                <a:cubicBezTo>
                  <a:pt x="781558" y="1350744"/>
                  <a:pt x="778263" y="1348154"/>
                  <a:pt x="782139" y="1343346"/>
                </a:cubicBezTo>
                <a:cubicBezTo>
                  <a:pt x="786014" y="1338517"/>
                  <a:pt x="797101" y="1331471"/>
                  <a:pt x="804583" y="1325296"/>
                </a:cubicBezTo>
                <a:cubicBezTo>
                  <a:pt x="812064" y="1319099"/>
                  <a:pt x="815939" y="1313794"/>
                  <a:pt x="816810" y="1307743"/>
                </a:cubicBezTo>
                <a:cubicBezTo>
                  <a:pt x="817680" y="1301691"/>
                  <a:pt x="815504" y="1294935"/>
                  <a:pt x="811276" y="1290977"/>
                </a:cubicBezTo>
                <a:cubicBezTo>
                  <a:pt x="807028" y="1287019"/>
                  <a:pt x="800707" y="1285879"/>
                  <a:pt x="791713" y="1290832"/>
                </a:cubicBezTo>
                <a:cubicBezTo>
                  <a:pt x="782719" y="1295785"/>
                  <a:pt x="771072" y="1306872"/>
                  <a:pt x="761933" y="1313856"/>
                </a:cubicBezTo>
                <a:cubicBezTo>
                  <a:pt x="752794" y="1320840"/>
                  <a:pt x="746183" y="1323700"/>
                  <a:pt x="742515" y="1324218"/>
                </a:cubicBezTo>
                <a:cubicBezTo>
                  <a:pt x="738847" y="1324715"/>
                  <a:pt x="738121" y="1322850"/>
                  <a:pt x="739862" y="1318457"/>
                </a:cubicBezTo>
                <a:cubicBezTo>
                  <a:pt x="741582" y="1314063"/>
                  <a:pt x="745768" y="1307162"/>
                  <a:pt x="752296" y="1300406"/>
                </a:cubicBezTo>
                <a:cubicBezTo>
                  <a:pt x="758824" y="1293650"/>
                  <a:pt x="767756" y="1287019"/>
                  <a:pt x="772585" y="1280615"/>
                </a:cubicBezTo>
                <a:cubicBezTo>
                  <a:pt x="777414" y="1274211"/>
                  <a:pt x="778118" y="1268036"/>
                  <a:pt x="776108" y="1263994"/>
                </a:cubicBezTo>
                <a:cubicBezTo>
                  <a:pt x="774098" y="1259974"/>
                  <a:pt x="769352" y="1258088"/>
                  <a:pt x="761083" y="1258026"/>
                </a:cubicBezTo>
                <a:cubicBezTo>
                  <a:pt x="752814" y="1257964"/>
                  <a:pt x="741022" y="1259684"/>
                  <a:pt x="718869" y="1273051"/>
                </a:cubicBezTo>
                <a:cubicBezTo>
                  <a:pt x="696715" y="1286438"/>
                  <a:pt x="664199" y="1311452"/>
                  <a:pt x="639600" y="1331181"/>
                </a:cubicBezTo>
                <a:cubicBezTo>
                  <a:pt x="615001" y="1350890"/>
                  <a:pt x="598318" y="1365272"/>
                  <a:pt x="569678" y="1382100"/>
                </a:cubicBezTo>
                <a:cubicBezTo>
                  <a:pt x="541058" y="1398927"/>
                  <a:pt x="500481" y="1418201"/>
                  <a:pt x="456173" y="1442530"/>
                </a:cubicBezTo>
                <a:cubicBezTo>
                  <a:pt x="411866" y="1466839"/>
                  <a:pt x="363807" y="1496184"/>
                  <a:pt x="325406" y="1515188"/>
                </a:cubicBezTo>
                <a:cubicBezTo>
                  <a:pt x="287004" y="1534171"/>
                  <a:pt x="258219" y="1542813"/>
                  <a:pt x="239526" y="1551144"/>
                </a:cubicBezTo>
                <a:cubicBezTo>
                  <a:pt x="220833" y="1559496"/>
                  <a:pt x="212191" y="1567537"/>
                  <a:pt x="218388" y="1575453"/>
                </a:cubicBezTo>
                <a:cubicBezTo>
                  <a:pt x="224563" y="1583370"/>
                  <a:pt x="245577" y="1591141"/>
                  <a:pt x="272912" y="1602208"/>
                </a:cubicBezTo>
                <a:cubicBezTo>
                  <a:pt x="300247" y="1613295"/>
                  <a:pt x="333902" y="1627677"/>
                  <a:pt x="357797" y="1635863"/>
                </a:cubicBezTo>
                <a:cubicBezTo>
                  <a:pt x="381671" y="1644070"/>
                  <a:pt x="395784" y="1646080"/>
                  <a:pt x="403410" y="1653271"/>
                </a:cubicBezTo>
                <a:cubicBezTo>
                  <a:pt x="411037" y="1660462"/>
                  <a:pt x="412176" y="1672835"/>
                  <a:pt x="416073" y="1682036"/>
                </a:cubicBezTo>
                <a:cubicBezTo>
                  <a:pt x="419948" y="1691237"/>
                  <a:pt x="426579" y="1697289"/>
                  <a:pt x="440817" y="1705060"/>
                </a:cubicBezTo>
                <a:cubicBezTo>
                  <a:pt x="455054" y="1712832"/>
                  <a:pt x="476918" y="1722323"/>
                  <a:pt x="514469" y="1733680"/>
                </a:cubicBezTo>
                <a:cubicBezTo>
                  <a:pt x="552021" y="1745037"/>
                  <a:pt x="605240" y="1758279"/>
                  <a:pt x="651288" y="1765905"/>
                </a:cubicBezTo>
                <a:cubicBezTo>
                  <a:pt x="697316" y="1773532"/>
                  <a:pt x="736173" y="1775542"/>
                  <a:pt x="768109" y="1785179"/>
                </a:cubicBezTo>
                <a:cubicBezTo>
                  <a:pt x="800044" y="1794815"/>
                  <a:pt x="825078" y="1812078"/>
                  <a:pt x="837306" y="1824740"/>
                </a:cubicBezTo>
                <a:cubicBezTo>
                  <a:pt x="849532" y="1837403"/>
                  <a:pt x="848952" y="1845464"/>
                  <a:pt x="840621" y="1854666"/>
                </a:cubicBezTo>
                <a:cubicBezTo>
                  <a:pt x="832270" y="1863867"/>
                  <a:pt x="816167" y="1874229"/>
                  <a:pt x="790843" y="1883430"/>
                </a:cubicBezTo>
                <a:cubicBezTo>
                  <a:pt x="765518" y="1892632"/>
                  <a:pt x="730992" y="1900693"/>
                  <a:pt x="713874" y="1902413"/>
                </a:cubicBezTo>
                <a:cubicBezTo>
                  <a:pt x="696756" y="1904133"/>
                  <a:pt x="697046" y="1899533"/>
                  <a:pt x="703367" y="1887741"/>
                </a:cubicBezTo>
                <a:cubicBezTo>
                  <a:pt x="709688" y="1875949"/>
                  <a:pt x="722060" y="1856945"/>
                  <a:pt x="735158" y="1840843"/>
                </a:cubicBezTo>
                <a:cubicBezTo>
                  <a:pt x="748255" y="1824740"/>
                  <a:pt x="762057" y="1811498"/>
                  <a:pt x="785662" y="1808037"/>
                </a:cubicBezTo>
                <a:cubicBezTo>
                  <a:pt x="809245" y="1804576"/>
                  <a:pt x="842631" y="1810918"/>
                  <a:pt x="864640" y="1809757"/>
                </a:cubicBezTo>
                <a:cubicBezTo>
                  <a:pt x="886649" y="1808597"/>
                  <a:pt x="897301" y="1799975"/>
                  <a:pt x="904637" y="1789468"/>
                </a:cubicBezTo>
                <a:cubicBezTo>
                  <a:pt x="911973" y="1778961"/>
                  <a:pt x="915994" y="1766589"/>
                  <a:pt x="916284" y="1745161"/>
                </a:cubicBezTo>
                <a:cubicBezTo>
                  <a:pt x="916574" y="1723732"/>
                  <a:pt x="913113" y="1693227"/>
                  <a:pt x="912119" y="1675238"/>
                </a:cubicBezTo>
                <a:cubicBezTo>
                  <a:pt x="911103" y="1657250"/>
                  <a:pt x="912554" y="1651779"/>
                  <a:pt x="918025" y="1647904"/>
                </a:cubicBezTo>
                <a:cubicBezTo>
                  <a:pt x="923496" y="1644028"/>
                  <a:pt x="932987" y="1641707"/>
                  <a:pt x="946230" y="1644588"/>
                </a:cubicBezTo>
                <a:cubicBezTo>
                  <a:pt x="959473" y="1647469"/>
                  <a:pt x="976446" y="1655530"/>
                  <a:pt x="993128" y="1664587"/>
                </a:cubicBezTo>
                <a:cubicBezTo>
                  <a:pt x="1009811" y="1673643"/>
                  <a:pt x="1026224" y="1683715"/>
                  <a:pt x="1043632" y="1685455"/>
                </a:cubicBezTo>
                <a:cubicBezTo>
                  <a:pt x="1061040" y="1687175"/>
                  <a:pt x="1079464" y="1680565"/>
                  <a:pt x="1091110" y="1667032"/>
                </a:cubicBezTo>
                <a:cubicBezTo>
                  <a:pt x="1102757" y="1653499"/>
                  <a:pt x="1107648" y="1633086"/>
                  <a:pt x="1113844" y="1609046"/>
                </a:cubicBezTo>
                <a:cubicBezTo>
                  <a:pt x="1120041" y="1585028"/>
                  <a:pt x="1127522" y="1557403"/>
                  <a:pt x="1137573" y="1536244"/>
                </a:cubicBezTo>
                <a:cubicBezTo>
                  <a:pt x="1147645" y="1515105"/>
                  <a:pt x="1160307" y="1500412"/>
                  <a:pt x="1175270" y="1484165"/>
                </a:cubicBezTo>
                <a:cubicBezTo>
                  <a:pt x="1190233" y="1467917"/>
                  <a:pt x="1207496" y="1450074"/>
                  <a:pt x="1215847" y="1437702"/>
                </a:cubicBezTo>
                <a:cubicBezTo>
                  <a:pt x="1224199" y="1425330"/>
                  <a:pt x="1223619" y="1418429"/>
                  <a:pt x="1213837" y="1405911"/>
                </a:cubicBezTo>
                <a:cubicBezTo>
                  <a:pt x="1204055" y="1393394"/>
                  <a:pt x="1185072" y="1375261"/>
                  <a:pt x="1160743" y="1359449"/>
                </a:cubicBezTo>
                <a:cubicBezTo>
                  <a:pt x="1136434" y="1343615"/>
                  <a:pt x="1106798" y="1330103"/>
                  <a:pt x="1072273" y="1326207"/>
                </a:cubicBezTo>
                <a:cubicBezTo>
                  <a:pt x="1037747" y="1322332"/>
                  <a:pt x="998330" y="1328073"/>
                  <a:pt x="969420" y="1337709"/>
                </a:cubicBezTo>
                <a:cubicBezTo>
                  <a:pt x="940510" y="1347346"/>
                  <a:pt x="922087" y="1360878"/>
                  <a:pt x="912160" y="1380152"/>
                </a:cubicBezTo>
                <a:cubicBezTo>
                  <a:pt x="902233" y="1399425"/>
                  <a:pt x="900803" y="1424459"/>
                  <a:pt x="896327" y="1448333"/>
                </a:cubicBezTo>
                <a:cubicBezTo>
                  <a:pt x="891871" y="1472207"/>
                  <a:pt x="884390" y="1494941"/>
                  <a:pt x="877489" y="1512784"/>
                </a:cubicBezTo>
                <a:cubicBezTo>
                  <a:pt x="870588" y="1530628"/>
                  <a:pt x="864247" y="1543580"/>
                  <a:pt x="860806" y="1564138"/>
                </a:cubicBezTo>
                <a:cubicBezTo>
                  <a:pt x="857345" y="1584717"/>
                  <a:pt x="856786" y="1612901"/>
                  <a:pt x="859936" y="1636216"/>
                </a:cubicBezTo>
                <a:cubicBezTo>
                  <a:pt x="863107" y="1659530"/>
                  <a:pt x="870008" y="1677933"/>
                  <a:pt x="882670" y="1693040"/>
                </a:cubicBezTo>
                <a:cubicBezTo>
                  <a:pt x="895332" y="1708148"/>
                  <a:pt x="913735" y="1719940"/>
                  <a:pt x="939930" y="1728001"/>
                </a:cubicBezTo>
                <a:cubicBezTo>
                  <a:pt x="966104" y="1736063"/>
                  <a:pt x="1000070" y="1740374"/>
                  <a:pt x="1032856" y="1733618"/>
                </a:cubicBezTo>
                <a:cubicBezTo>
                  <a:pt x="1065662" y="1726862"/>
                  <a:pt x="1097307" y="1709018"/>
                  <a:pt x="1121326" y="1688440"/>
                </a:cubicBezTo>
                <a:cubicBezTo>
                  <a:pt x="1145345" y="1667861"/>
                  <a:pt x="1161758" y="1644567"/>
                  <a:pt x="1171830" y="1627304"/>
                </a:cubicBezTo>
                <a:cubicBezTo>
                  <a:pt x="1181902" y="1610041"/>
                  <a:pt x="1185632" y="1598830"/>
                  <a:pt x="1192263" y="1592343"/>
                </a:cubicBezTo>
                <a:cubicBezTo>
                  <a:pt x="1198874" y="1585877"/>
                  <a:pt x="1208387" y="1584137"/>
                  <a:pt x="1215433" y="1590478"/>
                </a:cubicBezTo>
                <a:cubicBezTo>
                  <a:pt x="1222479" y="1596819"/>
                  <a:pt x="1227080" y="1611202"/>
                  <a:pt x="1223059" y="1624569"/>
                </a:cubicBezTo>
                <a:cubicBezTo>
                  <a:pt x="1219039" y="1637956"/>
                  <a:pt x="1206377" y="1650328"/>
                  <a:pt x="1193569" y="1655219"/>
                </a:cubicBezTo>
                <a:cubicBezTo>
                  <a:pt x="1180762" y="1660110"/>
                  <a:pt x="1167809" y="1657520"/>
                  <a:pt x="1160328" y="1650909"/>
                </a:cubicBezTo>
                <a:cubicBezTo>
                  <a:pt x="1152847" y="1644298"/>
                  <a:pt x="1150837" y="1633646"/>
                  <a:pt x="1152121" y="1619844"/>
                </a:cubicBezTo>
                <a:cubicBezTo>
                  <a:pt x="1153406" y="1606042"/>
                  <a:pt x="1158028" y="1589048"/>
                  <a:pt x="1169239" y="1577836"/>
                </a:cubicBezTo>
                <a:cubicBezTo>
                  <a:pt x="1180451" y="1566625"/>
                  <a:pt x="1198294" y="1561154"/>
                  <a:pt x="1208511" y="1555683"/>
                </a:cubicBezTo>
                <a:cubicBezTo>
                  <a:pt x="1218728" y="1550212"/>
                  <a:pt x="1221318" y="1544740"/>
                  <a:pt x="1223039" y="1534814"/>
                </a:cubicBezTo>
                <a:cubicBezTo>
                  <a:pt x="1224759" y="1524887"/>
                  <a:pt x="1225629" y="1510505"/>
                  <a:pt x="1221173" y="1493822"/>
                </a:cubicBezTo>
                <a:cubicBezTo>
                  <a:pt x="1216718" y="1477139"/>
                  <a:pt x="1206936" y="1458136"/>
                  <a:pt x="1192263" y="1435837"/>
                </a:cubicBezTo>
                <a:cubicBezTo>
                  <a:pt x="1177591" y="1413538"/>
                  <a:pt x="1158028" y="1387923"/>
                  <a:pt x="1126527" y="1373105"/>
                </a:cubicBezTo>
                <a:cubicBezTo>
                  <a:pt x="1095027" y="1358288"/>
                  <a:pt x="1051569" y="1354268"/>
                  <a:pt x="1015178" y="1361604"/>
                </a:cubicBezTo>
                <a:cubicBezTo>
                  <a:pt x="978787" y="1368940"/>
                  <a:pt x="949442" y="1387633"/>
                  <a:pt x="929299" y="1399591"/>
                </a:cubicBezTo>
                <a:cubicBezTo>
                  <a:pt x="909155" y="1411527"/>
                  <a:pt x="898233" y="1416708"/>
                  <a:pt x="891312" y="1413683"/>
                </a:cubicBezTo>
                <a:cubicBezTo>
                  <a:pt x="884411" y="1410657"/>
                  <a:pt x="881530" y="1399446"/>
                  <a:pt x="880805" y="1385623"/>
                </a:cubicBezTo>
                <a:cubicBezTo>
                  <a:pt x="880080" y="1371821"/>
                  <a:pt x="881530" y="1355407"/>
                  <a:pt x="887271" y="1343035"/>
                </a:cubicBezTo>
                <a:cubicBezTo>
                  <a:pt x="893032" y="1330663"/>
                  <a:pt x="903104" y="1322311"/>
                  <a:pt x="919351" y="1314270"/>
                </a:cubicBezTo>
                <a:cubicBezTo>
                  <a:pt x="935599" y="1306209"/>
                  <a:pt x="958043" y="1298438"/>
                  <a:pt x="976031" y="1293402"/>
                </a:cubicBezTo>
                <a:cubicBezTo>
                  <a:pt x="994019" y="1288366"/>
                  <a:pt x="1007531" y="1286065"/>
                  <a:pt x="1018183" y="1281900"/>
                </a:cubicBezTo>
                <a:cubicBezTo>
                  <a:pt x="1028835" y="1277734"/>
                  <a:pt x="1036607" y="1271683"/>
                  <a:pt x="1050844" y="1268947"/>
                </a:cubicBezTo>
                <a:cubicBezTo>
                  <a:pt x="1065081" y="1266212"/>
                  <a:pt x="1085805" y="1266792"/>
                  <a:pt x="1109244" y="1272118"/>
                </a:cubicBezTo>
                <a:cubicBezTo>
                  <a:pt x="1132703" y="1277444"/>
                  <a:pt x="1158877" y="1287516"/>
                  <a:pt x="1183622" y="1306209"/>
                </a:cubicBezTo>
                <a:cubicBezTo>
                  <a:pt x="1208366" y="1324902"/>
                  <a:pt x="1231680" y="1352237"/>
                  <a:pt x="1247202" y="1382017"/>
                </a:cubicBezTo>
                <a:cubicBezTo>
                  <a:pt x="1262745" y="1411797"/>
                  <a:pt x="1270517" y="1444023"/>
                  <a:pt x="1276983" y="1470777"/>
                </a:cubicBezTo>
                <a:cubicBezTo>
                  <a:pt x="1283448" y="1497531"/>
                  <a:pt x="1288629" y="1518836"/>
                  <a:pt x="1290785" y="1538959"/>
                </a:cubicBezTo>
                <a:cubicBezTo>
                  <a:pt x="1292940" y="1559102"/>
                  <a:pt x="1292070" y="1578085"/>
                  <a:pt x="1286184" y="1598664"/>
                </a:cubicBezTo>
                <a:cubicBezTo>
                  <a:pt x="1280278" y="1619243"/>
                  <a:pt x="1269356" y="1641397"/>
                  <a:pt x="1251223" y="1657789"/>
                </a:cubicBezTo>
                <a:cubicBezTo>
                  <a:pt x="1233090" y="1674182"/>
                  <a:pt x="1207786" y="1684834"/>
                  <a:pt x="1190792" y="1692460"/>
                </a:cubicBezTo>
                <a:cubicBezTo>
                  <a:pt x="1173819" y="1700086"/>
                  <a:pt x="1165177" y="1704687"/>
                  <a:pt x="1155396" y="1717349"/>
                </a:cubicBezTo>
                <a:cubicBezTo>
                  <a:pt x="1145614" y="1730012"/>
                  <a:pt x="1134672" y="1750736"/>
                  <a:pt x="1128786" y="1768848"/>
                </a:cubicBezTo>
                <a:cubicBezTo>
                  <a:pt x="1122880" y="1786982"/>
                  <a:pt x="1122031" y="1802504"/>
                  <a:pt x="1124766" y="1813156"/>
                </a:cubicBezTo>
                <a:cubicBezTo>
                  <a:pt x="1127501" y="1823808"/>
                  <a:pt x="1133822" y="1829548"/>
                  <a:pt x="1143459" y="1838045"/>
                </a:cubicBezTo>
                <a:cubicBezTo>
                  <a:pt x="1153096" y="1846542"/>
                  <a:pt x="1166048" y="1857753"/>
                  <a:pt x="1176700" y="1874581"/>
                </a:cubicBezTo>
                <a:cubicBezTo>
                  <a:pt x="1187352" y="1891409"/>
                  <a:pt x="1195683" y="1913853"/>
                  <a:pt x="1211951" y="1930971"/>
                </a:cubicBezTo>
                <a:cubicBezTo>
                  <a:pt x="1228199" y="1948089"/>
                  <a:pt x="1252383" y="1959881"/>
                  <a:pt x="1269791" y="1970678"/>
                </a:cubicBezTo>
                <a:cubicBezTo>
                  <a:pt x="1287200" y="1981475"/>
                  <a:pt x="1297852" y="1991257"/>
                  <a:pt x="1289790" y="2016996"/>
                </a:cubicBezTo>
                <a:cubicBezTo>
                  <a:pt x="1281728" y="2042755"/>
                  <a:pt x="1254974" y="2084472"/>
                  <a:pt x="1236696" y="2105031"/>
                </a:cubicBezTo>
                <a:cubicBezTo>
                  <a:pt x="1218417" y="2125609"/>
                  <a:pt x="1208635" y="2125029"/>
                  <a:pt x="1189362" y="2099269"/>
                </a:cubicBezTo>
                <a:cubicBezTo>
                  <a:pt x="1170089" y="2073510"/>
                  <a:pt x="1141304" y="2022591"/>
                  <a:pt x="1126921" y="1994386"/>
                </a:cubicBezTo>
                <a:cubicBezTo>
                  <a:pt x="1112539" y="1966181"/>
                  <a:pt x="1112539" y="1960730"/>
                  <a:pt x="1124621" y="1948773"/>
                </a:cubicBezTo>
                <a:cubicBezTo>
                  <a:pt x="1136703" y="1936836"/>
                  <a:pt x="1160867" y="1918412"/>
                  <a:pt x="1178855" y="1910226"/>
                </a:cubicBezTo>
                <a:cubicBezTo>
                  <a:pt x="1196844" y="1902020"/>
                  <a:pt x="1208635" y="1904030"/>
                  <a:pt x="1235245" y="1918288"/>
                </a:cubicBezTo>
                <a:cubicBezTo>
                  <a:pt x="1261854" y="1932546"/>
                  <a:pt x="1303302" y="1959010"/>
                  <a:pt x="1332792" y="1988065"/>
                </a:cubicBezTo>
                <a:cubicBezTo>
                  <a:pt x="1362282" y="2017120"/>
                  <a:pt x="1379835" y="2048765"/>
                  <a:pt x="1387316" y="2070650"/>
                </a:cubicBezTo>
                <a:cubicBezTo>
                  <a:pt x="1394798" y="2092513"/>
                  <a:pt x="1392207" y="2104595"/>
                  <a:pt x="1383710" y="2126190"/>
                </a:cubicBezTo>
                <a:cubicBezTo>
                  <a:pt x="1375214" y="2147763"/>
                  <a:pt x="1360831" y="2178849"/>
                  <a:pt x="1348459" y="2203448"/>
                </a:cubicBezTo>
                <a:cubicBezTo>
                  <a:pt x="1336087" y="2228047"/>
                  <a:pt x="1325725" y="2246181"/>
                  <a:pt x="1311923" y="2248771"/>
                </a:cubicBezTo>
                <a:cubicBezTo>
                  <a:pt x="1298121" y="2251362"/>
                  <a:pt x="1280858" y="2238409"/>
                  <a:pt x="1270786" y="2226907"/>
                </a:cubicBezTo>
                <a:cubicBezTo>
                  <a:pt x="1260714" y="2215406"/>
                  <a:pt x="1257834" y="2205334"/>
                  <a:pt x="1256694" y="2197417"/>
                </a:cubicBezTo>
                <a:cubicBezTo>
                  <a:pt x="1255533" y="2189501"/>
                  <a:pt x="1256114" y="2183761"/>
                  <a:pt x="1262745" y="2172093"/>
                </a:cubicBezTo>
                <a:cubicBezTo>
                  <a:pt x="1269356" y="2160446"/>
                  <a:pt x="1282019" y="2142893"/>
                  <a:pt x="1299427" y="2127640"/>
                </a:cubicBezTo>
                <a:cubicBezTo>
                  <a:pt x="1316835" y="2112387"/>
                  <a:pt x="1338988" y="2099435"/>
                  <a:pt x="1357826" y="2086068"/>
                </a:cubicBezTo>
                <a:cubicBezTo>
                  <a:pt x="1376664" y="2072681"/>
                  <a:pt x="1392207" y="2058879"/>
                  <a:pt x="1403999" y="2048372"/>
                </a:cubicBezTo>
                <a:cubicBezTo>
                  <a:pt x="1415791" y="2037865"/>
                  <a:pt x="1423852" y="2030673"/>
                  <a:pt x="1428453" y="2028228"/>
                </a:cubicBezTo>
                <a:cubicBezTo>
                  <a:pt x="1433054" y="2025782"/>
                  <a:pt x="1434214" y="2028083"/>
                  <a:pt x="1435644" y="2043481"/>
                </a:cubicBezTo>
                <a:cubicBezTo>
                  <a:pt x="1437074" y="2058879"/>
                  <a:pt x="1438815" y="2087353"/>
                  <a:pt x="1439375" y="2107062"/>
                </a:cubicBezTo>
                <a:cubicBezTo>
                  <a:pt x="1439955" y="2126770"/>
                  <a:pt x="1439375" y="2137712"/>
                  <a:pt x="1432039" y="2164902"/>
                </a:cubicBezTo>
                <a:cubicBezTo>
                  <a:pt x="1424702" y="2192092"/>
                  <a:pt x="1410610" y="2235529"/>
                  <a:pt x="1405864" y="2266469"/>
                </a:cubicBezTo>
                <a:cubicBezTo>
                  <a:pt x="1401118" y="2297410"/>
                  <a:pt x="1405719" y="2315813"/>
                  <a:pt x="1412765" y="2328330"/>
                </a:cubicBezTo>
                <a:cubicBezTo>
                  <a:pt x="1419811" y="2340847"/>
                  <a:pt x="1429303" y="2347458"/>
                  <a:pt x="1440245" y="2353074"/>
                </a:cubicBezTo>
                <a:cubicBezTo>
                  <a:pt x="1451187" y="2358690"/>
                  <a:pt x="1463559" y="2363291"/>
                  <a:pt x="1475932" y="2367457"/>
                </a:cubicBezTo>
                <a:cubicBezTo>
                  <a:pt x="1488304" y="2371622"/>
                  <a:pt x="1500676" y="2375373"/>
                  <a:pt x="1511038" y="2382710"/>
                </a:cubicBezTo>
                <a:cubicBezTo>
                  <a:pt x="1521400" y="2390046"/>
                  <a:pt x="1529752" y="2400988"/>
                  <a:pt x="1536217" y="2415225"/>
                </a:cubicBezTo>
                <a:cubicBezTo>
                  <a:pt x="1542683" y="2429462"/>
                  <a:pt x="1547305" y="2447015"/>
                  <a:pt x="1543408" y="2463843"/>
                </a:cubicBezTo>
                <a:cubicBezTo>
                  <a:pt x="1539533" y="2480671"/>
                  <a:pt x="1527161" y="2496794"/>
                  <a:pt x="1512758" y="2507156"/>
                </a:cubicBezTo>
                <a:cubicBezTo>
                  <a:pt x="1498376" y="2517518"/>
                  <a:pt x="1481962" y="2522119"/>
                  <a:pt x="1467083" y="2522844"/>
                </a:cubicBezTo>
                <a:cubicBezTo>
                  <a:pt x="1452203" y="2523569"/>
                  <a:pt x="1438815" y="2520399"/>
                  <a:pt x="1422195" y="2523860"/>
                </a:cubicBezTo>
                <a:cubicBezTo>
                  <a:pt x="1405574" y="2527320"/>
                  <a:pt x="1385721" y="2537392"/>
                  <a:pt x="1366738" y="2540832"/>
                </a:cubicBezTo>
                <a:cubicBezTo>
                  <a:pt x="1347755" y="2544293"/>
                  <a:pt x="1329621" y="2541123"/>
                  <a:pt x="1320420" y="2536667"/>
                </a:cubicBezTo>
                <a:cubicBezTo>
                  <a:pt x="1311218" y="2532211"/>
                  <a:pt x="1310928" y="2526450"/>
                  <a:pt x="1321788" y="2519549"/>
                </a:cubicBezTo>
                <a:cubicBezTo>
                  <a:pt x="1332647" y="2512648"/>
                  <a:pt x="1354656" y="2504586"/>
                  <a:pt x="1369846" y="2497893"/>
                </a:cubicBezTo>
                <a:cubicBezTo>
                  <a:pt x="1385016" y="2491199"/>
                  <a:pt x="1393368" y="2485873"/>
                  <a:pt x="1396891" y="2480277"/>
                </a:cubicBezTo>
                <a:cubicBezTo>
                  <a:pt x="1400414" y="2474661"/>
                  <a:pt x="1399129" y="2468775"/>
                  <a:pt x="1381286" y="2474102"/>
                </a:cubicBezTo>
                <a:cubicBezTo>
                  <a:pt x="1363443" y="2479428"/>
                  <a:pt x="1329062" y="2495965"/>
                  <a:pt x="1307986" y="2503094"/>
                </a:cubicBezTo>
                <a:cubicBezTo>
                  <a:pt x="1286909" y="2510223"/>
                  <a:pt x="1279138" y="2507923"/>
                  <a:pt x="1275760" y="2503820"/>
                </a:cubicBezTo>
                <a:cubicBezTo>
                  <a:pt x="1272382" y="2499716"/>
                  <a:pt x="1273377" y="2493831"/>
                  <a:pt x="1277190" y="2490515"/>
                </a:cubicBezTo>
                <a:cubicBezTo>
                  <a:pt x="1281003" y="2487199"/>
                  <a:pt x="1287614" y="2486494"/>
                  <a:pt x="1302287" y="2478495"/>
                </a:cubicBezTo>
                <a:cubicBezTo>
                  <a:pt x="1316959" y="2470516"/>
                  <a:pt x="1339693" y="2455264"/>
                  <a:pt x="1350407" y="2445109"/>
                </a:cubicBezTo>
                <a:cubicBezTo>
                  <a:pt x="1361122" y="2434975"/>
                  <a:pt x="1359837" y="2429939"/>
                  <a:pt x="1346946" y="2435120"/>
                </a:cubicBezTo>
                <a:cubicBezTo>
                  <a:pt x="1334077" y="2440301"/>
                  <a:pt x="1309623" y="2455699"/>
                  <a:pt x="1292774" y="2461812"/>
                </a:cubicBezTo>
                <a:cubicBezTo>
                  <a:pt x="1275946" y="2467926"/>
                  <a:pt x="1266745" y="2464755"/>
                  <a:pt x="1261834" y="2459719"/>
                </a:cubicBezTo>
                <a:cubicBezTo>
                  <a:pt x="1256943" y="2454683"/>
                  <a:pt x="1256362" y="2447782"/>
                  <a:pt x="1265149" y="2438933"/>
                </a:cubicBezTo>
                <a:cubicBezTo>
                  <a:pt x="1273915" y="2430084"/>
                  <a:pt x="1292049" y="2419287"/>
                  <a:pt x="1303053" y="2411308"/>
                </a:cubicBezTo>
                <a:cubicBezTo>
                  <a:pt x="1314058" y="2403330"/>
                  <a:pt x="1317954" y="2398149"/>
                  <a:pt x="1318513" y="2393175"/>
                </a:cubicBezTo>
                <a:cubicBezTo>
                  <a:pt x="1319094" y="2388222"/>
                  <a:pt x="1316358" y="2383456"/>
                  <a:pt x="1306783" y="2385984"/>
                </a:cubicBezTo>
                <a:cubicBezTo>
                  <a:pt x="1297209" y="2388491"/>
                  <a:pt x="1280817" y="2398294"/>
                  <a:pt x="1268590" y="2403392"/>
                </a:cubicBezTo>
                <a:cubicBezTo>
                  <a:pt x="1256362" y="2408490"/>
                  <a:pt x="1248301" y="2408925"/>
                  <a:pt x="1243410" y="2405257"/>
                </a:cubicBezTo>
                <a:cubicBezTo>
                  <a:pt x="1238519" y="2401589"/>
                  <a:pt x="1236799" y="2393817"/>
                  <a:pt x="1242685" y="2382461"/>
                </a:cubicBezTo>
                <a:cubicBezTo>
                  <a:pt x="1248591" y="2371104"/>
                  <a:pt x="1262103" y="2356141"/>
                  <a:pt x="1284402" y="2341469"/>
                </a:cubicBezTo>
                <a:cubicBezTo>
                  <a:pt x="1306701" y="2326797"/>
                  <a:pt x="1337766" y="2312414"/>
                  <a:pt x="1360935" y="2306218"/>
                </a:cubicBezTo>
                <a:cubicBezTo>
                  <a:pt x="1384104" y="2300021"/>
                  <a:pt x="1399357" y="2302052"/>
                  <a:pt x="1411004" y="2303047"/>
                </a:cubicBezTo>
                <a:cubicBezTo>
                  <a:pt x="1422651" y="2304062"/>
                  <a:pt x="1430712" y="2304062"/>
                  <a:pt x="1438484" y="2295131"/>
                </a:cubicBezTo>
                <a:cubicBezTo>
                  <a:pt x="1446255" y="2286219"/>
                  <a:pt x="1453736" y="2268376"/>
                  <a:pt x="1468409" y="2243777"/>
                </a:cubicBezTo>
                <a:cubicBezTo>
                  <a:pt x="1483081" y="2219178"/>
                  <a:pt x="1504945" y="2187822"/>
                  <a:pt x="1532570" y="2156301"/>
                </a:cubicBezTo>
                <a:cubicBezTo>
                  <a:pt x="1560195" y="2124801"/>
                  <a:pt x="1593560" y="2093156"/>
                  <a:pt x="1610761" y="2074152"/>
                </a:cubicBezTo>
                <a:cubicBezTo>
                  <a:pt x="1627962" y="2055169"/>
                  <a:pt x="1628957" y="2048827"/>
                  <a:pt x="1628957" y="2041864"/>
                </a:cubicBezTo>
                <a:cubicBezTo>
                  <a:pt x="1628957" y="2034901"/>
                  <a:pt x="1627941" y="2027254"/>
                  <a:pt x="1628604" y="2021078"/>
                </a:cubicBezTo>
                <a:cubicBezTo>
                  <a:pt x="1629247" y="2014902"/>
                  <a:pt x="1631547" y="2010136"/>
                  <a:pt x="1642841" y="2001308"/>
                </a:cubicBezTo>
                <a:cubicBezTo>
                  <a:pt x="1654136" y="1992479"/>
                  <a:pt x="1674425" y="1979506"/>
                  <a:pt x="1697863" y="1963611"/>
                </a:cubicBezTo>
                <a:cubicBezTo>
                  <a:pt x="1721323" y="1947716"/>
                  <a:pt x="1747932" y="1928878"/>
                  <a:pt x="1768718" y="1914703"/>
                </a:cubicBezTo>
                <a:cubicBezTo>
                  <a:pt x="1789504" y="1900528"/>
                  <a:pt x="1804467" y="1891036"/>
                  <a:pt x="1816549" y="1881109"/>
                </a:cubicBezTo>
                <a:cubicBezTo>
                  <a:pt x="1828631" y="1871183"/>
                  <a:pt x="1837832" y="1860821"/>
                  <a:pt x="1846039" y="1836221"/>
                </a:cubicBezTo>
                <a:cubicBezTo>
                  <a:pt x="1854245" y="1811622"/>
                  <a:pt x="1861437" y="1772786"/>
                  <a:pt x="1863882" y="1739400"/>
                </a:cubicBezTo>
                <a:cubicBezTo>
                  <a:pt x="1866327" y="1706013"/>
                  <a:pt x="1864027" y="1678119"/>
                  <a:pt x="1862162" y="1654225"/>
                </a:cubicBezTo>
                <a:cubicBezTo>
                  <a:pt x="1860297" y="1630351"/>
                  <a:pt x="1858846" y="1610497"/>
                  <a:pt x="1849355" y="1586312"/>
                </a:cubicBezTo>
                <a:cubicBezTo>
                  <a:pt x="1839863" y="1562149"/>
                  <a:pt x="1822310" y="1533653"/>
                  <a:pt x="1804322" y="1511499"/>
                </a:cubicBezTo>
                <a:cubicBezTo>
                  <a:pt x="1786333" y="1489346"/>
                  <a:pt x="1767931" y="1473513"/>
                  <a:pt x="1748512" y="1463296"/>
                </a:cubicBezTo>
                <a:cubicBezTo>
                  <a:pt x="1729094" y="1453079"/>
                  <a:pt x="1708660" y="1448478"/>
                  <a:pt x="1688662" y="1445017"/>
                </a:cubicBezTo>
                <a:cubicBezTo>
                  <a:pt x="1668663" y="1441556"/>
                  <a:pt x="1649100" y="1439256"/>
                  <a:pt x="1629682" y="1434655"/>
                </a:cubicBezTo>
                <a:cubicBezTo>
                  <a:pt x="1610264" y="1430055"/>
                  <a:pt x="1590990" y="1423154"/>
                  <a:pt x="1565521" y="1420708"/>
                </a:cubicBezTo>
                <a:cubicBezTo>
                  <a:pt x="1540051" y="1418263"/>
                  <a:pt x="1508406" y="1420273"/>
                  <a:pt x="1482377" y="1428044"/>
                </a:cubicBezTo>
                <a:cubicBezTo>
                  <a:pt x="1456348" y="1435816"/>
                  <a:pt x="1435914" y="1449328"/>
                  <a:pt x="1425117" y="1469036"/>
                </a:cubicBezTo>
                <a:cubicBezTo>
                  <a:pt x="1414320" y="1488745"/>
                  <a:pt x="1413180" y="1514649"/>
                  <a:pt x="1416910" y="1533923"/>
                </a:cubicBezTo>
                <a:cubicBezTo>
                  <a:pt x="1420661" y="1553196"/>
                  <a:pt x="1429282" y="1565858"/>
                  <a:pt x="1436618" y="1580240"/>
                </a:cubicBezTo>
                <a:cubicBezTo>
                  <a:pt x="1443955" y="1594623"/>
                  <a:pt x="1450006" y="1610746"/>
                  <a:pt x="1448265" y="1638081"/>
                </a:cubicBezTo>
                <a:cubicBezTo>
                  <a:pt x="1446545" y="1665415"/>
                  <a:pt x="1437054" y="1703962"/>
                  <a:pt x="1432577" y="1733037"/>
                </a:cubicBezTo>
                <a:cubicBezTo>
                  <a:pt x="1428122" y="1762092"/>
                  <a:pt x="1428702" y="1781656"/>
                  <a:pt x="1436598" y="1799063"/>
                </a:cubicBezTo>
                <a:cubicBezTo>
                  <a:pt x="1444514" y="1816472"/>
                  <a:pt x="1459767" y="1831724"/>
                  <a:pt x="1493568" y="1841216"/>
                </a:cubicBezTo>
                <a:cubicBezTo>
                  <a:pt x="1527368" y="1850707"/>
                  <a:pt x="1579737" y="1854458"/>
                  <a:pt x="1619299" y="1854168"/>
                </a:cubicBezTo>
                <a:cubicBezTo>
                  <a:pt x="1658861" y="1853878"/>
                  <a:pt x="1685616" y="1849568"/>
                  <a:pt x="1704039" y="1837050"/>
                </a:cubicBezTo>
                <a:cubicBezTo>
                  <a:pt x="1722463" y="1824533"/>
                  <a:pt x="1732514" y="1803809"/>
                  <a:pt x="1739290" y="1788577"/>
                </a:cubicBezTo>
                <a:cubicBezTo>
                  <a:pt x="1746046" y="1773324"/>
                  <a:pt x="1749507" y="1763543"/>
                  <a:pt x="1754108" y="1758507"/>
                </a:cubicBezTo>
                <a:cubicBezTo>
                  <a:pt x="1758709" y="1753471"/>
                  <a:pt x="1764470" y="1753181"/>
                  <a:pt x="1769071" y="1758507"/>
                </a:cubicBezTo>
                <a:cubicBezTo>
                  <a:pt x="1773671" y="1763833"/>
                  <a:pt x="1777132" y="1774754"/>
                  <a:pt x="1773526" y="1787562"/>
                </a:cubicBezTo>
                <a:cubicBezTo>
                  <a:pt x="1769920" y="1800369"/>
                  <a:pt x="1759289" y="1815042"/>
                  <a:pt x="1747621" y="1819497"/>
                </a:cubicBezTo>
                <a:cubicBezTo>
                  <a:pt x="1735975" y="1823953"/>
                  <a:pt x="1723312" y="1818212"/>
                  <a:pt x="1719271" y="1806110"/>
                </a:cubicBezTo>
                <a:cubicBezTo>
                  <a:pt x="1715251" y="1794028"/>
                  <a:pt x="1719851" y="1775604"/>
                  <a:pt x="1727478" y="1762092"/>
                </a:cubicBezTo>
                <a:cubicBezTo>
                  <a:pt x="1735104" y="1748559"/>
                  <a:pt x="1745756" y="1739938"/>
                  <a:pt x="1757258" y="1731297"/>
                </a:cubicBezTo>
                <a:cubicBezTo>
                  <a:pt x="1768760" y="1722655"/>
                  <a:pt x="1781132" y="1714034"/>
                  <a:pt x="1781857" y="1696626"/>
                </a:cubicBezTo>
                <a:cubicBezTo>
                  <a:pt x="1782583" y="1679218"/>
                  <a:pt x="1771640" y="1653043"/>
                  <a:pt x="1759123" y="1625563"/>
                </a:cubicBezTo>
                <a:cubicBezTo>
                  <a:pt x="1746606" y="1598084"/>
                  <a:pt x="1732514" y="1569319"/>
                  <a:pt x="1710650" y="1549175"/>
                </a:cubicBezTo>
                <a:cubicBezTo>
                  <a:pt x="1688786" y="1529032"/>
                  <a:pt x="1659151" y="1517530"/>
                  <a:pt x="1628065" y="1512349"/>
                </a:cubicBezTo>
                <a:cubicBezTo>
                  <a:pt x="1597000" y="1507168"/>
                  <a:pt x="1564485" y="1508329"/>
                  <a:pt x="1535989" y="1521260"/>
                </a:cubicBezTo>
                <a:cubicBezTo>
                  <a:pt x="1507515" y="1534213"/>
                  <a:pt x="1483040" y="1558957"/>
                  <a:pt x="1469528" y="1574624"/>
                </a:cubicBezTo>
                <a:cubicBezTo>
                  <a:pt x="1455995" y="1590312"/>
                  <a:pt x="1453425" y="1596923"/>
                  <a:pt x="1448100" y="1608280"/>
                </a:cubicBezTo>
                <a:cubicBezTo>
                  <a:pt x="1442773" y="1619636"/>
                  <a:pt x="1434712" y="1635760"/>
                  <a:pt x="1425946" y="1663384"/>
                </a:cubicBezTo>
                <a:cubicBezTo>
                  <a:pt x="1417179" y="1691009"/>
                  <a:pt x="1407667" y="1730136"/>
                  <a:pt x="1406527" y="1760351"/>
                </a:cubicBezTo>
                <a:cubicBezTo>
                  <a:pt x="1405367" y="1790567"/>
                  <a:pt x="1412579" y="1811850"/>
                  <a:pt x="1422215" y="1829693"/>
                </a:cubicBezTo>
                <a:cubicBezTo>
                  <a:pt x="1431852" y="1847537"/>
                  <a:pt x="1443934" y="1861919"/>
                  <a:pt x="1452866" y="1880115"/>
                </a:cubicBezTo>
                <a:cubicBezTo>
                  <a:pt x="1461777" y="1898310"/>
                  <a:pt x="1467539" y="1920319"/>
                  <a:pt x="1472139" y="1939737"/>
                </a:cubicBezTo>
                <a:cubicBezTo>
                  <a:pt x="1476740" y="1959155"/>
                  <a:pt x="1480201" y="1975983"/>
                  <a:pt x="1476885" y="1996769"/>
                </a:cubicBezTo>
                <a:cubicBezTo>
                  <a:pt x="1473569" y="2017555"/>
                  <a:pt x="1463497" y="2042299"/>
                  <a:pt x="1459332" y="2060205"/>
                </a:cubicBezTo>
                <a:cubicBezTo>
                  <a:pt x="1455166" y="2078110"/>
                  <a:pt x="1456886" y="2089197"/>
                  <a:pt x="1462212" y="2092430"/>
                </a:cubicBezTo>
                <a:cubicBezTo>
                  <a:pt x="1467539" y="2095663"/>
                  <a:pt x="1476450" y="2091063"/>
                  <a:pt x="1501339" y="2073157"/>
                </a:cubicBezTo>
                <a:cubicBezTo>
                  <a:pt x="1526228" y="2055252"/>
                  <a:pt x="1567075" y="2024021"/>
                  <a:pt x="1597083" y="2002592"/>
                </a:cubicBezTo>
                <a:cubicBezTo>
                  <a:pt x="1627071" y="1981164"/>
                  <a:pt x="1646219" y="1969497"/>
                  <a:pt x="1667586" y="1957705"/>
                </a:cubicBezTo>
                <a:cubicBezTo>
                  <a:pt x="1688952" y="1945913"/>
                  <a:pt x="1712536" y="1933976"/>
                  <a:pt x="1726856" y="1927987"/>
                </a:cubicBezTo>
                <a:cubicBezTo>
                  <a:pt x="1741176" y="1922018"/>
                  <a:pt x="1746212" y="1922018"/>
                  <a:pt x="1753258" y="1933520"/>
                </a:cubicBezTo>
                <a:cubicBezTo>
                  <a:pt x="1760304" y="1945022"/>
                  <a:pt x="1769361" y="1968046"/>
                  <a:pt x="1781816" y="1986034"/>
                </a:cubicBezTo>
                <a:cubicBezTo>
                  <a:pt x="1794271" y="2004022"/>
                  <a:pt x="1810083" y="2016954"/>
                  <a:pt x="1823616" y="2024809"/>
                </a:cubicBezTo>
                <a:cubicBezTo>
                  <a:pt x="1837148" y="2032642"/>
                  <a:pt x="1848360" y="2035378"/>
                  <a:pt x="1853044" y="2039129"/>
                </a:cubicBezTo>
                <a:cubicBezTo>
                  <a:pt x="1857727" y="2042880"/>
                  <a:pt x="1855841" y="2047625"/>
                  <a:pt x="1845417" y="2056392"/>
                </a:cubicBezTo>
                <a:cubicBezTo>
                  <a:pt x="1834993" y="2065158"/>
                  <a:pt x="1815989" y="2077965"/>
                  <a:pt x="1802685" y="2090420"/>
                </a:cubicBezTo>
                <a:cubicBezTo>
                  <a:pt x="1789380" y="2102855"/>
                  <a:pt x="1781754" y="2114957"/>
                  <a:pt x="1764283" y="2152281"/>
                </a:cubicBezTo>
                <a:cubicBezTo>
                  <a:pt x="1746813" y="2189605"/>
                  <a:pt x="1719478" y="2252191"/>
                  <a:pt x="1702132" y="2291753"/>
                </a:cubicBezTo>
                <a:cubicBezTo>
                  <a:pt x="1684807" y="2331314"/>
                  <a:pt x="1677450" y="2347852"/>
                  <a:pt x="1672207" y="2356639"/>
                </a:cubicBezTo>
                <a:cubicBezTo>
                  <a:pt x="1666964" y="2365405"/>
                  <a:pt x="1663793" y="2366421"/>
                  <a:pt x="1654654" y="2363043"/>
                </a:cubicBezTo>
                <a:cubicBezTo>
                  <a:pt x="1645515" y="2359665"/>
                  <a:pt x="1630407" y="2351893"/>
                  <a:pt x="1613082" y="2345054"/>
                </a:cubicBezTo>
                <a:cubicBezTo>
                  <a:pt x="1595757" y="2338215"/>
                  <a:pt x="1576173" y="2332330"/>
                  <a:pt x="1559925" y="2330174"/>
                </a:cubicBezTo>
                <a:cubicBezTo>
                  <a:pt x="1543678" y="2328019"/>
                  <a:pt x="1530726" y="2329594"/>
                  <a:pt x="1518498" y="2333345"/>
                </a:cubicBezTo>
                <a:cubicBezTo>
                  <a:pt x="1506271" y="2337096"/>
                  <a:pt x="1494770" y="2342982"/>
                  <a:pt x="1485112" y="2345075"/>
                </a:cubicBezTo>
                <a:cubicBezTo>
                  <a:pt x="1475476" y="2347168"/>
                  <a:pt x="1467704" y="2345427"/>
                  <a:pt x="1462813" y="2341759"/>
                </a:cubicBezTo>
                <a:cubicBezTo>
                  <a:pt x="1457923" y="2338091"/>
                  <a:pt x="1455912" y="2332475"/>
                  <a:pt x="1462523" y="2316435"/>
                </a:cubicBezTo>
                <a:cubicBezTo>
                  <a:pt x="1469134" y="2300394"/>
                  <a:pt x="1484387" y="2273930"/>
                  <a:pt x="1514022" y="2230907"/>
                </a:cubicBezTo>
                <a:cubicBezTo>
                  <a:pt x="1543657" y="2187885"/>
                  <a:pt x="1587675" y="2128324"/>
                  <a:pt x="1633868" y="2086462"/>
                </a:cubicBezTo>
                <a:cubicBezTo>
                  <a:pt x="1680041" y="2044600"/>
                  <a:pt x="1728390" y="2020436"/>
                  <a:pt x="1761050" y="2009494"/>
                </a:cubicBezTo>
                <a:cubicBezTo>
                  <a:pt x="1793711" y="1998551"/>
                  <a:pt x="1810684" y="2000852"/>
                  <a:pt x="1835718" y="2007773"/>
                </a:cubicBezTo>
                <a:cubicBezTo>
                  <a:pt x="1860753" y="2014675"/>
                  <a:pt x="1893849" y="2026197"/>
                  <a:pt x="1915422" y="2040579"/>
                </a:cubicBezTo>
                <a:cubicBezTo>
                  <a:pt x="1936996" y="2054962"/>
                  <a:pt x="1947068" y="2072225"/>
                  <a:pt x="1956414" y="2094378"/>
                </a:cubicBezTo>
                <a:cubicBezTo>
                  <a:pt x="1965761" y="2116532"/>
                  <a:pt x="1974402" y="2143577"/>
                  <a:pt x="1981593" y="2161420"/>
                </a:cubicBezTo>
                <a:cubicBezTo>
                  <a:pt x="1988785" y="2179263"/>
                  <a:pt x="1994546" y="2187885"/>
                  <a:pt x="1998421" y="2191781"/>
                </a:cubicBezTo>
                <a:cubicBezTo>
                  <a:pt x="2002297" y="2195656"/>
                  <a:pt x="2004328" y="2194806"/>
                  <a:pt x="2004473" y="2185874"/>
                </a:cubicBezTo>
                <a:cubicBezTo>
                  <a:pt x="2004618" y="2176963"/>
                  <a:pt x="2002898" y="2159970"/>
                  <a:pt x="1997717" y="2138106"/>
                </a:cubicBezTo>
                <a:cubicBezTo>
                  <a:pt x="1992536" y="2116242"/>
                  <a:pt x="1983915" y="2089488"/>
                  <a:pt x="1965781" y="2073364"/>
                </a:cubicBezTo>
                <a:cubicBezTo>
                  <a:pt x="1947648" y="2057262"/>
                  <a:pt x="1920023" y="2051791"/>
                  <a:pt x="1892688" y="2059127"/>
                </a:cubicBezTo>
                <a:cubicBezTo>
                  <a:pt x="1865353" y="2066463"/>
                  <a:pt x="1838309" y="2086607"/>
                  <a:pt x="1816155" y="2115517"/>
                </a:cubicBezTo>
                <a:cubicBezTo>
                  <a:pt x="1794001" y="2144427"/>
                  <a:pt x="1776738" y="2182123"/>
                  <a:pt x="1767682" y="2216504"/>
                </a:cubicBezTo>
                <a:cubicBezTo>
                  <a:pt x="1758626" y="2250885"/>
                  <a:pt x="1757755" y="2281971"/>
                  <a:pt x="1756740" y="2315771"/>
                </a:cubicBezTo>
                <a:cubicBezTo>
                  <a:pt x="1755724" y="2349572"/>
                  <a:pt x="1754585" y="2386129"/>
                  <a:pt x="1733280" y="2398211"/>
                </a:cubicBezTo>
                <a:cubicBezTo>
                  <a:pt x="1711997" y="2410293"/>
                  <a:pt x="1670549" y="2397921"/>
                  <a:pt x="1632148" y="2384554"/>
                </a:cubicBezTo>
                <a:cubicBezTo>
                  <a:pt x="1593747" y="2371187"/>
                  <a:pt x="1558350" y="2356784"/>
                  <a:pt x="1539637" y="2352183"/>
                </a:cubicBezTo>
                <a:cubicBezTo>
                  <a:pt x="1520944" y="2347582"/>
                  <a:pt x="1518913" y="2352763"/>
                  <a:pt x="1522519" y="2359229"/>
                </a:cubicBezTo>
                <a:cubicBezTo>
                  <a:pt x="1526125" y="2365695"/>
                  <a:pt x="1535326" y="2373467"/>
                  <a:pt x="1543947" y="2385549"/>
                </a:cubicBezTo>
                <a:cubicBezTo>
                  <a:pt x="1552589" y="2397631"/>
                  <a:pt x="1560630" y="2414023"/>
                  <a:pt x="1564381" y="2430727"/>
                </a:cubicBezTo>
                <a:cubicBezTo>
                  <a:pt x="1568111" y="2447409"/>
                  <a:pt x="1567552" y="2464382"/>
                  <a:pt x="1559200" y="2486412"/>
                </a:cubicBezTo>
                <a:cubicBezTo>
                  <a:pt x="1550848" y="2508420"/>
                  <a:pt x="1534746" y="2535465"/>
                  <a:pt x="1529710" y="2562364"/>
                </a:cubicBezTo>
                <a:cubicBezTo>
                  <a:pt x="1524674" y="2589264"/>
                  <a:pt x="1530726" y="2616019"/>
                  <a:pt x="1544963" y="2634587"/>
                </a:cubicBezTo>
                <a:cubicBezTo>
                  <a:pt x="1559200" y="2653156"/>
                  <a:pt x="1581644" y="2663497"/>
                  <a:pt x="1609124" y="2669984"/>
                </a:cubicBezTo>
                <a:cubicBezTo>
                  <a:pt x="1636604" y="2676449"/>
                  <a:pt x="1669119" y="2679040"/>
                  <a:pt x="1709821" y="2685526"/>
                </a:cubicBezTo>
                <a:cubicBezTo>
                  <a:pt x="1750543" y="2691992"/>
                  <a:pt x="1799452" y="2702354"/>
                  <a:pt x="1825481" y="2710706"/>
                </a:cubicBezTo>
                <a:cubicBezTo>
                  <a:pt x="1851510" y="2719057"/>
                  <a:pt x="1854681" y="2725378"/>
                  <a:pt x="1849666" y="2737274"/>
                </a:cubicBezTo>
                <a:cubicBezTo>
                  <a:pt x="1844650" y="2749169"/>
                  <a:pt x="1831449" y="2766640"/>
                  <a:pt x="1827284" y="2775385"/>
                </a:cubicBezTo>
                <a:cubicBezTo>
                  <a:pt x="1823118" y="2784130"/>
                  <a:pt x="1827968" y="2784130"/>
                  <a:pt x="1859468" y="2784130"/>
                </a:cubicBezTo>
                <a:lnTo>
                  <a:pt x="2089565" y="2784130"/>
                </a:lnTo>
                <a:lnTo>
                  <a:pt x="2566897" y="2782162"/>
                </a:lnTo>
                <a:cubicBezTo>
                  <a:pt x="2681106" y="2780193"/>
                  <a:pt x="2686826" y="2776235"/>
                  <a:pt x="2687966" y="2759884"/>
                </a:cubicBezTo>
                <a:cubicBezTo>
                  <a:pt x="2689106" y="2743532"/>
                  <a:pt x="2685645" y="2714747"/>
                  <a:pt x="2680464" y="2692303"/>
                </a:cubicBezTo>
                <a:cubicBezTo>
                  <a:pt x="2675283" y="2669859"/>
                  <a:pt x="2668382" y="2653757"/>
                  <a:pt x="2633566" y="2631872"/>
                </a:cubicBezTo>
                <a:cubicBezTo>
                  <a:pt x="2598750" y="2610009"/>
                  <a:pt x="2536019" y="2582384"/>
                  <a:pt x="2492291" y="2565701"/>
                </a:cubicBezTo>
                <a:cubicBezTo>
                  <a:pt x="2448564" y="2549018"/>
                  <a:pt x="2423820" y="2543257"/>
                  <a:pt x="2424110" y="2476651"/>
                </a:cubicBezTo>
                <a:cubicBezTo>
                  <a:pt x="2424400" y="2410044"/>
                  <a:pt x="2449725" y="2282572"/>
                  <a:pt x="2465247" y="2186330"/>
                </a:cubicBezTo>
                <a:cubicBezTo>
                  <a:pt x="2480790" y="2090089"/>
                  <a:pt x="2486530" y="2025057"/>
                  <a:pt x="2494592" y="1978159"/>
                </a:cubicBezTo>
                <a:cubicBezTo>
                  <a:pt x="2502653" y="1931261"/>
                  <a:pt x="2513015" y="1902496"/>
                  <a:pt x="2532289" y="1883202"/>
                </a:cubicBezTo>
                <a:cubicBezTo>
                  <a:pt x="2551562" y="1863929"/>
                  <a:pt x="2579767" y="1854148"/>
                  <a:pt x="2600200" y="1837175"/>
                </a:cubicBezTo>
                <a:cubicBezTo>
                  <a:pt x="2620634" y="1820202"/>
                  <a:pt x="2633297" y="1796038"/>
                  <a:pt x="2643928" y="1758051"/>
                </a:cubicBezTo>
                <a:cubicBezTo>
                  <a:pt x="2654580" y="1720064"/>
                  <a:pt x="2663201" y="1668275"/>
                  <a:pt x="2671553" y="1632029"/>
                </a:cubicBezTo>
                <a:cubicBezTo>
                  <a:pt x="2679904" y="1595783"/>
                  <a:pt x="2687945" y="1575059"/>
                  <a:pt x="2694577" y="1561817"/>
                </a:cubicBezTo>
                <a:cubicBezTo>
                  <a:pt x="2701188" y="1548574"/>
                  <a:pt x="2706369" y="1542834"/>
                  <a:pt x="2707239" y="1548305"/>
                </a:cubicBezTo>
                <a:cubicBezTo>
                  <a:pt x="2708110" y="1553776"/>
                  <a:pt x="2704649" y="1570459"/>
                  <a:pt x="2696877" y="1616217"/>
                </a:cubicBezTo>
                <a:cubicBezTo>
                  <a:pt x="2689106" y="1661975"/>
                  <a:pt x="2677024" y="1736768"/>
                  <a:pt x="2656300" y="1792308"/>
                </a:cubicBezTo>
                <a:cubicBezTo>
                  <a:pt x="2635576" y="1847848"/>
                  <a:pt x="2606231" y="1884094"/>
                  <a:pt x="2576306" y="1905377"/>
                </a:cubicBezTo>
                <a:cubicBezTo>
                  <a:pt x="2546381" y="1926660"/>
                  <a:pt x="2515875" y="1933002"/>
                  <a:pt x="2484810" y="1918329"/>
                </a:cubicBezTo>
                <a:cubicBezTo>
                  <a:pt x="2453745" y="1903657"/>
                  <a:pt x="2422079" y="1867970"/>
                  <a:pt x="2405251" y="1822813"/>
                </a:cubicBezTo>
                <a:cubicBezTo>
                  <a:pt x="2388423" y="1777635"/>
                  <a:pt x="2386413" y="1722966"/>
                  <a:pt x="2384113" y="1673912"/>
                </a:cubicBezTo>
                <a:cubicBezTo>
                  <a:pt x="2381812" y="1624859"/>
                  <a:pt x="2379222" y="1581401"/>
                  <a:pt x="2378642" y="1541984"/>
                </a:cubicBezTo>
                <a:cubicBezTo>
                  <a:pt x="2378062" y="1502567"/>
                  <a:pt x="2379512" y="1467171"/>
                  <a:pt x="2373751" y="1415527"/>
                </a:cubicBezTo>
                <a:cubicBezTo>
                  <a:pt x="2367990" y="1363883"/>
                  <a:pt x="2355058" y="1295971"/>
                  <a:pt x="2347141" y="1246918"/>
                </a:cubicBezTo>
                <a:cubicBezTo>
                  <a:pt x="2339225" y="1197865"/>
                  <a:pt x="2336344" y="1167649"/>
                  <a:pt x="2334769" y="1142615"/>
                </a:cubicBezTo>
                <a:cubicBezTo>
                  <a:pt x="2333194" y="1117580"/>
                  <a:pt x="2332904" y="1097727"/>
                  <a:pt x="2329153" y="1065211"/>
                </a:cubicBezTo>
                <a:cubicBezTo>
                  <a:pt x="2325423" y="1032695"/>
                  <a:pt x="2318211" y="987517"/>
                  <a:pt x="2304554" y="939335"/>
                </a:cubicBezTo>
                <a:cubicBezTo>
                  <a:pt x="2290897" y="891131"/>
                  <a:pt x="2270753" y="839922"/>
                  <a:pt x="2256641" y="796630"/>
                </a:cubicBezTo>
                <a:cubicBezTo>
                  <a:pt x="2242548" y="753317"/>
                  <a:pt x="2234487" y="717942"/>
                  <a:pt x="2230736" y="692327"/>
                </a:cubicBezTo>
                <a:cubicBezTo>
                  <a:pt x="2227005" y="666712"/>
                  <a:pt x="2227565" y="650900"/>
                  <a:pt x="2239502" y="643564"/>
                </a:cubicBezTo>
                <a:cubicBezTo>
                  <a:pt x="2251439" y="636227"/>
                  <a:pt x="2274753" y="637388"/>
                  <a:pt x="2294026" y="635647"/>
                </a:cubicBezTo>
                <a:cubicBezTo>
                  <a:pt x="2313299" y="633927"/>
                  <a:pt x="2328552" y="629326"/>
                  <a:pt x="2342789" y="621700"/>
                </a:cubicBezTo>
                <a:cubicBezTo>
                  <a:pt x="2357027" y="614074"/>
                  <a:pt x="2370269" y="603422"/>
                  <a:pt x="2378621" y="587174"/>
                </a:cubicBezTo>
                <a:cubicBezTo>
                  <a:pt x="2386973" y="570927"/>
                  <a:pt x="2390413" y="549042"/>
                  <a:pt x="2391283" y="534080"/>
                </a:cubicBezTo>
                <a:cubicBezTo>
                  <a:pt x="2392154" y="519117"/>
                  <a:pt x="2390413" y="511055"/>
                  <a:pt x="2374601" y="480426"/>
                </a:cubicBezTo>
                <a:cubicBezTo>
                  <a:pt x="2358768" y="449775"/>
                  <a:pt x="2328842" y="396556"/>
                  <a:pt x="2310004" y="360020"/>
                </a:cubicBezTo>
                <a:cubicBezTo>
                  <a:pt x="2291166" y="323484"/>
                  <a:pt x="2283395" y="303630"/>
                  <a:pt x="2266567" y="280171"/>
                </a:cubicBezTo>
                <a:cubicBezTo>
                  <a:pt x="2249739" y="256712"/>
                  <a:pt x="2223835" y="229667"/>
                  <a:pt x="2203691" y="213564"/>
                </a:cubicBezTo>
                <a:cubicBezTo>
                  <a:pt x="2183548" y="197441"/>
                  <a:pt x="2169165" y="192281"/>
                  <a:pt x="2153622" y="194291"/>
                </a:cubicBezTo>
                <a:cubicBezTo>
                  <a:pt x="2138079" y="196302"/>
                  <a:pt x="2121397" y="205503"/>
                  <a:pt x="2109315" y="218310"/>
                </a:cubicBezTo>
                <a:cubicBezTo>
                  <a:pt x="2097233" y="231118"/>
                  <a:pt x="2089751" y="247510"/>
                  <a:pt x="2085731" y="264214"/>
                </a:cubicBezTo>
                <a:cubicBezTo>
                  <a:pt x="2081710" y="280896"/>
                  <a:pt x="2081130" y="297869"/>
                  <a:pt x="2085006" y="308666"/>
                </a:cubicBezTo>
                <a:cubicBezTo>
                  <a:pt x="2088881" y="319463"/>
                  <a:pt x="2097233" y="324064"/>
                  <a:pt x="2107595" y="327794"/>
                </a:cubicBezTo>
                <a:cubicBezTo>
                  <a:pt x="2117956" y="331525"/>
                  <a:pt x="2130329" y="334405"/>
                  <a:pt x="2138245" y="329660"/>
                </a:cubicBezTo>
                <a:cubicBezTo>
                  <a:pt x="2146162" y="324914"/>
                  <a:pt x="2149602" y="312542"/>
                  <a:pt x="2151343" y="299299"/>
                </a:cubicBezTo>
                <a:cubicBezTo>
                  <a:pt x="2153063" y="286057"/>
                  <a:pt x="2153063" y="271964"/>
                  <a:pt x="2155508" y="263053"/>
                </a:cubicBezTo>
                <a:cubicBezTo>
                  <a:pt x="2157954" y="254142"/>
                  <a:pt x="2162844" y="250391"/>
                  <a:pt x="2173641" y="251261"/>
                </a:cubicBezTo>
                <a:cubicBezTo>
                  <a:pt x="2184438" y="252132"/>
                  <a:pt x="2201121" y="257582"/>
                  <a:pt x="2215068" y="262058"/>
                </a:cubicBezTo>
                <a:cubicBezTo>
                  <a:pt x="2229016" y="266514"/>
                  <a:pt x="2240248" y="269975"/>
                  <a:pt x="2248019" y="269975"/>
                </a:cubicBezTo>
                <a:cubicBezTo>
                  <a:pt x="2255791" y="269975"/>
                  <a:pt x="2260101" y="266514"/>
                  <a:pt x="2262257" y="259903"/>
                </a:cubicBezTo>
                <a:cubicBezTo>
                  <a:pt x="2264412" y="253292"/>
                  <a:pt x="2264412" y="243510"/>
                  <a:pt x="2259749" y="230993"/>
                </a:cubicBezTo>
                <a:cubicBezTo>
                  <a:pt x="2255066" y="218476"/>
                  <a:pt x="2245719" y="203223"/>
                  <a:pt x="2231337" y="190851"/>
                </a:cubicBezTo>
                <a:cubicBezTo>
                  <a:pt x="2216954" y="178479"/>
                  <a:pt x="2197536" y="168987"/>
                  <a:pt x="2181351" y="163309"/>
                </a:cubicBezTo>
                <a:cubicBezTo>
                  <a:pt x="2165165" y="157631"/>
                  <a:pt x="2152213" y="155766"/>
                  <a:pt x="2141354" y="157548"/>
                </a:cubicBezTo>
                <a:cubicBezTo>
                  <a:pt x="2130495" y="159330"/>
                  <a:pt x="2121708" y="164822"/>
                  <a:pt x="2113377" y="169485"/>
                </a:cubicBezTo>
                <a:cubicBezTo>
                  <a:pt x="2105046" y="174148"/>
                  <a:pt x="2097129" y="178044"/>
                  <a:pt x="2082726" y="176469"/>
                </a:cubicBezTo>
                <a:cubicBezTo>
                  <a:pt x="2068344" y="174894"/>
                  <a:pt x="2047475" y="167827"/>
                  <a:pt x="2031870" y="162086"/>
                </a:cubicBezTo>
                <a:cubicBezTo>
                  <a:pt x="2016265" y="156325"/>
                  <a:pt x="2005903" y="151870"/>
                  <a:pt x="1991955" y="137280"/>
                </a:cubicBezTo>
                <a:cubicBezTo>
                  <a:pt x="1978008" y="122670"/>
                  <a:pt x="1960455" y="97925"/>
                  <a:pt x="1950528" y="77222"/>
                </a:cubicBezTo>
                <a:cubicBezTo>
                  <a:pt x="1940602" y="56498"/>
                  <a:pt x="1938302" y="39816"/>
                  <a:pt x="1938737" y="27008"/>
                </a:cubicBezTo>
                <a:cubicBezTo>
                  <a:pt x="1939172" y="14201"/>
                  <a:pt x="1942343" y="5290"/>
                  <a:pt x="1947669" y="1725"/>
                </a:cubicBezTo>
                <a:cubicBezTo>
                  <a:pt x="1952995" y="-1839"/>
                  <a:pt x="1960538" y="-16"/>
                  <a:pt x="1970755" y="8461"/>
                </a:cubicBezTo>
                <a:cubicBezTo>
                  <a:pt x="1980972" y="16957"/>
                  <a:pt x="1993883" y="32127"/>
                  <a:pt x="2009260" y="49494"/>
                </a:cubicBezTo>
                <a:lnTo>
                  <a:pt x="2058292" y="104412"/>
                </a:lnTo>
                <a:cubicBezTo>
                  <a:pt x="2074125" y="122400"/>
                  <a:pt x="2087928" y="138793"/>
                  <a:pt x="2093544" y="149010"/>
                </a:cubicBezTo>
                <a:cubicBezTo>
                  <a:pt x="2099160" y="159227"/>
                  <a:pt x="2096570" y="163247"/>
                  <a:pt x="2084487" y="165837"/>
                </a:cubicBezTo>
                <a:cubicBezTo>
                  <a:pt x="2072405" y="168428"/>
                  <a:pt x="2050832" y="169568"/>
                  <a:pt x="2039599" y="172593"/>
                </a:cubicBezTo>
                <a:cubicBezTo>
                  <a:pt x="2028388" y="175619"/>
                  <a:pt x="2027518" y="180510"/>
                  <a:pt x="2028657" y="186976"/>
                </a:cubicBezTo>
                <a:cubicBezTo>
                  <a:pt x="2029818" y="193442"/>
                  <a:pt x="2032968" y="201503"/>
                  <a:pt x="2037424" y="210435"/>
                </a:cubicBezTo>
                <a:cubicBezTo>
                  <a:pt x="2041879" y="219367"/>
                  <a:pt x="2047640" y="229128"/>
                  <a:pt x="2052531" y="240360"/>
                </a:cubicBezTo>
                <a:cubicBezTo>
                  <a:pt x="2057422" y="251572"/>
                  <a:pt x="2061442" y="264234"/>
                  <a:pt x="2063183" y="276606"/>
                </a:cubicBezTo>
                <a:cubicBezTo>
                  <a:pt x="2064903" y="288979"/>
                  <a:pt x="2064344" y="301061"/>
                  <a:pt x="2061173" y="308832"/>
                </a:cubicBezTo>
                <a:cubicBezTo>
                  <a:pt x="2058002" y="316604"/>
                  <a:pt x="2052262" y="320044"/>
                  <a:pt x="2047226" y="318324"/>
                </a:cubicBezTo>
                <a:cubicBezTo>
                  <a:pt x="2042190" y="316604"/>
                  <a:pt x="2037879" y="309682"/>
                  <a:pt x="2037009" y="303216"/>
                </a:cubicBezTo>
                <a:cubicBezTo>
                  <a:pt x="2036139" y="296750"/>
                  <a:pt x="2038729" y="290699"/>
                  <a:pt x="2039890" y="281932"/>
                </a:cubicBezTo>
                <a:cubicBezTo>
                  <a:pt x="2041050" y="273166"/>
                  <a:pt x="2040760" y="261644"/>
                  <a:pt x="2037589" y="253168"/>
                </a:cubicBezTo>
                <a:cubicBezTo>
                  <a:pt x="2034419" y="244671"/>
                  <a:pt x="2028388" y="239221"/>
                  <a:pt x="2017301" y="238640"/>
                </a:cubicBezTo>
                <a:cubicBezTo>
                  <a:pt x="2006213" y="238060"/>
                  <a:pt x="1990111" y="242371"/>
                  <a:pt x="1980039" y="250142"/>
                </a:cubicBezTo>
                <a:cubicBezTo>
                  <a:pt x="1969967" y="257914"/>
                  <a:pt x="1965947" y="269125"/>
                  <a:pt x="1965367" y="281207"/>
                </a:cubicBezTo>
                <a:cubicBezTo>
                  <a:pt x="1964786" y="293289"/>
                  <a:pt x="1967667" y="306242"/>
                  <a:pt x="1979604" y="326820"/>
                </a:cubicBezTo>
                <a:cubicBezTo>
                  <a:pt x="1991541" y="347399"/>
                  <a:pt x="2012555" y="375584"/>
                  <a:pt x="2042625" y="396598"/>
                </a:cubicBezTo>
                <a:cubicBezTo>
                  <a:pt x="2072696" y="417612"/>
                  <a:pt x="2111822" y="431414"/>
                  <a:pt x="2145208" y="455288"/>
                </a:cubicBezTo>
                <a:cubicBezTo>
                  <a:pt x="2178594" y="479161"/>
                  <a:pt x="2206199" y="513128"/>
                  <a:pt x="2223752" y="542183"/>
                </a:cubicBezTo>
                <a:cubicBezTo>
                  <a:pt x="2241305" y="571237"/>
                  <a:pt x="2248786" y="595422"/>
                  <a:pt x="2264889" y="604624"/>
                </a:cubicBezTo>
                <a:cubicBezTo>
                  <a:pt x="2281012" y="613825"/>
                  <a:pt x="2305756" y="608084"/>
                  <a:pt x="2331640" y="595132"/>
                </a:cubicBezTo>
                <a:cubicBezTo>
                  <a:pt x="2357545" y="582180"/>
                  <a:pt x="2384590" y="562036"/>
                  <a:pt x="2408753" y="561746"/>
                </a:cubicBezTo>
                <a:cubicBezTo>
                  <a:pt x="2432917" y="561456"/>
                  <a:pt x="2454222" y="581019"/>
                  <a:pt x="2486157" y="631088"/>
                </a:cubicBezTo>
                <a:cubicBezTo>
                  <a:pt x="2518092" y="681157"/>
                  <a:pt x="2560680" y="761710"/>
                  <a:pt x="2597797" y="831052"/>
                </a:cubicBezTo>
                <a:cubicBezTo>
                  <a:pt x="2634913" y="900394"/>
                  <a:pt x="2666558" y="958525"/>
                  <a:pt x="2689292" y="1008013"/>
                </a:cubicBezTo>
                <a:cubicBezTo>
                  <a:pt x="2712026" y="1057502"/>
                  <a:pt x="2725828" y="1098369"/>
                  <a:pt x="2728999" y="1141081"/>
                </a:cubicBezTo>
                <a:cubicBezTo>
                  <a:pt x="2732170" y="1183814"/>
                  <a:pt x="2724689" y="1228412"/>
                  <a:pt x="2722098" y="1265963"/>
                </a:cubicBezTo>
                <a:cubicBezTo>
                  <a:pt x="2719508" y="1303515"/>
                  <a:pt x="2721808" y="1334020"/>
                  <a:pt x="2726409" y="1370556"/>
                </a:cubicBezTo>
                <a:cubicBezTo>
                  <a:pt x="2731009" y="1407093"/>
                  <a:pt x="2737911" y="1449680"/>
                  <a:pt x="2748998" y="1502194"/>
                </a:cubicBezTo>
                <a:cubicBezTo>
                  <a:pt x="2760085" y="1554709"/>
                  <a:pt x="2775317" y="1617150"/>
                  <a:pt x="2793596" y="1683756"/>
                </a:cubicBezTo>
                <a:cubicBezTo>
                  <a:pt x="2811874" y="1750362"/>
                  <a:pt x="2833158" y="1821155"/>
                  <a:pt x="2841924" y="1899699"/>
                </a:cubicBezTo>
                <a:cubicBezTo>
                  <a:pt x="2850711" y="1978242"/>
                  <a:pt x="2846959" y="2064557"/>
                  <a:pt x="2835872" y="2160094"/>
                </a:cubicBezTo>
                <a:cubicBezTo>
                  <a:pt x="2824785" y="2255610"/>
                  <a:pt x="2806382" y="2360348"/>
                  <a:pt x="2789119" y="2458476"/>
                </a:cubicBezTo>
                <a:cubicBezTo>
                  <a:pt x="2771856" y="2556582"/>
                  <a:pt x="2755733" y="2648078"/>
                  <a:pt x="2737620" y="2693547"/>
                </a:cubicBezTo>
                <a:cubicBezTo>
                  <a:pt x="2719487" y="2739015"/>
                  <a:pt x="2699343" y="2738434"/>
                  <a:pt x="2657626" y="2723762"/>
                </a:cubicBezTo>
                <a:cubicBezTo>
                  <a:pt x="2615909" y="2709089"/>
                  <a:pt x="2552598" y="2680325"/>
                  <a:pt x="2479816" y="2656720"/>
                </a:cubicBezTo>
                <a:cubicBezTo>
                  <a:pt x="2407013" y="2633136"/>
                  <a:pt x="2324739" y="2614713"/>
                  <a:pt x="2254237" y="2611832"/>
                </a:cubicBezTo>
                <a:cubicBezTo>
                  <a:pt x="2183734" y="2608952"/>
                  <a:pt x="2125044" y="2621614"/>
                  <a:pt x="2082166" y="2636287"/>
                </a:cubicBezTo>
                <a:cubicBezTo>
                  <a:pt x="2039289" y="2650959"/>
                  <a:pt x="2012244" y="2667642"/>
                  <a:pt x="1994401" y="2663621"/>
                </a:cubicBezTo>
                <a:cubicBezTo>
                  <a:pt x="1976558" y="2659601"/>
                  <a:pt x="1967936" y="2634856"/>
                  <a:pt x="1965346" y="2610382"/>
                </a:cubicBezTo>
                <a:cubicBezTo>
                  <a:pt x="1962756" y="2585927"/>
                  <a:pt x="1966217" y="2561763"/>
                  <a:pt x="1972537" y="2529538"/>
                </a:cubicBezTo>
                <a:cubicBezTo>
                  <a:pt x="1978858" y="2497312"/>
                  <a:pt x="1988080" y="2457025"/>
                  <a:pt x="2001302" y="2410127"/>
                </a:cubicBezTo>
                <a:cubicBezTo>
                  <a:pt x="2014544" y="2363229"/>
                  <a:pt x="2031808" y="2309720"/>
                  <a:pt x="2065173" y="2234762"/>
                </a:cubicBezTo>
                <a:cubicBezTo>
                  <a:pt x="2098559" y="2159804"/>
                  <a:pt x="2148048" y="2063417"/>
                  <a:pt x="2185164" y="1982428"/>
                </a:cubicBezTo>
                <a:cubicBezTo>
                  <a:pt x="2222280" y="1901439"/>
                  <a:pt x="2247025" y="1835828"/>
                  <a:pt x="2272639" y="1790940"/>
                </a:cubicBezTo>
                <a:cubicBezTo>
                  <a:pt x="2298254" y="1746052"/>
                  <a:pt x="2324718" y="1721888"/>
                  <a:pt x="2341691" y="1698284"/>
                </a:cubicBezTo>
                <a:cubicBezTo>
                  <a:pt x="2358664" y="1674700"/>
                  <a:pt x="2366145" y="1651675"/>
                  <a:pt x="2369026" y="1632962"/>
                </a:cubicBezTo>
                <a:cubicBezTo>
                  <a:pt x="2371907" y="1614269"/>
                  <a:pt x="2370186" y="1599866"/>
                  <a:pt x="2351473" y="1607927"/>
                </a:cubicBezTo>
                <a:cubicBezTo>
                  <a:pt x="2332780" y="1615989"/>
                  <a:pt x="2297093" y="1646474"/>
                  <a:pt x="2270774" y="1653541"/>
                </a:cubicBezTo>
                <a:cubicBezTo>
                  <a:pt x="2244455" y="1660587"/>
                  <a:pt x="2227482" y="1644194"/>
                  <a:pt x="2210343" y="1626206"/>
                </a:cubicBezTo>
                <a:cubicBezTo>
                  <a:pt x="2193225" y="1608218"/>
                  <a:pt x="2175963" y="1588654"/>
                  <a:pt x="2164585" y="1571972"/>
                </a:cubicBezTo>
                <a:cubicBezTo>
                  <a:pt x="2153229" y="1555289"/>
                  <a:pt x="2147757" y="1541466"/>
                  <a:pt x="2149623" y="1525364"/>
                </a:cubicBezTo>
                <a:cubicBezTo>
                  <a:pt x="2151488" y="1509261"/>
                  <a:pt x="2160710" y="1490838"/>
                  <a:pt x="2171776" y="1480476"/>
                </a:cubicBezTo>
                <a:cubicBezTo>
                  <a:pt x="2182863" y="1470114"/>
                  <a:pt x="2195795" y="1467814"/>
                  <a:pt x="2219690" y="1471710"/>
                </a:cubicBezTo>
                <a:cubicBezTo>
                  <a:pt x="2243564" y="1475585"/>
                  <a:pt x="2278380" y="1485657"/>
                  <a:pt x="2304575" y="1491128"/>
                </a:cubicBezTo>
                <a:cubicBezTo>
                  <a:pt x="2330749" y="1496599"/>
                  <a:pt x="2348302" y="1497449"/>
                  <a:pt x="2357939" y="1495148"/>
                </a:cubicBezTo>
                <a:cubicBezTo>
                  <a:pt x="2367575" y="1492848"/>
                  <a:pt x="2369295" y="1487377"/>
                  <a:pt x="2365130" y="1468539"/>
                </a:cubicBezTo>
                <a:cubicBezTo>
                  <a:pt x="2360964" y="1449701"/>
                  <a:pt x="2350893" y="1417475"/>
                  <a:pt x="2343411" y="1383509"/>
                </a:cubicBezTo>
                <a:cubicBezTo>
                  <a:pt x="2335930" y="1349563"/>
                  <a:pt x="2331039" y="1313877"/>
                  <a:pt x="2328594" y="1282957"/>
                </a:cubicBezTo>
                <a:cubicBezTo>
                  <a:pt x="2326148" y="1252016"/>
                  <a:pt x="2326148" y="1225842"/>
                  <a:pt x="2324428" y="1207999"/>
                </a:cubicBezTo>
                <a:cubicBezTo>
                  <a:pt x="2322708" y="1190155"/>
                  <a:pt x="2319247" y="1180664"/>
                  <a:pt x="2305735" y="1175628"/>
                </a:cubicBezTo>
                <a:cubicBezTo>
                  <a:pt x="2292203" y="1170592"/>
                  <a:pt x="2268619" y="1170012"/>
                  <a:pt x="2240559" y="1175918"/>
                </a:cubicBezTo>
                <a:cubicBezTo>
                  <a:pt x="2212499" y="1181824"/>
                  <a:pt x="2179983" y="1194196"/>
                  <a:pt x="2155964" y="1209574"/>
                </a:cubicBezTo>
                <a:cubicBezTo>
                  <a:pt x="2131945" y="1224971"/>
                  <a:pt x="2116402" y="1243374"/>
                  <a:pt x="2105750" y="1260223"/>
                </a:cubicBezTo>
                <a:cubicBezTo>
                  <a:pt x="2095098" y="1277071"/>
                  <a:pt x="2089357" y="1292303"/>
                  <a:pt x="2085171" y="1297774"/>
                </a:cubicBezTo>
                <a:cubicBezTo>
                  <a:pt x="2081006" y="1303245"/>
                  <a:pt x="2078415" y="1298935"/>
                  <a:pt x="2074664" y="1286977"/>
                </a:cubicBezTo>
                <a:cubicBezTo>
                  <a:pt x="2070934" y="1275040"/>
                  <a:pt x="2066022" y="1255477"/>
                  <a:pt x="2069918" y="1234028"/>
                </a:cubicBezTo>
                <a:cubicBezTo>
                  <a:pt x="2073794" y="1212599"/>
                  <a:pt x="2086456" y="1189285"/>
                  <a:pt x="2108050" y="1171587"/>
                </a:cubicBezTo>
                <a:cubicBezTo>
                  <a:pt x="2129624" y="1153889"/>
                  <a:pt x="2160129" y="1141807"/>
                  <a:pt x="2189910" y="1136045"/>
                </a:cubicBezTo>
                <a:cubicBezTo>
                  <a:pt x="2219690" y="1130284"/>
                  <a:pt x="2248745" y="1130864"/>
                  <a:pt x="2269759" y="1132294"/>
                </a:cubicBezTo>
                <a:cubicBezTo>
                  <a:pt x="2290773" y="1133724"/>
                  <a:pt x="2303704" y="1136045"/>
                  <a:pt x="2308450" y="1125683"/>
                </a:cubicBezTo>
                <a:cubicBezTo>
                  <a:pt x="2313196" y="1115321"/>
                  <a:pt x="2309735" y="1092297"/>
                  <a:pt x="2307290" y="1074765"/>
                </a:cubicBezTo>
                <a:cubicBezTo>
                  <a:pt x="2304844" y="1057212"/>
                  <a:pt x="2303414" y="1045130"/>
                  <a:pt x="2297653" y="1036778"/>
                </a:cubicBezTo>
                <a:cubicBezTo>
                  <a:pt x="2291892" y="1028426"/>
                  <a:pt x="2281820" y="1023826"/>
                  <a:pt x="2262982" y="1022831"/>
                </a:cubicBezTo>
                <a:cubicBezTo>
                  <a:pt x="2244144" y="1021815"/>
                  <a:pt x="2216519" y="1024406"/>
                  <a:pt x="2194655" y="1035493"/>
                </a:cubicBezTo>
                <a:cubicBezTo>
                  <a:pt x="2172792" y="1046580"/>
                  <a:pt x="2156669" y="1066144"/>
                  <a:pt x="2144296" y="1081811"/>
                </a:cubicBezTo>
                <a:cubicBezTo>
                  <a:pt x="2131924" y="1097499"/>
                  <a:pt x="2123282" y="1109291"/>
                  <a:pt x="2106310" y="1120088"/>
                </a:cubicBezTo>
                <a:cubicBezTo>
                  <a:pt x="2089337" y="1130885"/>
                  <a:pt x="2064012" y="1140667"/>
                  <a:pt x="2043434" y="1152894"/>
                </a:cubicBezTo>
                <a:cubicBezTo>
                  <a:pt x="2022855" y="1165121"/>
                  <a:pt x="2007042" y="1179793"/>
                  <a:pt x="1998401" y="1194756"/>
                </a:cubicBezTo>
                <a:cubicBezTo>
                  <a:pt x="1989780" y="1209719"/>
                  <a:pt x="1988329" y="1224971"/>
                  <a:pt x="1991645" y="1239354"/>
                </a:cubicBezTo>
                <a:cubicBezTo>
                  <a:pt x="1994960" y="1253736"/>
                  <a:pt x="2003001" y="1267269"/>
                  <a:pt x="2014669" y="1279351"/>
                </a:cubicBezTo>
                <a:cubicBezTo>
                  <a:pt x="2026316" y="1291433"/>
                  <a:pt x="2041568" y="1302085"/>
                  <a:pt x="2051350" y="1309566"/>
                </a:cubicBezTo>
                <a:cubicBezTo>
                  <a:pt x="2061132" y="1317047"/>
                  <a:pt x="2065442" y="1321358"/>
                  <a:pt x="2064157" y="1331865"/>
                </a:cubicBezTo>
                <a:cubicBezTo>
                  <a:pt x="2062873" y="1342372"/>
                  <a:pt x="2055951" y="1359055"/>
                  <a:pt x="2053505" y="1376173"/>
                </a:cubicBezTo>
                <a:cubicBezTo>
                  <a:pt x="2051060" y="1393290"/>
                  <a:pt x="2053070" y="1410844"/>
                  <a:pt x="2057671" y="1437598"/>
                </a:cubicBezTo>
                <a:cubicBezTo>
                  <a:pt x="2062271" y="1464353"/>
                  <a:pt x="2069463" y="1500329"/>
                  <a:pt x="2084715" y="1526939"/>
                </a:cubicBezTo>
                <a:cubicBezTo>
                  <a:pt x="2099968" y="1553548"/>
                  <a:pt x="2123262" y="1570811"/>
                  <a:pt x="2142556" y="1590374"/>
                </a:cubicBezTo>
                <a:cubicBezTo>
                  <a:pt x="2161829" y="1609938"/>
                  <a:pt x="2177082" y="1631801"/>
                  <a:pt x="2188583" y="1652525"/>
                </a:cubicBezTo>
                <a:cubicBezTo>
                  <a:pt x="2200085" y="1673249"/>
                  <a:pt x="2207857" y="1692812"/>
                  <a:pt x="2211753" y="1709350"/>
                </a:cubicBezTo>
                <a:cubicBezTo>
                  <a:pt x="2215628" y="1725888"/>
                  <a:pt x="2215628" y="1739420"/>
                  <a:pt x="2213038" y="1751502"/>
                </a:cubicBezTo>
                <a:cubicBezTo>
                  <a:pt x="2210447" y="1763584"/>
                  <a:pt x="2205266" y="1774236"/>
                  <a:pt x="2193619" y="1786463"/>
                </a:cubicBezTo>
                <a:cubicBezTo>
                  <a:pt x="2181972" y="1798690"/>
                  <a:pt x="2163839" y="1812493"/>
                  <a:pt x="2145416" y="1826170"/>
                </a:cubicBezTo>
                <a:cubicBezTo>
                  <a:pt x="2126992" y="1839827"/>
                  <a:pt x="2108299" y="1853360"/>
                  <a:pt x="2094062" y="1865877"/>
                </a:cubicBezTo>
                <a:cubicBezTo>
                  <a:pt x="2079825" y="1878394"/>
                  <a:pt x="2070043" y="1889896"/>
                  <a:pt x="2067452" y="1897668"/>
                </a:cubicBezTo>
                <a:cubicBezTo>
                  <a:pt x="2064862" y="1905439"/>
                  <a:pt x="2069463" y="1909459"/>
                  <a:pt x="2076654" y="1913791"/>
                </a:cubicBezTo>
                <a:cubicBezTo>
                  <a:pt x="2083845" y="1918101"/>
                  <a:pt x="2093627" y="1922702"/>
                  <a:pt x="2097668" y="1937955"/>
                </a:cubicBezTo>
                <a:cubicBezTo>
                  <a:pt x="2101688" y="1953208"/>
                  <a:pt x="2099968" y="1979092"/>
                  <a:pt x="2095077" y="2004416"/>
                </a:cubicBezTo>
                <a:cubicBezTo>
                  <a:pt x="2090186" y="2029741"/>
                  <a:pt x="2082125" y="2054485"/>
                  <a:pt x="2059391" y="2109155"/>
                </a:cubicBezTo>
                <a:cubicBezTo>
                  <a:pt x="2036657" y="2163824"/>
                  <a:pt x="1999250" y="2248419"/>
                  <a:pt x="1969325" y="2331853"/>
                </a:cubicBezTo>
                <a:cubicBezTo>
                  <a:pt x="1939400" y="2415287"/>
                  <a:pt x="1916956" y="2497582"/>
                  <a:pt x="1904584" y="2574405"/>
                </a:cubicBezTo>
                <a:cubicBezTo>
                  <a:pt x="1892211" y="2651228"/>
                  <a:pt x="1889911" y="2722581"/>
                  <a:pt x="1892502" y="2764443"/>
                </a:cubicBezTo>
              </a:path>
            </a:pathLst>
          </a:custGeom>
          <a:noFill/>
          <a:ln w="15875" cap="rnd">
            <a:solidFill>
              <a:schemeClr val="accent1"/>
            </a:solidFill>
            <a:prstDash val="solid"/>
            <a:round/>
          </a:ln>
        </p:spPr>
        <p:txBody>
          <a:bodyPr rtlCol="0" anchor="ctr"/>
          <a:lstStyle/>
          <a:p>
            <a:endParaRPr lang="ja-JP" altLang="en-US"/>
          </a:p>
        </p:txBody>
      </p:sp>
    </p:spTree>
    <p:extLst>
      <p:ext uri="{BB962C8B-B14F-4D97-AF65-F5344CB8AC3E}">
        <p14:creationId xmlns:p14="http://schemas.microsoft.com/office/powerpoint/2010/main" val="18301859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デザインの設定">
  <a:themeElements>
    <a:clrScheme name="シダックスコントラクトフードサービス様">
      <a:dk1>
        <a:sysClr val="windowText" lastClr="000000"/>
      </a:dk1>
      <a:lt1>
        <a:sysClr val="window" lastClr="FFFFFF"/>
      </a:lt1>
      <a:dk2>
        <a:srgbClr val="FEE6E6"/>
      </a:dk2>
      <a:lt2>
        <a:srgbClr val="FEF2E2"/>
      </a:lt2>
      <a:accent1>
        <a:srgbClr val="D22C25"/>
      </a:accent1>
      <a:accent2>
        <a:srgbClr val="FEE6E6"/>
      </a:accent2>
      <a:accent3>
        <a:srgbClr val="FEF2E2"/>
      </a:accent3>
      <a:accent4>
        <a:srgbClr val="6DAC2E"/>
      </a:accent4>
      <a:accent5>
        <a:srgbClr val="DAF3C5"/>
      </a:accent5>
      <a:accent6>
        <a:srgbClr val="595959"/>
      </a:accent6>
      <a:hlink>
        <a:srgbClr val="0563C1"/>
      </a:hlink>
      <a:folHlink>
        <a:srgbClr val="954F72"/>
      </a:folHlink>
    </a:clrScheme>
    <a:fontScheme name="シダックスコントラクトフードサービス様">
      <a:majorFont>
        <a:latin typeface="Arial"/>
        <a:ea typeface="游ゴシック"/>
        <a:cs typeface=""/>
      </a:majorFont>
      <a:minorFont>
        <a:latin typeface="Arial"/>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a:latin typeface="+mn-ea"/>
            <a:ea typeface="+mn-ea"/>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7D73525F4D435E4BAEDBA389134B5BC4" ma:contentTypeVersion="15" ma:contentTypeDescription="新しいドキュメントを作成します。" ma:contentTypeScope="" ma:versionID="54043389e1c2e82e34422889eca68bcd">
  <xsd:schema xmlns:xsd="http://www.w3.org/2001/XMLSchema" xmlns:xs="http://www.w3.org/2001/XMLSchema" xmlns:p="http://schemas.microsoft.com/office/2006/metadata/properties" xmlns:ns3="db9de4f5-6a70-492b-b5d7-f671bf91d89a" xmlns:ns4="b0edcebc-856b-4f48-91e7-b71b8bf101a2" targetNamespace="http://schemas.microsoft.com/office/2006/metadata/properties" ma:root="true" ma:fieldsID="20eae651fe118de3c4efe62ce756a1ba" ns3:_="" ns4:_="">
    <xsd:import namespace="db9de4f5-6a70-492b-b5d7-f671bf91d89a"/>
    <xsd:import namespace="b0edcebc-856b-4f48-91e7-b71b8bf101a2"/>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GenerationTime" minOccurs="0"/>
                <xsd:element ref="ns3:MediaServiceEventHashCode" minOccurs="0"/>
                <xsd:element ref="ns3:_activity" minOccurs="0"/>
                <xsd:element ref="ns3:MediaServiceObjectDetectorVersions" minOccurs="0"/>
                <xsd:element ref="ns3:MediaServiceOCR" minOccurs="0"/>
                <xsd:element ref="ns3:MediaServiceDateTaken" minOccurs="0"/>
                <xsd:element ref="ns3:MediaLengthInSeconds"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9de4f5-6a70-492b-b5d7-f671bf91d89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_activity" ma:index="16" nillable="true" ma:displayName="_activity" ma:hidden="true" ma:internalName="_activity">
      <xsd:simpleType>
        <xsd:restriction base="dms:Note"/>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ystemTags" ma:index="21" nillable="true" ma:displayName="MediaServiceSystemTags" ma:hidden="true" ma:internalName="MediaServiceSystemTags" ma:readOnly="true">
      <xsd:simpleType>
        <xsd:restriction base="dms:Note"/>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0edcebc-856b-4f48-91e7-b71b8bf101a2"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element name="SharingHintHash" ma:index="12" nillable="true" ma:displayName="共有のヒントのハッシュ"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db9de4f5-6a70-492b-b5d7-f671bf91d89a"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1279696-0D35-461F-B6F5-1B4B8FADD078}">
  <ds:schemaRefs>
    <ds:schemaRef ds:uri="b0edcebc-856b-4f48-91e7-b71b8bf101a2"/>
    <ds:schemaRef ds:uri="db9de4f5-6a70-492b-b5d7-f671bf91d89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5FFBFC8-2AEF-4581-A767-FF27588CB764}">
  <ds:schemaRefs>
    <ds:schemaRef ds:uri="http://schemas.microsoft.com/office/2006/documentManagement/types"/>
    <ds:schemaRef ds:uri="http://schemas.microsoft.com/office/2006/metadata/properties"/>
    <ds:schemaRef ds:uri="http://purl.org/dc/elements/1.1/"/>
    <ds:schemaRef ds:uri="db9de4f5-6a70-492b-b5d7-f671bf91d89a"/>
    <ds:schemaRef ds:uri="b0edcebc-856b-4f48-91e7-b71b8bf101a2"/>
    <ds:schemaRef ds:uri="http://schemas.openxmlformats.org/package/2006/metadata/core-properties"/>
    <ds:schemaRef ds:uri="http://purl.org/dc/term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D4CC0ECC-4D15-4378-B997-563FCB1C194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349</TotalTime>
  <Words>348</Words>
  <Application>Microsoft Office PowerPoint</Application>
  <PresentationFormat>A4 210 x 297 mm</PresentationFormat>
  <Paragraphs>42</Paragraphs>
  <Slides>4</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4</vt:i4>
      </vt:variant>
    </vt:vector>
  </HeadingPairs>
  <TitlesOfParts>
    <vt:vector size="12" baseType="lpstr">
      <vt:lpstr>ＭＳ Ｐゴシック</vt:lpstr>
      <vt:lpstr>メイリオ</vt:lpstr>
      <vt:lpstr>Yu Gothic</vt:lpstr>
      <vt:lpstr>Yu Gothic</vt:lpstr>
      <vt:lpstr>Arial</vt:lpstr>
      <vt:lpstr>Wingdings</vt:lpstr>
      <vt:lpstr>デザインの設定</vt:lpstr>
      <vt:lpstr>think-cell スライド</vt:lpstr>
      <vt:lpstr>空間装飾</vt:lpstr>
      <vt:lpstr>食堂施設プラン　シダックスエンジニアリング</vt:lpstr>
      <vt:lpstr>食堂イメージパース</vt:lpstr>
      <vt:lpstr>デジタルサイネージ</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企画提案項目：全60ページ程度</dc:title>
  <dc:creator>田中 航</dc:creator>
  <cp:lastModifiedBy>Naoki.sato</cp:lastModifiedBy>
  <cp:revision>52</cp:revision>
  <cp:lastPrinted>2023-12-08T07:45:35Z</cp:lastPrinted>
  <dcterms:created xsi:type="dcterms:W3CDTF">2022-11-07T02:37:46Z</dcterms:created>
  <dcterms:modified xsi:type="dcterms:W3CDTF">2024-07-01T04:27: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11-07T00:00:00Z</vt:filetime>
  </property>
  <property fmtid="{D5CDD505-2E9C-101B-9397-08002B2CF9AE}" pid="3" name="Creator">
    <vt:lpwstr>Adobe Illustrator CC 22.1 (Macintosh)</vt:lpwstr>
  </property>
  <property fmtid="{D5CDD505-2E9C-101B-9397-08002B2CF9AE}" pid="4" name="GTS_PDFXVersion">
    <vt:lpwstr>PDF/X-4</vt:lpwstr>
  </property>
  <property fmtid="{D5CDD505-2E9C-101B-9397-08002B2CF9AE}" pid="5" name="LastSaved">
    <vt:filetime>2022-11-07T00:00:00Z</vt:filetime>
  </property>
  <property fmtid="{D5CDD505-2E9C-101B-9397-08002B2CF9AE}" pid="6" name="Producer">
    <vt:lpwstr>Adobe PDF library 15.00</vt:lpwstr>
  </property>
  <property fmtid="{D5CDD505-2E9C-101B-9397-08002B2CF9AE}" pid="7" name="ContentTypeId">
    <vt:lpwstr>0x0101007D73525F4D435E4BAEDBA389134B5BC4</vt:lpwstr>
  </property>
  <property fmtid="{D5CDD505-2E9C-101B-9397-08002B2CF9AE}" pid="8" name="MediaServiceImageTags">
    <vt:lpwstr/>
  </property>
  <property fmtid="{D5CDD505-2E9C-101B-9397-08002B2CF9AE}" pid="9" name="ComplianceAssetId">
    <vt:lpwstr/>
  </property>
  <property fmtid="{D5CDD505-2E9C-101B-9397-08002B2CF9AE}" pid="10" name="_ExtendedDescription">
    <vt:lpwstr/>
  </property>
  <property fmtid="{D5CDD505-2E9C-101B-9397-08002B2CF9AE}" pid="11" name="TriggerFlowInfo">
    <vt:lpwstr/>
  </property>
</Properties>
</file>